
<file path=[Content_Types].xml><?xml version="1.0" encoding="utf-8"?>
<Types xmlns="http://schemas.openxmlformats.org/package/2006/content-types">
  <Default Extension="png" ContentType="image/png"/>
  <Default Extension="wmf" ContentType="image/x-w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4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5.xml" ContentType="application/vnd.openxmlformats-officedocument.them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6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7" r:id="rId2"/>
    <p:sldMasterId id="2147483682" r:id="rId3"/>
    <p:sldMasterId id="2147483694" r:id="rId4"/>
    <p:sldMasterId id="2147483706" r:id="rId5"/>
    <p:sldMasterId id="2147483731" r:id="rId6"/>
    <p:sldMasterId id="2147483743" r:id="rId7"/>
  </p:sldMasterIdLst>
  <p:notesMasterIdLst>
    <p:notesMasterId r:id="rId16"/>
  </p:notesMasterIdLst>
  <p:sldIdLst>
    <p:sldId id="256" r:id="rId8"/>
    <p:sldId id="266" r:id="rId9"/>
    <p:sldId id="267" r:id="rId10"/>
    <p:sldId id="268" r:id="rId11"/>
    <p:sldId id="269" r:id="rId12"/>
    <p:sldId id="270" r:id="rId13"/>
    <p:sldId id="271" r:id="rId14"/>
    <p:sldId id="272" r:id="rId15"/>
  </p:sldIdLst>
  <p:sldSz cx="9144000" cy="5143500" type="screen16x9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6C76D"/>
    <a:srgbClr val="C2E463"/>
    <a:srgbClr val="74F27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3961" autoAdjust="0"/>
  </p:normalViewPr>
  <p:slideViewPr>
    <p:cSldViewPr>
      <p:cViewPr varScale="1">
        <p:scale>
          <a:sx n="92" d="100"/>
          <a:sy n="92" d="100"/>
        </p:scale>
        <p:origin x="756" y="6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10" Type="http://schemas.openxmlformats.org/officeDocument/2006/relationships/slide" Target="slides/slide3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9773A8F-D754-46B8-BB7E-871211BCE1A4}" type="doc">
      <dgm:prSet loTypeId="urn:microsoft.com/office/officeart/2005/8/layout/hProcess9" loCatId="process" qsTypeId="urn:microsoft.com/office/officeart/2005/8/quickstyle/simple4" qsCatId="simple" csTypeId="urn:microsoft.com/office/officeart/2005/8/colors/colorful4" csCatId="colorful" phldr="1"/>
      <dgm:spPr/>
    </dgm:pt>
    <dgm:pt modelId="{1E0DC90B-DC90-4BF1-BD3B-D7AD8E6F8BCB}">
      <dgm:prSet phldrT="[Text]"/>
      <dgm:spPr>
        <a:solidFill>
          <a:srgbClr val="4E84C4"/>
        </a:solidFill>
      </dgm:spPr>
      <dgm:t>
        <a:bodyPr/>
        <a:lstStyle/>
        <a:p>
          <a:r>
            <a:rPr lang="en-US" sz="1400" b="1" dirty="0" smtClean="0">
              <a:latin typeface="Calibri" pitchFamily="34" charset="0"/>
            </a:rPr>
            <a:t>Immediate Needs</a:t>
          </a:r>
          <a:endParaRPr lang="en-US" sz="1400" b="1" dirty="0">
            <a:latin typeface="Calibri" pitchFamily="34" charset="0"/>
          </a:endParaRPr>
        </a:p>
      </dgm:t>
    </dgm:pt>
    <dgm:pt modelId="{CB11D73F-FB9E-4EA1-894D-B8752BC63050}" type="parTrans" cxnId="{1324BD9F-399D-4685-8AB6-EB8272BE7ED3}">
      <dgm:prSet/>
      <dgm:spPr/>
      <dgm:t>
        <a:bodyPr/>
        <a:lstStyle/>
        <a:p>
          <a:endParaRPr lang="en-US"/>
        </a:p>
      </dgm:t>
    </dgm:pt>
    <dgm:pt modelId="{A00549EF-7759-40BB-86CA-6F210B7E178E}" type="sibTrans" cxnId="{1324BD9F-399D-4685-8AB6-EB8272BE7ED3}">
      <dgm:prSet/>
      <dgm:spPr/>
      <dgm:t>
        <a:bodyPr/>
        <a:lstStyle/>
        <a:p>
          <a:endParaRPr lang="en-US"/>
        </a:p>
      </dgm:t>
    </dgm:pt>
    <dgm:pt modelId="{9394A27E-22BA-41FC-AD86-327C7799814D}">
      <dgm:prSet phldrT="[Text]" custT="1"/>
      <dgm:spPr>
        <a:solidFill>
          <a:srgbClr val="92D050"/>
        </a:solidFill>
      </dgm:spPr>
      <dgm:t>
        <a:bodyPr/>
        <a:lstStyle/>
        <a:p>
          <a:r>
            <a:rPr lang="en-US" sz="1400" b="1" dirty="0" smtClean="0">
              <a:latin typeface="Calibri" pitchFamily="34" charset="0"/>
            </a:rPr>
            <a:t>Intermediate Objectives</a:t>
          </a:r>
          <a:endParaRPr lang="en-US" sz="1400" b="1" dirty="0">
            <a:latin typeface="Calibri" pitchFamily="34" charset="0"/>
          </a:endParaRPr>
        </a:p>
      </dgm:t>
    </dgm:pt>
    <dgm:pt modelId="{50B66842-EDFB-4736-BF54-3023243BC8EF}" type="parTrans" cxnId="{90918276-FF1A-405D-AE57-3F0C9CDBEAE9}">
      <dgm:prSet/>
      <dgm:spPr/>
      <dgm:t>
        <a:bodyPr/>
        <a:lstStyle/>
        <a:p>
          <a:endParaRPr lang="en-US"/>
        </a:p>
      </dgm:t>
    </dgm:pt>
    <dgm:pt modelId="{E30FF375-A6F0-4DE1-B66A-F03BB39A3BEB}" type="sibTrans" cxnId="{90918276-FF1A-405D-AE57-3F0C9CDBEAE9}">
      <dgm:prSet/>
      <dgm:spPr/>
      <dgm:t>
        <a:bodyPr/>
        <a:lstStyle/>
        <a:p>
          <a:endParaRPr lang="en-US"/>
        </a:p>
      </dgm:t>
    </dgm:pt>
    <dgm:pt modelId="{48CED1C7-9F90-488F-9FBF-08EB3B2D1E30}">
      <dgm:prSet phldrT="[Text]" custT="1"/>
      <dgm:spPr>
        <a:solidFill>
          <a:srgbClr val="92D050"/>
        </a:solidFill>
      </dgm:spPr>
      <dgm:t>
        <a:bodyPr/>
        <a:lstStyle/>
        <a:p>
          <a:endParaRPr lang="en-US" sz="1400" dirty="0">
            <a:latin typeface="Calibri" pitchFamily="34" charset="0"/>
          </a:endParaRPr>
        </a:p>
      </dgm:t>
    </dgm:pt>
    <dgm:pt modelId="{061D83CE-EE6F-47E7-A052-A0B3E281C634}" type="parTrans" cxnId="{F0C1A5CD-4E24-4221-8B19-E19DB0282EE7}">
      <dgm:prSet/>
      <dgm:spPr/>
      <dgm:t>
        <a:bodyPr/>
        <a:lstStyle/>
        <a:p>
          <a:endParaRPr lang="en-US"/>
        </a:p>
      </dgm:t>
    </dgm:pt>
    <dgm:pt modelId="{C69767F4-56E5-40D9-A07F-1326E11E7304}" type="sibTrans" cxnId="{F0C1A5CD-4E24-4221-8B19-E19DB0282EE7}">
      <dgm:prSet/>
      <dgm:spPr/>
      <dgm:t>
        <a:bodyPr/>
        <a:lstStyle/>
        <a:p>
          <a:endParaRPr lang="en-US"/>
        </a:p>
      </dgm:t>
    </dgm:pt>
    <dgm:pt modelId="{E5190254-D886-4993-B9AE-75FB74B19E9F}">
      <dgm:prSet phldrT="[Text]" custT="1"/>
      <dgm:spPr>
        <a:solidFill>
          <a:srgbClr val="4E84C4"/>
        </a:solidFill>
      </dgm:spPr>
      <dgm:t>
        <a:bodyPr/>
        <a:lstStyle/>
        <a:p>
          <a:endParaRPr lang="en-US" sz="1200" dirty="0">
            <a:latin typeface="Calibri" pitchFamily="34" charset="0"/>
          </a:endParaRPr>
        </a:p>
      </dgm:t>
    </dgm:pt>
    <dgm:pt modelId="{5903AD41-CD87-4D40-AC5F-9F57728A3DA9}" type="parTrans" cxnId="{970E78A0-0831-48B2-AB34-80E85C596843}">
      <dgm:prSet/>
      <dgm:spPr/>
      <dgm:t>
        <a:bodyPr/>
        <a:lstStyle/>
        <a:p>
          <a:endParaRPr lang="en-US"/>
        </a:p>
      </dgm:t>
    </dgm:pt>
    <dgm:pt modelId="{C6F85997-55BD-45DF-955C-64A0580276D0}" type="sibTrans" cxnId="{970E78A0-0831-48B2-AB34-80E85C596843}">
      <dgm:prSet/>
      <dgm:spPr/>
      <dgm:t>
        <a:bodyPr/>
        <a:lstStyle/>
        <a:p>
          <a:endParaRPr lang="en-US"/>
        </a:p>
      </dgm:t>
    </dgm:pt>
    <dgm:pt modelId="{FD07C98C-3370-48FA-A608-A7E644749290}">
      <dgm:prSet phldrT="[Text]" custT="1"/>
      <dgm:spPr>
        <a:solidFill>
          <a:srgbClr val="D6492A"/>
        </a:solidFill>
      </dgm:spPr>
      <dgm:t>
        <a:bodyPr/>
        <a:lstStyle/>
        <a:p>
          <a:endParaRPr lang="en-US" sz="1200" dirty="0">
            <a:latin typeface="Calibri" pitchFamily="34" charset="0"/>
          </a:endParaRPr>
        </a:p>
      </dgm:t>
    </dgm:pt>
    <dgm:pt modelId="{8D1BB941-C62A-4522-8124-167568FA2332}" type="parTrans" cxnId="{56CE1DE6-DDD2-4C86-9749-3ACC50AEF09D}">
      <dgm:prSet/>
      <dgm:spPr/>
      <dgm:t>
        <a:bodyPr/>
        <a:lstStyle/>
        <a:p>
          <a:endParaRPr lang="en-US"/>
        </a:p>
      </dgm:t>
    </dgm:pt>
    <dgm:pt modelId="{0EA3685A-63AB-4185-9999-3237A9B69D0E}" type="sibTrans" cxnId="{56CE1DE6-DDD2-4C86-9749-3ACC50AEF09D}">
      <dgm:prSet/>
      <dgm:spPr/>
      <dgm:t>
        <a:bodyPr/>
        <a:lstStyle/>
        <a:p>
          <a:endParaRPr lang="en-US"/>
        </a:p>
      </dgm:t>
    </dgm:pt>
    <dgm:pt modelId="{C0120FB3-90A0-46BE-AA25-EEECFFCE33D3}">
      <dgm:prSet phldrT="[Text]"/>
      <dgm:spPr>
        <a:solidFill>
          <a:srgbClr val="D6492A"/>
        </a:solidFill>
      </dgm:spPr>
      <dgm:t>
        <a:bodyPr/>
        <a:lstStyle/>
        <a:p>
          <a:r>
            <a:rPr lang="en-US" sz="1400" b="1" dirty="0" smtClean="0">
              <a:latin typeface="Calibri" pitchFamily="34" charset="0"/>
            </a:rPr>
            <a:t>Future Possibilities</a:t>
          </a:r>
          <a:endParaRPr lang="en-US" sz="1400" b="1" dirty="0">
            <a:latin typeface="Calibri" pitchFamily="34" charset="0"/>
          </a:endParaRPr>
        </a:p>
      </dgm:t>
    </dgm:pt>
    <dgm:pt modelId="{B5B6A23C-347A-4F7B-8A15-F52CAC9369C0}" type="sibTrans" cxnId="{2614F454-4E86-4CF6-8E2C-3C797929A6EB}">
      <dgm:prSet/>
      <dgm:spPr/>
      <dgm:t>
        <a:bodyPr/>
        <a:lstStyle/>
        <a:p>
          <a:endParaRPr lang="en-US"/>
        </a:p>
      </dgm:t>
    </dgm:pt>
    <dgm:pt modelId="{21518F4F-F300-4D06-95E2-D4317903F9D4}" type="parTrans" cxnId="{2614F454-4E86-4CF6-8E2C-3C797929A6EB}">
      <dgm:prSet/>
      <dgm:spPr/>
      <dgm:t>
        <a:bodyPr/>
        <a:lstStyle/>
        <a:p>
          <a:endParaRPr lang="en-US"/>
        </a:p>
      </dgm:t>
    </dgm:pt>
    <dgm:pt modelId="{397016C6-27A1-4FBC-85AC-6197D078ABCC}" type="pres">
      <dgm:prSet presAssocID="{19773A8F-D754-46B8-BB7E-871211BCE1A4}" presName="CompostProcess" presStyleCnt="0">
        <dgm:presLayoutVars>
          <dgm:dir/>
          <dgm:resizeHandles val="exact"/>
        </dgm:presLayoutVars>
      </dgm:prSet>
      <dgm:spPr/>
    </dgm:pt>
    <dgm:pt modelId="{6040EC28-5061-4A06-B79E-461623CDF459}" type="pres">
      <dgm:prSet presAssocID="{19773A8F-D754-46B8-BB7E-871211BCE1A4}" presName="arrow" presStyleLbl="bgShp" presStyleIdx="0" presStyleCnt="1"/>
      <dgm:spPr>
        <a:solidFill>
          <a:schemeClr val="bg1">
            <a:lumMod val="95000"/>
          </a:schemeClr>
        </a:solidFill>
      </dgm:spPr>
    </dgm:pt>
    <dgm:pt modelId="{12E4F157-13C6-4E45-88EF-1E6D913D733D}" type="pres">
      <dgm:prSet presAssocID="{19773A8F-D754-46B8-BB7E-871211BCE1A4}" presName="linearProcess" presStyleCnt="0"/>
      <dgm:spPr/>
    </dgm:pt>
    <dgm:pt modelId="{E4DF2844-B185-40F8-9BE3-4482DC0E3A9E}" type="pres">
      <dgm:prSet presAssocID="{1E0DC90B-DC90-4BF1-BD3B-D7AD8E6F8BCB}" presName="text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33ECDFE-60A9-413D-BEBB-38E9BB6E0395}" type="pres">
      <dgm:prSet presAssocID="{A00549EF-7759-40BB-86CA-6F210B7E178E}" presName="sibTrans" presStyleCnt="0"/>
      <dgm:spPr/>
    </dgm:pt>
    <dgm:pt modelId="{4B7973EB-7FD7-4474-A4DB-78A8E53F39CA}" type="pres">
      <dgm:prSet presAssocID="{9394A27E-22BA-41FC-AD86-327C7799814D}" presName="text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93C7279-8E9F-4367-8653-61E9C1ABB135}" type="pres">
      <dgm:prSet presAssocID="{E30FF375-A6F0-4DE1-B66A-F03BB39A3BEB}" presName="sibTrans" presStyleCnt="0"/>
      <dgm:spPr/>
    </dgm:pt>
    <dgm:pt modelId="{015C44FB-3461-479E-A714-1E137F17A127}" type="pres">
      <dgm:prSet presAssocID="{C0120FB3-90A0-46BE-AA25-EEECFFCE33D3}" presName="text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65A87052-0ABA-4EA7-9523-377972975CB9}" type="presOf" srcId="{19773A8F-D754-46B8-BB7E-871211BCE1A4}" destId="{397016C6-27A1-4FBC-85AC-6197D078ABCC}" srcOrd="0" destOrd="0" presId="urn:microsoft.com/office/officeart/2005/8/layout/hProcess9"/>
    <dgm:cxn modelId="{970E78A0-0831-48B2-AB34-80E85C596843}" srcId="{1E0DC90B-DC90-4BF1-BD3B-D7AD8E6F8BCB}" destId="{E5190254-D886-4993-B9AE-75FB74B19E9F}" srcOrd="0" destOrd="0" parTransId="{5903AD41-CD87-4D40-AC5F-9F57728A3DA9}" sibTransId="{C6F85997-55BD-45DF-955C-64A0580276D0}"/>
    <dgm:cxn modelId="{1324BD9F-399D-4685-8AB6-EB8272BE7ED3}" srcId="{19773A8F-D754-46B8-BB7E-871211BCE1A4}" destId="{1E0DC90B-DC90-4BF1-BD3B-D7AD8E6F8BCB}" srcOrd="0" destOrd="0" parTransId="{CB11D73F-FB9E-4EA1-894D-B8752BC63050}" sibTransId="{A00549EF-7759-40BB-86CA-6F210B7E178E}"/>
    <dgm:cxn modelId="{2614F454-4E86-4CF6-8E2C-3C797929A6EB}" srcId="{19773A8F-D754-46B8-BB7E-871211BCE1A4}" destId="{C0120FB3-90A0-46BE-AA25-EEECFFCE33D3}" srcOrd="2" destOrd="0" parTransId="{21518F4F-F300-4D06-95E2-D4317903F9D4}" sibTransId="{B5B6A23C-347A-4F7B-8A15-F52CAC9369C0}"/>
    <dgm:cxn modelId="{80423B63-DC01-4527-9D5A-460356C2AC52}" type="presOf" srcId="{9394A27E-22BA-41FC-AD86-327C7799814D}" destId="{4B7973EB-7FD7-4474-A4DB-78A8E53F39CA}" srcOrd="0" destOrd="0" presId="urn:microsoft.com/office/officeart/2005/8/layout/hProcess9"/>
    <dgm:cxn modelId="{3F7007FC-654A-4CCB-87F8-0B39B45561AF}" type="presOf" srcId="{E5190254-D886-4993-B9AE-75FB74B19E9F}" destId="{E4DF2844-B185-40F8-9BE3-4482DC0E3A9E}" srcOrd="0" destOrd="1" presId="urn:microsoft.com/office/officeart/2005/8/layout/hProcess9"/>
    <dgm:cxn modelId="{46229089-2E8C-4C9D-855D-7030953A9B7C}" type="presOf" srcId="{48CED1C7-9F90-488F-9FBF-08EB3B2D1E30}" destId="{4B7973EB-7FD7-4474-A4DB-78A8E53F39CA}" srcOrd="0" destOrd="1" presId="urn:microsoft.com/office/officeart/2005/8/layout/hProcess9"/>
    <dgm:cxn modelId="{F0C1A5CD-4E24-4221-8B19-E19DB0282EE7}" srcId="{9394A27E-22BA-41FC-AD86-327C7799814D}" destId="{48CED1C7-9F90-488F-9FBF-08EB3B2D1E30}" srcOrd="0" destOrd="0" parTransId="{061D83CE-EE6F-47E7-A052-A0B3E281C634}" sibTransId="{C69767F4-56E5-40D9-A07F-1326E11E7304}"/>
    <dgm:cxn modelId="{B948E4B3-C188-423A-84BD-5817F914900A}" type="presOf" srcId="{C0120FB3-90A0-46BE-AA25-EEECFFCE33D3}" destId="{015C44FB-3461-479E-A714-1E137F17A127}" srcOrd="0" destOrd="0" presId="urn:microsoft.com/office/officeart/2005/8/layout/hProcess9"/>
    <dgm:cxn modelId="{56CE1DE6-DDD2-4C86-9749-3ACC50AEF09D}" srcId="{C0120FB3-90A0-46BE-AA25-EEECFFCE33D3}" destId="{FD07C98C-3370-48FA-A608-A7E644749290}" srcOrd="0" destOrd="0" parTransId="{8D1BB941-C62A-4522-8124-167568FA2332}" sibTransId="{0EA3685A-63AB-4185-9999-3237A9B69D0E}"/>
    <dgm:cxn modelId="{1B38DEEF-82E6-46C9-9423-9D9938A93646}" type="presOf" srcId="{1E0DC90B-DC90-4BF1-BD3B-D7AD8E6F8BCB}" destId="{E4DF2844-B185-40F8-9BE3-4482DC0E3A9E}" srcOrd="0" destOrd="0" presId="urn:microsoft.com/office/officeart/2005/8/layout/hProcess9"/>
    <dgm:cxn modelId="{90918276-FF1A-405D-AE57-3F0C9CDBEAE9}" srcId="{19773A8F-D754-46B8-BB7E-871211BCE1A4}" destId="{9394A27E-22BA-41FC-AD86-327C7799814D}" srcOrd="1" destOrd="0" parTransId="{50B66842-EDFB-4736-BF54-3023243BC8EF}" sibTransId="{E30FF375-A6F0-4DE1-B66A-F03BB39A3BEB}"/>
    <dgm:cxn modelId="{5D78948E-3D9D-4F71-ACF8-16D9B7E37707}" type="presOf" srcId="{FD07C98C-3370-48FA-A608-A7E644749290}" destId="{015C44FB-3461-479E-A714-1E137F17A127}" srcOrd="0" destOrd="1" presId="urn:microsoft.com/office/officeart/2005/8/layout/hProcess9"/>
    <dgm:cxn modelId="{468246E5-B671-4F3C-83BC-A2925E1BA29F}" type="presParOf" srcId="{397016C6-27A1-4FBC-85AC-6197D078ABCC}" destId="{6040EC28-5061-4A06-B79E-461623CDF459}" srcOrd="0" destOrd="0" presId="urn:microsoft.com/office/officeart/2005/8/layout/hProcess9"/>
    <dgm:cxn modelId="{64C896A3-1EBE-462A-A395-08D274D5699F}" type="presParOf" srcId="{397016C6-27A1-4FBC-85AC-6197D078ABCC}" destId="{12E4F157-13C6-4E45-88EF-1E6D913D733D}" srcOrd="1" destOrd="0" presId="urn:microsoft.com/office/officeart/2005/8/layout/hProcess9"/>
    <dgm:cxn modelId="{8BF3712A-51B4-4914-A291-939DB3FF9309}" type="presParOf" srcId="{12E4F157-13C6-4E45-88EF-1E6D913D733D}" destId="{E4DF2844-B185-40F8-9BE3-4482DC0E3A9E}" srcOrd="0" destOrd="0" presId="urn:microsoft.com/office/officeart/2005/8/layout/hProcess9"/>
    <dgm:cxn modelId="{AA38E679-55D7-4AE9-AFC8-824AE5287149}" type="presParOf" srcId="{12E4F157-13C6-4E45-88EF-1E6D913D733D}" destId="{833ECDFE-60A9-413D-BEBB-38E9BB6E0395}" srcOrd="1" destOrd="0" presId="urn:microsoft.com/office/officeart/2005/8/layout/hProcess9"/>
    <dgm:cxn modelId="{6D8EBB9C-AB9C-4042-A126-40237F261023}" type="presParOf" srcId="{12E4F157-13C6-4E45-88EF-1E6D913D733D}" destId="{4B7973EB-7FD7-4474-A4DB-78A8E53F39CA}" srcOrd="2" destOrd="0" presId="urn:microsoft.com/office/officeart/2005/8/layout/hProcess9"/>
    <dgm:cxn modelId="{1AB3E973-8F0E-4426-BA8F-ECDC8E1A74B7}" type="presParOf" srcId="{12E4F157-13C6-4E45-88EF-1E6D913D733D}" destId="{793C7279-8E9F-4367-8653-61E9C1ABB135}" srcOrd="3" destOrd="0" presId="urn:microsoft.com/office/officeart/2005/8/layout/hProcess9"/>
    <dgm:cxn modelId="{AA71855D-357B-484D-8DBE-10D62D9B0DBF}" type="presParOf" srcId="{12E4F157-13C6-4E45-88EF-1E6D913D733D}" destId="{015C44FB-3461-479E-A714-1E137F17A127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E4D838A-B86A-4D78-9274-E244D46E7A71}" type="doc">
      <dgm:prSet loTypeId="urn:microsoft.com/office/officeart/2005/8/layout/cycle8" loCatId="cycle" qsTypeId="urn:microsoft.com/office/officeart/2005/8/quickstyle/simple4" qsCatId="simple" csTypeId="urn:microsoft.com/office/officeart/2005/8/colors/colorful5" csCatId="colorful" phldr="1"/>
      <dgm:spPr/>
    </dgm:pt>
    <dgm:pt modelId="{6C164E51-79AC-451D-B929-066EB3A44DCA}">
      <dgm:prSet phldrT="[Text]" custT="1"/>
      <dgm:spPr/>
      <dgm:t>
        <a:bodyPr/>
        <a:lstStyle/>
        <a:p>
          <a:pPr algn="ctr"/>
          <a:r>
            <a:rPr lang="en-US" sz="1200" b="1"/>
            <a:t>Initiate - Art of Possible</a:t>
          </a:r>
        </a:p>
      </dgm:t>
    </dgm:pt>
    <dgm:pt modelId="{56B7BDAA-2562-4C84-9C4F-73A3858F7F1F}" type="parTrans" cxnId="{A220A647-5C5B-400D-B3DC-44A264634E76}">
      <dgm:prSet/>
      <dgm:spPr/>
      <dgm:t>
        <a:bodyPr/>
        <a:lstStyle/>
        <a:p>
          <a:pPr algn="ctr"/>
          <a:endParaRPr lang="en-US" sz="1200" b="1">
            <a:solidFill>
              <a:schemeClr val="tx1"/>
            </a:solidFill>
          </a:endParaRPr>
        </a:p>
      </dgm:t>
    </dgm:pt>
    <dgm:pt modelId="{4C4FEA89-4149-408F-BCF0-48AA9B8CC8FB}" type="sibTrans" cxnId="{A220A647-5C5B-400D-B3DC-44A264634E76}">
      <dgm:prSet/>
      <dgm:spPr/>
      <dgm:t>
        <a:bodyPr/>
        <a:lstStyle/>
        <a:p>
          <a:pPr algn="ctr"/>
          <a:endParaRPr lang="en-US" sz="1200" b="1">
            <a:solidFill>
              <a:schemeClr val="tx1"/>
            </a:solidFill>
          </a:endParaRPr>
        </a:p>
      </dgm:t>
    </dgm:pt>
    <dgm:pt modelId="{DD770A2C-76AA-4841-B445-4BCD6731278B}">
      <dgm:prSet phldrT="[Text]" custT="1"/>
      <dgm:spPr/>
      <dgm:t>
        <a:bodyPr/>
        <a:lstStyle/>
        <a:p>
          <a:pPr algn="ctr"/>
          <a:r>
            <a:rPr lang="en-US" sz="1200" b="1"/>
            <a:t>Determine KBDs &amp; KPIs</a:t>
          </a:r>
        </a:p>
      </dgm:t>
    </dgm:pt>
    <dgm:pt modelId="{4C7EA5D4-AF59-448A-B0BC-FB1231A6BFE4}" type="parTrans" cxnId="{923DC81D-8B02-458E-9AE2-590A4188CC82}">
      <dgm:prSet/>
      <dgm:spPr/>
      <dgm:t>
        <a:bodyPr/>
        <a:lstStyle/>
        <a:p>
          <a:pPr algn="ctr"/>
          <a:endParaRPr lang="en-US" sz="1200" b="1">
            <a:solidFill>
              <a:schemeClr val="tx1"/>
            </a:solidFill>
          </a:endParaRPr>
        </a:p>
      </dgm:t>
    </dgm:pt>
    <dgm:pt modelId="{A4D44FF4-BB20-4A22-9BD6-8EBB941F1C4A}" type="sibTrans" cxnId="{923DC81D-8B02-458E-9AE2-590A4188CC82}">
      <dgm:prSet/>
      <dgm:spPr/>
      <dgm:t>
        <a:bodyPr/>
        <a:lstStyle/>
        <a:p>
          <a:pPr algn="ctr"/>
          <a:endParaRPr lang="en-US" sz="1200" b="1">
            <a:solidFill>
              <a:schemeClr val="tx1"/>
            </a:solidFill>
          </a:endParaRPr>
        </a:p>
      </dgm:t>
    </dgm:pt>
    <dgm:pt modelId="{CCC6C83C-A930-45FE-954E-0F0B2D5EE8FC}">
      <dgm:prSet phldrT="[Text]" custT="1"/>
      <dgm:spPr/>
      <dgm:t>
        <a:bodyPr/>
        <a:lstStyle/>
        <a:p>
          <a:pPr algn="ctr"/>
          <a:r>
            <a:rPr lang="en-US" sz="1200" b="1"/>
            <a:t>Scope the Data</a:t>
          </a:r>
        </a:p>
      </dgm:t>
    </dgm:pt>
    <dgm:pt modelId="{46FCF18C-3815-4591-8C42-9833F0A64DF6}" type="parTrans" cxnId="{5FBFD399-4BA1-405D-825E-5408E44E5D25}">
      <dgm:prSet/>
      <dgm:spPr/>
      <dgm:t>
        <a:bodyPr/>
        <a:lstStyle/>
        <a:p>
          <a:pPr algn="ctr"/>
          <a:endParaRPr lang="en-US" sz="1200" b="1">
            <a:solidFill>
              <a:schemeClr val="tx1"/>
            </a:solidFill>
          </a:endParaRPr>
        </a:p>
      </dgm:t>
    </dgm:pt>
    <dgm:pt modelId="{09180747-A6D4-443C-A684-6056932A04C6}" type="sibTrans" cxnId="{5FBFD399-4BA1-405D-825E-5408E44E5D25}">
      <dgm:prSet/>
      <dgm:spPr/>
      <dgm:t>
        <a:bodyPr/>
        <a:lstStyle/>
        <a:p>
          <a:pPr algn="ctr"/>
          <a:endParaRPr lang="en-US" sz="1200" b="1">
            <a:solidFill>
              <a:schemeClr val="tx1"/>
            </a:solidFill>
          </a:endParaRPr>
        </a:p>
      </dgm:t>
    </dgm:pt>
    <dgm:pt modelId="{6BD00665-F695-424B-8E07-A2C6E4BB95A5}">
      <dgm:prSet phldrT="[Text]" custT="1"/>
      <dgm:spPr/>
      <dgm:t>
        <a:bodyPr/>
        <a:lstStyle/>
        <a:p>
          <a:pPr algn="ctr"/>
          <a:r>
            <a:rPr lang="en-US" sz="1200" b="1"/>
            <a:t>Architect Future State</a:t>
          </a:r>
        </a:p>
      </dgm:t>
    </dgm:pt>
    <dgm:pt modelId="{DF894206-0789-48F7-B122-F0E3D9CD0AFA}" type="parTrans" cxnId="{98817030-DB23-47BA-9A81-B55ACDB533E0}">
      <dgm:prSet/>
      <dgm:spPr/>
      <dgm:t>
        <a:bodyPr/>
        <a:lstStyle/>
        <a:p>
          <a:pPr algn="ctr"/>
          <a:endParaRPr lang="en-US" sz="1200" b="1">
            <a:solidFill>
              <a:schemeClr val="tx1"/>
            </a:solidFill>
          </a:endParaRPr>
        </a:p>
      </dgm:t>
    </dgm:pt>
    <dgm:pt modelId="{CFF4F188-96B2-4C0B-B932-28FE27CDC46A}" type="sibTrans" cxnId="{98817030-DB23-47BA-9A81-B55ACDB533E0}">
      <dgm:prSet/>
      <dgm:spPr/>
      <dgm:t>
        <a:bodyPr/>
        <a:lstStyle/>
        <a:p>
          <a:pPr algn="ctr"/>
          <a:endParaRPr lang="en-US" sz="1200" b="1">
            <a:solidFill>
              <a:schemeClr val="tx1"/>
            </a:solidFill>
          </a:endParaRPr>
        </a:p>
      </dgm:t>
    </dgm:pt>
    <dgm:pt modelId="{BB216FC3-017C-4F9F-96D7-48F042879BD1}">
      <dgm:prSet phldrT="[Text]" custT="1"/>
      <dgm:spPr/>
      <dgm:t>
        <a:bodyPr/>
        <a:lstStyle/>
        <a:p>
          <a:pPr algn="ctr"/>
          <a:r>
            <a:rPr lang="en-US" sz="1200" b="1" dirty="0" smtClean="0"/>
            <a:t>Roadmap &amp; Maturity Model </a:t>
          </a:r>
          <a:endParaRPr lang="en-US" sz="1200" b="1" dirty="0"/>
        </a:p>
      </dgm:t>
    </dgm:pt>
    <dgm:pt modelId="{842BBB41-4F64-4E8F-A94E-9A1812DB06BA}" type="parTrans" cxnId="{DB7C4366-4CA7-4929-8C03-A2A218C9524A}">
      <dgm:prSet/>
      <dgm:spPr/>
      <dgm:t>
        <a:bodyPr/>
        <a:lstStyle/>
        <a:p>
          <a:pPr algn="ctr"/>
          <a:endParaRPr lang="en-US" sz="1200" b="1">
            <a:solidFill>
              <a:schemeClr val="tx1"/>
            </a:solidFill>
          </a:endParaRPr>
        </a:p>
      </dgm:t>
    </dgm:pt>
    <dgm:pt modelId="{2CF29E5A-078D-4AD2-9CD7-1266F4B600C4}" type="sibTrans" cxnId="{DB7C4366-4CA7-4929-8C03-A2A218C9524A}">
      <dgm:prSet/>
      <dgm:spPr/>
      <dgm:t>
        <a:bodyPr/>
        <a:lstStyle/>
        <a:p>
          <a:pPr algn="ctr"/>
          <a:endParaRPr lang="en-US" sz="1200" b="1">
            <a:solidFill>
              <a:schemeClr val="tx1"/>
            </a:solidFill>
          </a:endParaRPr>
        </a:p>
      </dgm:t>
    </dgm:pt>
    <dgm:pt modelId="{96E85AC4-89EC-4A27-B774-71C2E4E0B702}">
      <dgm:prSet phldrT="[Text]" custT="1"/>
      <dgm:spPr/>
      <dgm:t>
        <a:bodyPr/>
        <a:lstStyle/>
        <a:p>
          <a:pPr algn="ctr"/>
          <a:r>
            <a:rPr lang="en-US" sz="1200" b="1" dirty="0"/>
            <a:t>Implement</a:t>
          </a:r>
        </a:p>
      </dgm:t>
    </dgm:pt>
    <dgm:pt modelId="{455AC17E-15E7-425F-998D-A588A6CC8CC4}" type="parTrans" cxnId="{E39B04A9-2748-423B-B98A-27238EA5C937}">
      <dgm:prSet/>
      <dgm:spPr/>
      <dgm:t>
        <a:bodyPr/>
        <a:lstStyle/>
        <a:p>
          <a:pPr algn="ctr"/>
          <a:endParaRPr lang="en-US" sz="1200" b="1">
            <a:solidFill>
              <a:schemeClr val="tx1"/>
            </a:solidFill>
          </a:endParaRPr>
        </a:p>
      </dgm:t>
    </dgm:pt>
    <dgm:pt modelId="{86BFAEA6-508A-4587-A52A-6AAED09AF59A}" type="sibTrans" cxnId="{E39B04A9-2748-423B-B98A-27238EA5C937}">
      <dgm:prSet/>
      <dgm:spPr/>
      <dgm:t>
        <a:bodyPr/>
        <a:lstStyle/>
        <a:p>
          <a:pPr algn="ctr"/>
          <a:endParaRPr lang="en-US" sz="1200" b="1">
            <a:solidFill>
              <a:schemeClr val="tx1"/>
            </a:solidFill>
          </a:endParaRPr>
        </a:p>
      </dgm:t>
    </dgm:pt>
    <dgm:pt modelId="{77503D5B-8443-49D1-8986-B8336307685C}" type="pres">
      <dgm:prSet presAssocID="{8E4D838A-B86A-4D78-9274-E244D46E7A71}" presName="compositeShape" presStyleCnt="0">
        <dgm:presLayoutVars>
          <dgm:chMax val="7"/>
          <dgm:dir/>
          <dgm:resizeHandles val="exact"/>
        </dgm:presLayoutVars>
      </dgm:prSet>
      <dgm:spPr/>
    </dgm:pt>
    <dgm:pt modelId="{F3484A69-C8D3-49B7-B1E1-3E50EE917CBE}" type="pres">
      <dgm:prSet presAssocID="{8E4D838A-B86A-4D78-9274-E244D46E7A71}" presName="wedge1" presStyleLbl="node1" presStyleIdx="0" presStyleCnt="6"/>
      <dgm:spPr/>
      <dgm:t>
        <a:bodyPr/>
        <a:lstStyle/>
        <a:p>
          <a:endParaRPr lang="en-US"/>
        </a:p>
      </dgm:t>
    </dgm:pt>
    <dgm:pt modelId="{C9D45CC2-648A-4F7D-A6AE-9DE20AC01251}" type="pres">
      <dgm:prSet presAssocID="{8E4D838A-B86A-4D78-9274-E244D46E7A71}" presName="dummy1a" presStyleCnt="0"/>
      <dgm:spPr/>
    </dgm:pt>
    <dgm:pt modelId="{E32D4948-4F88-4F9E-B9D3-BE91F36C828E}" type="pres">
      <dgm:prSet presAssocID="{8E4D838A-B86A-4D78-9274-E244D46E7A71}" presName="dummy1b" presStyleCnt="0"/>
      <dgm:spPr/>
    </dgm:pt>
    <dgm:pt modelId="{1379DCBB-11A2-423A-B735-AE11DA7246E3}" type="pres">
      <dgm:prSet presAssocID="{8E4D838A-B86A-4D78-9274-E244D46E7A71}" presName="wedge1Tx" presStyleLbl="node1" presStyleIdx="0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AD7D42D-5B61-4AE7-9139-1D3E3C0449C2}" type="pres">
      <dgm:prSet presAssocID="{8E4D838A-B86A-4D78-9274-E244D46E7A71}" presName="wedge2" presStyleLbl="node1" presStyleIdx="1" presStyleCnt="6"/>
      <dgm:spPr/>
      <dgm:t>
        <a:bodyPr/>
        <a:lstStyle/>
        <a:p>
          <a:endParaRPr lang="en-US"/>
        </a:p>
      </dgm:t>
    </dgm:pt>
    <dgm:pt modelId="{CB6D6998-F634-4F08-8367-4569D40575FF}" type="pres">
      <dgm:prSet presAssocID="{8E4D838A-B86A-4D78-9274-E244D46E7A71}" presName="dummy2a" presStyleCnt="0"/>
      <dgm:spPr/>
    </dgm:pt>
    <dgm:pt modelId="{55C4DBFD-87CB-4B1E-B781-A1372BDF61E4}" type="pres">
      <dgm:prSet presAssocID="{8E4D838A-B86A-4D78-9274-E244D46E7A71}" presName="dummy2b" presStyleCnt="0"/>
      <dgm:spPr/>
    </dgm:pt>
    <dgm:pt modelId="{DD627FD0-F6FB-4AD7-83E5-833C9855B2BE}" type="pres">
      <dgm:prSet presAssocID="{8E4D838A-B86A-4D78-9274-E244D46E7A71}" presName="wedge2Tx" presStyleLbl="node1" presStyleIdx="1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B242022-89F3-43EB-8B62-AB08503AAE05}" type="pres">
      <dgm:prSet presAssocID="{8E4D838A-B86A-4D78-9274-E244D46E7A71}" presName="wedge3" presStyleLbl="node1" presStyleIdx="2" presStyleCnt="6"/>
      <dgm:spPr/>
      <dgm:t>
        <a:bodyPr/>
        <a:lstStyle/>
        <a:p>
          <a:endParaRPr lang="en-US"/>
        </a:p>
      </dgm:t>
    </dgm:pt>
    <dgm:pt modelId="{60FD5402-5EB0-4B04-8FFF-D32B238F5DAF}" type="pres">
      <dgm:prSet presAssocID="{8E4D838A-B86A-4D78-9274-E244D46E7A71}" presName="dummy3a" presStyleCnt="0"/>
      <dgm:spPr/>
    </dgm:pt>
    <dgm:pt modelId="{849F595C-A972-44A3-8FBA-711D59ABFD96}" type="pres">
      <dgm:prSet presAssocID="{8E4D838A-B86A-4D78-9274-E244D46E7A71}" presName="dummy3b" presStyleCnt="0"/>
      <dgm:spPr/>
    </dgm:pt>
    <dgm:pt modelId="{86014DB3-1CD1-472A-A7AC-9EFD98B7C64B}" type="pres">
      <dgm:prSet presAssocID="{8E4D838A-B86A-4D78-9274-E244D46E7A71}" presName="wedge3Tx" presStyleLbl="node1" presStyleIdx="2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105C5E8-3DC1-499F-BCB6-C8F5F09AD160}" type="pres">
      <dgm:prSet presAssocID="{8E4D838A-B86A-4D78-9274-E244D46E7A71}" presName="wedge4" presStyleLbl="node1" presStyleIdx="3" presStyleCnt="6"/>
      <dgm:spPr/>
      <dgm:t>
        <a:bodyPr/>
        <a:lstStyle/>
        <a:p>
          <a:endParaRPr lang="en-US"/>
        </a:p>
      </dgm:t>
    </dgm:pt>
    <dgm:pt modelId="{3EDFAD75-13D9-4D49-B0CA-A0F198EE7294}" type="pres">
      <dgm:prSet presAssocID="{8E4D838A-B86A-4D78-9274-E244D46E7A71}" presName="dummy4a" presStyleCnt="0"/>
      <dgm:spPr/>
    </dgm:pt>
    <dgm:pt modelId="{3A8F7BCD-8F66-4672-8623-E4D23D51E431}" type="pres">
      <dgm:prSet presAssocID="{8E4D838A-B86A-4D78-9274-E244D46E7A71}" presName="dummy4b" presStyleCnt="0"/>
      <dgm:spPr/>
    </dgm:pt>
    <dgm:pt modelId="{F761A076-7D8B-4533-81D6-D319F78C49E4}" type="pres">
      <dgm:prSet presAssocID="{8E4D838A-B86A-4D78-9274-E244D46E7A71}" presName="wedge4Tx" presStyleLbl="node1" presStyleIdx="3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2241891-35BB-4C93-A16A-8CB933E13E3B}" type="pres">
      <dgm:prSet presAssocID="{8E4D838A-B86A-4D78-9274-E244D46E7A71}" presName="wedge5" presStyleLbl="node1" presStyleIdx="4" presStyleCnt="6"/>
      <dgm:spPr/>
      <dgm:t>
        <a:bodyPr/>
        <a:lstStyle/>
        <a:p>
          <a:endParaRPr lang="en-US"/>
        </a:p>
      </dgm:t>
    </dgm:pt>
    <dgm:pt modelId="{FAA34C7B-2D0E-4233-BF95-851D9F11CCEF}" type="pres">
      <dgm:prSet presAssocID="{8E4D838A-B86A-4D78-9274-E244D46E7A71}" presName="dummy5a" presStyleCnt="0"/>
      <dgm:spPr/>
    </dgm:pt>
    <dgm:pt modelId="{CBE85AB7-9732-4F32-A331-E28CD55E8222}" type="pres">
      <dgm:prSet presAssocID="{8E4D838A-B86A-4D78-9274-E244D46E7A71}" presName="dummy5b" presStyleCnt="0"/>
      <dgm:spPr/>
    </dgm:pt>
    <dgm:pt modelId="{4B7E75EE-A8C3-467C-B2C4-D35F856F3376}" type="pres">
      <dgm:prSet presAssocID="{8E4D838A-B86A-4D78-9274-E244D46E7A71}" presName="wedge5Tx" presStyleLbl="node1" presStyleIdx="4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9C7F1F0-2709-4171-925E-7730914353CB}" type="pres">
      <dgm:prSet presAssocID="{8E4D838A-B86A-4D78-9274-E244D46E7A71}" presName="wedge6" presStyleLbl="node1" presStyleIdx="5" presStyleCnt="6"/>
      <dgm:spPr/>
      <dgm:t>
        <a:bodyPr/>
        <a:lstStyle/>
        <a:p>
          <a:endParaRPr lang="en-US"/>
        </a:p>
      </dgm:t>
    </dgm:pt>
    <dgm:pt modelId="{251309F4-3AF8-46C4-8BAD-89B9681839F7}" type="pres">
      <dgm:prSet presAssocID="{8E4D838A-B86A-4D78-9274-E244D46E7A71}" presName="dummy6a" presStyleCnt="0"/>
      <dgm:spPr/>
    </dgm:pt>
    <dgm:pt modelId="{150BB6E3-4BA7-4913-AD08-950519031D99}" type="pres">
      <dgm:prSet presAssocID="{8E4D838A-B86A-4D78-9274-E244D46E7A71}" presName="dummy6b" presStyleCnt="0"/>
      <dgm:spPr/>
    </dgm:pt>
    <dgm:pt modelId="{0908697F-3829-4948-96E8-5EDE33A867B7}" type="pres">
      <dgm:prSet presAssocID="{8E4D838A-B86A-4D78-9274-E244D46E7A71}" presName="wedge6Tx" presStyleLbl="node1" presStyleIdx="5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0C8FA04-40D9-416E-8661-5DC57DC4343D}" type="pres">
      <dgm:prSet presAssocID="{4C4FEA89-4149-408F-BCF0-48AA9B8CC8FB}" presName="arrowWedge1" presStyleLbl="fgSibTrans2D1" presStyleIdx="0" presStyleCnt="6"/>
      <dgm:spPr/>
    </dgm:pt>
    <dgm:pt modelId="{85011886-B4ED-4C76-9786-4717EDCDF76D}" type="pres">
      <dgm:prSet presAssocID="{A4D44FF4-BB20-4A22-9BD6-8EBB941F1C4A}" presName="arrowWedge2" presStyleLbl="fgSibTrans2D1" presStyleIdx="1" presStyleCnt="6"/>
      <dgm:spPr/>
    </dgm:pt>
    <dgm:pt modelId="{341D9EC0-5575-4B27-8A3A-3213FC67B446}" type="pres">
      <dgm:prSet presAssocID="{09180747-A6D4-443C-A684-6056932A04C6}" presName="arrowWedge3" presStyleLbl="fgSibTrans2D1" presStyleIdx="2" presStyleCnt="6"/>
      <dgm:spPr/>
    </dgm:pt>
    <dgm:pt modelId="{64F57C23-68D2-4D2B-A8D5-C89EC8606EBA}" type="pres">
      <dgm:prSet presAssocID="{CFF4F188-96B2-4C0B-B932-28FE27CDC46A}" presName="arrowWedge4" presStyleLbl="fgSibTrans2D1" presStyleIdx="3" presStyleCnt="6"/>
      <dgm:spPr/>
    </dgm:pt>
    <dgm:pt modelId="{431869AC-7837-40B1-AE6A-9D350CCFEC9E}" type="pres">
      <dgm:prSet presAssocID="{2CF29E5A-078D-4AD2-9CD7-1266F4B600C4}" presName="arrowWedge5" presStyleLbl="fgSibTrans2D1" presStyleIdx="4" presStyleCnt="6"/>
      <dgm:spPr/>
    </dgm:pt>
    <dgm:pt modelId="{6408BABE-E5C5-4025-B0DC-1CB7E3486226}" type="pres">
      <dgm:prSet presAssocID="{86BFAEA6-508A-4587-A52A-6AAED09AF59A}" presName="arrowWedge6" presStyleLbl="fgSibTrans2D1" presStyleIdx="5" presStyleCnt="6"/>
      <dgm:spPr/>
    </dgm:pt>
  </dgm:ptLst>
  <dgm:cxnLst>
    <dgm:cxn modelId="{B212E97C-4772-4BFD-97E6-E6D1B465F9D2}" type="presOf" srcId="{96E85AC4-89EC-4A27-B774-71C2E4E0B702}" destId="{B9C7F1F0-2709-4171-925E-7730914353CB}" srcOrd="0" destOrd="0" presId="urn:microsoft.com/office/officeart/2005/8/layout/cycle8"/>
    <dgm:cxn modelId="{2164949E-B897-4E28-946E-BF26A8D3B61B}" type="presOf" srcId="{96E85AC4-89EC-4A27-B774-71C2E4E0B702}" destId="{0908697F-3829-4948-96E8-5EDE33A867B7}" srcOrd="1" destOrd="0" presId="urn:microsoft.com/office/officeart/2005/8/layout/cycle8"/>
    <dgm:cxn modelId="{98817030-DB23-47BA-9A81-B55ACDB533E0}" srcId="{8E4D838A-B86A-4D78-9274-E244D46E7A71}" destId="{6BD00665-F695-424B-8E07-A2C6E4BB95A5}" srcOrd="3" destOrd="0" parTransId="{DF894206-0789-48F7-B122-F0E3D9CD0AFA}" sibTransId="{CFF4F188-96B2-4C0B-B932-28FE27CDC46A}"/>
    <dgm:cxn modelId="{DB7C4366-4CA7-4929-8C03-A2A218C9524A}" srcId="{8E4D838A-B86A-4D78-9274-E244D46E7A71}" destId="{BB216FC3-017C-4F9F-96D7-48F042879BD1}" srcOrd="4" destOrd="0" parTransId="{842BBB41-4F64-4E8F-A94E-9A1812DB06BA}" sibTransId="{2CF29E5A-078D-4AD2-9CD7-1266F4B600C4}"/>
    <dgm:cxn modelId="{837A8F1E-0E34-48E6-884A-0C1A5E3ED1C8}" type="presOf" srcId="{8E4D838A-B86A-4D78-9274-E244D46E7A71}" destId="{77503D5B-8443-49D1-8986-B8336307685C}" srcOrd="0" destOrd="0" presId="urn:microsoft.com/office/officeart/2005/8/layout/cycle8"/>
    <dgm:cxn modelId="{A220A647-5C5B-400D-B3DC-44A264634E76}" srcId="{8E4D838A-B86A-4D78-9274-E244D46E7A71}" destId="{6C164E51-79AC-451D-B929-066EB3A44DCA}" srcOrd="0" destOrd="0" parTransId="{56B7BDAA-2562-4C84-9C4F-73A3858F7F1F}" sibTransId="{4C4FEA89-4149-408F-BCF0-48AA9B8CC8FB}"/>
    <dgm:cxn modelId="{7BDCF8EB-C4FF-4DD8-834D-5867D003BEB9}" type="presOf" srcId="{6BD00665-F695-424B-8E07-A2C6E4BB95A5}" destId="{A105C5E8-3DC1-499F-BCB6-C8F5F09AD160}" srcOrd="0" destOrd="0" presId="urn:microsoft.com/office/officeart/2005/8/layout/cycle8"/>
    <dgm:cxn modelId="{2A60E8AC-7BD2-42B1-8EF7-AE6D62B179B8}" type="presOf" srcId="{6BD00665-F695-424B-8E07-A2C6E4BB95A5}" destId="{F761A076-7D8B-4533-81D6-D319F78C49E4}" srcOrd="1" destOrd="0" presId="urn:microsoft.com/office/officeart/2005/8/layout/cycle8"/>
    <dgm:cxn modelId="{DC6FC339-E4ED-4317-8068-6E7D0B0661FE}" type="presOf" srcId="{BB216FC3-017C-4F9F-96D7-48F042879BD1}" destId="{4B7E75EE-A8C3-467C-B2C4-D35F856F3376}" srcOrd="1" destOrd="0" presId="urn:microsoft.com/office/officeart/2005/8/layout/cycle8"/>
    <dgm:cxn modelId="{923DC81D-8B02-458E-9AE2-590A4188CC82}" srcId="{8E4D838A-B86A-4D78-9274-E244D46E7A71}" destId="{DD770A2C-76AA-4841-B445-4BCD6731278B}" srcOrd="1" destOrd="0" parTransId="{4C7EA5D4-AF59-448A-B0BC-FB1231A6BFE4}" sibTransId="{A4D44FF4-BB20-4A22-9BD6-8EBB941F1C4A}"/>
    <dgm:cxn modelId="{60CFBF28-4B4A-49B3-8633-8542BCA01BED}" type="presOf" srcId="{BB216FC3-017C-4F9F-96D7-48F042879BD1}" destId="{C2241891-35BB-4C93-A16A-8CB933E13E3B}" srcOrd="0" destOrd="0" presId="urn:microsoft.com/office/officeart/2005/8/layout/cycle8"/>
    <dgm:cxn modelId="{28834A21-0CB4-488B-9403-714BF1FCF112}" type="presOf" srcId="{CCC6C83C-A930-45FE-954E-0F0B2D5EE8FC}" destId="{86014DB3-1CD1-472A-A7AC-9EFD98B7C64B}" srcOrd="1" destOrd="0" presId="urn:microsoft.com/office/officeart/2005/8/layout/cycle8"/>
    <dgm:cxn modelId="{036C53A0-C9F1-4214-BA8D-7F98E44225D8}" type="presOf" srcId="{DD770A2C-76AA-4841-B445-4BCD6731278B}" destId="{6AD7D42D-5B61-4AE7-9139-1D3E3C0449C2}" srcOrd="0" destOrd="0" presId="urn:microsoft.com/office/officeart/2005/8/layout/cycle8"/>
    <dgm:cxn modelId="{1FB67CAD-03E6-49D5-9A68-FDA45CC97FE7}" type="presOf" srcId="{CCC6C83C-A930-45FE-954E-0F0B2D5EE8FC}" destId="{4B242022-89F3-43EB-8B62-AB08503AAE05}" srcOrd="0" destOrd="0" presId="urn:microsoft.com/office/officeart/2005/8/layout/cycle8"/>
    <dgm:cxn modelId="{DC32154A-1353-4845-AE44-8065F482D5AD}" type="presOf" srcId="{DD770A2C-76AA-4841-B445-4BCD6731278B}" destId="{DD627FD0-F6FB-4AD7-83E5-833C9855B2BE}" srcOrd="1" destOrd="0" presId="urn:microsoft.com/office/officeart/2005/8/layout/cycle8"/>
    <dgm:cxn modelId="{E745FAB7-E936-428A-B8DE-23C09866181C}" type="presOf" srcId="{6C164E51-79AC-451D-B929-066EB3A44DCA}" destId="{F3484A69-C8D3-49B7-B1E1-3E50EE917CBE}" srcOrd="0" destOrd="0" presId="urn:microsoft.com/office/officeart/2005/8/layout/cycle8"/>
    <dgm:cxn modelId="{5FBFD399-4BA1-405D-825E-5408E44E5D25}" srcId="{8E4D838A-B86A-4D78-9274-E244D46E7A71}" destId="{CCC6C83C-A930-45FE-954E-0F0B2D5EE8FC}" srcOrd="2" destOrd="0" parTransId="{46FCF18C-3815-4591-8C42-9833F0A64DF6}" sibTransId="{09180747-A6D4-443C-A684-6056932A04C6}"/>
    <dgm:cxn modelId="{37F3BDD4-EDA8-41E5-A5BC-1D0DE1FD5737}" type="presOf" srcId="{6C164E51-79AC-451D-B929-066EB3A44DCA}" destId="{1379DCBB-11A2-423A-B735-AE11DA7246E3}" srcOrd="1" destOrd="0" presId="urn:microsoft.com/office/officeart/2005/8/layout/cycle8"/>
    <dgm:cxn modelId="{E39B04A9-2748-423B-B98A-27238EA5C937}" srcId="{8E4D838A-B86A-4D78-9274-E244D46E7A71}" destId="{96E85AC4-89EC-4A27-B774-71C2E4E0B702}" srcOrd="5" destOrd="0" parTransId="{455AC17E-15E7-425F-998D-A588A6CC8CC4}" sibTransId="{86BFAEA6-508A-4587-A52A-6AAED09AF59A}"/>
    <dgm:cxn modelId="{B9D27791-4B48-4388-A8FB-ACE1D1745053}" type="presParOf" srcId="{77503D5B-8443-49D1-8986-B8336307685C}" destId="{F3484A69-C8D3-49B7-B1E1-3E50EE917CBE}" srcOrd="0" destOrd="0" presId="urn:microsoft.com/office/officeart/2005/8/layout/cycle8"/>
    <dgm:cxn modelId="{B5AA3CB4-1DDF-4876-B11B-9634C40348EB}" type="presParOf" srcId="{77503D5B-8443-49D1-8986-B8336307685C}" destId="{C9D45CC2-648A-4F7D-A6AE-9DE20AC01251}" srcOrd="1" destOrd="0" presId="urn:microsoft.com/office/officeart/2005/8/layout/cycle8"/>
    <dgm:cxn modelId="{4A3D7FB8-8874-4D1D-B1E9-CAAAA4974B3B}" type="presParOf" srcId="{77503D5B-8443-49D1-8986-B8336307685C}" destId="{E32D4948-4F88-4F9E-B9D3-BE91F36C828E}" srcOrd="2" destOrd="0" presId="urn:microsoft.com/office/officeart/2005/8/layout/cycle8"/>
    <dgm:cxn modelId="{59466822-82E6-428F-8435-52E07A0FEBD8}" type="presParOf" srcId="{77503D5B-8443-49D1-8986-B8336307685C}" destId="{1379DCBB-11A2-423A-B735-AE11DA7246E3}" srcOrd="3" destOrd="0" presId="urn:microsoft.com/office/officeart/2005/8/layout/cycle8"/>
    <dgm:cxn modelId="{2940748C-2ED7-48BE-9111-E8D8DD5C7B04}" type="presParOf" srcId="{77503D5B-8443-49D1-8986-B8336307685C}" destId="{6AD7D42D-5B61-4AE7-9139-1D3E3C0449C2}" srcOrd="4" destOrd="0" presId="urn:microsoft.com/office/officeart/2005/8/layout/cycle8"/>
    <dgm:cxn modelId="{2C47A343-110C-44BB-B40F-27CCEEFF7E46}" type="presParOf" srcId="{77503D5B-8443-49D1-8986-B8336307685C}" destId="{CB6D6998-F634-4F08-8367-4569D40575FF}" srcOrd="5" destOrd="0" presId="urn:microsoft.com/office/officeart/2005/8/layout/cycle8"/>
    <dgm:cxn modelId="{C1570EBC-9A37-46F9-90F5-852F790CE2CA}" type="presParOf" srcId="{77503D5B-8443-49D1-8986-B8336307685C}" destId="{55C4DBFD-87CB-4B1E-B781-A1372BDF61E4}" srcOrd="6" destOrd="0" presId="urn:microsoft.com/office/officeart/2005/8/layout/cycle8"/>
    <dgm:cxn modelId="{2FE5305C-1A30-4F72-99BC-2E0CAF867E46}" type="presParOf" srcId="{77503D5B-8443-49D1-8986-B8336307685C}" destId="{DD627FD0-F6FB-4AD7-83E5-833C9855B2BE}" srcOrd="7" destOrd="0" presId="urn:microsoft.com/office/officeart/2005/8/layout/cycle8"/>
    <dgm:cxn modelId="{E88B0547-F0FB-4F86-91EB-440655632CC7}" type="presParOf" srcId="{77503D5B-8443-49D1-8986-B8336307685C}" destId="{4B242022-89F3-43EB-8B62-AB08503AAE05}" srcOrd="8" destOrd="0" presId="urn:microsoft.com/office/officeart/2005/8/layout/cycle8"/>
    <dgm:cxn modelId="{F95184A8-1D24-46E6-8F76-086FD96A62C9}" type="presParOf" srcId="{77503D5B-8443-49D1-8986-B8336307685C}" destId="{60FD5402-5EB0-4B04-8FFF-D32B238F5DAF}" srcOrd="9" destOrd="0" presId="urn:microsoft.com/office/officeart/2005/8/layout/cycle8"/>
    <dgm:cxn modelId="{0F8810E9-CB85-46D4-A3C9-FB6A28DD60F9}" type="presParOf" srcId="{77503D5B-8443-49D1-8986-B8336307685C}" destId="{849F595C-A972-44A3-8FBA-711D59ABFD96}" srcOrd="10" destOrd="0" presId="urn:microsoft.com/office/officeart/2005/8/layout/cycle8"/>
    <dgm:cxn modelId="{B3B7F80E-25AE-4C86-874A-E37A2AB7ADF0}" type="presParOf" srcId="{77503D5B-8443-49D1-8986-B8336307685C}" destId="{86014DB3-1CD1-472A-A7AC-9EFD98B7C64B}" srcOrd="11" destOrd="0" presId="urn:microsoft.com/office/officeart/2005/8/layout/cycle8"/>
    <dgm:cxn modelId="{8F115BD3-6E68-404A-8A7B-F272F8B7F11F}" type="presParOf" srcId="{77503D5B-8443-49D1-8986-B8336307685C}" destId="{A105C5E8-3DC1-499F-BCB6-C8F5F09AD160}" srcOrd="12" destOrd="0" presId="urn:microsoft.com/office/officeart/2005/8/layout/cycle8"/>
    <dgm:cxn modelId="{261F7E47-64BD-4C7E-8876-ACAE2C1B9E0C}" type="presParOf" srcId="{77503D5B-8443-49D1-8986-B8336307685C}" destId="{3EDFAD75-13D9-4D49-B0CA-A0F198EE7294}" srcOrd="13" destOrd="0" presId="urn:microsoft.com/office/officeart/2005/8/layout/cycle8"/>
    <dgm:cxn modelId="{D5691338-B951-4E6F-B9E2-921032C8DE84}" type="presParOf" srcId="{77503D5B-8443-49D1-8986-B8336307685C}" destId="{3A8F7BCD-8F66-4672-8623-E4D23D51E431}" srcOrd="14" destOrd="0" presId="urn:microsoft.com/office/officeart/2005/8/layout/cycle8"/>
    <dgm:cxn modelId="{D8A36417-F507-43FD-919A-19A92D15C042}" type="presParOf" srcId="{77503D5B-8443-49D1-8986-B8336307685C}" destId="{F761A076-7D8B-4533-81D6-D319F78C49E4}" srcOrd="15" destOrd="0" presId="urn:microsoft.com/office/officeart/2005/8/layout/cycle8"/>
    <dgm:cxn modelId="{B75B8DA1-AEF4-430B-8010-ADB9A642A147}" type="presParOf" srcId="{77503D5B-8443-49D1-8986-B8336307685C}" destId="{C2241891-35BB-4C93-A16A-8CB933E13E3B}" srcOrd="16" destOrd="0" presId="urn:microsoft.com/office/officeart/2005/8/layout/cycle8"/>
    <dgm:cxn modelId="{B3CB2EFB-327D-4C3A-87F3-39898152E11D}" type="presParOf" srcId="{77503D5B-8443-49D1-8986-B8336307685C}" destId="{FAA34C7B-2D0E-4233-BF95-851D9F11CCEF}" srcOrd="17" destOrd="0" presId="urn:microsoft.com/office/officeart/2005/8/layout/cycle8"/>
    <dgm:cxn modelId="{3A9CA1F7-FDBC-4234-8002-B9C89F194A76}" type="presParOf" srcId="{77503D5B-8443-49D1-8986-B8336307685C}" destId="{CBE85AB7-9732-4F32-A331-E28CD55E8222}" srcOrd="18" destOrd="0" presId="urn:microsoft.com/office/officeart/2005/8/layout/cycle8"/>
    <dgm:cxn modelId="{32F29D87-E6E8-4BC6-8EAB-234BC59B1488}" type="presParOf" srcId="{77503D5B-8443-49D1-8986-B8336307685C}" destId="{4B7E75EE-A8C3-467C-B2C4-D35F856F3376}" srcOrd="19" destOrd="0" presId="urn:microsoft.com/office/officeart/2005/8/layout/cycle8"/>
    <dgm:cxn modelId="{ED8EA40D-70C6-47B6-8C54-D7E2514A1EE4}" type="presParOf" srcId="{77503D5B-8443-49D1-8986-B8336307685C}" destId="{B9C7F1F0-2709-4171-925E-7730914353CB}" srcOrd="20" destOrd="0" presId="urn:microsoft.com/office/officeart/2005/8/layout/cycle8"/>
    <dgm:cxn modelId="{69982862-A408-4D09-8004-C74D347134AB}" type="presParOf" srcId="{77503D5B-8443-49D1-8986-B8336307685C}" destId="{251309F4-3AF8-46C4-8BAD-89B9681839F7}" srcOrd="21" destOrd="0" presId="urn:microsoft.com/office/officeart/2005/8/layout/cycle8"/>
    <dgm:cxn modelId="{1E8EA079-73E4-4972-8663-A2A0507AF343}" type="presParOf" srcId="{77503D5B-8443-49D1-8986-B8336307685C}" destId="{150BB6E3-4BA7-4913-AD08-950519031D99}" srcOrd="22" destOrd="0" presId="urn:microsoft.com/office/officeart/2005/8/layout/cycle8"/>
    <dgm:cxn modelId="{DE07854B-B8B4-4575-9A2E-E90C1067BD61}" type="presParOf" srcId="{77503D5B-8443-49D1-8986-B8336307685C}" destId="{0908697F-3829-4948-96E8-5EDE33A867B7}" srcOrd="23" destOrd="0" presId="urn:microsoft.com/office/officeart/2005/8/layout/cycle8"/>
    <dgm:cxn modelId="{0828BB19-FB0E-44E5-9D65-3D2E587F0852}" type="presParOf" srcId="{77503D5B-8443-49D1-8986-B8336307685C}" destId="{00C8FA04-40D9-416E-8661-5DC57DC4343D}" srcOrd="24" destOrd="0" presId="urn:microsoft.com/office/officeart/2005/8/layout/cycle8"/>
    <dgm:cxn modelId="{F3CB71B7-B781-4639-9360-DF79264CED5D}" type="presParOf" srcId="{77503D5B-8443-49D1-8986-B8336307685C}" destId="{85011886-B4ED-4C76-9786-4717EDCDF76D}" srcOrd="25" destOrd="0" presId="urn:microsoft.com/office/officeart/2005/8/layout/cycle8"/>
    <dgm:cxn modelId="{80B1B7DD-42D8-4AE1-AEB3-04A43E5A71F6}" type="presParOf" srcId="{77503D5B-8443-49D1-8986-B8336307685C}" destId="{341D9EC0-5575-4B27-8A3A-3213FC67B446}" srcOrd="26" destOrd="0" presId="urn:microsoft.com/office/officeart/2005/8/layout/cycle8"/>
    <dgm:cxn modelId="{E0828B92-5915-42DF-8AA5-BB35ABE20602}" type="presParOf" srcId="{77503D5B-8443-49D1-8986-B8336307685C}" destId="{64F57C23-68D2-4D2B-A8D5-C89EC8606EBA}" srcOrd="27" destOrd="0" presId="urn:microsoft.com/office/officeart/2005/8/layout/cycle8"/>
    <dgm:cxn modelId="{6F2B0685-67C6-4720-A6E0-F74DFF504EDA}" type="presParOf" srcId="{77503D5B-8443-49D1-8986-B8336307685C}" destId="{431869AC-7837-40B1-AE6A-9D350CCFEC9E}" srcOrd="28" destOrd="0" presId="urn:microsoft.com/office/officeart/2005/8/layout/cycle8"/>
    <dgm:cxn modelId="{245398B7-3A78-49A1-8097-06F038C09DC5}" type="presParOf" srcId="{77503D5B-8443-49D1-8986-B8336307685C}" destId="{6408BABE-E5C5-4025-B0DC-1CB7E3486226}" srcOrd="29" destOrd="0" presId="urn:microsoft.com/office/officeart/2005/8/layout/cycle8"/>
  </dgm:cxnLst>
  <dgm:bg>
    <a:solidFill>
      <a:schemeClr val="bg1"/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8C801AD-E9AF-4B32-8749-8988CBCD4801}" type="doc">
      <dgm:prSet loTypeId="urn:microsoft.com/office/officeart/2005/8/layout/hChevron3" loCatId="process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7EDFA9C2-D7A9-4895-849D-ECBAA705B339}">
      <dgm:prSet phldrT="[Text]" custT="1"/>
      <dgm:spPr/>
      <dgm:t>
        <a:bodyPr/>
        <a:lstStyle/>
        <a:p>
          <a:r>
            <a:rPr lang="en-US" sz="1100" dirty="0" smtClean="0">
              <a:solidFill>
                <a:schemeClr val="tx1">
                  <a:lumMod val="65000"/>
                  <a:lumOff val="35000"/>
                </a:schemeClr>
              </a:solidFill>
            </a:rPr>
            <a:t>Scope the Impact</a:t>
          </a:r>
          <a:endParaRPr lang="en-US" sz="1100" dirty="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420A65C8-ED6F-4D22-8D08-80C909CF6555}" type="parTrans" cxnId="{49B71D43-0625-46E6-B7AC-9EDCDCF7AF37}">
      <dgm:prSet/>
      <dgm:spPr/>
      <dgm:t>
        <a:bodyPr/>
        <a:lstStyle/>
        <a:p>
          <a:endParaRPr lang="en-US" sz="110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D346DF1B-ABDC-4390-89B7-0E6583C600C5}" type="sibTrans" cxnId="{49B71D43-0625-46E6-B7AC-9EDCDCF7AF37}">
      <dgm:prSet/>
      <dgm:spPr/>
      <dgm:t>
        <a:bodyPr/>
        <a:lstStyle/>
        <a:p>
          <a:endParaRPr lang="en-US" sz="110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8EC2392E-9CFC-4922-87B2-B34B79F027D8}">
      <dgm:prSet phldrT="[Text]" custT="1"/>
      <dgm:spPr>
        <a:solidFill>
          <a:srgbClr val="C2E463"/>
        </a:solidFill>
      </dgm:spPr>
      <dgm:t>
        <a:bodyPr/>
        <a:lstStyle/>
        <a:p>
          <a:r>
            <a:rPr lang="en-US" sz="1100" dirty="0" smtClean="0">
              <a:solidFill>
                <a:schemeClr val="tx1">
                  <a:lumMod val="65000"/>
                  <a:lumOff val="35000"/>
                </a:schemeClr>
              </a:solidFill>
            </a:rPr>
            <a:t>Understand Current State</a:t>
          </a:r>
          <a:endParaRPr lang="en-US" sz="1100" dirty="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746C424C-EDA3-417E-A89B-394234337C70}" type="parTrans" cxnId="{6D940FBE-8CD0-441A-803A-3F32A0F2CF74}">
      <dgm:prSet/>
      <dgm:spPr/>
      <dgm:t>
        <a:bodyPr/>
        <a:lstStyle/>
        <a:p>
          <a:endParaRPr lang="en-US" sz="110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EF412D07-D2B2-45C4-993E-84FAA82D7EBE}" type="sibTrans" cxnId="{6D940FBE-8CD0-441A-803A-3F32A0F2CF74}">
      <dgm:prSet/>
      <dgm:spPr/>
      <dgm:t>
        <a:bodyPr/>
        <a:lstStyle/>
        <a:p>
          <a:endParaRPr lang="en-US" sz="110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857EF09E-4BCD-47B5-AE97-A85FC9317908}">
      <dgm:prSet phldrT="[Text]" custT="1"/>
      <dgm:spPr/>
      <dgm:t>
        <a:bodyPr/>
        <a:lstStyle/>
        <a:p>
          <a:r>
            <a:rPr lang="en-US" sz="1100" dirty="0" smtClean="0">
              <a:solidFill>
                <a:schemeClr val="tx1">
                  <a:lumMod val="65000"/>
                  <a:lumOff val="35000"/>
                </a:schemeClr>
              </a:solidFill>
            </a:rPr>
            <a:t>Governance &amp; Support</a:t>
          </a:r>
          <a:endParaRPr lang="en-US" sz="1100" dirty="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E1F0F8A2-98B1-4470-A523-2C3B879A662D}" type="parTrans" cxnId="{9AE06D5F-B2C2-48D7-BD9D-1E8E6E46D3D9}">
      <dgm:prSet/>
      <dgm:spPr/>
      <dgm:t>
        <a:bodyPr/>
        <a:lstStyle/>
        <a:p>
          <a:endParaRPr lang="en-US" sz="110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1D5DC1EF-3680-44D2-A8BC-295A2E416BD5}" type="sibTrans" cxnId="{9AE06D5F-B2C2-48D7-BD9D-1E8E6E46D3D9}">
      <dgm:prSet/>
      <dgm:spPr/>
      <dgm:t>
        <a:bodyPr/>
        <a:lstStyle/>
        <a:p>
          <a:endParaRPr lang="en-US" sz="110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FBB402B8-6255-4CEF-BA3D-EAEDD6AC1155}" type="pres">
      <dgm:prSet presAssocID="{D8C801AD-E9AF-4B32-8749-8988CBCD4801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A7088FD-3C32-41C7-90DC-037034A0E0D0}" type="pres">
      <dgm:prSet presAssocID="{7EDFA9C2-D7A9-4895-849D-ECBAA705B339}" presName="parTxOnly" presStyleLbl="node1" presStyleIdx="0" presStyleCnt="3" custLinFactNeighborY="20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ED8D146-B684-4CA3-9C8B-C89383C64C45}" type="pres">
      <dgm:prSet presAssocID="{D346DF1B-ABDC-4390-89B7-0E6583C600C5}" presName="parSpace" presStyleCnt="0"/>
      <dgm:spPr/>
    </dgm:pt>
    <dgm:pt modelId="{6395A2B1-CC95-4A3F-A413-F9D09ECAB4CB}" type="pres">
      <dgm:prSet presAssocID="{8EC2392E-9CFC-4922-87B2-B34B79F027D8}" presName="parTxOnly" presStyleLbl="node1" presStyleIdx="1" presStyleCnt="3" custScaleX="133368" custLinFactNeighborY="20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A703E2E-7103-4CD3-9050-00ADBFE2FCD2}" type="pres">
      <dgm:prSet presAssocID="{EF412D07-D2B2-45C4-993E-84FAA82D7EBE}" presName="parSpace" presStyleCnt="0"/>
      <dgm:spPr/>
    </dgm:pt>
    <dgm:pt modelId="{3D744EE7-062B-45CB-80EA-3FC065B5F4E5}" type="pres">
      <dgm:prSet presAssocID="{857EF09E-4BCD-47B5-AE97-A85FC9317908}" presName="parTxOnly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6D40F20E-6E52-4D6F-882F-379D42D22F5F}" type="presOf" srcId="{D8C801AD-E9AF-4B32-8749-8988CBCD4801}" destId="{FBB402B8-6255-4CEF-BA3D-EAEDD6AC1155}" srcOrd="0" destOrd="0" presId="urn:microsoft.com/office/officeart/2005/8/layout/hChevron3"/>
    <dgm:cxn modelId="{34124A11-6872-44F5-9453-91DFE1B0B8AC}" type="presOf" srcId="{8EC2392E-9CFC-4922-87B2-B34B79F027D8}" destId="{6395A2B1-CC95-4A3F-A413-F9D09ECAB4CB}" srcOrd="0" destOrd="0" presId="urn:microsoft.com/office/officeart/2005/8/layout/hChevron3"/>
    <dgm:cxn modelId="{49B71D43-0625-46E6-B7AC-9EDCDCF7AF37}" srcId="{D8C801AD-E9AF-4B32-8749-8988CBCD4801}" destId="{7EDFA9C2-D7A9-4895-849D-ECBAA705B339}" srcOrd="0" destOrd="0" parTransId="{420A65C8-ED6F-4D22-8D08-80C909CF6555}" sibTransId="{D346DF1B-ABDC-4390-89B7-0E6583C600C5}"/>
    <dgm:cxn modelId="{DFE04377-3B98-492C-BE6E-CD9F7C40483A}" type="presOf" srcId="{857EF09E-4BCD-47B5-AE97-A85FC9317908}" destId="{3D744EE7-062B-45CB-80EA-3FC065B5F4E5}" srcOrd="0" destOrd="0" presId="urn:microsoft.com/office/officeart/2005/8/layout/hChevron3"/>
    <dgm:cxn modelId="{6D940FBE-8CD0-441A-803A-3F32A0F2CF74}" srcId="{D8C801AD-E9AF-4B32-8749-8988CBCD4801}" destId="{8EC2392E-9CFC-4922-87B2-B34B79F027D8}" srcOrd="1" destOrd="0" parTransId="{746C424C-EDA3-417E-A89B-394234337C70}" sibTransId="{EF412D07-D2B2-45C4-993E-84FAA82D7EBE}"/>
    <dgm:cxn modelId="{9AE06D5F-B2C2-48D7-BD9D-1E8E6E46D3D9}" srcId="{D8C801AD-E9AF-4B32-8749-8988CBCD4801}" destId="{857EF09E-4BCD-47B5-AE97-A85FC9317908}" srcOrd="2" destOrd="0" parTransId="{E1F0F8A2-98B1-4470-A523-2C3B879A662D}" sibTransId="{1D5DC1EF-3680-44D2-A8BC-295A2E416BD5}"/>
    <dgm:cxn modelId="{E9CC0475-E097-4710-A7C6-90E57173E5FC}" type="presOf" srcId="{7EDFA9C2-D7A9-4895-849D-ECBAA705B339}" destId="{2A7088FD-3C32-41C7-90DC-037034A0E0D0}" srcOrd="0" destOrd="0" presId="urn:microsoft.com/office/officeart/2005/8/layout/hChevron3"/>
    <dgm:cxn modelId="{BDD0DD32-4422-4CC9-A8E3-8C577965CCEF}" type="presParOf" srcId="{FBB402B8-6255-4CEF-BA3D-EAEDD6AC1155}" destId="{2A7088FD-3C32-41C7-90DC-037034A0E0D0}" srcOrd="0" destOrd="0" presId="urn:microsoft.com/office/officeart/2005/8/layout/hChevron3"/>
    <dgm:cxn modelId="{48186275-79DB-4D78-8FCF-FDA72369BDC7}" type="presParOf" srcId="{FBB402B8-6255-4CEF-BA3D-EAEDD6AC1155}" destId="{9ED8D146-B684-4CA3-9C8B-C89383C64C45}" srcOrd="1" destOrd="0" presId="urn:microsoft.com/office/officeart/2005/8/layout/hChevron3"/>
    <dgm:cxn modelId="{4D7464CC-6C3C-4272-990C-5080BBF277B5}" type="presParOf" srcId="{FBB402B8-6255-4CEF-BA3D-EAEDD6AC1155}" destId="{6395A2B1-CC95-4A3F-A413-F9D09ECAB4CB}" srcOrd="2" destOrd="0" presId="urn:microsoft.com/office/officeart/2005/8/layout/hChevron3"/>
    <dgm:cxn modelId="{38B50051-3C50-482E-A02F-4A6742807041}" type="presParOf" srcId="{FBB402B8-6255-4CEF-BA3D-EAEDD6AC1155}" destId="{8A703E2E-7103-4CD3-9050-00ADBFE2FCD2}" srcOrd="3" destOrd="0" presId="urn:microsoft.com/office/officeart/2005/8/layout/hChevron3"/>
    <dgm:cxn modelId="{E608FBA9-2B5A-41CC-95B7-434814AE26FB}" type="presParOf" srcId="{FBB402B8-6255-4CEF-BA3D-EAEDD6AC1155}" destId="{3D744EE7-062B-45CB-80EA-3FC065B5F4E5}" srcOrd="4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D8C801AD-E9AF-4B32-8749-8988CBCD4801}" type="doc">
      <dgm:prSet loTypeId="urn:microsoft.com/office/officeart/2005/8/layout/hChevron3" loCatId="process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7EDFA9C2-D7A9-4895-849D-ECBAA705B339}">
      <dgm:prSet phldrT="[Text]" custT="1"/>
      <dgm:spPr/>
      <dgm:t>
        <a:bodyPr/>
        <a:lstStyle/>
        <a:p>
          <a:r>
            <a:rPr lang="en-US" sz="1100" dirty="0" smtClean="0">
              <a:solidFill>
                <a:schemeClr val="tx1">
                  <a:lumMod val="65000"/>
                  <a:lumOff val="35000"/>
                </a:schemeClr>
              </a:solidFill>
            </a:rPr>
            <a:t>Identify KBDs</a:t>
          </a:r>
          <a:endParaRPr lang="en-US" sz="1100" dirty="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420A65C8-ED6F-4D22-8D08-80C909CF6555}" type="parTrans" cxnId="{49B71D43-0625-46E6-B7AC-9EDCDCF7AF37}">
      <dgm:prSet/>
      <dgm:spPr/>
      <dgm:t>
        <a:bodyPr/>
        <a:lstStyle/>
        <a:p>
          <a:endParaRPr lang="en-US" sz="110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D346DF1B-ABDC-4390-89B7-0E6583C600C5}" type="sibTrans" cxnId="{49B71D43-0625-46E6-B7AC-9EDCDCF7AF37}">
      <dgm:prSet/>
      <dgm:spPr/>
      <dgm:t>
        <a:bodyPr/>
        <a:lstStyle/>
        <a:p>
          <a:endParaRPr lang="en-US" sz="110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8EC2392E-9CFC-4922-87B2-B34B79F027D8}">
      <dgm:prSet phldrT="[Text]" custT="1"/>
      <dgm:spPr>
        <a:solidFill>
          <a:srgbClr val="C2E463"/>
        </a:solidFill>
      </dgm:spPr>
      <dgm:t>
        <a:bodyPr/>
        <a:lstStyle/>
        <a:p>
          <a:r>
            <a:rPr lang="en-US" sz="1100" dirty="0" smtClean="0">
              <a:solidFill>
                <a:schemeClr val="tx1">
                  <a:lumMod val="65000"/>
                  <a:lumOff val="35000"/>
                </a:schemeClr>
              </a:solidFill>
            </a:rPr>
            <a:t>Create service models</a:t>
          </a:r>
          <a:endParaRPr lang="en-US" sz="1100" dirty="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746C424C-EDA3-417E-A89B-394234337C70}" type="parTrans" cxnId="{6D940FBE-8CD0-441A-803A-3F32A0F2CF74}">
      <dgm:prSet/>
      <dgm:spPr/>
      <dgm:t>
        <a:bodyPr/>
        <a:lstStyle/>
        <a:p>
          <a:endParaRPr lang="en-US" sz="110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EF412D07-D2B2-45C4-993E-84FAA82D7EBE}" type="sibTrans" cxnId="{6D940FBE-8CD0-441A-803A-3F32A0F2CF74}">
      <dgm:prSet/>
      <dgm:spPr/>
      <dgm:t>
        <a:bodyPr/>
        <a:lstStyle/>
        <a:p>
          <a:endParaRPr lang="en-US" sz="110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857EF09E-4BCD-47B5-AE97-A85FC9317908}">
      <dgm:prSet phldrT="[Text]" custT="1"/>
      <dgm:spPr/>
      <dgm:t>
        <a:bodyPr/>
        <a:lstStyle/>
        <a:p>
          <a:r>
            <a:rPr lang="en-US" sz="1100" dirty="0" smtClean="0">
              <a:solidFill>
                <a:schemeClr val="tx1">
                  <a:lumMod val="65000"/>
                  <a:lumOff val="35000"/>
                </a:schemeClr>
              </a:solidFill>
            </a:rPr>
            <a:t>Impact Analysis</a:t>
          </a:r>
          <a:endParaRPr lang="en-US" sz="1100" dirty="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E1F0F8A2-98B1-4470-A523-2C3B879A662D}" type="parTrans" cxnId="{9AE06D5F-B2C2-48D7-BD9D-1E8E6E46D3D9}">
      <dgm:prSet/>
      <dgm:spPr/>
      <dgm:t>
        <a:bodyPr/>
        <a:lstStyle/>
        <a:p>
          <a:endParaRPr lang="en-US" sz="110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1D5DC1EF-3680-44D2-A8BC-295A2E416BD5}" type="sibTrans" cxnId="{9AE06D5F-B2C2-48D7-BD9D-1E8E6E46D3D9}">
      <dgm:prSet/>
      <dgm:spPr/>
      <dgm:t>
        <a:bodyPr/>
        <a:lstStyle/>
        <a:p>
          <a:endParaRPr lang="en-US" sz="110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FBB402B8-6255-4CEF-BA3D-EAEDD6AC1155}" type="pres">
      <dgm:prSet presAssocID="{D8C801AD-E9AF-4B32-8749-8988CBCD4801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A7088FD-3C32-41C7-90DC-037034A0E0D0}" type="pres">
      <dgm:prSet presAssocID="{7EDFA9C2-D7A9-4895-849D-ECBAA705B339}" presName="parTxOnly" presStyleLbl="node1" presStyleIdx="0" presStyleCnt="3" custLinFactNeighborY="20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ED8D146-B684-4CA3-9C8B-C89383C64C45}" type="pres">
      <dgm:prSet presAssocID="{D346DF1B-ABDC-4390-89B7-0E6583C600C5}" presName="parSpace" presStyleCnt="0"/>
      <dgm:spPr/>
    </dgm:pt>
    <dgm:pt modelId="{6395A2B1-CC95-4A3F-A413-F9D09ECAB4CB}" type="pres">
      <dgm:prSet presAssocID="{8EC2392E-9CFC-4922-87B2-B34B79F027D8}" presName="parTxOnly" presStyleLbl="node1" presStyleIdx="1" presStyleCnt="3" custScaleX="133368" custLinFactNeighborY="20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A703E2E-7103-4CD3-9050-00ADBFE2FCD2}" type="pres">
      <dgm:prSet presAssocID="{EF412D07-D2B2-45C4-993E-84FAA82D7EBE}" presName="parSpace" presStyleCnt="0"/>
      <dgm:spPr/>
    </dgm:pt>
    <dgm:pt modelId="{3D744EE7-062B-45CB-80EA-3FC065B5F4E5}" type="pres">
      <dgm:prSet presAssocID="{857EF09E-4BCD-47B5-AE97-A85FC9317908}" presName="parTxOnly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D4BD5BBF-7B0F-4603-8CD7-03A03DE572BF}" type="presOf" srcId="{7EDFA9C2-D7A9-4895-849D-ECBAA705B339}" destId="{2A7088FD-3C32-41C7-90DC-037034A0E0D0}" srcOrd="0" destOrd="0" presId="urn:microsoft.com/office/officeart/2005/8/layout/hChevron3"/>
    <dgm:cxn modelId="{88A9F932-89A7-47E8-BCBA-03AD51013A9E}" type="presOf" srcId="{8EC2392E-9CFC-4922-87B2-B34B79F027D8}" destId="{6395A2B1-CC95-4A3F-A413-F9D09ECAB4CB}" srcOrd="0" destOrd="0" presId="urn:microsoft.com/office/officeart/2005/8/layout/hChevron3"/>
    <dgm:cxn modelId="{7618A7CD-E7F6-4325-8659-F2945E74A0A3}" type="presOf" srcId="{857EF09E-4BCD-47B5-AE97-A85FC9317908}" destId="{3D744EE7-062B-45CB-80EA-3FC065B5F4E5}" srcOrd="0" destOrd="0" presId="urn:microsoft.com/office/officeart/2005/8/layout/hChevron3"/>
    <dgm:cxn modelId="{56425E0B-FD80-4304-A28B-1B090E352F2C}" type="presOf" srcId="{D8C801AD-E9AF-4B32-8749-8988CBCD4801}" destId="{FBB402B8-6255-4CEF-BA3D-EAEDD6AC1155}" srcOrd="0" destOrd="0" presId="urn:microsoft.com/office/officeart/2005/8/layout/hChevron3"/>
    <dgm:cxn modelId="{49B71D43-0625-46E6-B7AC-9EDCDCF7AF37}" srcId="{D8C801AD-E9AF-4B32-8749-8988CBCD4801}" destId="{7EDFA9C2-D7A9-4895-849D-ECBAA705B339}" srcOrd="0" destOrd="0" parTransId="{420A65C8-ED6F-4D22-8D08-80C909CF6555}" sibTransId="{D346DF1B-ABDC-4390-89B7-0E6583C600C5}"/>
    <dgm:cxn modelId="{6D940FBE-8CD0-441A-803A-3F32A0F2CF74}" srcId="{D8C801AD-E9AF-4B32-8749-8988CBCD4801}" destId="{8EC2392E-9CFC-4922-87B2-B34B79F027D8}" srcOrd="1" destOrd="0" parTransId="{746C424C-EDA3-417E-A89B-394234337C70}" sibTransId="{EF412D07-D2B2-45C4-993E-84FAA82D7EBE}"/>
    <dgm:cxn modelId="{9AE06D5F-B2C2-48D7-BD9D-1E8E6E46D3D9}" srcId="{D8C801AD-E9AF-4B32-8749-8988CBCD4801}" destId="{857EF09E-4BCD-47B5-AE97-A85FC9317908}" srcOrd="2" destOrd="0" parTransId="{E1F0F8A2-98B1-4470-A523-2C3B879A662D}" sibTransId="{1D5DC1EF-3680-44D2-A8BC-295A2E416BD5}"/>
    <dgm:cxn modelId="{8263A3C2-EE8C-4D53-95D7-47BD9DF8AE01}" type="presParOf" srcId="{FBB402B8-6255-4CEF-BA3D-EAEDD6AC1155}" destId="{2A7088FD-3C32-41C7-90DC-037034A0E0D0}" srcOrd="0" destOrd="0" presId="urn:microsoft.com/office/officeart/2005/8/layout/hChevron3"/>
    <dgm:cxn modelId="{7AEDAB8F-E9AE-4967-A823-353602142C6F}" type="presParOf" srcId="{FBB402B8-6255-4CEF-BA3D-EAEDD6AC1155}" destId="{9ED8D146-B684-4CA3-9C8B-C89383C64C45}" srcOrd="1" destOrd="0" presId="urn:microsoft.com/office/officeart/2005/8/layout/hChevron3"/>
    <dgm:cxn modelId="{5A0AC10B-F52C-4577-AA93-AF740131BC2C}" type="presParOf" srcId="{FBB402B8-6255-4CEF-BA3D-EAEDD6AC1155}" destId="{6395A2B1-CC95-4A3F-A413-F9D09ECAB4CB}" srcOrd="2" destOrd="0" presId="urn:microsoft.com/office/officeart/2005/8/layout/hChevron3"/>
    <dgm:cxn modelId="{4E1115DA-822F-48A3-9CB6-9E271E8D481A}" type="presParOf" srcId="{FBB402B8-6255-4CEF-BA3D-EAEDD6AC1155}" destId="{8A703E2E-7103-4CD3-9050-00ADBFE2FCD2}" srcOrd="3" destOrd="0" presId="urn:microsoft.com/office/officeart/2005/8/layout/hChevron3"/>
    <dgm:cxn modelId="{1EBD2C72-D580-4CD8-B852-C534AE3812E0}" type="presParOf" srcId="{FBB402B8-6255-4CEF-BA3D-EAEDD6AC1155}" destId="{3D744EE7-062B-45CB-80EA-3FC065B5F4E5}" srcOrd="4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D8C801AD-E9AF-4B32-8749-8988CBCD4801}" type="doc">
      <dgm:prSet loTypeId="urn:microsoft.com/office/officeart/2005/8/layout/hChevron3" loCatId="process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7EDFA9C2-D7A9-4895-849D-ECBAA705B339}">
      <dgm:prSet phldrT="[Text]" custT="1"/>
      <dgm:spPr/>
      <dgm:t>
        <a:bodyPr/>
        <a:lstStyle/>
        <a:p>
          <a:r>
            <a:rPr lang="en-US" sz="1100" dirty="0" smtClean="0">
              <a:solidFill>
                <a:schemeClr val="tx1">
                  <a:lumMod val="65000"/>
                  <a:lumOff val="35000"/>
                </a:schemeClr>
              </a:solidFill>
            </a:rPr>
            <a:t>Scope the data</a:t>
          </a:r>
          <a:endParaRPr lang="en-US" sz="1100" dirty="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420A65C8-ED6F-4D22-8D08-80C909CF6555}" type="parTrans" cxnId="{49B71D43-0625-46E6-B7AC-9EDCDCF7AF37}">
      <dgm:prSet/>
      <dgm:spPr/>
      <dgm:t>
        <a:bodyPr/>
        <a:lstStyle/>
        <a:p>
          <a:endParaRPr lang="en-US" sz="110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D346DF1B-ABDC-4390-89B7-0E6583C600C5}" type="sibTrans" cxnId="{49B71D43-0625-46E6-B7AC-9EDCDCF7AF37}">
      <dgm:prSet/>
      <dgm:spPr/>
      <dgm:t>
        <a:bodyPr/>
        <a:lstStyle/>
        <a:p>
          <a:endParaRPr lang="en-US" sz="110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8EC2392E-9CFC-4922-87B2-B34B79F027D8}">
      <dgm:prSet phldrT="[Text]" custT="1"/>
      <dgm:spPr>
        <a:solidFill>
          <a:srgbClr val="C2E463"/>
        </a:solidFill>
      </dgm:spPr>
      <dgm:t>
        <a:bodyPr/>
        <a:lstStyle/>
        <a:p>
          <a:r>
            <a:rPr lang="en-US" sz="1100" dirty="0" smtClean="0">
              <a:solidFill>
                <a:schemeClr val="tx1">
                  <a:lumMod val="65000"/>
                  <a:lumOff val="35000"/>
                </a:schemeClr>
              </a:solidFill>
            </a:rPr>
            <a:t>Develop architecture</a:t>
          </a:r>
          <a:endParaRPr lang="en-US" sz="1100" dirty="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746C424C-EDA3-417E-A89B-394234337C70}" type="parTrans" cxnId="{6D940FBE-8CD0-441A-803A-3F32A0F2CF74}">
      <dgm:prSet/>
      <dgm:spPr/>
      <dgm:t>
        <a:bodyPr/>
        <a:lstStyle/>
        <a:p>
          <a:endParaRPr lang="en-US" sz="110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EF412D07-D2B2-45C4-993E-84FAA82D7EBE}" type="sibTrans" cxnId="{6D940FBE-8CD0-441A-803A-3F32A0F2CF74}">
      <dgm:prSet/>
      <dgm:spPr/>
      <dgm:t>
        <a:bodyPr/>
        <a:lstStyle/>
        <a:p>
          <a:endParaRPr lang="en-US" sz="110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857EF09E-4BCD-47B5-AE97-A85FC9317908}">
      <dgm:prSet phldrT="[Text]" custT="1"/>
      <dgm:spPr/>
      <dgm:t>
        <a:bodyPr/>
        <a:lstStyle/>
        <a:p>
          <a:r>
            <a:rPr lang="en-US" sz="1100" dirty="0" smtClean="0">
              <a:solidFill>
                <a:schemeClr val="tx1">
                  <a:lumMod val="65000"/>
                  <a:lumOff val="35000"/>
                </a:schemeClr>
              </a:solidFill>
            </a:rPr>
            <a:t>Build the roadmap</a:t>
          </a:r>
          <a:endParaRPr lang="en-US" sz="1100" dirty="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E1F0F8A2-98B1-4470-A523-2C3B879A662D}" type="parTrans" cxnId="{9AE06D5F-B2C2-48D7-BD9D-1E8E6E46D3D9}">
      <dgm:prSet/>
      <dgm:spPr/>
      <dgm:t>
        <a:bodyPr/>
        <a:lstStyle/>
        <a:p>
          <a:endParaRPr lang="en-US" sz="110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1D5DC1EF-3680-44D2-A8BC-295A2E416BD5}" type="sibTrans" cxnId="{9AE06D5F-B2C2-48D7-BD9D-1E8E6E46D3D9}">
      <dgm:prSet/>
      <dgm:spPr/>
      <dgm:t>
        <a:bodyPr/>
        <a:lstStyle/>
        <a:p>
          <a:endParaRPr lang="en-US" sz="110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FBB402B8-6255-4CEF-BA3D-EAEDD6AC1155}" type="pres">
      <dgm:prSet presAssocID="{D8C801AD-E9AF-4B32-8749-8988CBCD4801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A7088FD-3C32-41C7-90DC-037034A0E0D0}" type="pres">
      <dgm:prSet presAssocID="{7EDFA9C2-D7A9-4895-849D-ECBAA705B339}" presName="parTxOnly" presStyleLbl="node1" presStyleIdx="0" presStyleCnt="3" custLinFactNeighborY="-282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ED8D146-B684-4CA3-9C8B-C89383C64C45}" type="pres">
      <dgm:prSet presAssocID="{D346DF1B-ABDC-4390-89B7-0E6583C600C5}" presName="parSpace" presStyleCnt="0"/>
      <dgm:spPr/>
    </dgm:pt>
    <dgm:pt modelId="{6395A2B1-CC95-4A3F-A413-F9D09ECAB4CB}" type="pres">
      <dgm:prSet presAssocID="{8EC2392E-9CFC-4922-87B2-B34B79F027D8}" presName="parTxOnly" presStyleLbl="node1" presStyleIdx="1" presStyleCnt="3" custScaleX="133368" custLinFactNeighborY="20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A703E2E-7103-4CD3-9050-00ADBFE2FCD2}" type="pres">
      <dgm:prSet presAssocID="{EF412D07-D2B2-45C4-993E-84FAA82D7EBE}" presName="parSpace" presStyleCnt="0"/>
      <dgm:spPr/>
    </dgm:pt>
    <dgm:pt modelId="{3D744EE7-062B-45CB-80EA-3FC065B5F4E5}" type="pres">
      <dgm:prSet presAssocID="{857EF09E-4BCD-47B5-AE97-A85FC9317908}" presName="parTxOnly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9B71D43-0625-46E6-B7AC-9EDCDCF7AF37}" srcId="{D8C801AD-E9AF-4B32-8749-8988CBCD4801}" destId="{7EDFA9C2-D7A9-4895-849D-ECBAA705B339}" srcOrd="0" destOrd="0" parTransId="{420A65C8-ED6F-4D22-8D08-80C909CF6555}" sibTransId="{D346DF1B-ABDC-4390-89B7-0E6583C600C5}"/>
    <dgm:cxn modelId="{EDF4425E-9076-4C39-95B8-1F7BA4286D26}" type="presOf" srcId="{8EC2392E-9CFC-4922-87B2-B34B79F027D8}" destId="{6395A2B1-CC95-4A3F-A413-F9D09ECAB4CB}" srcOrd="0" destOrd="0" presId="urn:microsoft.com/office/officeart/2005/8/layout/hChevron3"/>
    <dgm:cxn modelId="{6D940FBE-8CD0-441A-803A-3F32A0F2CF74}" srcId="{D8C801AD-E9AF-4B32-8749-8988CBCD4801}" destId="{8EC2392E-9CFC-4922-87B2-B34B79F027D8}" srcOrd="1" destOrd="0" parTransId="{746C424C-EDA3-417E-A89B-394234337C70}" sibTransId="{EF412D07-D2B2-45C4-993E-84FAA82D7EBE}"/>
    <dgm:cxn modelId="{9AE06D5F-B2C2-48D7-BD9D-1E8E6E46D3D9}" srcId="{D8C801AD-E9AF-4B32-8749-8988CBCD4801}" destId="{857EF09E-4BCD-47B5-AE97-A85FC9317908}" srcOrd="2" destOrd="0" parTransId="{E1F0F8A2-98B1-4470-A523-2C3B879A662D}" sibTransId="{1D5DC1EF-3680-44D2-A8BC-295A2E416BD5}"/>
    <dgm:cxn modelId="{C15C5332-94AF-4CF3-95B7-67BA7652611B}" type="presOf" srcId="{D8C801AD-E9AF-4B32-8749-8988CBCD4801}" destId="{FBB402B8-6255-4CEF-BA3D-EAEDD6AC1155}" srcOrd="0" destOrd="0" presId="urn:microsoft.com/office/officeart/2005/8/layout/hChevron3"/>
    <dgm:cxn modelId="{735B99F6-64D7-4087-8E60-E180C253F1F5}" type="presOf" srcId="{857EF09E-4BCD-47B5-AE97-A85FC9317908}" destId="{3D744EE7-062B-45CB-80EA-3FC065B5F4E5}" srcOrd="0" destOrd="0" presId="urn:microsoft.com/office/officeart/2005/8/layout/hChevron3"/>
    <dgm:cxn modelId="{0E76EAAC-5AC3-42CB-B1F7-AACF2F0354BD}" type="presOf" srcId="{7EDFA9C2-D7A9-4895-849D-ECBAA705B339}" destId="{2A7088FD-3C32-41C7-90DC-037034A0E0D0}" srcOrd="0" destOrd="0" presId="urn:microsoft.com/office/officeart/2005/8/layout/hChevron3"/>
    <dgm:cxn modelId="{525621F4-CD29-4257-9CCB-8B31FEE4093B}" type="presParOf" srcId="{FBB402B8-6255-4CEF-BA3D-EAEDD6AC1155}" destId="{2A7088FD-3C32-41C7-90DC-037034A0E0D0}" srcOrd="0" destOrd="0" presId="urn:microsoft.com/office/officeart/2005/8/layout/hChevron3"/>
    <dgm:cxn modelId="{A713DD88-AA25-4843-9804-1CBB023D1403}" type="presParOf" srcId="{FBB402B8-6255-4CEF-BA3D-EAEDD6AC1155}" destId="{9ED8D146-B684-4CA3-9C8B-C89383C64C45}" srcOrd="1" destOrd="0" presId="urn:microsoft.com/office/officeart/2005/8/layout/hChevron3"/>
    <dgm:cxn modelId="{00A3352E-EE22-4DA5-B27B-FF1EAB6F7476}" type="presParOf" srcId="{FBB402B8-6255-4CEF-BA3D-EAEDD6AC1155}" destId="{6395A2B1-CC95-4A3F-A413-F9D09ECAB4CB}" srcOrd="2" destOrd="0" presId="urn:microsoft.com/office/officeart/2005/8/layout/hChevron3"/>
    <dgm:cxn modelId="{D3EA66F9-4CB5-4075-A11C-4A5E72867D17}" type="presParOf" srcId="{FBB402B8-6255-4CEF-BA3D-EAEDD6AC1155}" destId="{8A703E2E-7103-4CD3-9050-00ADBFE2FCD2}" srcOrd="3" destOrd="0" presId="urn:microsoft.com/office/officeart/2005/8/layout/hChevron3"/>
    <dgm:cxn modelId="{234A1846-F8F2-43C6-A305-812AC42B393B}" type="presParOf" srcId="{FBB402B8-6255-4CEF-BA3D-EAEDD6AC1155}" destId="{3D744EE7-062B-45CB-80EA-3FC065B5F4E5}" srcOrd="4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D8C801AD-E9AF-4B32-8749-8988CBCD4801}" type="doc">
      <dgm:prSet loTypeId="urn:microsoft.com/office/officeart/2005/8/layout/hChevron3" loCatId="process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7EDFA9C2-D7A9-4895-849D-ECBAA705B339}">
      <dgm:prSet phldrT="[Text]" custT="1"/>
      <dgm:spPr/>
      <dgm:t>
        <a:bodyPr/>
        <a:lstStyle/>
        <a:p>
          <a:r>
            <a:rPr lang="en-US" sz="1100" dirty="0" smtClean="0">
              <a:solidFill>
                <a:schemeClr val="tx1">
                  <a:lumMod val="65000"/>
                  <a:lumOff val="35000"/>
                </a:schemeClr>
              </a:solidFill>
            </a:rPr>
            <a:t>Scope NFRs</a:t>
          </a:r>
          <a:endParaRPr lang="en-US" sz="1100" dirty="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420A65C8-ED6F-4D22-8D08-80C909CF6555}" type="parTrans" cxnId="{49B71D43-0625-46E6-B7AC-9EDCDCF7AF37}">
      <dgm:prSet/>
      <dgm:spPr/>
      <dgm:t>
        <a:bodyPr/>
        <a:lstStyle/>
        <a:p>
          <a:endParaRPr lang="en-US" sz="110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D346DF1B-ABDC-4390-89B7-0E6583C600C5}" type="sibTrans" cxnId="{49B71D43-0625-46E6-B7AC-9EDCDCF7AF37}">
      <dgm:prSet/>
      <dgm:spPr/>
      <dgm:t>
        <a:bodyPr/>
        <a:lstStyle/>
        <a:p>
          <a:endParaRPr lang="en-US" sz="110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8EC2392E-9CFC-4922-87B2-B34B79F027D8}">
      <dgm:prSet phldrT="[Text]" custT="1"/>
      <dgm:spPr>
        <a:solidFill>
          <a:srgbClr val="C2E463"/>
        </a:solidFill>
      </dgm:spPr>
      <dgm:t>
        <a:bodyPr/>
        <a:lstStyle/>
        <a:p>
          <a:r>
            <a:rPr lang="en-US" sz="1100" dirty="0" smtClean="0">
              <a:solidFill>
                <a:schemeClr val="tx1">
                  <a:lumMod val="65000"/>
                  <a:lumOff val="35000"/>
                </a:schemeClr>
              </a:solidFill>
            </a:rPr>
            <a:t>Develop tech portfolio</a:t>
          </a:r>
          <a:endParaRPr lang="en-US" sz="1100" dirty="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746C424C-EDA3-417E-A89B-394234337C70}" type="parTrans" cxnId="{6D940FBE-8CD0-441A-803A-3F32A0F2CF74}">
      <dgm:prSet/>
      <dgm:spPr/>
      <dgm:t>
        <a:bodyPr/>
        <a:lstStyle/>
        <a:p>
          <a:endParaRPr lang="en-US" sz="110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EF412D07-D2B2-45C4-993E-84FAA82D7EBE}" type="sibTrans" cxnId="{6D940FBE-8CD0-441A-803A-3F32A0F2CF74}">
      <dgm:prSet/>
      <dgm:spPr/>
      <dgm:t>
        <a:bodyPr/>
        <a:lstStyle/>
        <a:p>
          <a:endParaRPr lang="en-US" sz="110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857EF09E-4BCD-47B5-AE97-A85FC9317908}">
      <dgm:prSet phldrT="[Text]" custT="1"/>
      <dgm:spPr/>
      <dgm:t>
        <a:bodyPr/>
        <a:lstStyle/>
        <a:p>
          <a:r>
            <a:rPr lang="en-US" sz="1100" dirty="0" smtClean="0">
              <a:solidFill>
                <a:schemeClr val="tx1">
                  <a:lumMod val="65000"/>
                  <a:lumOff val="35000"/>
                </a:schemeClr>
              </a:solidFill>
            </a:rPr>
            <a:t>Design platform</a:t>
          </a:r>
          <a:endParaRPr lang="en-US" sz="1100" dirty="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E1F0F8A2-98B1-4470-A523-2C3B879A662D}" type="parTrans" cxnId="{9AE06D5F-B2C2-48D7-BD9D-1E8E6E46D3D9}">
      <dgm:prSet/>
      <dgm:spPr/>
      <dgm:t>
        <a:bodyPr/>
        <a:lstStyle/>
        <a:p>
          <a:endParaRPr lang="en-US" sz="110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1D5DC1EF-3680-44D2-A8BC-295A2E416BD5}" type="sibTrans" cxnId="{9AE06D5F-B2C2-48D7-BD9D-1E8E6E46D3D9}">
      <dgm:prSet/>
      <dgm:spPr/>
      <dgm:t>
        <a:bodyPr/>
        <a:lstStyle/>
        <a:p>
          <a:endParaRPr lang="en-US" sz="110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FBB402B8-6255-4CEF-BA3D-EAEDD6AC1155}" type="pres">
      <dgm:prSet presAssocID="{D8C801AD-E9AF-4B32-8749-8988CBCD4801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A7088FD-3C32-41C7-90DC-037034A0E0D0}" type="pres">
      <dgm:prSet presAssocID="{7EDFA9C2-D7A9-4895-849D-ECBAA705B339}" presName="parTxOnly" presStyleLbl="node1" presStyleIdx="0" presStyleCnt="3" custLinFactNeighborY="20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ED8D146-B684-4CA3-9C8B-C89383C64C45}" type="pres">
      <dgm:prSet presAssocID="{D346DF1B-ABDC-4390-89B7-0E6583C600C5}" presName="parSpace" presStyleCnt="0"/>
      <dgm:spPr/>
    </dgm:pt>
    <dgm:pt modelId="{6395A2B1-CC95-4A3F-A413-F9D09ECAB4CB}" type="pres">
      <dgm:prSet presAssocID="{8EC2392E-9CFC-4922-87B2-B34B79F027D8}" presName="parTxOnly" presStyleLbl="node1" presStyleIdx="1" presStyleCnt="3" custScaleX="133368" custLinFactNeighborY="-279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A703E2E-7103-4CD3-9050-00ADBFE2FCD2}" type="pres">
      <dgm:prSet presAssocID="{EF412D07-D2B2-45C4-993E-84FAA82D7EBE}" presName="parSpace" presStyleCnt="0"/>
      <dgm:spPr/>
    </dgm:pt>
    <dgm:pt modelId="{3D744EE7-062B-45CB-80EA-3FC065B5F4E5}" type="pres">
      <dgm:prSet presAssocID="{857EF09E-4BCD-47B5-AE97-A85FC9317908}" presName="parTxOnly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3920F0F-ADEC-4065-9F1B-523C54B49734}" type="presOf" srcId="{857EF09E-4BCD-47B5-AE97-A85FC9317908}" destId="{3D744EE7-062B-45CB-80EA-3FC065B5F4E5}" srcOrd="0" destOrd="0" presId="urn:microsoft.com/office/officeart/2005/8/layout/hChevron3"/>
    <dgm:cxn modelId="{D86E3774-B90B-48F6-AE6E-3C0FC0C7E56A}" type="presOf" srcId="{D8C801AD-E9AF-4B32-8749-8988CBCD4801}" destId="{FBB402B8-6255-4CEF-BA3D-EAEDD6AC1155}" srcOrd="0" destOrd="0" presId="urn:microsoft.com/office/officeart/2005/8/layout/hChevron3"/>
    <dgm:cxn modelId="{02612C74-1664-47E8-9C36-DBD5978C764F}" type="presOf" srcId="{8EC2392E-9CFC-4922-87B2-B34B79F027D8}" destId="{6395A2B1-CC95-4A3F-A413-F9D09ECAB4CB}" srcOrd="0" destOrd="0" presId="urn:microsoft.com/office/officeart/2005/8/layout/hChevron3"/>
    <dgm:cxn modelId="{49B71D43-0625-46E6-B7AC-9EDCDCF7AF37}" srcId="{D8C801AD-E9AF-4B32-8749-8988CBCD4801}" destId="{7EDFA9C2-D7A9-4895-849D-ECBAA705B339}" srcOrd="0" destOrd="0" parTransId="{420A65C8-ED6F-4D22-8D08-80C909CF6555}" sibTransId="{D346DF1B-ABDC-4390-89B7-0E6583C600C5}"/>
    <dgm:cxn modelId="{FE8AC95E-14F6-42BD-B59F-E17D974B769C}" type="presOf" srcId="{7EDFA9C2-D7A9-4895-849D-ECBAA705B339}" destId="{2A7088FD-3C32-41C7-90DC-037034A0E0D0}" srcOrd="0" destOrd="0" presId="urn:microsoft.com/office/officeart/2005/8/layout/hChevron3"/>
    <dgm:cxn modelId="{6D940FBE-8CD0-441A-803A-3F32A0F2CF74}" srcId="{D8C801AD-E9AF-4B32-8749-8988CBCD4801}" destId="{8EC2392E-9CFC-4922-87B2-B34B79F027D8}" srcOrd="1" destOrd="0" parTransId="{746C424C-EDA3-417E-A89B-394234337C70}" sibTransId="{EF412D07-D2B2-45C4-993E-84FAA82D7EBE}"/>
    <dgm:cxn modelId="{9AE06D5F-B2C2-48D7-BD9D-1E8E6E46D3D9}" srcId="{D8C801AD-E9AF-4B32-8749-8988CBCD4801}" destId="{857EF09E-4BCD-47B5-AE97-A85FC9317908}" srcOrd="2" destOrd="0" parTransId="{E1F0F8A2-98B1-4470-A523-2C3B879A662D}" sibTransId="{1D5DC1EF-3680-44D2-A8BC-295A2E416BD5}"/>
    <dgm:cxn modelId="{49E4C6D8-17DF-49E1-AECC-822BFDB95292}" type="presParOf" srcId="{FBB402B8-6255-4CEF-BA3D-EAEDD6AC1155}" destId="{2A7088FD-3C32-41C7-90DC-037034A0E0D0}" srcOrd="0" destOrd="0" presId="urn:microsoft.com/office/officeart/2005/8/layout/hChevron3"/>
    <dgm:cxn modelId="{5A099414-6BA1-4250-B11C-431F4DEAE758}" type="presParOf" srcId="{FBB402B8-6255-4CEF-BA3D-EAEDD6AC1155}" destId="{9ED8D146-B684-4CA3-9C8B-C89383C64C45}" srcOrd="1" destOrd="0" presId="urn:microsoft.com/office/officeart/2005/8/layout/hChevron3"/>
    <dgm:cxn modelId="{454AF306-5361-425F-B93D-928727BFE06C}" type="presParOf" srcId="{FBB402B8-6255-4CEF-BA3D-EAEDD6AC1155}" destId="{6395A2B1-CC95-4A3F-A413-F9D09ECAB4CB}" srcOrd="2" destOrd="0" presId="urn:microsoft.com/office/officeart/2005/8/layout/hChevron3"/>
    <dgm:cxn modelId="{687AE89F-CA10-4699-B488-E27C3E9BCF04}" type="presParOf" srcId="{FBB402B8-6255-4CEF-BA3D-EAEDD6AC1155}" destId="{8A703E2E-7103-4CD3-9050-00ADBFE2FCD2}" srcOrd="3" destOrd="0" presId="urn:microsoft.com/office/officeart/2005/8/layout/hChevron3"/>
    <dgm:cxn modelId="{235BF68D-E902-4189-ABEB-9659BFF34F8E}" type="presParOf" srcId="{FBB402B8-6255-4CEF-BA3D-EAEDD6AC1155}" destId="{3D744EE7-062B-45CB-80EA-3FC065B5F4E5}" srcOrd="4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D8C801AD-E9AF-4B32-8749-8988CBCD4801}" type="doc">
      <dgm:prSet loTypeId="urn:microsoft.com/office/officeart/2005/8/layout/hChevron3" loCatId="process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7EDFA9C2-D7A9-4895-849D-ECBAA705B339}">
      <dgm:prSet phldrT="[Text]" custT="1"/>
      <dgm:spPr/>
      <dgm:t>
        <a:bodyPr/>
        <a:lstStyle/>
        <a:p>
          <a:r>
            <a:rPr lang="en-US" sz="1100" dirty="0" smtClean="0">
              <a:solidFill>
                <a:schemeClr val="tx1">
                  <a:lumMod val="65000"/>
                  <a:lumOff val="35000"/>
                </a:schemeClr>
              </a:solidFill>
            </a:rPr>
            <a:t>Formulate strategy</a:t>
          </a:r>
          <a:endParaRPr lang="en-US" sz="1100" dirty="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420A65C8-ED6F-4D22-8D08-80C909CF6555}" type="parTrans" cxnId="{49B71D43-0625-46E6-B7AC-9EDCDCF7AF37}">
      <dgm:prSet/>
      <dgm:spPr/>
      <dgm:t>
        <a:bodyPr/>
        <a:lstStyle/>
        <a:p>
          <a:endParaRPr lang="en-US" sz="110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D346DF1B-ABDC-4390-89B7-0E6583C600C5}" type="sibTrans" cxnId="{49B71D43-0625-46E6-B7AC-9EDCDCF7AF37}">
      <dgm:prSet/>
      <dgm:spPr/>
      <dgm:t>
        <a:bodyPr/>
        <a:lstStyle/>
        <a:p>
          <a:endParaRPr lang="en-US" sz="110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8EC2392E-9CFC-4922-87B2-B34B79F027D8}">
      <dgm:prSet phldrT="[Text]" custT="1"/>
      <dgm:spPr>
        <a:solidFill>
          <a:srgbClr val="C2E463"/>
        </a:solidFill>
      </dgm:spPr>
      <dgm:t>
        <a:bodyPr/>
        <a:lstStyle/>
        <a:p>
          <a:r>
            <a:rPr lang="en-US" sz="1100" dirty="0" smtClean="0">
              <a:solidFill>
                <a:schemeClr val="tx1">
                  <a:lumMod val="65000"/>
                  <a:lumOff val="35000"/>
                </a:schemeClr>
              </a:solidFill>
            </a:rPr>
            <a:t>Create work packages</a:t>
          </a:r>
          <a:endParaRPr lang="en-US" sz="1100" dirty="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746C424C-EDA3-417E-A89B-394234337C70}" type="parTrans" cxnId="{6D940FBE-8CD0-441A-803A-3F32A0F2CF74}">
      <dgm:prSet/>
      <dgm:spPr/>
      <dgm:t>
        <a:bodyPr/>
        <a:lstStyle/>
        <a:p>
          <a:endParaRPr lang="en-US" sz="110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EF412D07-D2B2-45C4-993E-84FAA82D7EBE}" type="sibTrans" cxnId="{6D940FBE-8CD0-441A-803A-3F32A0F2CF74}">
      <dgm:prSet/>
      <dgm:spPr/>
      <dgm:t>
        <a:bodyPr/>
        <a:lstStyle/>
        <a:p>
          <a:endParaRPr lang="en-US" sz="110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857EF09E-4BCD-47B5-AE97-A85FC9317908}">
      <dgm:prSet phldrT="[Text]" custT="1"/>
      <dgm:spPr/>
      <dgm:t>
        <a:bodyPr/>
        <a:lstStyle/>
        <a:p>
          <a:r>
            <a:rPr lang="en-US" sz="1100" dirty="0" smtClean="0">
              <a:solidFill>
                <a:schemeClr val="tx1">
                  <a:lumMod val="65000"/>
                  <a:lumOff val="35000"/>
                </a:schemeClr>
              </a:solidFill>
            </a:rPr>
            <a:t>Implementation planning</a:t>
          </a:r>
          <a:endParaRPr lang="en-US" sz="1100" dirty="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E1F0F8A2-98B1-4470-A523-2C3B879A662D}" type="parTrans" cxnId="{9AE06D5F-B2C2-48D7-BD9D-1E8E6E46D3D9}">
      <dgm:prSet/>
      <dgm:spPr/>
      <dgm:t>
        <a:bodyPr/>
        <a:lstStyle/>
        <a:p>
          <a:endParaRPr lang="en-US" sz="110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1D5DC1EF-3680-44D2-A8BC-295A2E416BD5}" type="sibTrans" cxnId="{9AE06D5F-B2C2-48D7-BD9D-1E8E6E46D3D9}">
      <dgm:prSet/>
      <dgm:spPr/>
      <dgm:t>
        <a:bodyPr/>
        <a:lstStyle/>
        <a:p>
          <a:endParaRPr lang="en-US" sz="110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FBB402B8-6255-4CEF-BA3D-EAEDD6AC1155}" type="pres">
      <dgm:prSet presAssocID="{D8C801AD-E9AF-4B32-8749-8988CBCD4801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A7088FD-3C32-41C7-90DC-037034A0E0D0}" type="pres">
      <dgm:prSet presAssocID="{7EDFA9C2-D7A9-4895-849D-ECBAA705B339}" presName="parTxOnly" presStyleLbl="node1" presStyleIdx="0" presStyleCnt="3" custLinFactNeighborY="20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ED8D146-B684-4CA3-9C8B-C89383C64C45}" type="pres">
      <dgm:prSet presAssocID="{D346DF1B-ABDC-4390-89B7-0E6583C600C5}" presName="parSpace" presStyleCnt="0"/>
      <dgm:spPr/>
    </dgm:pt>
    <dgm:pt modelId="{6395A2B1-CC95-4A3F-A413-F9D09ECAB4CB}" type="pres">
      <dgm:prSet presAssocID="{8EC2392E-9CFC-4922-87B2-B34B79F027D8}" presName="parTxOnly" presStyleLbl="node1" presStyleIdx="1" presStyleCnt="3" custScaleX="133368" custLinFactNeighborY="-272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A703E2E-7103-4CD3-9050-00ADBFE2FCD2}" type="pres">
      <dgm:prSet presAssocID="{EF412D07-D2B2-45C4-993E-84FAA82D7EBE}" presName="parSpace" presStyleCnt="0"/>
      <dgm:spPr/>
    </dgm:pt>
    <dgm:pt modelId="{3D744EE7-062B-45CB-80EA-3FC065B5F4E5}" type="pres">
      <dgm:prSet presAssocID="{857EF09E-4BCD-47B5-AE97-A85FC9317908}" presName="parTxOnly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06C22933-0814-4FF0-A101-6549AC3EA182}" type="presOf" srcId="{D8C801AD-E9AF-4B32-8749-8988CBCD4801}" destId="{FBB402B8-6255-4CEF-BA3D-EAEDD6AC1155}" srcOrd="0" destOrd="0" presId="urn:microsoft.com/office/officeart/2005/8/layout/hChevron3"/>
    <dgm:cxn modelId="{44D52A17-F4EC-41DC-ADD1-84246CD6BA66}" type="presOf" srcId="{8EC2392E-9CFC-4922-87B2-B34B79F027D8}" destId="{6395A2B1-CC95-4A3F-A413-F9D09ECAB4CB}" srcOrd="0" destOrd="0" presId="urn:microsoft.com/office/officeart/2005/8/layout/hChevron3"/>
    <dgm:cxn modelId="{49B71D43-0625-46E6-B7AC-9EDCDCF7AF37}" srcId="{D8C801AD-E9AF-4B32-8749-8988CBCD4801}" destId="{7EDFA9C2-D7A9-4895-849D-ECBAA705B339}" srcOrd="0" destOrd="0" parTransId="{420A65C8-ED6F-4D22-8D08-80C909CF6555}" sibTransId="{D346DF1B-ABDC-4390-89B7-0E6583C600C5}"/>
    <dgm:cxn modelId="{79EFF2FD-EF86-4550-A15F-75CC4B98C7E0}" type="presOf" srcId="{7EDFA9C2-D7A9-4895-849D-ECBAA705B339}" destId="{2A7088FD-3C32-41C7-90DC-037034A0E0D0}" srcOrd="0" destOrd="0" presId="urn:microsoft.com/office/officeart/2005/8/layout/hChevron3"/>
    <dgm:cxn modelId="{E9384BFC-23C8-40F0-9939-BBE73CC68F90}" type="presOf" srcId="{857EF09E-4BCD-47B5-AE97-A85FC9317908}" destId="{3D744EE7-062B-45CB-80EA-3FC065B5F4E5}" srcOrd="0" destOrd="0" presId="urn:microsoft.com/office/officeart/2005/8/layout/hChevron3"/>
    <dgm:cxn modelId="{6D940FBE-8CD0-441A-803A-3F32A0F2CF74}" srcId="{D8C801AD-E9AF-4B32-8749-8988CBCD4801}" destId="{8EC2392E-9CFC-4922-87B2-B34B79F027D8}" srcOrd="1" destOrd="0" parTransId="{746C424C-EDA3-417E-A89B-394234337C70}" sibTransId="{EF412D07-D2B2-45C4-993E-84FAA82D7EBE}"/>
    <dgm:cxn modelId="{9AE06D5F-B2C2-48D7-BD9D-1E8E6E46D3D9}" srcId="{D8C801AD-E9AF-4B32-8749-8988CBCD4801}" destId="{857EF09E-4BCD-47B5-AE97-A85FC9317908}" srcOrd="2" destOrd="0" parTransId="{E1F0F8A2-98B1-4470-A523-2C3B879A662D}" sibTransId="{1D5DC1EF-3680-44D2-A8BC-295A2E416BD5}"/>
    <dgm:cxn modelId="{9A809FA2-6AE3-4190-8714-939F4BDED19A}" type="presParOf" srcId="{FBB402B8-6255-4CEF-BA3D-EAEDD6AC1155}" destId="{2A7088FD-3C32-41C7-90DC-037034A0E0D0}" srcOrd="0" destOrd="0" presId="urn:microsoft.com/office/officeart/2005/8/layout/hChevron3"/>
    <dgm:cxn modelId="{F705C5DB-BED7-43F6-8C7C-374EA3194A8F}" type="presParOf" srcId="{FBB402B8-6255-4CEF-BA3D-EAEDD6AC1155}" destId="{9ED8D146-B684-4CA3-9C8B-C89383C64C45}" srcOrd="1" destOrd="0" presId="urn:microsoft.com/office/officeart/2005/8/layout/hChevron3"/>
    <dgm:cxn modelId="{FDB631A5-EFB0-40DB-8625-6EAB967C99FF}" type="presParOf" srcId="{FBB402B8-6255-4CEF-BA3D-EAEDD6AC1155}" destId="{6395A2B1-CC95-4A3F-A413-F9D09ECAB4CB}" srcOrd="2" destOrd="0" presId="urn:microsoft.com/office/officeart/2005/8/layout/hChevron3"/>
    <dgm:cxn modelId="{D09BB3E2-D22F-4B44-9DB7-ED1DFED21098}" type="presParOf" srcId="{FBB402B8-6255-4CEF-BA3D-EAEDD6AC1155}" destId="{8A703E2E-7103-4CD3-9050-00ADBFE2FCD2}" srcOrd="3" destOrd="0" presId="urn:microsoft.com/office/officeart/2005/8/layout/hChevron3"/>
    <dgm:cxn modelId="{EA7B26DE-0BF6-46CB-81C0-549CAD060056}" type="presParOf" srcId="{FBB402B8-6255-4CEF-BA3D-EAEDD6AC1155}" destId="{3D744EE7-062B-45CB-80EA-3FC065B5F4E5}" srcOrd="4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D8C801AD-E9AF-4B32-8749-8988CBCD4801}" type="doc">
      <dgm:prSet loTypeId="urn:microsoft.com/office/officeart/2005/8/layout/hChevron3" loCatId="process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7EDFA9C2-D7A9-4895-849D-ECBAA705B339}">
      <dgm:prSet phldrT="[Text]" custT="1"/>
      <dgm:spPr/>
      <dgm:t>
        <a:bodyPr/>
        <a:lstStyle/>
        <a:p>
          <a:r>
            <a:rPr lang="en-US" sz="1100" dirty="0" smtClean="0">
              <a:solidFill>
                <a:schemeClr val="tx1">
                  <a:lumMod val="65000"/>
                  <a:lumOff val="35000"/>
                </a:schemeClr>
              </a:solidFill>
            </a:rPr>
            <a:t>Manage development</a:t>
          </a:r>
          <a:endParaRPr lang="en-US" sz="1100" dirty="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420A65C8-ED6F-4D22-8D08-80C909CF6555}" type="parTrans" cxnId="{49B71D43-0625-46E6-B7AC-9EDCDCF7AF37}">
      <dgm:prSet/>
      <dgm:spPr/>
      <dgm:t>
        <a:bodyPr/>
        <a:lstStyle/>
        <a:p>
          <a:endParaRPr lang="en-US" sz="110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D346DF1B-ABDC-4390-89B7-0E6583C600C5}" type="sibTrans" cxnId="{49B71D43-0625-46E6-B7AC-9EDCDCF7AF37}">
      <dgm:prSet/>
      <dgm:spPr/>
      <dgm:t>
        <a:bodyPr/>
        <a:lstStyle/>
        <a:p>
          <a:endParaRPr lang="en-US" sz="110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8EC2392E-9CFC-4922-87B2-B34B79F027D8}">
      <dgm:prSet phldrT="[Text]" custT="1"/>
      <dgm:spPr>
        <a:solidFill>
          <a:srgbClr val="C2E463"/>
        </a:solidFill>
      </dgm:spPr>
      <dgm:t>
        <a:bodyPr/>
        <a:lstStyle/>
        <a:p>
          <a:r>
            <a:rPr lang="en-US" sz="1100" dirty="0" smtClean="0">
              <a:solidFill>
                <a:schemeClr val="tx1">
                  <a:lumMod val="65000"/>
                  <a:lumOff val="35000"/>
                </a:schemeClr>
              </a:solidFill>
            </a:rPr>
            <a:t>Implement operations</a:t>
          </a:r>
          <a:endParaRPr lang="en-US" sz="1100" dirty="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746C424C-EDA3-417E-A89B-394234337C70}" type="parTrans" cxnId="{6D940FBE-8CD0-441A-803A-3F32A0F2CF74}">
      <dgm:prSet/>
      <dgm:spPr/>
      <dgm:t>
        <a:bodyPr/>
        <a:lstStyle/>
        <a:p>
          <a:endParaRPr lang="en-US" sz="110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EF412D07-D2B2-45C4-993E-84FAA82D7EBE}" type="sibTrans" cxnId="{6D940FBE-8CD0-441A-803A-3F32A0F2CF74}">
      <dgm:prSet/>
      <dgm:spPr/>
      <dgm:t>
        <a:bodyPr/>
        <a:lstStyle/>
        <a:p>
          <a:endParaRPr lang="en-US" sz="110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857EF09E-4BCD-47B5-AE97-A85FC9317908}">
      <dgm:prSet phldrT="[Text]" custT="1"/>
      <dgm:spPr/>
      <dgm:t>
        <a:bodyPr/>
        <a:lstStyle/>
        <a:p>
          <a:r>
            <a:rPr lang="en-US" sz="1100" dirty="0" smtClean="0">
              <a:solidFill>
                <a:schemeClr val="tx1">
                  <a:lumMod val="65000"/>
                  <a:lumOff val="35000"/>
                </a:schemeClr>
              </a:solidFill>
            </a:rPr>
            <a:t>Close project</a:t>
          </a:r>
          <a:endParaRPr lang="en-US" sz="1100" dirty="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E1F0F8A2-98B1-4470-A523-2C3B879A662D}" type="parTrans" cxnId="{9AE06D5F-B2C2-48D7-BD9D-1E8E6E46D3D9}">
      <dgm:prSet/>
      <dgm:spPr/>
      <dgm:t>
        <a:bodyPr/>
        <a:lstStyle/>
        <a:p>
          <a:endParaRPr lang="en-US" sz="110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1D5DC1EF-3680-44D2-A8BC-295A2E416BD5}" type="sibTrans" cxnId="{9AE06D5F-B2C2-48D7-BD9D-1E8E6E46D3D9}">
      <dgm:prSet/>
      <dgm:spPr/>
      <dgm:t>
        <a:bodyPr/>
        <a:lstStyle/>
        <a:p>
          <a:endParaRPr lang="en-US" sz="110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FBB402B8-6255-4CEF-BA3D-EAEDD6AC1155}" type="pres">
      <dgm:prSet presAssocID="{D8C801AD-E9AF-4B32-8749-8988CBCD4801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A7088FD-3C32-41C7-90DC-037034A0E0D0}" type="pres">
      <dgm:prSet presAssocID="{7EDFA9C2-D7A9-4895-849D-ECBAA705B339}" presName="parTxOnly" presStyleLbl="node1" presStyleIdx="0" presStyleCnt="3" custLinFactNeighborY="20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ED8D146-B684-4CA3-9C8B-C89383C64C45}" type="pres">
      <dgm:prSet presAssocID="{D346DF1B-ABDC-4390-89B7-0E6583C600C5}" presName="parSpace" presStyleCnt="0"/>
      <dgm:spPr/>
    </dgm:pt>
    <dgm:pt modelId="{6395A2B1-CC95-4A3F-A413-F9D09ECAB4CB}" type="pres">
      <dgm:prSet presAssocID="{8EC2392E-9CFC-4922-87B2-B34B79F027D8}" presName="parTxOnly" presStyleLbl="node1" presStyleIdx="1" presStyleCnt="3" custScaleX="133368" custLinFactNeighborY="20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A703E2E-7103-4CD3-9050-00ADBFE2FCD2}" type="pres">
      <dgm:prSet presAssocID="{EF412D07-D2B2-45C4-993E-84FAA82D7EBE}" presName="parSpace" presStyleCnt="0"/>
      <dgm:spPr/>
    </dgm:pt>
    <dgm:pt modelId="{3D744EE7-062B-45CB-80EA-3FC065B5F4E5}" type="pres">
      <dgm:prSet presAssocID="{857EF09E-4BCD-47B5-AE97-A85FC9317908}" presName="parTxOnly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1ACB594-7DF3-49FA-A807-FD5EF750F6B9}" type="presOf" srcId="{857EF09E-4BCD-47B5-AE97-A85FC9317908}" destId="{3D744EE7-062B-45CB-80EA-3FC065B5F4E5}" srcOrd="0" destOrd="0" presId="urn:microsoft.com/office/officeart/2005/8/layout/hChevron3"/>
    <dgm:cxn modelId="{49B71D43-0625-46E6-B7AC-9EDCDCF7AF37}" srcId="{D8C801AD-E9AF-4B32-8749-8988CBCD4801}" destId="{7EDFA9C2-D7A9-4895-849D-ECBAA705B339}" srcOrd="0" destOrd="0" parTransId="{420A65C8-ED6F-4D22-8D08-80C909CF6555}" sibTransId="{D346DF1B-ABDC-4390-89B7-0E6583C600C5}"/>
    <dgm:cxn modelId="{9C8CA3D6-3AAC-43CD-9F8D-CBA4D7A9F926}" type="presOf" srcId="{8EC2392E-9CFC-4922-87B2-B34B79F027D8}" destId="{6395A2B1-CC95-4A3F-A413-F9D09ECAB4CB}" srcOrd="0" destOrd="0" presId="urn:microsoft.com/office/officeart/2005/8/layout/hChevron3"/>
    <dgm:cxn modelId="{8EF47CA7-CDAD-4E1C-9CBC-DDEC99B04D0C}" type="presOf" srcId="{7EDFA9C2-D7A9-4895-849D-ECBAA705B339}" destId="{2A7088FD-3C32-41C7-90DC-037034A0E0D0}" srcOrd="0" destOrd="0" presId="urn:microsoft.com/office/officeart/2005/8/layout/hChevron3"/>
    <dgm:cxn modelId="{CC232767-565C-4C24-8084-1ED18D3A87F2}" type="presOf" srcId="{D8C801AD-E9AF-4B32-8749-8988CBCD4801}" destId="{FBB402B8-6255-4CEF-BA3D-EAEDD6AC1155}" srcOrd="0" destOrd="0" presId="urn:microsoft.com/office/officeart/2005/8/layout/hChevron3"/>
    <dgm:cxn modelId="{6D940FBE-8CD0-441A-803A-3F32A0F2CF74}" srcId="{D8C801AD-E9AF-4B32-8749-8988CBCD4801}" destId="{8EC2392E-9CFC-4922-87B2-B34B79F027D8}" srcOrd="1" destOrd="0" parTransId="{746C424C-EDA3-417E-A89B-394234337C70}" sibTransId="{EF412D07-D2B2-45C4-993E-84FAA82D7EBE}"/>
    <dgm:cxn modelId="{9AE06D5F-B2C2-48D7-BD9D-1E8E6E46D3D9}" srcId="{D8C801AD-E9AF-4B32-8749-8988CBCD4801}" destId="{857EF09E-4BCD-47B5-AE97-A85FC9317908}" srcOrd="2" destOrd="0" parTransId="{E1F0F8A2-98B1-4470-A523-2C3B879A662D}" sibTransId="{1D5DC1EF-3680-44D2-A8BC-295A2E416BD5}"/>
    <dgm:cxn modelId="{D61CAC90-4203-483E-84D1-B60CF53F8E51}" type="presParOf" srcId="{FBB402B8-6255-4CEF-BA3D-EAEDD6AC1155}" destId="{2A7088FD-3C32-41C7-90DC-037034A0E0D0}" srcOrd="0" destOrd="0" presId="urn:microsoft.com/office/officeart/2005/8/layout/hChevron3"/>
    <dgm:cxn modelId="{CB878B5E-7147-4099-879A-CEB460BFBF53}" type="presParOf" srcId="{FBB402B8-6255-4CEF-BA3D-EAEDD6AC1155}" destId="{9ED8D146-B684-4CA3-9C8B-C89383C64C45}" srcOrd="1" destOrd="0" presId="urn:microsoft.com/office/officeart/2005/8/layout/hChevron3"/>
    <dgm:cxn modelId="{1E9C6C5E-A2E6-4E4A-91A2-AD7C98714399}" type="presParOf" srcId="{FBB402B8-6255-4CEF-BA3D-EAEDD6AC1155}" destId="{6395A2B1-CC95-4A3F-A413-F9D09ECAB4CB}" srcOrd="2" destOrd="0" presId="urn:microsoft.com/office/officeart/2005/8/layout/hChevron3"/>
    <dgm:cxn modelId="{374324A8-A8AA-4BCC-8AD8-97CD413341F5}" type="presParOf" srcId="{FBB402B8-6255-4CEF-BA3D-EAEDD6AC1155}" destId="{8A703E2E-7103-4CD3-9050-00ADBFE2FCD2}" srcOrd="3" destOrd="0" presId="urn:microsoft.com/office/officeart/2005/8/layout/hChevron3"/>
    <dgm:cxn modelId="{254DE7CD-5E97-44BC-BED9-D21EA2110C13}" type="presParOf" srcId="{FBB402B8-6255-4CEF-BA3D-EAEDD6AC1155}" destId="{3D744EE7-062B-45CB-80EA-3FC065B5F4E5}" srcOrd="4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3484A69-C8D3-49B7-B1E1-3E50EE917CBE}">
      <dsp:nvSpPr>
        <dsp:cNvPr id="0" name=""/>
        <dsp:cNvSpPr/>
      </dsp:nvSpPr>
      <dsp:spPr>
        <a:xfrm>
          <a:off x="487679" y="268664"/>
          <a:ext cx="3840480" cy="3840480"/>
        </a:xfrm>
        <a:prstGeom prst="pie">
          <a:avLst>
            <a:gd name="adj1" fmla="val 16200000"/>
            <a:gd name="adj2" fmla="val 1980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/>
            <a:t>Initiate - Art of Possible</a:t>
          </a:r>
        </a:p>
      </dsp:txBody>
      <dsp:txXfrm>
        <a:off x="2499360" y="759239"/>
        <a:ext cx="1005840" cy="777240"/>
      </dsp:txXfrm>
    </dsp:sp>
    <dsp:sp modelId="{6AD7D42D-5B61-4AE7-9139-1D3E3C0449C2}">
      <dsp:nvSpPr>
        <dsp:cNvPr id="0" name=""/>
        <dsp:cNvSpPr/>
      </dsp:nvSpPr>
      <dsp:spPr>
        <a:xfrm>
          <a:off x="533399" y="347759"/>
          <a:ext cx="3840480" cy="3840480"/>
        </a:xfrm>
        <a:prstGeom prst="pie">
          <a:avLst>
            <a:gd name="adj1" fmla="val 19800000"/>
            <a:gd name="adj2" fmla="val 1800000"/>
          </a:avLst>
        </a:prstGeom>
        <a:gradFill rotWithShape="0">
          <a:gsLst>
            <a:gs pos="0">
              <a:schemeClr val="accent5">
                <a:hueOff val="-1042598"/>
                <a:satOff val="9431"/>
                <a:lumOff val="353"/>
                <a:alphaOff val="0"/>
                <a:shade val="51000"/>
                <a:satMod val="130000"/>
              </a:schemeClr>
            </a:gs>
            <a:gs pos="80000">
              <a:schemeClr val="accent5">
                <a:hueOff val="-1042598"/>
                <a:satOff val="9431"/>
                <a:lumOff val="353"/>
                <a:alphaOff val="0"/>
                <a:shade val="93000"/>
                <a:satMod val="130000"/>
              </a:schemeClr>
            </a:gs>
            <a:gs pos="100000">
              <a:schemeClr val="accent5">
                <a:hueOff val="-1042598"/>
                <a:satOff val="9431"/>
                <a:lumOff val="353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/>
            <a:t>Determine KBDs &amp; KPIs</a:t>
          </a:r>
        </a:p>
      </dsp:txBody>
      <dsp:txXfrm>
        <a:off x="3139440" y="1902240"/>
        <a:ext cx="1051560" cy="754380"/>
      </dsp:txXfrm>
    </dsp:sp>
    <dsp:sp modelId="{4B242022-89F3-43EB-8B62-AB08503AAE05}">
      <dsp:nvSpPr>
        <dsp:cNvPr id="0" name=""/>
        <dsp:cNvSpPr/>
      </dsp:nvSpPr>
      <dsp:spPr>
        <a:xfrm>
          <a:off x="487679" y="426855"/>
          <a:ext cx="3840480" cy="3840480"/>
        </a:xfrm>
        <a:prstGeom prst="pie">
          <a:avLst>
            <a:gd name="adj1" fmla="val 1800000"/>
            <a:gd name="adj2" fmla="val 5400000"/>
          </a:avLst>
        </a:prstGeom>
        <a:gradFill rotWithShape="0">
          <a:gsLst>
            <a:gs pos="0">
              <a:schemeClr val="accent5">
                <a:hueOff val="-2085195"/>
                <a:satOff val="18862"/>
                <a:lumOff val="706"/>
                <a:alphaOff val="0"/>
                <a:shade val="51000"/>
                <a:satMod val="130000"/>
              </a:schemeClr>
            </a:gs>
            <a:gs pos="80000">
              <a:schemeClr val="accent5">
                <a:hueOff val="-2085195"/>
                <a:satOff val="18862"/>
                <a:lumOff val="706"/>
                <a:alphaOff val="0"/>
                <a:shade val="93000"/>
                <a:satMod val="130000"/>
              </a:schemeClr>
            </a:gs>
            <a:gs pos="100000">
              <a:schemeClr val="accent5">
                <a:hueOff val="-2085195"/>
                <a:satOff val="18862"/>
                <a:lumOff val="706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/>
            <a:t>Scope the Data</a:t>
          </a:r>
        </a:p>
      </dsp:txBody>
      <dsp:txXfrm>
        <a:off x="2499360" y="3022380"/>
        <a:ext cx="1005840" cy="777240"/>
      </dsp:txXfrm>
    </dsp:sp>
    <dsp:sp modelId="{A105C5E8-3DC1-499F-BCB6-C8F5F09AD160}">
      <dsp:nvSpPr>
        <dsp:cNvPr id="0" name=""/>
        <dsp:cNvSpPr/>
      </dsp:nvSpPr>
      <dsp:spPr>
        <a:xfrm>
          <a:off x="396239" y="426855"/>
          <a:ext cx="3840480" cy="3840480"/>
        </a:xfrm>
        <a:prstGeom prst="pie">
          <a:avLst>
            <a:gd name="adj1" fmla="val 5400000"/>
            <a:gd name="adj2" fmla="val 9000000"/>
          </a:avLst>
        </a:prstGeom>
        <a:gradFill rotWithShape="0">
          <a:gsLst>
            <a:gs pos="0">
              <a:schemeClr val="accent5">
                <a:hueOff val="-3127793"/>
                <a:satOff val="28294"/>
                <a:lumOff val="1059"/>
                <a:alphaOff val="0"/>
                <a:shade val="51000"/>
                <a:satMod val="130000"/>
              </a:schemeClr>
            </a:gs>
            <a:gs pos="80000">
              <a:schemeClr val="accent5">
                <a:hueOff val="-3127793"/>
                <a:satOff val="28294"/>
                <a:lumOff val="1059"/>
                <a:alphaOff val="0"/>
                <a:shade val="93000"/>
                <a:satMod val="130000"/>
              </a:schemeClr>
            </a:gs>
            <a:gs pos="100000">
              <a:schemeClr val="accent5">
                <a:hueOff val="-3127793"/>
                <a:satOff val="28294"/>
                <a:lumOff val="1059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/>
            <a:t>Architect Future State</a:t>
          </a:r>
        </a:p>
      </dsp:txBody>
      <dsp:txXfrm>
        <a:off x="1219199" y="3022380"/>
        <a:ext cx="1005840" cy="777240"/>
      </dsp:txXfrm>
    </dsp:sp>
    <dsp:sp modelId="{C2241891-35BB-4C93-A16A-8CB933E13E3B}">
      <dsp:nvSpPr>
        <dsp:cNvPr id="0" name=""/>
        <dsp:cNvSpPr/>
      </dsp:nvSpPr>
      <dsp:spPr>
        <a:xfrm>
          <a:off x="350519" y="347759"/>
          <a:ext cx="3840480" cy="3840480"/>
        </a:xfrm>
        <a:prstGeom prst="pie">
          <a:avLst>
            <a:gd name="adj1" fmla="val 9000000"/>
            <a:gd name="adj2" fmla="val 12600000"/>
          </a:avLst>
        </a:prstGeom>
        <a:gradFill rotWithShape="0">
          <a:gsLst>
            <a:gs pos="0">
              <a:schemeClr val="accent5">
                <a:hueOff val="-4170390"/>
                <a:satOff val="37725"/>
                <a:lumOff val="1412"/>
                <a:alphaOff val="0"/>
                <a:shade val="51000"/>
                <a:satMod val="130000"/>
              </a:schemeClr>
            </a:gs>
            <a:gs pos="80000">
              <a:schemeClr val="accent5">
                <a:hueOff val="-4170390"/>
                <a:satOff val="37725"/>
                <a:lumOff val="1412"/>
                <a:alphaOff val="0"/>
                <a:shade val="93000"/>
                <a:satMod val="130000"/>
              </a:schemeClr>
            </a:gs>
            <a:gs pos="100000">
              <a:schemeClr val="accent5">
                <a:hueOff val="-4170390"/>
                <a:satOff val="37725"/>
                <a:lumOff val="1412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Roadmap &amp; Maturity Model </a:t>
          </a:r>
          <a:endParaRPr lang="en-US" sz="1200" b="1" kern="1200" dirty="0"/>
        </a:p>
      </dsp:txBody>
      <dsp:txXfrm>
        <a:off x="533400" y="1902240"/>
        <a:ext cx="1051560" cy="754380"/>
      </dsp:txXfrm>
    </dsp:sp>
    <dsp:sp modelId="{B9C7F1F0-2709-4171-925E-7730914353CB}">
      <dsp:nvSpPr>
        <dsp:cNvPr id="0" name=""/>
        <dsp:cNvSpPr/>
      </dsp:nvSpPr>
      <dsp:spPr>
        <a:xfrm>
          <a:off x="396239" y="268664"/>
          <a:ext cx="3840480" cy="3840480"/>
        </a:xfrm>
        <a:prstGeom prst="pie">
          <a:avLst>
            <a:gd name="adj1" fmla="val 12600000"/>
            <a:gd name="adj2" fmla="val 16200000"/>
          </a:avLst>
        </a:prstGeom>
        <a:gradFill rotWithShape="0">
          <a:gsLst>
            <a:gs pos="0">
              <a:schemeClr val="accent5">
                <a:hueOff val="-5212988"/>
                <a:satOff val="47156"/>
                <a:lumOff val="1765"/>
                <a:alphaOff val="0"/>
                <a:shade val="51000"/>
                <a:satMod val="130000"/>
              </a:schemeClr>
            </a:gs>
            <a:gs pos="80000">
              <a:schemeClr val="accent5">
                <a:hueOff val="-5212988"/>
                <a:satOff val="47156"/>
                <a:lumOff val="1765"/>
                <a:alphaOff val="0"/>
                <a:shade val="93000"/>
                <a:satMod val="130000"/>
              </a:schemeClr>
            </a:gs>
            <a:gs pos="100000">
              <a:schemeClr val="accent5">
                <a:hueOff val="-5212988"/>
                <a:satOff val="47156"/>
                <a:lumOff val="1765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/>
            <a:t>Implement</a:t>
          </a:r>
        </a:p>
      </dsp:txBody>
      <dsp:txXfrm>
        <a:off x="1219199" y="759239"/>
        <a:ext cx="1005840" cy="777240"/>
      </dsp:txXfrm>
    </dsp:sp>
    <dsp:sp modelId="{00C8FA04-40D9-416E-8661-5DC57DC4343D}">
      <dsp:nvSpPr>
        <dsp:cNvPr id="0" name=""/>
        <dsp:cNvSpPr/>
      </dsp:nvSpPr>
      <dsp:spPr>
        <a:xfrm>
          <a:off x="249795" y="30920"/>
          <a:ext cx="4315968" cy="4315968"/>
        </a:xfrm>
        <a:prstGeom prst="circularArrow">
          <a:avLst>
            <a:gd name="adj1" fmla="val 5085"/>
            <a:gd name="adj2" fmla="val 327528"/>
            <a:gd name="adj3" fmla="val 19472472"/>
            <a:gd name="adj4" fmla="val 16200251"/>
            <a:gd name="adj5" fmla="val 5932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85011886-B4ED-4C76-9786-4717EDCDF76D}">
      <dsp:nvSpPr>
        <dsp:cNvPr id="0" name=""/>
        <dsp:cNvSpPr/>
      </dsp:nvSpPr>
      <dsp:spPr>
        <a:xfrm>
          <a:off x="295515" y="110016"/>
          <a:ext cx="4315968" cy="4315968"/>
        </a:xfrm>
        <a:prstGeom prst="circularArrow">
          <a:avLst>
            <a:gd name="adj1" fmla="val 5085"/>
            <a:gd name="adj2" fmla="val 327528"/>
            <a:gd name="adj3" fmla="val 1472472"/>
            <a:gd name="adj4" fmla="val 19800000"/>
            <a:gd name="adj5" fmla="val 5932"/>
          </a:avLst>
        </a:prstGeom>
        <a:gradFill rotWithShape="0">
          <a:gsLst>
            <a:gs pos="0">
              <a:schemeClr val="accent5">
                <a:hueOff val="-1042598"/>
                <a:satOff val="9431"/>
                <a:lumOff val="353"/>
                <a:alphaOff val="0"/>
                <a:shade val="51000"/>
                <a:satMod val="130000"/>
              </a:schemeClr>
            </a:gs>
            <a:gs pos="80000">
              <a:schemeClr val="accent5">
                <a:hueOff val="-1042598"/>
                <a:satOff val="9431"/>
                <a:lumOff val="353"/>
                <a:alphaOff val="0"/>
                <a:shade val="93000"/>
                <a:satMod val="130000"/>
              </a:schemeClr>
            </a:gs>
            <a:gs pos="100000">
              <a:schemeClr val="accent5">
                <a:hueOff val="-1042598"/>
                <a:satOff val="9431"/>
                <a:lumOff val="353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341D9EC0-5575-4B27-8A3A-3213FC67B446}">
      <dsp:nvSpPr>
        <dsp:cNvPr id="0" name=""/>
        <dsp:cNvSpPr/>
      </dsp:nvSpPr>
      <dsp:spPr>
        <a:xfrm>
          <a:off x="249795" y="189111"/>
          <a:ext cx="4315968" cy="4315968"/>
        </a:xfrm>
        <a:prstGeom prst="circularArrow">
          <a:avLst>
            <a:gd name="adj1" fmla="val 5085"/>
            <a:gd name="adj2" fmla="val 327528"/>
            <a:gd name="adj3" fmla="val 5072221"/>
            <a:gd name="adj4" fmla="val 1800000"/>
            <a:gd name="adj5" fmla="val 5932"/>
          </a:avLst>
        </a:prstGeom>
        <a:gradFill rotWithShape="0">
          <a:gsLst>
            <a:gs pos="0">
              <a:schemeClr val="accent5">
                <a:hueOff val="-2085195"/>
                <a:satOff val="18862"/>
                <a:lumOff val="706"/>
                <a:alphaOff val="0"/>
                <a:shade val="51000"/>
                <a:satMod val="130000"/>
              </a:schemeClr>
            </a:gs>
            <a:gs pos="80000">
              <a:schemeClr val="accent5">
                <a:hueOff val="-2085195"/>
                <a:satOff val="18862"/>
                <a:lumOff val="706"/>
                <a:alphaOff val="0"/>
                <a:shade val="93000"/>
                <a:satMod val="130000"/>
              </a:schemeClr>
            </a:gs>
            <a:gs pos="100000">
              <a:schemeClr val="accent5">
                <a:hueOff val="-2085195"/>
                <a:satOff val="18862"/>
                <a:lumOff val="706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64F57C23-68D2-4D2B-A8D5-C89EC8606EBA}">
      <dsp:nvSpPr>
        <dsp:cNvPr id="0" name=""/>
        <dsp:cNvSpPr/>
      </dsp:nvSpPr>
      <dsp:spPr>
        <a:xfrm>
          <a:off x="158636" y="189111"/>
          <a:ext cx="4315968" cy="4315968"/>
        </a:xfrm>
        <a:prstGeom prst="circularArrow">
          <a:avLst>
            <a:gd name="adj1" fmla="val 5085"/>
            <a:gd name="adj2" fmla="val 327528"/>
            <a:gd name="adj3" fmla="val 8672472"/>
            <a:gd name="adj4" fmla="val 5400251"/>
            <a:gd name="adj5" fmla="val 5932"/>
          </a:avLst>
        </a:prstGeom>
        <a:gradFill rotWithShape="0">
          <a:gsLst>
            <a:gs pos="0">
              <a:schemeClr val="accent5">
                <a:hueOff val="-3127793"/>
                <a:satOff val="28294"/>
                <a:lumOff val="1059"/>
                <a:alphaOff val="0"/>
                <a:shade val="51000"/>
                <a:satMod val="130000"/>
              </a:schemeClr>
            </a:gs>
            <a:gs pos="80000">
              <a:schemeClr val="accent5">
                <a:hueOff val="-3127793"/>
                <a:satOff val="28294"/>
                <a:lumOff val="1059"/>
                <a:alphaOff val="0"/>
                <a:shade val="93000"/>
                <a:satMod val="130000"/>
              </a:schemeClr>
            </a:gs>
            <a:gs pos="100000">
              <a:schemeClr val="accent5">
                <a:hueOff val="-3127793"/>
                <a:satOff val="28294"/>
                <a:lumOff val="1059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431869AC-7837-40B1-AE6A-9D350CCFEC9E}">
      <dsp:nvSpPr>
        <dsp:cNvPr id="0" name=""/>
        <dsp:cNvSpPr/>
      </dsp:nvSpPr>
      <dsp:spPr>
        <a:xfrm>
          <a:off x="112916" y="110016"/>
          <a:ext cx="4315968" cy="4315968"/>
        </a:xfrm>
        <a:prstGeom prst="circularArrow">
          <a:avLst>
            <a:gd name="adj1" fmla="val 5085"/>
            <a:gd name="adj2" fmla="val 327528"/>
            <a:gd name="adj3" fmla="val 12272472"/>
            <a:gd name="adj4" fmla="val 9000000"/>
            <a:gd name="adj5" fmla="val 5932"/>
          </a:avLst>
        </a:prstGeom>
        <a:gradFill rotWithShape="0">
          <a:gsLst>
            <a:gs pos="0">
              <a:schemeClr val="accent5">
                <a:hueOff val="-4170390"/>
                <a:satOff val="37725"/>
                <a:lumOff val="1412"/>
                <a:alphaOff val="0"/>
                <a:shade val="51000"/>
                <a:satMod val="130000"/>
              </a:schemeClr>
            </a:gs>
            <a:gs pos="80000">
              <a:schemeClr val="accent5">
                <a:hueOff val="-4170390"/>
                <a:satOff val="37725"/>
                <a:lumOff val="1412"/>
                <a:alphaOff val="0"/>
                <a:shade val="93000"/>
                <a:satMod val="130000"/>
              </a:schemeClr>
            </a:gs>
            <a:gs pos="100000">
              <a:schemeClr val="accent5">
                <a:hueOff val="-4170390"/>
                <a:satOff val="37725"/>
                <a:lumOff val="1412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6408BABE-E5C5-4025-B0DC-1CB7E3486226}">
      <dsp:nvSpPr>
        <dsp:cNvPr id="0" name=""/>
        <dsp:cNvSpPr/>
      </dsp:nvSpPr>
      <dsp:spPr>
        <a:xfrm>
          <a:off x="158636" y="30920"/>
          <a:ext cx="4315968" cy="4315968"/>
        </a:xfrm>
        <a:prstGeom prst="circularArrow">
          <a:avLst>
            <a:gd name="adj1" fmla="val 5085"/>
            <a:gd name="adj2" fmla="val 327528"/>
            <a:gd name="adj3" fmla="val 15872221"/>
            <a:gd name="adj4" fmla="val 12600000"/>
            <a:gd name="adj5" fmla="val 5932"/>
          </a:avLst>
        </a:prstGeom>
        <a:gradFill rotWithShape="0">
          <a:gsLst>
            <a:gs pos="0">
              <a:schemeClr val="accent5">
                <a:hueOff val="-5212988"/>
                <a:satOff val="47156"/>
                <a:lumOff val="1765"/>
                <a:alphaOff val="0"/>
                <a:shade val="51000"/>
                <a:satMod val="130000"/>
              </a:schemeClr>
            </a:gs>
            <a:gs pos="80000">
              <a:schemeClr val="accent5">
                <a:hueOff val="-5212988"/>
                <a:satOff val="47156"/>
                <a:lumOff val="1765"/>
                <a:alphaOff val="0"/>
                <a:shade val="93000"/>
                <a:satMod val="130000"/>
              </a:schemeClr>
            </a:gs>
            <a:gs pos="100000">
              <a:schemeClr val="accent5">
                <a:hueOff val="-5212988"/>
                <a:satOff val="47156"/>
                <a:lumOff val="1765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7088FD-3C32-41C7-90DC-037034A0E0D0}">
      <dsp:nvSpPr>
        <dsp:cNvPr id="0" name=""/>
        <dsp:cNvSpPr/>
      </dsp:nvSpPr>
      <dsp:spPr>
        <a:xfrm>
          <a:off x="411" y="0"/>
          <a:ext cx="1973758" cy="381000"/>
        </a:xfrm>
        <a:prstGeom prst="homePlat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674" tIns="29337" rIns="14669" bIns="29337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>
              <a:solidFill>
                <a:schemeClr val="tx1">
                  <a:lumMod val="65000"/>
                  <a:lumOff val="35000"/>
                </a:schemeClr>
              </a:solidFill>
            </a:rPr>
            <a:t>Scope the Impact</a:t>
          </a:r>
          <a:endParaRPr lang="en-US" sz="1100" kern="1200" dirty="0">
            <a:solidFill>
              <a:schemeClr val="tx1">
                <a:lumMod val="65000"/>
                <a:lumOff val="35000"/>
              </a:schemeClr>
            </a:solidFill>
          </a:endParaRPr>
        </a:p>
      </dsp:txBody>
      <dsp:txXfrm>
        <a:off x="411" y="0"/>
        <a:ext cx="1878508" cy="381000"/>
      </dsp:txXfrm>
    </dsp:sp>
    <dsp:sp modelId="{6395A2B1-CC95-4A3F-A413-F9D09ECAB4CB}">
      <dsp:nvSpPr>
        <dsp:cNvPr id="0" name=""/>
        <dsp:cNvSpPr/>
      </dsp:nvSpPr>
      <dsp:spPr>
        <a:xfrm>
          <a:off x="1579418" y="0"/>
          <a:ext cx="2632362" cy="381000"/>
        </a:xfrm>
        <a:prstGeom prst="chevron">
          <a:avLst/>
        </a:prstGeom>
        <a:solidFill>
          <a:srgbClr val="C2E46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>
              <a:solidFill>
                <a:schemeClr val="tx1">
                  <a:lumMod val="65000"/>
                  <a:lumOff val="35000"/>
                </a:schemeClr>
              </a:solidFill>
            </a:rPr>
            <a:t>Understand Current State</a:t>
          </a:r>
          <a:endParaRPr lang="en-US" sz="1100" kern="1200" dirty="0">
            <a:solidFill>
              <a:schemeClr val="tx1">
                <a:lumMod val="65000"/>
                <a:lumOff val="35000"/>
              </a:schemeClr>
            </a:solidFill>
          </a:endParaRPr>
        </a:p>
      </dsp:txBody>
      <dsp:txXfrm>
        <a:off x="1769918" y="0"/>
        <a:ext cx="2251362" cy="381000"/>
      </dsp:txXfrm>
    </dsp:sp>
    <dsp:sp modelId="{3D744EE7-062B-45CB-80EA-3FC065B5F4E5}">
      <dsp:nvSpPr>
        <dsp:cNvPr id="0" name=""/>
        <dsp:cNvSpPr/>
      </dsp:nvSpPr>
      <dsp:spPr>
        <a:xfrm>
          <a:off x="3817029" y="0"/>
          <a:ext cx="1973758" cy="381000"/>
        </a:xfrm>
        <a:prstGeom prst="chevron">
          <a:avLst/>
        </a:prstGeom>
        <a:solidFill>
          <a:schemeClr val="accent4">
            <a:hueOff val="4598569"/>
            <a:satOff val="-51810"/>
            <a:lumOff val="-725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>
              <a:solidFill>
                <a:schemeClr val="tx1">
                  <a:lumMod val="65000"/>
                  <a:lumOff val="35000"/>
                </a:schemeClr>
              </a:solidFill>
            </a:rPr>
            <a:t>Governance &amp; Support</a:t>
          </a:r>
          <a:endParaRPr lang="en-US" sz="1100" kern="1200" dirty="0">
            <a:solidFill>
              <a:schemeClr val="tx1">
                <a:lumMod val="65000"/>
                <a:lumOff val="35000"/>
              </a:schemeClr>
            </a:solidFill>
          </a:endParaRPr>
        </a:p>
      </dsp:txBody>
      <dsp:txXfrm>
        <a:off x="4007529" y="0"/>
        <a:ext cx="1592758" cy="38100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7088FD-3C32-41C7-90DC-037034A0E0D0}">
      <dsp:nvSpPr>
        <dsp:cNvPr id="0" name=""/>
        <dsp:cNvSpPr/>
      </dsp:nvSpPr>
      <dsp:spPr>
        <a:xfrm>
          <a:off x="411" y="0"/>
          <a:ext cx="1973758" cy="381000"/>
        </a:xfrm>
        <a:prstGeom prst="homePlat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674" tIns="29337" rIns="14669" bIns="29337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>
              <a:solidFill>
                <a:schemeClr val="tx1">
                  <a:lumMod val="65000"/>
                  <a:lumOff val="35000"/>
                </a:schemeClr>
              </a:solidFill>
            </a:rPr>
            <a:t>Identify KBDs</a:t>
          </a:r>
          <a:endParaRPr lang="en-US" sz="1100" kern="1200" dirty="0">
            <a:solidFill>
              <a:schemeClr val="tx1">
                <a:lumMod val="65000"/>
                <a:lumOff val="35000"/>
              </a:schemeClr>
            </a:solidFill>
          </a:endParaRPr>
        </a:p>
      </dsp:txBody>
      <dsp:txXfrm>
        <a:off x="411" y="0"/>
        <a:ext cx="1878508" cy="381000"/>
      </dsp:txXfrm>
    </dsp:sp>
    <dsp:sp modelId="{6395A2B1-CC95-4A3F-A413-F9D09ECAB4CB}">
      <dsp:nvSpPr>
        <dsp:cNvPr id="0" name=""/>
        <dsp:cNvSpPr/>
      </dsp:nvSpPr>
      <dsp:spPr>
        <a:xfrm>
          <a:off x="1579418" y="0"/>
          <a:ext cx="2632362" cy="381000"/>
        </a:xfrm>
        <a:prstGeom prst="chevron">
          <a:avLst/>
        </a:prstGeom>
        <a:solidFill>
          <a:srgbClr val="C2E46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>
              <a:solidFill>
                <a:schemeClr val="tx1">
                  <a:lumMod val="65000"/>
                  <a:lumOff val="35000"/>
                </a:schemeClr>
              </a:solidFill>
            </a:rPr>
            <a:t>Create service models</a:t>
          </a:r>
          <a:endParaRPr lang="en-US" sz="1100" kern="1200" dirty="0">
            <a:solidFill>
              <a:schemeClr val="tx1">
                <a:lumMod val="65000"/>
                <a:lumOff val="35000"/>
              </a:schemeClr>
            </a:solidFill>
          </a:endParaRPr>
        </a:p>
      </dsp:txBody>
      <dsp:txXfrm>
        <a:off x="1769918" y="0"/>
        <a:ext cx="2251362" cy="381000"/>
      </dsp:txXfrm>
    </dsp:sp>
    <dsp:sp modelId="{3D744EE7-062B-45CB-80EA-3FC065B5F4E5}">
      <dsp:nvSpPr>
        <dsp:cNvPr id="0" name=""/>
        <dsp:cNvSpPr/>
      </dsp:nvSpPr>
      <dsp:spPr>
        <a:xfrm>
          <a:off x="3817029" y="0"/>
          <a:ext cx="1973758" cy="381000"/>
        </a:xfrm>
        <a:prstGeom prst="chevron">
          <a:avLst/>
        </a:prstGeom>
        <a:solidFill>
          <a:schemeClr val="accent4">
            <a:hueOff val="4598569"/>
            <a:satOff val="-51810"/>
            <a:lumOff val="-725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>
              <a:solidFill>
                <a:schemeClr val="tx1">
                  <a:lumMod val="65000"/>
                  <a:lumOff val="35000"/>
                </a:schemeClr>
              </a:solidFill>
            </a:rPr>
            <a:t>Impact Analysis</a:t>
          </a:r>
          <a:endParaRPr lang="en-US" sz="1100" kern="1200" dirty="0">
            <a:solidFill>
              <a:schemeClr val="tx1">
                <a:lumMod val="65000"/>
                <a:lumOff val="35000"/>
              </a:schemeClr>
            </a:solidFill>
          </a:endParaRPr>
        </a:p>
      </dsp:txBody>
      <dsp:txXfrm>
        <a:off x="4007529" y="0"/>
        <a:ext cx="1592758" cy="38100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7088FD-3C32-41C7-90DC-037034A0E0D0}">
      <dsp:nvSpPr>
        <dsp:cNvPr id="0" name=""/>
        <dsp:cNvSpPr/>
      </dsp:nvSpPr>
      <dsp:spPr>
        <a:xfrm>
          <a:off x="411" y="0"/>
          <a:ext cx="1973758" cy="381000"/>
        </a:xfrm>
        <a:prstGeom prst="homePlat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674" tIns="29337" rIns="14669" bIns="29337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>
              <a:solidFill>
                <a:schemeClr val="tx1">
                  <a:lumMod val="65000"/>
                  <a:lumOff val="35000"/>
                </a:schemeClr>
              </a:solidFill>
            </a:rPr>
            <a:t>Scope the data</a:t>
          </a:r>
          <a:endParaRPr lang="en-US" sz="1100" kern="1200" dirty="0">
            <a:solidFill>
              <a:schemeClr val="tx1">
                <a:lumMod val="65000"/>
                <a:lumOff val="35000"/>
              </a:schemeClr>
            </a:solidFill>
          </a:endParaRPr>
        </a:p>
      </dsp:txBody>
      <dsp:txXfrm>
        <a:off x="411" y="0"/>
        <a:ext cx="1878508" cy="381000"/>
      </dsp:txXfrm>
    </dsp:sp>
    <dsp:sp modelId="{6395A2B1-CC95-4A3F-A413-F9D09ECAB4CB}">
      <dsp:nvSpPr>
        <dsp:cNvPr id="0" name=""/>
        <dsp:cNvSpPr/>
      </dsp:nvSpPr>
      <dsp:spPr>
        <a:xfrm>
          <a:off x="1579418" y="0"/>
          <a:ext cx="2632362" cy="381000"/>
        </a:xfrm>
        <a:prstGeom prst="chevron">
          <a:avLst/>
        </a:prstGeom>
        <a:solidFill>
          <a:srgbClr val="C2E46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>
              <a:solidFill>
                <a:schemeClr val="tx1">
                  <a:lumMod val="65000"/>
                  <a:lumOff val="35000"/>
                </a:schemeClr>
              </a:solidFill>
            </a:rPr>
            <a:t>Develop architecture</a:t>
          </a:r>
          <a:endParaRPr lang="en-US" sz="1100" kern="1200" dirty="0">
            <a:solidFill>
              <a:schemeClr val="tx1">
                <a:lumMod val="65000"/>
                <a:lumOff val="35000"/>
              </a:schemeClr>
            </a:solidFill>
          </a:endParaRPr>
        </a:p>
      </dsp:txBody>
      <dsp:txXfrm>
        <a:off x="1769918" y="0"/>
        <a:ext cx="2251362" cy="381000"/>
      </dsp:txXfrm>
    </dsp:sp>
    <dsp:sp modelId="{3D744EE7-062B-45CB-80EA-3FC065B5F4E5}">
      <dsp:nvSpPr>
        <dsp:cNvPr id="0" name=""/>
        <dsp:cNvSpPr/>
      </dsp:nvSpPr>
      <dsp:spPr>
        <a:xfrm>
          <a:off x="3817029" y="0"/>
          <a:ext cx="1973758" cy="381000"/>
        </a:xfrm>
        <a:prstGeom prst="chevron">
          <a:avLst/>
        </a:prstGeom>
        <a:solidFill>
          <a:schemeClr val="accent4">
            <a:hueOff val="4598569"/>
            <a:satOff val="-51810"/>
            <a:lumOff val="-725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>
              <a:solidFill>
                <a:schemeClr val="tx1">
                  <a:lumMod val="65000"/>
                  <a:lumOff val="35000"/>
                </a:schemeClr>
              </a:solidFill>
            </a:rPr>
            <a:t>Build the roadmap</a:t>
          </a:r>
          <a:endParaRPr lang="en-US" sz="1100" kern="1200" dirty="0">
            <a:solidFill>
              <a:schemeClr val="tx1">
                <a:lumMod val="65000"/>
                <a:lumOff val="35000"/>
              </a:schemeClr>
            </a:solidFill>
          </a:endParaRPr>
        </a:p>
      </dsp:txBody>
      <dsp:txXfrm>
        <a:off x="4007529" y="0"/>
        <a:ext cx="1592758" cy="38100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7088FD-3C32-41C7-90DC-037034A0E0D0}">
      <dsp:nvSpPr>
        <dsp:cNvPr id="0" name=""/>
        <dsp:cNvSpPr/>
      </dsp:nvSpPr>
      <dsp:spPr>
        <a:xfrm>
          <a:off x="411" y="0"/>
          <a:ext cx="1973758" cy="381000"/>
        </a:xfrm>
        <a:prstGeom prst="homePlat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674" tIns="29337" rIns="14669" bIns="29337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>
              <a:solidFill>
                <a:schemeClr val="tx1">
                  <a:lumMod val="65000"/>
                  <a:lumOff val="35000"/>
                </a:schemeClr>
              </a:solidFill>
            </a:rPr>
            <a:t>Scope NFRs</a:t>
          </a:r>
          <a:endParaRPr lang="en-US" sz="1100" kern="1200" dirty="0">
            <a:solidFill>
              <a:schemeClr val="tx1">
                <a:lumMod val="65000"/>
                <a:lumOff val="35000"/>
              </a:schemeClr>
            </a:solidFill>
          </a:endParaRPr>
        </a:p>
      </dsp:txBody>
      <dsp:txXfrm>
        <a:off x="411" y="0"/>
        <a:ext cx="1878508" cy="381000"/>
      </dsp:txXfrm>
    </dsp:sp>
    <dsp:sp modelId="{6395A2B1-CC95-4A3F-A413-F9D09ECAB4CB}">
      <dsp:nvSpPr>
        <dsp:cNvPr id="0" name=""/>
        <dsp:cNvSpPr/>
      </dsp:nvSpPr>
      <dsp:spPr>
        <a:xfrm>
          <a:off x="1579418" y="0"/>
          <a:ext cx="2632362" cy="381000"/>
        </a:xfrm>
        <a:prstGeom prst="chevron">
          <a:avLst/>
        </a:prstGeom>
        <a:solidFill>
          <a:srgbClr val="C2E46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>
              <a:solidFill>
                <a:schemeClr val="tx1">
                  <a:lumMod val="65000"/>
                  <a:lumOff val="35000"/>
                </a:schemeClr>
              </a:solidFill>
            </a:rPr>
            <a:t>Develop tech portfolio</a:t>
          </a:r>
          <a:endParaRPr lang="en-US" sz="1100" kern="1200" dirty="0">
            <a:solidFill>
              <a:schemeClr val="tx1">
                <a:lumMod val="65000"/>
                <a:lumOff val="35000"/>
              </a:schemeClr>
            </a:solidFill>
          </a:endParaRPr>
        </a:p>
      </dsp:txBody>
      <dsp:txXfrm>
        <a:off x="1769918" y="0"/>
        <a:ext cx="2251362" cy="381000"/>
      </dsp:txXfrm>
    </dsp:sp>
    <dsp:sp modelId="{3D744EE7-062B-45CB-80EA-3FC065B5F4E5}">
      <dsp:nvSpPr>
        <dsp:cNvPr id="0" name=""/>
        <dsp:cNvSpPr/>
      </dsp:nvSpPr>
      <dsp:spPr>
        <a:xfrm>
          <a:off x="3817029" y="0"/>
          <a:ext cx="1973758" cy="381000"/>
        </a:xfrm>
        <a:prstGeom prst="chevron">
          <a:avLst/>
        </a:prstGeom>
        <a:solidFill>
          <a:schemeClr val="accent4">
            <a:hueOff val="4598569"/>
            <a:satOff val="-51810"/>
            <a:lumOff val="-725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>
              <a:solidFill>
                <a:schemeClr val="tx1">
                  <a:lumMod val="65000"/>
                  <a:lumOff val="35000"/>
                </a:schemeClr>
              </a:solidFill>
            </a:rPr>
            <a:t>Design platform</a:t>
          </a:r>
          <a:endParaRPr lang="en-US" sz="1100" kern="1200" dirty="0">
            <a:solidFill>
              <a:schemeClr val="tx1">
                <a:lumMod val="65000"/>
                <a:lumOff val="35000"/>
              </a:schemeClr>
            </a:solidFill>
          </a:endParaRPr>
        </a:p>
      </dsp:txBody>
      <dsp:txXfrm>
        <a:off x="4007529" y="0"/>
        <a:ext cx="1592758" cy="381000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7088FD-3C32-41C7-90DC-037034A0E0D0}">
      <dsp:nvSpPr>
        <dsp:cNvPr id="0" name=""/>
        <dsp:cNvSpPr/>
      </dsp:nvSpPr>
      <dsp:spPr>
        <a:xfrm>
          <a:off x="411" y="0"/>
          <a:ext cx="1973758" cy="381000"/>
        </a:xfrm>
        <a:prstGeom prst="homePlat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674" tIns="29337" rIns="14669" bIns="29337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>
              <a:solidFill>
                <a:schemeClr val="tx1">
                  <a:lumMod val="65000"/>
                  <a:lumOff val="35000"/>
                </a:schemeClr>
              </a:solidFill>
            </a:rPr>
            <a:t>Formulate strategy</a:t>
          </a:r>
          <a:endParaRPr lang="en-US" sz="1100" kern="1200" dirty="0">
            <a:solidFill>
              <a:schemeClr val="tx1">
                <a:lumMod val="65000"/>
                <a:lumOff val="35000"/>
              </a:schemeClr>
            </a:solidFill>
          </a:endParaRPr>
        </a:p>
      </dsp:txBody>
      <dsp:txXfrm>
        <a:off x="411" y="0"/>
        <a:ext cx="1878508" cy="381000"/>
      </dsp:txXfrm>
    </dsp:sp>
    <dsp:sp modelId="{6395A2B1-CC95-4A3F-A413-F9D09ECAB4CB}">
      <dsp:nvSpPr>
        <dsp:cNvPr id="0" name=""/>
        <dsp:cNvSpPr/>
      </dsp:nvSpPr>
      <dsp:spPr>
        <a:xfrm>
          <a:off x="1579418" y="0"/>
          <a:ext cx="2632362" cy="381000"/>
        </a:xfrm>
        <a:prstGeom prst="chevron">
          <a:avLst/>
        </a:prstGeom>
        <a:solidFill>
          <a:srgbClr val="C2E46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>
              <a:solidFill>
                <a:schemeClr val="tx1">
                  <a:lumMod val="65000"/>
                  <a:lumOff val="35000"/>
                </a:schemeClr>
              </a:solidFill>
            </a:rPr>
            <a:t>Create work packages</a:t>
          </a:r>
          <a:endParaRPr lang="en-US" sz="1100" kern="1200" dirty="0">
            <a:solidFill>
              <a:schemeClr val="tx1">
                <a:lumMod val="65000"/>
                <a:lumOff val="35000"/>
              </a:schemeClr>
            </a:solidFill>
          </a:endParaRPr>
        </a:p>
      </dsp:txBody>
      <dsp:txXfrm>
        <a:off x="1769918" y="0"/>
        <a:ext cx="2251362" cy="381000"/>
      </dsp:txXfrm>
    </dsp:sp>
    <dsp:sp modelId="{3D744EE7-062B-45CB-80EA-3FC065B5F4E5}">
      <dsp:nvSpPr>
        <dsp:cNvPr id="0" name=""/>
        <dsp:cNvSpPr/>
      </dsp:nvSpPr>
      <dsp:spPr>
        <a:xfrm>
          <a:off x="3817029" y="0"/>
          <a:ext cx="1973758" cy="381000"/>
        </a:xfrm>
        <a:prstGeom prst="chevron">
          <a:avLst/>
        </a:prstGeom>
        <a:solidFill>
          <a:schemeClr val="accent4">
            <a:hueOff val="4598569"/>
            <a:satOff val="-51810"/>
            <a:lumOff val="-725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>
              <a:solidFill>
                <a:schemeClr val="tx1">
                  <a:lumMod val="65000"/>
                  <a:lumOff val="35000"/>
                </a:schemeClr>
              </a:solidFill>
            </a:rPr>
            <a:t>Implementation planning</a:t>
          </a:r>
          <a:endParaRPr lang="en-US" sz="1100" kern="1200" dirty="0">
            <a:solidFill>
              <a:schemeClr val="tx1">
                <a:lumMod val="65000"/>
                <a:lumOff val="35000"/>
              </a:schemeClr>
            </a:solidFill>
          </a:endParaRPr>
        </a:p>
      </dsp:txBody>
      <dsp:txXfrm>
        <a:off x="4007529" y="0"/>
        <a:ext cx="1592758" cy="381000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7088FD-3C32-41C7-90DC-037034A0E0D0}">
      <dsp:nvSpPr>
        <dsp:cNvPr id="0" name=""/>
        <dsp:cNvSpPr/>
      </dsp:nvSpPr>
      <dsp:spPr>
        <a:xfrm>
          <a:off x="411" y="0"/>
          <a:ext cx="1973758" cy="381000"/>
        </a:xfrm>
        <a:prstGeom prst="homePlat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674" tIns="29337" rIns="14669" bIns="29337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>
              <a:solidFill>
                <a:schemeClr val="tx1">
                  <a:lumMod val="65000"/>
                  <a:lumOff val="35000"/>
                </a:schemeClr>
              </a:solidFill>
            </a:rPr>
            <a:t>Manage development</a:t>
          </a:r>
          <a:endParaRPr lang="en-US" sz="1100" kern="1200" dirty="0">
            <a:solidFill>
              <a:schemeClr val="tx1">
                <a:lumMod val="65000"/>
                <a:lumOff val="35000"/>
              </a:schemeClr>
            </a:solidFill>
          </a:endParaRPr>
        </a:p>
      </dsp:txBody>
      <dsp:txXfrm>
        <a:off x="411" y="0"/>
        <a:ext cx="1878508" cy="381000"/>
      </dsp:txXfrm>
    </dsp:sp>
    <dsp:sp modelId="{6395A2B1-CC95-4A3F-A413-F9D09ECAB4CB}">
      <dsp:nvSpPr>
        <dsp:cNvPr id="0" name=""/>
        <dsp:cNvSpPr/>
      </dsp:nvSpPr>
      <dsp:spPr>
        <a:xfrm>
          <a:off x="1579418" y="0"/>
          <a:ext cx="2632362" cy="381000"/>
        </a:xfrm>
        <a:prstGeom prst="chevron">
          <a:avLst/>
        </a:prstGeom>
        <a:solidFill>
          <a:srgbClr val="C2E46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>
              <a:solidFill>
                <a:schemeClr val="tx1">
                  <a:lumMod val="65000"/>
                  <a:lumOff val="35000"/>
                </a:schemeClr>
              </a:solidFill>
            </a:rPr>
            <a:t>Implement operations</a:t>
          </a:r>
          <a:endParaRPr lang="en-US" sz="1100" kern="1200" dirty="0">
            <a:solidFill>
              <a:schemeClr val="tx1">
                <a:lumMod val="65000"/>
                <a:lumOff val="35000"/>
              </a:schemeClr>
            </a:solidFill>
          </a:endParaRPr>
        </a:p>
      </dsp:txBody>
      <dsp:txXfrm>
        <a:off x="1769918" y="0"/>
        <a:ext cx="2251362" cy="381000"/>
      </dsp:txXfrm>
    </dsp:sp>
    <dsp:sp modelId="{3D744EE7-062B-45CB-80EA-3FC065B5F4E5}">
      <dsp:nvSpPr>
        <dsp:cNvPr id="0" name=""/>
        <dsp:cNvSpPr/>
      </dsp:nvSpPr>
      <dsp:spPr>
        <a:xfrm>
          <a:off x="3817029" y="0"/>
          <a:ext cx="1973758" cy="381000"/>
        </a:xfrm>
        <a:prstGeom prst="chevron">
          <a:avLst/>
        </a:prstGeom>
        <a:solidFill>
          <a:schemeClr val="accent4">
            <a:hueOff val="4598569"/>
            <a:satOff val="-51810"/>
            <a:lumOff val="-725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>
              <a:solidFill>
                <a:schemeClr val="tx1">
                  <a:lumMod val="65000"/>
                  <a:lumOff val="35000"/>
                </a:schemeClr>
              </a:solidFill>
            </a:rPr>
            <a:t>Close project</a:t>
          </a:r>
          <a:endParaRPr lang="en-US" sz="1100" kern="1200" dirty="0">
            <a:solidFill>
              <a:schemeClr val="tx1">
                <a:lumMod val="65000"/>
                <a:lumOff val="35000"/>
              </a:schemeClr>
            </a:solidFill>
          </a:endParaRPr>
        </a:p>
      </dsp:txBody>
      <dsp:txXfrm>
        <a:off x="4007529" y="0"/>
        <a:ext cx="1592758" cy="3810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B38CCBE-0D8C-43D9-9FA4-A5B16D566A03}" type="datetimeFigureOut">
              <a:rPr lang="en-US" smtClean="0"/>
              <a:t>5/10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C626BE-8E60-4189-A735-47A287063C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07736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C626BE-8E60-4189-A735-47A287063C7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81478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50" Type="http://schemas.openxmlformats.org/officeDocument/2006/relationships/image" Target="../media/image3.jpe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41" Type="http://schemas.openxmlformats.org/officeDocument/2006/relationships/tags" Target="../tags/tag41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slideMaster" Target="../slideMasters/slideMaster1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8" Type="http://schemas.openxmlformats.org/officeDocument/2006/relationships/tags" Target="../tags/tag8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3" Type="http://schemas.openxmlformats.org/officeDocument/2006/relationships/tags" Target="../tags/tag61.xml"/><Relationship Id="rId18" Type="http://schemas.openxmlformats.org/officeDocument/2006/relationships/tags" Target="../tags/tag66.xml"/><Relationship Id="rId26" Type="http://schemas.openxmlformats.org/officeDocument/2006/relationships/tags" Target="../tags/tag74.xml"/><Relationship Id="rId39" Type="http://schemas.openxmlformats.org/officeDocument/2006/relationships/tags" Target="../tags/tag87.xml"/><Relationship Id="rId3" Type="http://schemas.openxmlformats.org/officeDocument/2006/relationships/tags" Target="../tags/tag51.xml"/><Relationship Id="rId21" Type="http://schemas.openxmlformats.org/officeDocument/2006/relationships/tags" Target="../tags/tag69.xml"/><Relationship Id="rId34" Type="http://schemas.openxmlformats.org/officeDocument/2006/relationships/tags" Target="../tags/tag82.xml"/><Relationship Id="rId42" Type="http://schemas.openxmlformats.org/officeDocument/2006/relationships/tags" Target="../tags/tag90.xml"/><Relationship Id="rId47" Type="http://schemas.openxmlformats.org/officeDocument/2006/relationships/tags" Target="../tags/tag95.xml"/><Relationship Id="rId50" Type="http://schemas.openxmlformats.org/officeDocument/2006/relationships/image" Target="../media/image5.png"/><Relationship Id="rId7" Type="http://schemas.openxmlformats.org/officeDocument/2006/relationships/tags" Target="../tags/tag55.xml"/><Relationship Id="rId12" Type="http://schemas.openxmlformats.org/officeDocument/2006/relationships/tags" Target="../tags/tag60.xml"/><Relationship Id="rId17" Type="http://schemas.openxmlformats.org/officeDocument/2006/relationships/tags" Target="../tags/tag65.xml"/><Relationship Id="rId25" Type="http://schemas.openxmlformats.org/officeDocument/2006/relationships/tags" Target="../tags/tag73.xml"/><Relationship Id="rId33" Type="http://schemas.openxmlformats.org/officeDocument/2006/relationships/tags" Target="../tags/tag81.xml"/><Relationship Id="rId38" Type="http://schemas.openxmlformats.org/officeDocument/2006/relationships/tags" Target="../tags/tag86.xml"/><Relationship Id="rId46" Type="http://schemas.openxmlformats.org/officeDocument/2006/relationships/tags" Target="../tags/tag94.xml"/><Relationship Id="rId2" Type="http://schemas.openxmlformats.org/officeDocument/2006/relationships/tags" Target="../tags/tag50.xml"/><Relationship Id="rId16" Type="http://schemas.openxmlformats.org/officeDocument/2006/relationships/tags" Target="../tags/tag64.xml"/><Relationship Id="rId20" Type="http://schemas.openxmlformats.org/officeDocument/2006/relationships/tags" Target="../tags/tag68.xml"/><Relationship Id="rId29" Type="http://schemas.openxmlformats.org/officeDocument/2006/relationships/tags" Target="../tags/tag77.xml"/><Relationship Id="rId41" Type="http://schemas.openxmlformats.org/officeDocument/2006/relationships/tags" Target="../tags/tag89.xml"/><Relationship Id="rId1" Type="http://schemas.openxmlformats.org/officeDocument/2006/relationships/tags" Target="../tags/tag49.xml"/><Relationship Id="rId6" Type="http://schemas.openxmlformats.org/officeDocument/2006/relationships/tags" Target="../tags/tag54.xml"/><Relationship Id="rId11" Type="http://schemas.openxmlformats.org/officeDocument/2006/relationships/tags" Target="../tags/tag59.xml"/><Relationship Id="rId24" Type="http://schemas.openxmlformats.org/officeDocument/2006/relationships/tags" Target="../tags/tag72.xml"/><Relationship Id="rId32" Type="http://schemas.openxmlformats.org/officeDocument/2006/relationships/tags" Target="../tags/tag80.xml"/><Relationship Id="rId37" Type="http://schemas.openxmlformats.org/officeDocument/2006/relationships/tags" Target="../tags/tag85.xml"/><Relationship Id="rId40" Type="http://schemas.openxmlformats.org/officeDocument/2006/relationships/tags" Target="../tags/tag88.xml"/><Relationship Id="rId45" Type="http://schemas.openxmlformats.org/officeDocument/2006/relationships/tags" Target="../tags/tag93.xml"/><Relationship Id="rId5" Type="http://schemas.openxmlformats.org/officeDocument/2006/relationships/tags" Target="../tags/tag53.xml"/><Relationship Id="rId15" Type="http://schemas.openxmlformats.org/officeDocument/2006/relationships/tags" Target="../tags/tag63.xml"/><Relationship Id="rId23" Type="http://schemas.openxmlformats.org/officeDocument/2006/relationships/tags" Target="../tags/tag71.xml"/><Relationship Id="rId28" Type="http://schemas.openxmlformats.org/officeDocument/2006/relationships/tags" Target="../tags/tag76.xml"/><Relationship Id="rId36" Type="http://schemas.openxmlformats.org/officeDocument/2006/relationships/tags" Target="../tags/tag84.xml"/><Relationship Id="rId49" Type="http://schemas.openxmlformats.org/officeDocument/2006/relationships/slideMaster" Target="../slideMasters/slideMaster5.xml"/><Relationship Id="rId10" Type="http://schemas.openxmlformats.org/officeDocument/2006/relationships/tags" Target="../tags/tag58.xml"/><Relationship Id="rId19" Type="http://schemas.openxmlformats.org/officeDocument/2006/relationships/tags" Target="../tags/tag67.xml"/><Relationship Id="rId31" Type="http://schemas.openxmlformats.org/officeDocument/2006/relationships/tags" Target="../tags/tag79.xml"/><Relationship Id="rId44" Type="http://schemas.openxmlformats.org/officeDocument/2006/relationships/tags" Target="../tags/tag92.xml"/><Relationship Id="rId4" Type="http://schemas.openxmlformats.org/officeDocument/2006/relationships/tags" Target="../tags/tag52.xml"/><Relationship Id="rId9" Type="http://schemas.openxmlformats.org/officeDocument/2006/relationships/tags" Target="../tags/tag57.xml"/><Relationship Id="rId14" Type="http://schemas.openxmlformats.org/officeDocument/2006/relationships/tags" Target="../tags/tag62.xml"/><Relationship Id="rId22" Type="http://schemas.openxmlformats.org/officeDocument/2006/relationships/tags" Target="../tags/tag70.xml"/><Relationship Id="rId27" Type="http://schemas.openxmlformats.org/officeDocument/2006/relationships/tags" Target="../tags/tag75.xml"/><Relationship Id="rId30" Type="http://schemas.openxmlformats.org/officeDocument/2006/relationships/tags" Target="../tags/tag78.xml"/><Relationship Id="rId35" Type="http://schemas.openxmlformats.org/officeDocument/2006/relationships/tags" Target="../tags/tag83.xml"/><Relationship Id="rId43" Type="http://schemas.openxmlformats.org/officeDocument/2006/relationships/tags" Target="../tags/tag91.xml"/><Relationship Id="rId48" Type="http://schemas.openxmlformats.org/officeDocument/2006/relationships/tags" Target="../tags/tag96.xml"/><Relationship Id="rId8" Type="http://schemas.openxmlformats.org/officeDocument/2006/relationships/tags" Target="../tags/tag5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Master" Target="../slideMasters/slideMaster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17" Type="http://schemas.openxmlformats.org/officeDocument/2006/relationships/tags" Target="../tags/tag213.xml"/><Relationship Id="rId299" Type="http://schemas.openxmlformats.org/officeDocument/2006/relationships/tags" Target="../tags/tag395.xml"/><Relationship Id="rId303" Type="http://schemas.openxmlformats.org/officeDocument/2006/relationships/tags" Target="../tags/tag399.xml"/><Relationship Id="rId21" Type="http://schemas.openxmlformats.org/officeDocument/2006/relationships/tags" Target="../tags/tag117.xml"/><Relationship Id="rId42" Type="http://schemas.openxmlformats.org/officeDocument/2006/relationships/tags" Target="../tags/tag138.xml"/><Relationship Id="rId63" Type="http://schemas.openxmlformats.org/officeDocument/2006/relationships/tags" Target="../tags/tag159.xml"/><Relationship Id="rId84" Type="http://schemas.openxmlformats.org/officeDocument/2006/relationships/tags" Target="../tags/tag180.xml"/><Relationship Id="rId138" Type="http://schemas.openxmlformats.org/officeDocument/2006/relationships/tags" Target="../tags/tag234.xml"/><Relationship Id="rId159" Type="http://schemas.openxmlformats.org/officeDocument/2006/relationships/tags" Target="../tags/tag255.xml"/><Relationship Id="rId324" Type="http://schemas.openxmlformats.org/officeDocument/2006/relationships/tags" Target="../tags/tag420.xml"/><Relationship Id="rId345" Type="http://schemas.openxmlformats.org/officeDocument/2006/relationships/tags" Target="../tags/tag441.xml"/><Relationship Id="rId366" Type="http://schemas.openxmlformats.org/officeDocument/2006/relationships/tags" Target="../tags/tag462.xml"/><Relationship Id="rId170" Type="http://schemas.openxmlformats.org/officeDocument/2006/relationships/tags" Target="../tags/tag266.xml"/><Relationship Id="rId191" Type="http://schemas.openxmlformats.org/officeDocument/2006/relationships/tags" Target="../tags/tag287.xml"/><Relationship Id="rId205" Type="http://schemas.openxmlformats.org/officeDocument/2006/relationships/tags" Target="../tags/tag301.xml"/><Relationship Id="rId226" Type="http://schemas.openxmlformats.org/officeDocument/2006/relationships/tags" Target="../tags/tag322.xml"/><Relationship Id="rId247" Type="http://schemas.openxmlformats.org/officeDocument/2006/relationships/tags" Target="../tags/tag343.xml"/><Relationship Id="rId107" Type="http://schemas.openxmlformats.org/officeDocument/2006/relationships/tags" Target="../tags/tag203.xml"/><Relationship Id="rId268" Type="http://schemas.openxmlformats.org/officeDocument/2006/relationships/tags" Target="../tags/tag364.xml"/><Relationship Id="rId289" Type="http://schemas.openxmlformats.org/officeDocument/2006/relationships/tags" Target="../tags/tag385.xml"/><Relationship Id="rId11" Type="http://schemas.openxmlformats.org/officeDocument/2006/relationships/tags" Target="../tags/tag107.xml"/><Relationship Id="rId32" Type="http://schemas.openxmlformats.org/officeDocument/2006/relationships/tags" Target="../tags/tag128.xml"/><Relationship Id="rId53" Type="http://schemas.openxmlformats.org/officeDocument/2006/relationships/tags" Target="../tags/tag149.xml"/><Relationship Id="rId74" Type="http://schemas.openxmlformats.org/officeDocument/2006/relationships/tags" Target="../tags/tag170.xml"/><Relationship Id="rId128" Type="http://schemas.openxmlformats.org/officeDocument/2006/relationships/tags" Target="../tags/tag224.xml"/><Relationship Id="rId149" Type="http://schemas.openxmlformats.org/officeDocument/2006/relationships/tags" Target="../tags/tag245.xml"/><Relationship Id="rId314" Type="http://schemas.openxmlformats.org/officeDocument/2006/relationships/tags" Target="../tags/tag410.xml"/><Relationship Id="rId335" Type="http://schemas.openxmlformats.org/officeDocument/2006/relationships/tags" Target="../tags/tag431.xml"/><Relationship Id="rId356" Type="http://schemas.openxmlformats.org/officeDocument/2006/relationships/tags" Target="../tags/tag452.xml"/><Relationship Id="rId377" Type="http://schemas.openxmlformats.org/officeDocument/2006/relationships/tags" Target="../tags/tag473.xml"/><Relationship Id="rId5" Type="http://schemas.openxmlformats.org/officeDocument/2006/relationships/tags" Target="../tags/tag101.xml"/><Relationship Id="rId95" Type="http://schemas.openxmlformats.org/officeDocument/2006/relationships/tags" Target="../tags/tag191.xml"/><Relationship Id="rId160" Type="http://schemas.openxmlformats.org/officeDocument/2006/relationships/tags" Target="../tags/tag256.xml"/><Relationship Id="rId181" Type="http://schemas.openxmlformats.org/officeDocument/2006/relationships/tags" Target="../tags/tag277.xml"/><Relationship Id="rId216" Type="http://schemas.openxmlformats.org/officeDocument/2006/relationships/tags" Target="../tags/tag312.xml"/><Relationship Id="rId237" Type="http://schemas.openxmlformats.org/officeDocument/2006/relationships/tags" Target="../tags/tag333.xml"/><Relationship Id="rId258" Type="http://schemas.openxmlformats.org/officeDocument/2006/relationships/tags" Target="../tags/tag354.xml"/><Relationship Id="rId279" Type="http://schemas.openxmlformats.org/officeDocument/2006/relationships/tags" Target="../tags/tag375.xml"/><Relationship Id="rId22" Type="http://schemas.openxmlformats.org/officeDocument/2006/relationships/tags" Target="../tags/tag118.xml"/><Relationship Id="rId43" Type="http://schemas.openxmlformats.org/officeDocument/2006/relationships/tags" Target="../tags/tag139.xml"/><Relationship Id="rId64" Type="http://schemas.openxmlformats.org/officeDocument/2006/relationships/tags" Target="../tags/tag160.xml"/><Relationship Id="rId118" Type="http://schemas.openxmlformats.org/officeDocument/2006/relationships/tags" Target="../tags/tag214.xml"/><Relationship Id="rId139" Type="http://schemas.openxmlformats.org/officeDocument/2006/relationships/tags" Target="../tags/tag235.xml"/><Relationship Id="rId290" Type="http://schemas.openxmlformats.org/officeDocument/2006/relationships/tags" Target="../tags/tag386.xml"/><Relationship Id="rId304" Type="http://schemas.openxmlformats.org/officeDocument/2006/relationships/tags" Target="../tags/tag400.xml"/><Relationship Id="rId325" Type="http://schemas.openxmlformats.org/officeDocument/2006/relationships/tags" Target="../tags/tag421.xml"/><Relationship Id="rId346" Type="http://schemas.openxmlformats.org/officeDocument/2006/relationships/tags" Target="../tags/tag442.xml"/><Relationship Id="rId367" Type="http://schemas.openxmlformats.org/officeDocument/2006/relationships/tags" Target="../tags/tag463.xml"/><Relationship Id="rId85" Type="http://schemas.openxmlformats.org/officeDocument/2006/relationships/tags" Target="../tags/tag181.xml"/><Relationship Id="rId150" Type="http://schemas.openxmlformats.org/officeDocument/2006/relationships/tags" Target="../tags/tag246.xml"/><Relationship Id="rId171" Type="http://schemas.openxmlformats.org/officeDocument/2006/relationships/tags" Target="../tags/tag267.xml"/><Relationship Id="rId192" Type="http://schemas.openxmlformats.org/officeDocument/2006/relationships/tags" Target="../tags/tag288.xml"/><Relationship Id="rId206" Type="http://schemas.openxmlformats.org/officeDocument/2006/relationships/tags" Target="../tags/tag302.xml"/><Relationship Id="rId227" Type="http://schemas.openxmlformats.org/officeDocument/2006/relationships/tags" Target="../tags/tag323.xml"/><Relationship Id="rId248" Type="http://schemas.openxmlformats.org/officeDocument/2006/relationships/tags" Target="../tags/tag344.xml"/><Relationship Id="rId269" Type="http://schemas.openxmlformats.org/officeDocument/2006/relationships/tags" Target="../tags/tag365.xml"/><Relationship Id="rId12" Type="http://schemas.openxmlformats.org/officeDocument/2006/relationships/tags" Target="../tags/tag108.xml"/><Relationship Id="rId33" Type="http://schemas.openxmlformats.org/officeDocument/2006/relationships/tags" Target="../tags/tag129.xml"/><Relationship Id="rId108" Type="http://schemas.openxmlformats.org/officeDocument/2006/relationships/tags" Target="../tags/tag204.xml"/><Relationship Id="rId129" Type="http://schemas.openxmlformats.org/officeDocument/2006/relationships/tags" Target="../tags/tag225.xml"/><Relationship Id="rId280" Type="http://schemas.openxmlformats.org/officeDocument/2006/relationships/tags" Target="../tags/tag376.xml"/><Relationship Id="rId315" Type="http://schemas.openxmlformats.org/officeDocument/2006/relationships/tags" Target="../tags/tag411.xml"/><Relationship Id="rId336" Type="http://schemas.openxmlformats.org/officeDocument/2006/relationships/tags" Target="../tags/tag432.xml"/><Relationship Id="rId357" Type="http://schemas.openxmlformats.org/officeDocument/2006/relationships/tags" Target="../tags/tag453.xml"/><Relationship Id="rId54" Type="http://schemas.openxmlformats.org/officeDocument/2006/relationships/tags" Target="../tags/tag150.xml"/><Relationship Id="rId75" Type="http://schemas.openxmlformats.org/officeDocument/2006/relationships/tags" Target="../tags/tag171.xml"/><Relationship Id="rId96" Type="http://schemas.openxmlformats.org/officeDocument/2006/relationships/tags" Target="../tags/tag192.xml"/><Relationship Id="rId140" Type="http://schemas.openxmlformats.org/officeDocument/2006/relationships/tags" Target="../tags/tag236.xml"/><Relationship Id="rId161" Type="http://schemas.openxmlformats.org/officeDocument/2006/relationships/tags" Target="../tags/tag257.xml"/><Relationship Id="rId182" Type="http://schemas.openxmlformats.org/officeDocument/2006/relationships/tags" Target="../tags/tag278.xml"/><Relationship Id="rId217" Type="http://schemas.openxmlformats.org/officeDocument/2006/relationships/tags" Target="../tags/tag313.xml"/><Relationship Id="rId378" Type="http://schemas.openxmlformats.org/officeDocument/2006/relationships/tags" Target="../tags/tag474.xml"/><Relationship Id="rId6" Type="http://schemas.openxmlformats.org/officeDocument/2006/relationships/tags" Target="../tags/tag102.xml"/><Relationship Id="rId238" Type="http://schemas.openxmlformats.org/officeDocument/2006/relationships/tags" Target="../tags/tag334.xml"/><Relationship Id="rId259" Type="http://schemas.openxmlformats.org/officeDocument/2006/relationships/tags" Target="../tags/tag355.xml"/><Relationship Id="rId23" Type="http://schemas.openxmlformats.org/officeDocument/2006/relationships/tags" Target="../tags/tag119.xml"/><Relationship Id="rId119" Type="http://schemas.openxmlformats.org/officeDocument/2006/relationships/tags" Target="../tags/tag215.xml"/><Relationship Id="rId270" Type="http://schemas.openxmlformats.org/officeDocument/2006/relationships/tags" Target="../tags/tag366.xml"/><Relationship Id="rId291" Type="http://schemas.openxmlformats.org/officeDocument/2006/relationships/tags" Target="../tags/tag387.xml"/><Relationship Id="rId305" Type="http://schemas.openxmlformats.org/officeDocument/2006/relationships/tags" Target="../tags/tag401.xml"/><Relationship Id="rId326" Type="http://schemas.openxmlformats.org/officeDocument/2006/relationships/tags" Target="../tags/tag422.xml"/><Relationship Id="rId347" Type="http://schemas.openxmlformats.org/officeDocument/2006/relationships/tags" Target="../tags/tag443.xml"/><Relationship Id="rId44" Type="http://schemas.openxmlformats.org/officeDocument/2006/relationships/tags" Target="../tags/tag140.xml"/><Relationship Id="rId65" Type="http://schemas.openxmlformats.org/officeDocument/2006/relationships/tags" Target="../tags/tag161.xml"/><Relationship Id="rId86" Type="http://schemas.openxmlformats.org/officeDocument/2006/relationships/tags" Target="../tags/tag182.xml"/><Relationship Id="rId130" Type="http://schemas.openxmlformats.org/officeDocument/2006/relationships/tags" Target="../tags/tag226.xml"/><Relationship Id="rId151" Type="http://schemas.openxmlformats.org/officeDocument/2006/relationships/tags" Target="../tags/tag247.xml"/><Relationship Id="rId368" Type="http://schemas.openxmlformats.org/officeDocument/2006/relationships/tags" Target="../tags/tag464.xml"/><Relationship Id="rId172" Type="http://schemas.openxmlformats.org/officeDocument/2006/relationships/tags" Target="../tags/tag268.xml"/><Relationship Id="rId193" Type="http://schemas.openxmlformats.org/officeDocument/2006/relationships/tags" Target="../tags/tag289.xml"/><Relationship Id="rId207" Type="http://schemas.openxmlformats.org/officeDocument/2006/relationships/tags" Target="../tags/tag303.xml"/><Relationship Id="rId228" Type="http://schemas.openxmlformats.org/officeDocument/2006/relationships/tags" Target="../tags/tag324.xml"/><Relationship Id="rId249" Type="http://schemas.openxmlformats.org/officeDocument/2006/relationships/tags" Target="../tags/tag345.xml"/><Relationship Id="rId13" Type="http://schemas.openxmlformats.org/officeDocument/2006/relationships/tags" Target="../tags/tag109.xml"/><Relationship Id="rId109" Type="http://schemas.openxmlformats.org/officeDocument/2006/relationships/tags" Target="../tags/tag205.xml"/><Relationship Id="rId260" Type="http://schemas.openxmlformats.org/officeDocument/2006/relationships/tags" Target="../tags/tag356.xml"/><Relationship Id="rId281" Type="http://schemas.openxmlformats.org/officeDocument/2006/relationships/tags" Target="../tags/tag377.xml"/><Relationship Id="rId316" Type="http://schemas.openxmlformats.org/officeDocument/2006/relationships/tags" Target="../tags/tag412.xml"/><Relationship Id="rId337" Type="http://schemas.openxmlformats.org/officeDocument/2006/relationships/tags" Target="../tags/tag433.xml"/><Relationship Id="rId34" Type="http://schemas.openxmlformats.org/officeDocument/2006/relationships/tags" Target="../tags/tag130.xml"/><Relationship Id="rId55" Type="http://schemas.openxmlformats.org/officeDocument/2006/relationships/tags" Target="../tags/tag151.xml"/><Relationship Id="rId76" Type="http://schemas.openxmlformats.org/officeDocument/2006/relationships/tags" Target="../tags/tag172.xml"/><Relationship Id="rId97" Type="http://schemas.openxmlformats.org/officeDocument/2006/relationships/tags" Target="../tags/tag193.xml"/><Relationship Id="rId120" Type="http://schemas.openxmlformats.org/officeDocument/2006/relationships/tags" Target="../tags/tag216.xml"/><Relationship Id="rId141" Type="http://schemas.openxmlformats.org/officeDocument/2006/relationships/tags" Target="../tags/tag237.xml"/><Relationship Id="rId358" Type="http://schemas.openxmlformats.org/officeDocument/2006/relationships/tags" Target="../tags/tag454.xml"/><Relationship Id="rId379" Type="http://schemas.openxmlformats.org/officeDocument/2006/relationships/tags" Target="../tags/tag475.xml"/><Relationship Id="rId7" Type="http://schemas.openxmlformats.org/officeDocument/2006/relationships/tags" Target="../tags/tag103.xml"/><Relationship Id="rId162" Type="http://schemas.openxmlformats.org/officeDocument/2006/relationships/tags" Target="../tags/tag258.xml"/><Relationship Id="rId183" Type="http://schemas.openxmlformats.org/officeDocument/2006/relationships/tags" Target="../tags/tag279.xml"/><Relationship Id="rId218" Type="http://schemas.openxmlformats.org/officeDocument/2006/relationships/tags" Target="../tags/tag314.xml"/><Relationship Id="rId239" Type="http://schemas.openxmlformats.org/officeDocument/2006/relationships/tags" Target="../tags/tag335.xml"/><Relationship Id="rId250" Type="http://schemas.openxmlformats.org/officeDocument/2006/relationships/tags" Target="../tags/tag346.xml"/><Relationship Id="rId271" Type="http://schemas.openxmlformats.org/officeDocument/2006/relationships/tags" Target="../tags/tag367.xml"/><Relationship Id="rId292" Type="http://schemas.openxmlformats.org/officeDocument/2006/relationships/tags" Target="../tags/tag388.xml"/><Relationship Id="rId306" Type="http://schemas.openxmlformats.org/officeDocument/2006/relationships/tags" Target="../tags/tag402.xml"/><Relationship Id="rId24" Type="http://schemas.openxmlformats.org/officeDocument/2006/relationships/tags" Target="../tags/tag120.xml"/><Relationship Id="rId45" Type="http://schemas.openxmlformats.org/officeDocument/2006/relationships/tags" Target="../tags/tag141.xml"/><Relationship Id="rId66" Type="http://schemas.openxmlformats.org/officeDocument/2006/relationships/tags" Target="../tags/tag162.xml"/><Relationship Id="rId87" Type="http://schemas.openxmlformats.org/officeDocument/2006/relationships/tags" Target="../tags/tag183.xml"/><Relationship Id="rId110" Type="http://schemas.openxmlformats.org/officeDocument/2006/relationships/tags" Target="../tags/tag206.xml"/><Relationship Id="rId131" Type="http://schemas.openxmlformats.org/officeDocument/2006/relationships/tags" Target="../tags/tag227.xml"/><Relationship Id="rId327" Type="http://schemas.openxmlformats.org/officeDocument/2006/relationships/tags" Target="../tags/tag423.xml"/><Relationship Id="rId348" Type="http://schemas.openxmlformats.org/officeDocument/2006/relationships/tags" Target="../tags/tag444.xml"/><Relationship Id="rId369" Type="http://schemas.openxmlformats.org/officeDocument/2006/relationships/tags" Target="../tags/tag465.xml"/><Relationship Id="rId152" Type="http://schemas.openxmlformats.org/officeDocument/2006/relationships/tags" Target="../tags/tag248.xml"/><Relationship Id="rId173" Type="http://schemas.openxmlformats.org/officeDocument/2006/relationships/tags" Target="../tags/tag269.xml"/><Relationship Id="rId194" Type="http://schemas.openxmlformats.org/officeDocument/2006/relationships/tags" Target="../tags/tag290.xml"/><Relationship Id="rId208" Type="http://schemas.openxmlformats.org/officeDocument/2006/relationships/tags" Target="../tags/tag304.xml"/><Relationship Id="rId229" Type="http://schemas.openxmlformats.org/officeDocument/2006/relationships/tags" Target="../tags/tag325.xml"/><Relationship Id="rId380" Type="http://schemas.openxmlformats.org/officeDocument/2006/relationships/tags" Target="../tags/tag476.xml"/><Relationship Id="rId240" Type="http://schemas.openxmlformats.org/officeDocument/2006/relationships/tags" Target="../tags/tag336.xml"/><Relationship Id="rId261" Type="http://schemas.openxmlformats.org/officeDocument/2006/relationships/tags" Target="../tags/tag357.xml"/><Relationship Id="rId14" Type="http://schemas.openxmlformats.org/officeDocument/2006/relationships/tags" Target="../tags/tag110.xml"/><Relationship Id="rId35" Type="http://schemas.openxmlformats.org/officeDocument/2006/relationships/tags" Target="../tags/tag131.xml"/><Relationship Id="rId56" Type="http://schemas.openxmlformats.org/officeDocument/2006/relationships/tags" Target="../tags/tag152.xml"/><Relationship Id="rId77" Type="http://schemas.openxmlformats.org/officeDocument/2006/relationships/tags" Target="../tags/tag173.xml"/><Relationship Id="rId100" Type="http://schemas.openxmlformats.org/officeDocument/2006/relationships/tags" Target="../tags/tag196.xml"/><Relationship Id="rId282" Type="http://schemas.openxmlformats.org/officeDocument/2006/relationships/tags" Target="../tags/tag378.xml"/><Relationship Id="rId317" Type="http://schemas.openxmlformats.org/officeDocument/2006/relationships/tags" Target="../tags/tag413.xml"/><Relationship Id="rId338" Type="http://schemas.openxmlformats.org/officeDocument/2006/relationships/tags" Target="../tags/tag434.xml"/><Relationship Id="rId359" Type="http://schemas.openxmlformats.org/officeDocument/2006/relationships/tags" Target="../tags/tag455.xml"/><Relationship Id="rId8" Type="http://schemas.openxmlformats.org/officeDocument/2006/relationships/tags" Target="../tags/tag104.xml"/><Relationship Id="rId98" Type="http://schemas.openxmlformats.org/officeDocument/2006/relationships/tags" Target="../tags/tag194.xml"/><Relationship Id="rId121" Type="http://schemas.openxmlformats.org/officeDocument/2006/relationships/tags" Target="../tags/tag217.xml"/><Relationship Id="rId142" Type="http://schemas.openxmlformats.org/officeDocument/2006/relationships/tags" Target="../tags/tag238.xml"/><Relationship Id="rId163" Type="http://schemas.openxmlformats.org/officeDocument/2006/relationships/tags" Target="../tags/tag259.xml"/><Relationship Id="rId184" Type="http://schemas.openxmlformats.org/officeDocument/2006/relationships/tags" Target="../tags/tag280.xml"/><Relationship Id="rId219" Type="http://schemas.openxmlformats.org/officeDocument/2006/relationships/tags" Target="../tags/tag315.xml"/><Relationship Id="rId370" Type="http://schemas.openxmlformats.org/officeDocument/2006/relationships/tags" Target="../tags/tag466.xml"/><Relationship Id="rId230" Type="http://schemas.openxmlformats.org/officeDocument/2006/relationships/tags" Target="../tags/tag326.xml"/><Relationship Id="rId251" Type="http://schemas.openxmlformats.org/officeDocument/2006/relationships/tags" Target="../tags/tag347.xml"/><Relationship Id="rId25" Type="http://schemas.openxmlformats.org/officeDocument/2006/relationships/tags" Target="../tags/tag121.xml"/><Relationship Id="rId46" Type="http://schemas.openxmlformats.org/officeDocument/2006/relationships/tags" Target="../tags/tag142.xml"/><Relationship Id="rId67" Type="http://schemas.openxmlformats.org/officeDocument/2006/relationships/tags" Target="../tags/tag163.xml"/><Relationship Id="rId272" Type="http://schemas.openxmlformats.org/officeDocument/2006/relationships/tags" Target="../tags/tag368.xml"/><Relationship Id="rId293" Type="http://schemas.openxmlformats.org/officeDocument/2006/relationships/tags" Target="../tags/tag389.xml"/><Relationship Id="rId307" Type="http://schemas.openxmlformats.org/officeDocument/2006/relationships/tags" Target="../tags/tag403.xml"/><Relationship Id="rId328" Type="http://schemas.openxmlformats.org/officeDocument/2006/relationships/tags" Target="../tags/tag424.xml"/><Relationship Id="rId349" Type="http://schemas.openxmlformats.org/officeDocument/2006/relationships/tags" Target="../tags/tag445.xml"/><Relationship Id="rId88" Type="http://schemas.openxmlformats.org/officeDocument/2006/relationships/tags" Target="../tags/tag184.xml"/><Relationship Id="rId111" Type="http://schemas.openxmlformats.org/officeDocument/2006/relationships/tags" Target="../tags/tag207.xml"/><Relationship Id="rId132" Type="http://schemas.openxmlformats.org/officeDocument/2006/relationships/tags" Target="../tags/tag228.xml"/><Relationship Id="rId153" Type="http://schemas.openxmlformats.org/officeDocument/2006/relationships/tags" Target="../tags/tag249.xml"/><Relationship Id="rId174" Type="http://schemas.openxmlformats.org/officeDocument/2006/relationships/tags" Target="../tags/tag270.xml"/><Relationship Id="rId195" Type="http://schemas.openxmlformats.org/officeDocument/2006/relationships/tags" Target="../tags/tag291.xml"/><Relationship Id="rId209" Type="http://schemas.openxmlformats.org/officeDocument/2006/relationships/tags" Target="../tags/tag305.xml"/><Relationship Id="rId360" Type="http://schemas.openxmlformats.org/officeDocument/2006/relationships/tags" Target="../tags/tag456.xml"/><Relationship Id="rId381" Type="http://schemas.openxmlformats.org/officeDocument/2006/relationships/slideMaster" Target="../slideMasters/slideMaster5.xml"/><Relationship Id="rId220" Type="http://schemas.openxmlformats.org/officeDocument/2006/relationships/tags" Target="../tags/tag316.xml"/><Relationship Id="rId241" Type="http://schemas.openxmlformats.org/officeDocument/2006/relationships/tags" Target="../tags/tag337.xml"/><Relationship Id="rId15" Type="http://schemas.openxmlformats.org/officeDocument/2006/relationships/tags" Target="../tags/tag111.xml"/><Relationship Id="rId36" Type="http://schemas.openxmlformats.org/officeDocument/2006/relationships/tags" Target="../tags/tag132.xml"/><Relationship Id="rId57" Type="http://schemas.openxmlformats.org/officeDocument/2006/relationships/tags" Target="../tags/tag153.xml"/><Relationship Id="rId262" Type="http://schemas.openxmlformats.org/officeDocument/2006/relationships/tags" Target="../tags/tag358.xml"/><Relationship Id="rId283" Type="http://schemas.openxmlformats.org/officeDocument/2006/relationships/tags" Target="../tags/tag379.xml"/><Relationship Id="rId318" Type="http://schemas.openxmlformats.org/officeDocument/2006/relationships/tags" Target="../tags/tag414.xml"/><Relationship Id="rId339" Type="http://schemas.openxmlformats.org/officeDocument/2006/relationships/tags" Target="../tags/tag435.xml"/><Relationship Id="rId78" Type="http://schemas.openxmlformats.org/officeDocument/2006/relationships/tags" Target="../tags/tag174.xml"/><Relationship Id="rId99" Type="http://schemas.openxmlformats.org/officeDocument/2006/relationships/tags" Target="../tags/tag195.xml"/><Relationship Id="rId101" Type="http://schemas.openxmlformats.org/officeDocument/2006/relationships/tags" Target="../tags/tag197.xml"/><Relationship Id="rId122" Type="http://schemas.openxmlformats.org/officeDocument/2006/relationships/tags" Target="../tags/tag218.xml"/><Relationship Id="rId143" Type="http://schemas.openxmlformats.org/officeDocument/2006/relationships/tags" Target="../tags/tag239.xml"/><Relationship Id="rId164" Type="http://schemas.openxmlformats.org/officeDocument/2006/relationships/tags" Target="../tags/tag260.xml"/><Relationship Id="rId185" Type="http://schemas.openxmlformats.org/officeDocument/2006/relationships/tags" Target="../tags/tag281.xml"/><Relationship Id="rId350" Type="http://schemas.openxmlformats.org/officeDocument/2006/relationships/tags" Target="../tags/tag446.xml"/><Relationship Id="rId371" Type="http://schemas.openxmlformats.org/officeDocument/2006/relationships/tags" Target="../tags/tag467.xml"/><Relationship Id="rId9" Type="http://schemas.openxmlformats.org/officeDocument/2006/relationships/tags" Target="../tags/tag105.xml"/><Relationship Id="rId210" Type="http://schemas.openxmlformats.org/officeDocument/2006/relationships/tags" Target="../tags/tag306.xml"/><Relationship Id="rId26" Type="http://schemas.openxmlformats.org/officeDocument/2006/relationships/tags" Target="../tags/tag122.xml"/><Relationship Id="rId231" Type="http://schemas.openxmlformats.org/officeDocument/2006/relationships/tags" Target="../tags/tag327.xml"/><Relationship Id="rId252" Type="http://schemas.openxmlformats.org/officeDocument/2006/relationships/tags" Target="../tags/tag348.xml"/><Relationship Id="rId273" Type="http://schemas.openxmlformats.org/officeDocument/2006/relationships/tags" Target="../tags/tag369.xml"/><Relationship Id="rId294" Type="http://schemas.openxmlformats.org/officeDocument/2006/relationships/tags" Target="../tags/tag390.xml"/><Relationship Id="rId308" Type="http://schemas.openxmlformats.org/officeDocument/2006/relationships/tags" Target="../tags/tag404.xml"/><Relationship Id="rId329" Type="http://schemas.openxmlformats.org/officeDocument/2006/relationships/tags" Target="../tags/tag425.xml"/><Relationship Id="rId47" Type="http://schemas.openxmlformats.org/officeDocument/2006/relationships/tags" Target="../tags/tag143.xml"/><Relationship Id="rId68" Type="http://schemas.openxmlformats.org/officeDocument/2006/relationships/tags" Target="../tags/tag164.xml"/><Relationship Id="rId89" Type="http://schemas.openxmlformats.org/officeDocument/2006/relationships/tags" Target="../tags/tag185.xml"/><Relationship Id="rId112" Type="http://schemas.openxmlformats.org/officeDocument/2006/relationships/tags" Target="../tags/tag208.xml"/><Relationship Id="rId133" Type="http://schemas.openxmlformats.org/officeDocument/2006/relationships/tags" Target="../tags/tag229.xml"/><Relationship Id="rId154" Type="http://schemas.openxmlformats.org/officeDocument/2006/relationships/tags" Target="../tags/tag250.xml"/><Relationship Id="rId175" Type="http://schemas.openxmlformats.org/officeDocument/2006/relationships/tags" Target="../tags/tag271.xml"/><Relationship Id="rId340" Type="http://schemas.openxmlformats.org/officeDocument/2006/relationships/tags" Target="../tags/tag436.xml"/><Relationship Id="rId361" Type="http://schemas.openxmlformats.org/officeDocument/2006/relationships/tags" Target="../tags/tag457.xml"/><Relationship Id="rId196" Type="http://schemas.openxmlformats.org/officeDocument/2006/relationships/tags" Target="../tags/tag292.xml"/><Relationship Id="rId200" Type="http://schemas.openxmlformats.org/officeDocument/2006/relationships/tags" Target="../tags/tag296.xml"/><Relationship Id="rId16" Type="http://schemas.openxmlformats.org/officeDocument/2006/relationships/tags" Target="../tags/tag112.xml"/><Relationship Id="rId221" Type="http://schemas.openxmlformats.org/officeDocument/2006/relationships/tags" Target="../tags/tag317.xml"/><Relationship Id="rId242" Type="http://schemas.openxmlformats.org/officeDocument/2006/relationships/tags" Target="../tags/tag338.xml"/><Relationship Id="rId263" Type="http://schemas.openxmlformats.org/officeDocument/2006/relationships/tags" Target="../tags/tag359.xml"/><Relationship Id="rId284" Type="http://schemas.openxmlformats.org/officeDocument/2006/relationships/tags" Target="../tags/tag380.xml"/><Relationship Id="rId319" Type="http://schemas.openxmlformats.org/officeDocument/2006/relationships/tags" Target="../tags/tag415.xml"/><Relationship Id="rId37" Type="http://schemas.openxmlformats.org/officeDocument/2006/relationships/tags" Target="../tags/tag133.xml"/><Relationship Id="rId58" Type="http://schemas.openxmlformats.org/officeDocument/2006/relationships/tags" Target="../tags/tag154.xml"/><Relationship Id="rId79" Type="http://schemas.openxmlformats.org/officeDocument/2006/relationships/tags" Target="../tags/tag175.xml"/><Relationship Id="rId102" Type="http://schemas.openxmlformats.org/officeDocument/2006/relationships/tags" Target="../tags/tag198.xml"/><Relationship Id="rId123" Type="http://schemas.openxmlformats.org/officeDocument/2006/relationships/tags" Target="../tags/tag219.xml"/><Relationship Id="rId144" Type="http://schemas.openxmlformats.org/officeDocument/2006/relationships/tags" Target="../tags/tag240.xml"/><Relationship Id="rId330" Type="http://schemas.openxmlformats.org/officeDocument/2006/relationships/tags" Target="../tags/tag426.xml"/><Relationship Id="rId90" Type="http://schemas.openxmlformats.org/officeDocument/2006/relationships/tags" Target="../tags/tag186.xml"/><Relationship Id="rId165" Type="http://schemas.openxmlformats.org/officeDocument/2006/relationships/tags" Target="../tags/tag261.xml"/><Relationship Id="rId186" Type="http://schemas.openxmlformats.org/officeDocument/2006/relationships/tags" Target="../tags/tag282.xml"/><Relationship Id="rId351" Type="http://schemas.openxmlformats.org/officeDocument/2006/relationships/tags" Target="../tags/tag447.xml"/><Relationship Id="rId372" Type="http://schemas.openxmlformats.org/officeDocument/2006/relationships/tags" Target="../tags/tag468.xml"/><Relationship Id="rId211" Type="http://schemas.openxmlformats.org/officeDocument/2006/relationships/tags" Target="../tags/tag307.xml"/><Relationship Id="rId232" Type="http://schemas.openxmlformats.org/officeDocument/2006/relationships/tags" Target="../tags/tag328.xml"/><Relationship Id="rId253" Type="http://schemas.openxmlformats.org/officeDocument/2006/relationships/tags" Target="../tags/tag349.xml"/><Relationship Id="rId274" Type="http://schemas.openxmlformats.org/officeDocument/2006/relationships/tags" Target="../tags/tag370.xml"/><Relationship Id="rId295" Type="http://schemas.openxmlformats.org/officeDocument/2006/relationships/tags" Target="../tags/tag391.xml"/><Relationship Id="rId309" Type="http://schemas.openxmlformats.org/officeDocument/2006/relationships/tags" Target="../tags/tag405.xml"/><Relationship Id="rId27" Type="http://schemas.openxmlformats.org/officeDocument/2006/relationships/tags" Target="../tags/tag123.xml"/><Relationship Id="rId48" Type="http://schemas.openxmlformats.org/officeDocument/2006/relationships/tags" Target="../tags/tag144.xml"/><Relationship Id="rId69" Type="http://schemas.openxmlformats.org/officeDocument/2006/relationships/tags" Target="../tags/tag165.xml"/><Relationship Id="rId113" Type="http://schemas.openxmlformats.org/officeDocument/2006/relationships/tags" Target="../tags/tag209.xml"/><Relationship Id="rId134" Type="http://schemas.openxmlformats.org/officeDocument/2006/relationships/tags" Target="../tags/tag230.xml"/><Relationship Id="rId320" Type="http://schemas.openxmlformats.org/officeDocument/2006/relationships/tags" Target="../tags/tag416.xml"/><Relationship Id="rId80" Type="http://schemas.openxmlformats.org/officeDocument/2006/relationships/tags" Target="../tags/tag176.xml"/><Relationship Id="rId155" Type="http://schemas.openxmlformats.org/officeDocument/2006/relationships/tags" Target="../tags/tag251.xml"/><Relationship Id="rId176" Type="http://schemas.openxmlformats.org/officeDocument/2006/relationships/tags" Target="../tags/tag272.xml"/><Relationship Id="rId197" Type="http://schemas.openxmlformats.org/officeDocument/2006/relationships/tags" Target="../tags/tag293.xml"/><Relationship Id="rId341" Type="http://schemas.openxmlformats.org/officeDocument/2006/relationships/tags" Target="../tags/tag437.xml"/><Relationship Id="rId362" Type="http://schemas.openxmlformats.org/officeDocument/2006/relationships/tags" Target="../tags/tag458.xml"/><Relationship Id="rId201" Type="http://schemas.openxmlformats.org/officeDocument/2006/relationships/tags" Target="../tags/tag297.xml"/><Relationship Id="rId222" Type="http://schemas.openxmlformats.org/officeDocument/2006/relationships/tags" Target="../tags/tag318.xml"/><Relationship Id="rId243" Type="http://schemas.openxmlformats.org/officeDocument/2006/relationships/tags" Target="../tags/tag339.xml"/><Relationship Id="rId264" Type="http://schemas.openxmlformats.org/officeDocument/2006/relationships/tags" Target="../tags/tag360.xml"/><Relationship Id="rId285" Type="http://schemas.openxmlformats.org/officeDocument/2006/relationships/tags" Target="../tags/tag381.xml"/><Relationship Id="rId17" Type="http://schemas.openxmlformats.org/officeDocument/2006/relationships/tags" Target="../tags/tag113.xml"/><Relationship Id="rId38" Type="http://schemas.openxmlformats.org/officeDocument/2006/relationships/tags" Target="../tags/tag134.xml"/><Relationship Id="rId59" Type="http://schemas.openxmlformats.org/officeDocument/2006/relationships/tags" Target="../tags/tag155.xml"/><Relationship Id="rId103" Type="http://schemas.openxmlformats.org/officeDocument/2006/relationships/tags" Target="../tags/tag199.xml"/><Relationship Id="rId124" Type="http://schemas.openxmlformats.org/officeDocument/2006/relationships/tags" Target="../tags/tag220.xml"/><Relationship Id="rId310" Type="http://schemas.openxmlformats.org/officeDocument/2006/relationships/tags" Target="../tags/tag406.xml"/><Relationship Id="rId70" Type="http://schemas.openxmlformats.org/officeDocument/2006/relationships/tags" Target="../tags/tag166.xml"/><Relationship Id="rId91" Type="http://schemas.openxmlformats.org/officeDocument/2006/relationships/tags" Target="../tags/tag187.xml"/><Relationship Id="rId145" Type="http://schemas.openxmlformats.org/officeDocument/2006/relationships/tags" Target="../tags/tag241.xml"/><Relationship Id="rId166" Type="http://schemas.openxmlformats.org/officeDocument/2006/relationships/tags" Target="../tags/tag262.xml"/><Relationship Id="rId187" Type="http://schemas.openxmlformats.org/officeDocument/2006/relationships/tags" Target="../tags/tag283.xml"/><Relationship Id="rId331" Type="http://schemas.openxmlformats.org/officeDocument/2006/relationships/tags" Target="../tags/tag427.xml"/><Relationship Id="rId352" Type="http://schemas.openxmlformats.org/officeDocument/2006/relationships/tags" Target="../tags/tag448.xml"/><Relationship Id="rId373" Type="http://schemas.openxmlformats.org/officeDocument/2006/relationships/tags" Target="../tags/tag469.xml"/><Relationship Id="rId1" Type="http://schemas.openxmlformats.org/officeDocument/2006/relationships/tags" Target="../tags/tag97.xml"/><Relationship Id="rId212" Type="http://schemas.openxmlformats.org/officeDocument/2006/relationships/tags" Target="../tags/tag308.xml"/><Relationship Id="rId233" Type="http://schemas.openxmlformats.org/officeDocument/2006/relationships/tags" Target="../tags/tag329.xml"/><Relationship Id="rId254" Type="http://schemas.openxmlformats.org/officeDocument/2006/relationships/tags" Target="../tags/tag350.xml"/><Relationship Id="rId28" Type="http://schemas.openxmlformats.org/officeDocument/2006/relationships/tags" Target="../tags/tag124.xml"/><Relationship Id="rId49" Type="http://schemas.openxmlformats.org/officeDocument/2006/relationships/tags" Target="../tags/tag145.xml"/><Relationship Id="rId114" Type="http://schemas.openxmlformats.org/officeDocument/2006/relationships/tags" Target="../tags/tag210.xml"/><Relationship Id="rId275" Type="http://schemas.openxmlformats.org/officeDocument/2006/relationships/tags" Target="../tags/tag371.xml"/><Relationship Id="rId296" Type="http://schemas.openxmlformats.org/officeDocument/2006/relationships/tags" Target="../tags/tag392.xml"/><Relationship Id="rId300" Type="http://schemas.openxmlformats.org/officeDocument/2006/relationships/tags" Target="../tags/tag396.xml"/><Relationship Id="rId60" Type="http://schemas.openxmlformats.org/officeDocument/2006/relationships/tags" Target="../tags/tag156.xml"/><Relationship Id="rId81" Type="http://schemas.openxmlformats.org/officeDocument/2006/relationships/tags" Target="../tags/tag177.xml"/><Relationship Id="rId135" Type="http://schemas.openxmlformats.org/officeDocument/2006/relationships/tags" Target="../tags/tag231.xml"/><Relationship Id="rId156" Type="http://schemas.openxmlformats.org/officeDocument/2006/relationships/tags" Target="../tags/tag252.xml"/><Relationship Id="rId177" Type="http://schemas.openxmlformats.org/officeDocument/2006/relationships/tags" Target="../tags/tag273.xml"/><Relationship Id="rId198" Type="http://schemas.openxmlformats.org/officeDocument/2006/relationships/tags" Target="../tags/tag294.xml"/><Relationship Id="rId321" Type="http://schemas.openxmlformats.org/officeDocument/2006/relationships/tags" Target="../tags/tag417.xml"/><Relationship Id="rId342" Type="http://schemas.openxmlformats.org/officeDocument/2006/relationships/tags" Target="../tags/tag438.xml"/><Relationship Id="rId363" Type="http://schemas.openxmlformats.org/officeDocument/2006/relationships/tags" Target="../tags/tag459.xml"/><Relationship Id="rId202" Type="http://schemas.openxmlformats.org/officeDocument/2006/relationships/tags" Target="../tags/tag298.xml"/><Relationship Id="rId223" Type="http://schemas.openxmlformats.org/officeDocument/2006/relationships/tags" Target="../tags/tag319.xml"/><Relationship Id="rId244" Type="http://schemas.openxmlformats.org/officeDocument/2006/relationships/tags" Target="../tags/tag340.xml"/><Relationship Id="rId18" Type="http://schemas.openxmlformats.org/officeDocument/2006/relationships/tags" Target="../tags/tag114.xml"/><Relationship Id="rId39" Type="http://schemas.openxmlformats.org/officeDocument/2006/relationships/tags" Target="../tags/tag135.xml"/><Relationship Id="rId265" Type="http://schemas.openxmlformats.org/officeDocument/2006/relationships/tags" Target="../tags/tag361.xml"/><Relationship Id="rId286" Type="http://schemas.openxmlformats.org/officeDocument/2006/relationships/tags" Target="../tags/tag382.xml"/><Relationship Id="rId50" Type="http://schemas.openxmlformats.org/officeDocument/2006/relationships/tags" Target="../tags/tag146.xml"/><Relationship Id="rId104" Type="http://schemas.openxmlformats.org/officeDocument/2006/relationships/tags" Target="../tags/tag200.xml"/><Relationship Id="rId125" Type="http://schemas.openxmlformats.org/officeDocument/2006/relationships/tags" Target="../tags/tag221.xml"/><Relationship Id="rId146" Type="http://schemas.openxmlformats.org/officeDocument/2006/relationships/tags" Target="../tags/tag242.xml"/><Relationship Id="rId167" Type="http://schemas.openxmlformats.org/officeDocument/2006/relationships/tags" Target="../tags/tag263.xml"/><Relationship Id="rId188" Type="http://schemas.openxmlformats.org/officeDocument/2006/relationships/tags" Target="../tags/tag284.xml"/><Relationship Id="rId311" Type="http://schemas.openxmlformats.org/officeDocument/2006/relationships/tags" Target="../tags/tag407.xml"/><Relationship Id="rId332" Type="http://schemas.openxmlformats.org/officeDocument/2006/relationships/tags" Target="../tags/tag428.xml"/><Relationship Id="rId353" Type="http://schemas.openxmlformats.org/officeDocument/2006/relationships/tags" Target="../tags/tag449.xml"/><Relationship Id="rId374" Type="http://schemas.openxmlformats.org/officeDocument/2006/relationships/tags" Target="../tags/tag470.xml"/><Relationship Id="rId71" Type="http://schemas.openxmlformats.org/officeDocument/2006/relationships/tags" Target="../tags/tag167.xml"/><Relationship Id="rId92" Type="http://schemas.openxmlformats.org/officeDocument/2006/relationships/tags" Target="../tags/tag188.xml"/><Relationship Id="rId213" Type="http://schemas.openxmlformats.org/officeDocument/2006/relationships/tags" Target="../tags/tag309.xml"/><Relationship Id="rId234" Type="http://schemas.openxmlformats.org/officeDocument/2006/relationships/tags" Target="../tags/tag330.xml"/><Relationship Id="rId2" Type="http://schemas.openxmlformats.org/officeDocument/2006/relationships/tags" Target="../tags/tag98.xml"/><Relationship Id="rId29" Type="http://schemas.openxmlformats.org/officeDocument/2006/relationships/tags" Target="../tags/tag125.xml"/><Relationship Id="rId255" Type="http://schemas.openxmlformats.org/officeDocument/2006/relationships/tags" Target="../tags/tag351.xml"/><Relationship Id="rId276" Type="http://schemas.openxmlformats.org/officeDocument/2006/relationships/tags" Target="../tags/tag372.xml"/><Relationship Id="rId297" Type="http://schemas.openxmlformats.org/officeDocument/2006/relationships/tags" Target="../tags/tag393.xml"/><Relationship Id="rId40" Type="http://schemas.openxmlformats.org/officeDocument/2006/relationships/tags" Target="../tags/tag136.xml"/><Relationship Id="rId115" Type="http://schemas.openxmlformats.org/officeDocument/2006/relationships/tags" Target="../tags/tag211.xml"/><Relationship Id="rId136" Type="http://schemas.openxmlformats.org/officeDocument/2006/relationships/tags" Target="../tags/tag232.xml"/><Relationship Id="rId157" Type="http://schemas.openxmlformats.org/officeDocument/2006/relationships/tags" Target="../tags/tag253.xml"/><Relationship Id="rId178" Type="http://schemas.openxmlformats.org/officeDocument/2006/relationships/tags" Target="../tags/tag274.xml"/><Relationship Id="rId301" Type="http://schemas.openxmlformats.org/officeDocument/2006/relationships/tags" Target="../tags/tag397.xml"/><Relationship Id="rId322" Type="http://schemas.openxmlformats.org/officeDocument/2006/relationships/tags" Target="../tags/tag418.xml"/><Relationship Id="rId343" Type="http://schemas.openxmlformats.org/officeDocument/2006/relationships/tags" Target="../tags/tag439.xml"/><Relationship Id="rId364" Type="http://schemas.openxmlformats.org/officeDocument/2006/relationships/tags" Target="../tags/tag460.xml"/><Relationship Id="rId61" Type="http://schemas.openxmlformats.org/officeDocument/2006/relationships/tags" Target="../tags/tag157.xml"/><Relationship Id="rId82" Type="http://schemas.openxmlformats.org/officeDocument/2006/relationships/tags" Target="../tags/tag178.xml"/><Relationship Id="rId199" Type="http://schemas.openxmlformats.org/officeDocument/2006/relationships/tags" Target="../tags/tag295.xml"/><Relationship Id="rId203" Type="http://schemas.openxmlformats.org/officeDocument/2006/relationships/tags" Target="../tags/tag299.xml"/><Relationship Id="rId19" Type="http://schemas.openxmlformats.org/officeDocument/2006/relationships/tags" Target="../tags/tag115.xml"/><Relationship Id="rId224" Type="http://schemas.openxmlformats.org/officeDocument/2006/relationships/tags" Target="../tags/tag320.xml"/><Relationship Id="rId245" Type="http://schemas.openxmlformats.org/officeDocument/2006/relationships/tags" Target="../tags/tag341.xml"/><Relationship Id="rId266" Type="http://schemas.openxmlformats.org/officeDocument/2006/relationships/tags" Target="../tags/tag362.xml"/><Relationship Id="rId287" Type="http://schemas.openxmlformats.org/officeDocument/2006/relationships/tags" Target="../tags/tag383.xml"/><Relationship Id="rId30" Type="http://schemas.openxmlformats.org/officeDocument/2006/relationships/tags" Target="../tags/tag126.xml"/><Relationship Id="rId105" Type="http://schemas.openxmlformats.org/officeDocument/2006/relationships/tags" Target="../tags/tag201.xml"/><Relationship Id="rId126" Type="http://schemas.openxmlformats.org/officeDocument/2006/relationships/tags" Target="../tags/tag222.xml"/><Relationship Id="rId147" Type="http://schemas.openxmlformats.org/officeDocument/2006/relationships/tags" Target="../tags/tag243.xml"/><Relationship Id="rId168" Type="http://schemas.openxmlformats.org/officeDocument/2006/relationships/tags" Target="../tags/tag264.xml"/><Relationship Id="rId312" Type="http://schemas.openxmlformats.org/officeDocument/2006/relationships/tags" Target="../tags/tag408.xml"/><Relationship Id="rId333" Type="http://schemas.openxmlformats.org/officeDocument/2006/relationships/tags" Target="../tags/tag429.xml"/><Relationship Id="rId354" Type="http://schemas.openxmlformats.org/officeDocument/2006/relationships/tags" Target="../tags/tag450.xml"/><Relationship Id="rId51" Type="http://schemas.openxmlformats.org/officeDocument/2006/relationships/tags" Target="../tags/tag147.xml"/><Relationship Id="rId72" Type="http://schemas.openxmlformats.org/officeDocument/2006/relationships/tags" Target="../tags/tag168.xml"/><Relationship Id="rId93" Type="http://schemas.openxmlformats.org/officeDocument/2006/relationships/tags" Target="../tags/tag189.xml"/><Relationship Id="rId189" Type="http://schemas.openxmlformats.org/officeDocument/2006/relationships/tags" Target="../tags/tag285.xml"/><Relationship Id="rId375" Type="http://schemas.openxmlformats.org/officeDocument/2006/relationships/tags" Target="../tags/tag471.xml"/><Relationship Id="rId3" Type="http://schemas.openxmlformats.org/officeDocument/2006/relationships/tags" Target="../tags/tag99.xml"/><Relationship Id="rId214" Type="http://schemas.openxmlformats.org/officeDocument/2006/relationships/tags" Target="../tags/tag310.xml"/><Relationship Id="rId235" Type="http://schemas.openxmlformats.org/officeDocument/2006/relationships/tags" Target="../tags/tag331.xml"/><Relationship Id="rId256" Type="http://schemas.openxmlformats.org/officeDocument/2006/relationships/tags" Target="../tags/tag352.xml"/><Relationship Id="rId277" Type="http://schemas.openxmlformats.org/officeDocument/2006/relationships/tags" Target="../tags/tag373.xml"/><Relationship Id="rId298" Type="http://schemas.openxmlformats.org/officeDocument/2006/relationships/tags" Target="../tags/tag394.xml"/><Relationship Id="rId116" Type="http://schemas.openxmlformats.org/officeDocument/2006/relationships/tags" Target="../tags/tag212.xml"/><Relationship Id="rId137" Type="http://schemas.openxmlformats.org/officeDocument/2006/relationships/tags" Target="../tags/tag233.xml"/><Relationship Id="rId158" Type="http://schemas.openxmlformats.org/officeDocument/2006/relationships/tags" Target="../tags/tag254.xml"/><Relationship Id="rId302" Type="http://schemas.openxmlformats.org/officeDocument/2006/relationships/tags" Target="../tags/tag398.xml"/><Relationship Id="rId323" Type="http://schemas.openxmlformats.org/officeDocument/2006/relationships/tags" Target="../tags/tag419.xml"/><Relationship Id="rId344" Type="http://schemas.openxmlformats.org/officeDocument/2006/relationships/tags" Target="../tags/tag440.xml"/><Relationship Id="rId20" Type="http://schemas.openxmlformats.org/officeDocument/2006/relationships/tags" Target="../tags/tag116.xml"/><Relationship Id="rId41" Type="http://schemas.openxmlformats.org/officeDocument/2006/relationships/tags" Target="../tags/tag137.xml"/><Relationship Id="rId62" Type="http://schemas.openxmlformats.org/officeDocument/2006/relationships/tags" Target="../tags/tag158.xml"/><Relationship Id="rId83" Type="http://schemas.openxmlformats.org/officeDocument/2006/relationships/tags" Target="../tags/tag179.xml"/><Relationship Id="rId179" Type="http://schemas.openxmlformats.org/officeDocument/2006/relationships/tags" Target="../tags/tag275.xml"/><Relationship Id="rId365" Type="http://schemas.openxmlformats.org/officeDocument/2006/relationships/tags" Target="../tags/tag461.xml"/><Relationship Id="rId190" Type="http://schemas.openxmlformats.org/officeDocument/2006/relationships/tags" Target="../tags/tag286.xml"/><Relationship Id="rId204" Type="http://schemas.openxmlformats.org/officeDocument/2006/relationships/tags" Target="../tags/tag300.xml"/><Relationship Id="rId225" Type="http://schemas.openxmlformats.org/officeDocument/2006/relationships/tags" Target="../tags/tag321.xml"/><Relationship Id="rId246" Type="http://schemas.openxmlformats.org/officeDocument/2006/relationships/tags" Target="../tags/tag342.xml"/><Relationship Id="rId267" Type="http://schemas.openxmlformats.org/officeDocument/2006/relationships/tags" Target="../tags/tag363.xml"/><Relationship Id="rId288" Type="http://schemas.openxmlformats.org/officeDocument/2006/relationships/tags" Target="../tags/tag384.xml"/><Relationship Id="rId106" Type="http://schemas.openxmlformats.org/officeDocument/2006/relationships/tags" Target="../tags/tag202.xml"/><Relationship Id="rId127" Type="http://schemas.openxmlformats.org/officeDocument/2006/relationships/tags" Target="../tags/tag223.xml"/><Relationship Id="rId313" Type="http://schemas.openxmlformats.org/officeDocument/2006/relationships/tags" Target="../tags/tag409.xml"/><Relationship Id="rId10" Type="http://schemas.openxmlformats.org/officeDocument/2006/relationships/tags" Target="../tags/tag106.xml"/><Relationship Id="rId31" Type="http://schemas.openxmlformats.org/officeDocument/2006/relationships/tags" Target="../tags/tag127.xml"/><Relationship Id="rId52" Type="http://schemas.openxmlformats.org/officeDocument/2006/relationships/tags" Target="../tags/tag148.xml"/><Relationship Id="rId73" Type="http://schemas.openxmlformats.org/officeDocument/2006/relationships/tags" Target="../tags/tag169.xml"/><Relationship Id="rId94" Type="http://schemas.openxmlformats.org/officeDocument/2006/relationships/tags" Target="../tags/tag190.xml"/><Relationship Id="rId148" Type="http://schemas.openxmlformats.org/officeDocument/2006/relationships/tags" Target="../tags/tag244.xml"/><Relationship Id="rId169" Type="http://schemas.openxmlformats.org/officeDocument/2006/relationships/tags" Target="../tags/tag265.xml"/><Relationship Id="rId334" Type="http://schemas.openxmlformats.org/officeDocument/2006/relationships/tags" Target="../tags/tag430.xml"/><Relationship Id="rId355" Type="http://schemas.openxmlformats.org/officeDocument/2006/relationships/tags" Target="../tags/tag451.xml"/><Relationship Id="rId376" Type="http://schemas.openxmlformats.org/officeDocument/2006/relationships/tags" Target="../tags/tag472.xml"/><Relationship Id="rId4" Type="http://schemas.openxmlformats.org/officeDocument/2006/relationships/tags" Target="../tags/tag100.xml"/><Relationship Id="rId180" Type="http://schemas.openxmlformats.org/officeDocument/2006/relationships/tags" Target="../tags/tag276.xml"/><Relationship Id="rId215" Type="http://schemas.openxmlformats.org/officeDocument/2006/relationships/tags" Target="../tags/tag311.xml"/><Relationship Id="rId236" Type="http://schemas.openxmlformats.org/officeDocument/2006/relationships/tags" Target="../tags/tag332.xml"/><Relationship Id="rId257" Type="http://schemas.openxmlformats.org/officeDocument/2006/relationships/tags" Target="../tags/tag353.xml"/><Relationship Id="rId278" Type="http://schemas.openxmlformats.org/officeDocument/2006/relationships/tags" Target="../tags/tag37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gradFill rotWithShape="0">
          <a:gsLst>
            <a:gs pos="0">
              <a:srgbClr val="0067AC"/>
            </a:gs>
            <a:gs pos="10001">
              <a:srgbClr val="0067AC"/>
            </a:gs>
            <a:gs pos="100000">
              <a:srgbClr val="56BBED"/>
            </a:gs>
          </a:gsLst>
          <a:lin ang="912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6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10000">
                <a:srgbClr val="0067AC"/>
              </a:gs>
              <a:gs pos="100000">
                <a:srgbClr val="56BBED"/>
              </a:gs>
            </a:gsLst>
            <a:lin ang="9120000" scaled="0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2" tIns="45696" rIns="91392" bIns="45696"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Rectangle 56"/>
          <p:cNvSpPr>
            <a:spLocks noChangeArrowheads="1"/>
          </p:cNvSpPr>
          <p:nvPr/>
        </p:nvSpPr>
        <p:spPr bwMode="auto">
          <a:xfrm>
            <a:off x="0" y="1482335"/>
            <a:ext cx="9144000" cy="635794"/>
          </a:xfrm>
          <a:prstGeom prst="rect">
            <a:avLst/>
          </a:prstGeom>
          <a:solidFill>
            <a:srgbClr val="0067AC"/>
          </a:solidFill>
          <a:ln w="9525">
            <a:noFill/>
            <a:miter lim="800000"/>
            <a:headEnd/>
            <a:tailEnd/>
          </a:ln>
        </p:spPr>
        <p:txBody>
          <a:bodyPr lIns="91392" tIns="45696" rIns="91392" bIns="45696"/>
          <a:lstStyle/>
          <a:p>
            <a:pPr>
              <a:defRPr/>
            </a:pPr>
            <a:endParaRPr lang="en-US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7" name="TextBox 17"/>
          <p:cNvSpPr txBox="1"/>
          <p:nvPr/>
        </p:nvSpPr>
        <p:spPr>
          <a:xfrm>
            <a:off x="336559" y="4750594"/>
            <a:ext cx="2438400" cy="215395"/>
          </a:xfrm>
          <a:prstGeom prst="rect">
            <a:avLst/>
          </a:prstGeom>
          <a:noFill/>
        </p:spPr>
        <p:txBody>
          <a:bodyPr lIns="91392" tIns="45696" rIns="91392" bIns="45696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prstClr val="white"/>
                </a:solidFill>
                <a:latin typeface="Calibri" pitchFamily="34" charset="0"/>
                <a:cs typeface="Calibri" pitchFamily="34" charset="0"/>
              </a:rPr>
              <a:t>Copyright © 2011 Tata Consultancy Services Limited</a:t>
            </a:r>
          </a:p>
        </p:txBody>
      </p:sp>
      <p:grpSp>
        <p:nvGrpSpPr>
          <p:cNvPr id="8" name="Group 5"/>
          <p:cNvGrpSpPr>
            <a:grpSpLocks noChangeAspect="1"/>
          </p:cNvGrpSpPr>
          <p:nvPr/>
        </p:nvGrpSpPr>
        <p:grpSpPr bwMode="auto">
          <a:xfrm>
            <a:off x="423868" y="321472"/>
            <a:ext cx="3262312" cy="282179"/>
            <a:chOff x="267" y="270"/>
            <a:chExt cx="2055" cy="237"/>
          </a:xfrm>
        </p:grpSpPr>
        <p:sp>
          <p:nvSpPr>
            <p:cNvPr id="9" name="AutoShape 4"/>
            <p:cNvSpPr>
              <a:spLocks noChangeAspect="1" noChangeArrowheads="1" noTextEdit="1"/>
            </p:cNvSpPr>
            <p:nvPr userDrawn="1"/>
          </p:nvSpPr>
          <p:spPr bwMode="auto">
            <a:xfrm>
              <a:off x="267" y="270"/>
              <a:ext cx="2055" cy="2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1382" y="270"/>
              <a:ext cx="462" cy="80"/>
            </a:xfrm>
            <a:custGeom>
              <a:avLst/>
              <a:gdLst/>
              <a:ahLst/>
              <a:cxnLst>
                <a:cxn ang="0">
                  <a:pos x="3511" y="637"/>
                </a:cxn>
                <a:cxn ang="0">
                  <a:pos x="3625" y="591"/>
                </a:cxn>
                <a:cxn ang="0">
                  <a:pos x="3691" y="454"/>
                </a:cxn>
                <a:cxn ang="0">
                  <a:pos x="3616" y="313"/>
                </a:cxn>
                <a:cxn ang="0">
                  <a:pos x="3441" y="224"/>
                </a:cxn>
                <a:cxn ang="0">
                  <a:pos x="3415" y="147"/>
                </a:cxn>
                <a:cxn ang="0">
                  <a:pos x="3489" y="95"/>
                </a:cxn>
                <a:cxn ang="0">
                  <a:pos x="3666" y="31"/>
                </a:cxn>
                <a:cxn ang="0">
                  <a:pos x="3447" y="8"/>
                </a:cxn>
                <a:cxn ang="0">
                  <a:pos x="3301" y="142"/>
                </a:cxn>
                <a:cxn ang="0">
                  <a:pos x="3355" y="299"/>
                </a:cxn>
                <a:cxn ang="0">
                  <a:pos x="3534" y="392"/>
                </a:cxn>
                <a:cxn ang="0">
                  <a:pos x="3575" y="471"/>
                </a:cxn>
                <a:cxn ang="0">
                  <a:pos x="3511" y="540"/>
                </a:cxn>
                <a:cxn ang="0">
                  <a:pos x="3327" y="514"/>
                </a:cxn>
                <a:cxn ang="0">
                  <a:pos x="3216" y="537"/>
                </a:cxn>
                <a:cxn ang="0">
                  <a:pos x="2637" y="544"/>
                </a:cxn>
                <a:cxn ang="0">
                  <a:pos x="2502" y="526"/>
                </a:cxn>
                <a:cxn ang="0">
                  <a:pos x="2420" y="453"/>
                </a:cxn>
                <a:cxn ang="0">
                  <a:pos x="2390" y="282"/>
                </a:cxn>
                <a:cxn ang="0">
                  <a:pos x="2435" y="168"/>
                </a:cxn>
                <a:cxn ang="0">
                  <a:pos x="2538" y="102"/>
                </a:cxn>
                <a:cxn ang="0">
                  <a:pos x="2726" y="118"/>
                </a:cxn>
                <a:cxn ang="0">
                  <a:pos x="2566" y="2"/>
                </a:cxn>
                <a:cxn ang="0">
                  <a:pos x="2399" y="59"/>
                </a:cxn>
                <a:cxn ang="0">
                  <a:pos x="2293" y="190"/>
                </a:cxn>
                <a:cxn ang="0">
                  <a:pos x="2272" y="380"/>
                </a:cxn>
                <a:cxn ang="0">
                  <a:pos x="2333" y="534"/>
                </a:cxn>
                <a:cxn ang="0">
                  <a:pos x="2467" y="623"/>
                </a:cxn>
                <a:cxn ang="0">
                  <a:pos x="2684" y="632"/>
                </a:cxn>
                <a:cxn ang="0">
                  <a:pos x="1776" y="631"/>
                </a:cxn>
                <a:cxn ang="0">
                  <a:pos x="1717" y="518"/>
                </a:cxn>
                <a:cxn ang="0">
                  <a:pos x="1447" y="10"/>
                </a:cxn>
                <a:cxn ang="0">
                  <a:pos x="1210" y="97"/>
                </a:cxn>
                <a:cxn ang="0">
                  <a:pos x="1281" y="178"/>
                </a:cxn>
                <a:cxn ang="0">
                  <a:pos x="1231" y="277"/>
                </a:cxn>
                <a:cxn ang="0">
                  <a:pos x="1090" y="375"/>
                </a:cxn>
                <a:cxn ang="0">
                  <a:pos x="1233" y="415"/>
                </a:cxn>
                <a:cxn ang="0">
                  <a:pos x="1297" y="622"/>
                </a:cxn>
                <a:cxn ang="0">
                  <a:pos x="1362" y="436"/>
                </a:cxn>
                <a:cxn ang="0">
                  <a:pos x="1282" y="337"/>
                </a:cxn>
                <a:cxn ang="0">
                  <a:pos x="1374" y="258"/>
                </a:cxn>
                <a:cxn ang="0">
                  <a:pos x="1373" y="94"/>
                </a:cxn>
                <a:cxn ang="0">
                  <a:pos x="1263" y="17"/>
                </a:cxn>
                <a:cxn ang="0">
                  <a:pos x="995" y="15"/>
                </a:cxn>
                <a:cxn ang="0">
                  <a:pos x="879" y="537"/>
                </a:cxn>
                <a:cxn ang="0">
                  <a:pos x="118" y="637"/>
                </a:cxn>
                <a:cxn ang="0">
                  <a:pos x="303" y="613"/>
                </a:cxn>
                <a:cxn ang="0">
                  <a:pos x="388" y="526"/>
                </a:cxn>
                <a:cxn ang="0">
                  <a:pos x="373" y="355"/>
                </a:cxn>
                <a:cxn ang="0">
                  <a:pos x="190" y="247"/>
                </a:cxn>
                <a:cxn ang="0">
                  <a:pos x="125" y="177"/>
                </a:cxn>
                <a:cxn ang="0">
                  <a:pos x="163" y="107"/>
                </a:cxn>
                <a:cxn ang="0">
                  <a:pos x="317" y="108"/>
                </a:cxn>
                <a:cxn ang="0">
                  <a:pos x="254" y="1"/>
                </a:cxn>
                <a:cxn ang="0">
                  <a:pos x="44" y="77"/>
                </a:cxn>
                <a:cxn ang="0">
                  <a:pos x="29" y="253"/>
                </a:cxn>
                <a:cxn ang="0">
                  <a:pos x="178" y="359"/>
                </a:cxn>
                <a:cxn ang="0">
                  <a:pos x="284" y="437"/>
                </a:cxn>
                <a:cxn ang="0">
                  <a:pos x="259" y="524"/>
                </a:cxn>
                <a:cxn ang="0">
                  <a:pos x="112" y="540"/>
                </a:cxn>
              </a:cxnLst>
              <a:rect l="0" t="0" r="r" b="b"/>
              <a:pathLst>
                <a:path w="3691" h="641">
                  <a:moveTo>
                    <a:pt x="3288" y="601"/>
                  </a:moveTo>
                  <a:lnTo>
                    <a:pt x="3302" y="609"/>
                  </a:lnTo>
                  <a:lnTo>
                    <a:pt x="3319" y="616"/>
                  </a:lnTo>
                  <a:lnTo>
                    <a:pt x="3338" y="622"/>
                  </a:lnTo>
                  <a:lnTo>
                    <a:pt x="3360" y="629"/>
                  </a:lnTo>
                  <a:lnTo>
                    <a:pt x="3382" y="634"/>
                  </a:lnTo>
                  <a:lnTo>
                    <a:pt x="3406" y="637"/>
                  </a:lnTo>
                  <a:lnTo>
                    <a:pt x="3431" y="640"/>
                  </a:lnTo>
                  <a:lnTo>
                    <a:pt x="3455" y="641"/>
                  </a:lnTo>
                  <a:lnTo>
                    <a:pt x="3484" y="640"/>
                  </a:lnTo>
                  <a:lnTo>
                    <a:pt x="3511" y="637"/>
                  </a:lnTo>
                  <a:lnTo>
                    <a:pt x="3524" y="635"/>
                  </a:lnTo>
                  <a:lnTo>
                    <a:pt x="3536" y="632"/>
                  </a:lnTo>
                  <a:lnTo>
                    <a:pt x="3548" y="629"/>
                  </a:lnTo>
                  <a:lnTo>
                    <a:pt x="3559" y="625"/>
                  </a:lnTo>
                  <a:lnTo>
                    <a:pt x="3570" y="621"/>
                  </a:lnTo>
                  <a:lnTo>
                    <a:pt x="3581" y="617"/>
                  </a:lnTo>
                  <a:lnTo>
                    <a:pt x="3590" y="613"/>
                  </a:lnTo>
                  <a:lnTo>
                    <a:pt x="3600" y="608"/>
                  </a:lnTo>
                  <a:lnTo>
                    <a:pt x="3608" y="603"/>
                  </a:lnTo>
                  <a:lnTo>
                    <a:pt x="3618" y="597"/>
                  </a:lnTo>
                  <a:lnTo>
                    <a:pt x="3625" y="591"/>
                  </a:lnTo>
                  <a:lnTo>
                    <a:pt x="3633" y="584"/>
                  </a:lnTo>
                  <a:lnTo>
                    <a:pt x="3639" y="578"/>
                  </a:lnTo>
                  <a:lnTo>
                    <a:pt x="3646" y="571"/>
                  </a:lnTo>
                  <a:lnTo>
                    <a:pt x="3653" y="564"/>
                  </a:lnTo>
                  <a:lnTo>
                    <a:pt x="3658" y="557"/>
                  </a:lnTo>
                  <a:lnTo>
                    <a:pt x="3668" y="541"/>
                  </a:lnTo>
                  <a:lnTo>
                    <a:pt x="3676" y="526"/>
                  </a:lnTo>
                  <a:lnTo>
                    <a:pt x="3682" y="508"/>
                  </a:lnTo>
                  <a:lnTo>
                    <a:pt x="3687" y="491"/>
                  </a:lnTo>
                  <a:lnTo>
                    <a:pt x="3690" y="472"/>
                  </a:lnTo>
                  <a:lnTo>
                    <a:pt x="3691" y="454"/>
                  </a:lnTo>
                  <a:lnTo>
                    <a:pt x="3690" y="437"/>
                  </a:lnTo>
                  <a:lnTo>
                    <a:pt x="3688" y="422"/>
                  </a:lnTo>
                  <a:lnTo>
                    <a:pt x="3684" y="407"/>
                  </a:lnTo>
                  <a:lnTo>
                    <a:pt x="3680" y="393"/>
                  </a:lnTo>
                  <a:lnTo>
                    <a:pt x="3675" y="380"/>
                  </a:lnTo>
                  <a:lnTo>
                    <a:pt x="3668" y="367"/>
                  </a:lnTo>
                  <a:lnTo>
                    <a:pt x="3660" y="355"/>
                  </a:lnTo>
                  <a:lnTo>
                    <a:pt x="3651" y="344"/>
                  </a:lnTo>
                  <a:lnTo>
                    <a:pt x="3640" y="332"/>
                  </a:lnTo>
                  <a:lnTo>
                    <a:pt x="3629" y="322"/>
                  </a:lnTo>
                  <a:lnTo>
                    <a:pt x="3616" y="313"/>
                  </a:lnTo>
                  <a:lnTo>
                    <a:pt x="3601" y="303"/>
                  </a:lnTo>
                  <a:lnTo>
                    <a:pt x="3586" y="294"/>
                  </a:lnTo>
                  <a:lnTo>
                    <a:pt x="3568" y="286"/>
                  </a:lnTo>
                  <a:lnTo>
                    <a:pt x="3550" y="278"/>
                  </a:lnTo>
                  <a:lnTo>
                    <a:pt x="3530" y="270"/>
                  </a:lnTo>
                  <a:lnTo>
                    <a:pt x="3502" y="258"/>
                  </a:lnTo>
                  <a:lnTo>
                    <a:pt x="3477" y="247"/>
                  </a:lnTo>
                  <a:lnTo>
                    <a:pt x="3467" y="242"/>
                  </a:lnTo>
                  <a:lnTo>
                    <a:pt x="3457" y="236"/>
                  </a:lnTo>
                  <a:lnTo>
                    <a:pt x="3448" y="230"/>
                  </a:lnTo>
                  <a:lnTo>
                    <a:pt x="3441" y="224"/>
                  </a:lnTo>
                  <a:lnTo>
                    <a:pt x="3434" y="219"/>
                  </a:lnTo>
                  <a:lnTo>
                    <a:pt x="3428" y="213"/>
                  </a:lnTo>
                  <a:lnTo>
                    <a:pt x="3423" y="206"/>
                  </a:lnTo>
                  <a:lnTo>
                    <a:pt x="3419" y="200"/>
                  </a:lnTo>
                  <a:lnTo>
                    <a:pt x="3416" y="192"/>
                  </a:lnTo>
                  <a:lnTo>
                    <a:pt x="3414" y="184"/>
                  </a:lnTo>
                  <a:lnTo>
                    <a:pt x="3412" y="177"/>
                  </a:lnTo>
                  <a:lnTo>
                    <a:pt x="3412" y="168"/>
                  </a:lnTo>
                  <a:lnTo>
                    <a:pt x="3412" y="162"/>
                  </a:lnTo>
                  <a:lnTo>
                    <a:pt x="3413" y="154"/>
                  </a:lnTo>
                  <a:lnTo>
                    <a:pt x="3415" y="147"/>
                  </a:lnTo>
                  <a:lnTo>
                    <a:pt x="3418" y="141"/>
                  </a:lnTo>
                  <a:lnTo>
                    <a:pt x="3421" y="135"/>
                  </a:lnTo>
                  <a:lnTo>
                    <a:pt x="3426" y="129"/>
                  </a:lnTo>
                  <a:lnTo>
                    <a:pt x="3431" y="122"/>
                  </a:lnTo>
                  <a:lnTo>
                    <a:pt x="3437" y="117"/>
                  </a:lnTo>
                  <a:lnTo>
                    <a:pt x="3443" y="112"/>
                  </a:lnTo>
                  <a:lnTo>
                    <a:pt x="3450" y="107"/>
                  </a:lnTo>
                  <a:lnTo>
                    <a:pt x="3459" y="103"/>
                  </a:lnTo>
                  <a:lnTo>
                    <a:pt x="3469" y="100"/>
                  </a:lnTo>
                  <a:lnTo>
                    <a:pt x="3479" y="97"/>
                  </a:lnTo>
                  <a:lnTo>
                    <a:pt x="3489" y="95"/>
                  </a:lnTo>
                  <a:lnTo>
                    <a:pt x="3502" y="94"/>
                  </a:lnTo>
                  <a:lnTo>
                    <a:pt x="3515" y="94"/>
                  </a:lnTo>
                  <a:lnTo>
                    <a:pt x="3535" y="94"/>
                  </a:lnTo>
                  <a:lnTo>
                    <a:pt x="3555" y="96"/>
                  </a:lnTo>
                  <a:lnTo>
                    <a:pt x="3573" y="100"/>
                  </a:lnTo>
                  <a:lnTo>
                    <a:pt x="3590" y="104"/>
                  </a:lnTo>
                  <a:lnTo>
                    <a:pt x="3604" y="108"/>
                  </a:lnTo>
                  <a:lnTo>
                    <a:pt x="3618" y="113"/>
                  </a:lnTo>
                  <a:lnTo>
                    <a:pt x="3629" y="118"/>
                  </a:lnTo>
                  <a:lnTo>
                    <a:pt x="3638" y="122"/>
                  </a:lnTo>
                  <a:lnTo>
                    <a:pt x="3666" y="31"/>
                  </a:lnTo>
                  <a:lnTo>
                    <a:pt x="3653" y="25"/>
                  </a:lnTo>
                  <a:lnTo>
                    <a:pt x="3638" y="20"/>
                  </a:lnTo>
                  <a:lnTo>
                    <a:pt x="3622" y="14"/>
                  </a:lnTo>
                  <a:lnTo>
                    <a:pt x="3604" y="9"/>
                  </a:lnTo>
                  <a:lnTo>
                    <a:pt x="3585" y="6"/>
                  </a:lnTo>
                  <a:lnTo>
                    <a:pt x="3564" y="3"/>
                  </a:lnTo>
                  <a:lnTo>
                    <a:pt x="3542" y="1"/>
                  </a:lnTo>
                  <a:lnTo>
                    <a:pt x="3517" y="0"/>
                  </a:lnTo>
                  <a:lnTo>
                    <a:pt x="3492" y="1"/>
                  </a:lnTo>
                  <a:lnTo>
                    <a:pt x="3469" y="4"/>
                  </a:lnTo>
                  <a:lnTo>
                    <a:pt x="3447" y="8"/>
                  </a:lnTo>
                  <a:lnTo>
                    <a:pt x="3426" y="14"/>
                  </a:lnTo>
                  <a:lnTo>
                    <a:pt x="3406" y="22"/>
                  </a:lnTo>
                  <a:lnTo>
                    <a:pt x="3389" y="30"/>
                  </a:lnTo>
                  <a:lnTo>
                    <a:pt x="3372" y="40"/>
                  </a:lnTo>
                  <a:lnTo>
                    <a:pt x="3357" y="51"/>
                  </a:lnTo>
                  <a:lnTo>
                    <a:pt x="3343" y="64"/>
                  </a:lnTo>
                  <a:lnTo>
                    <a:pt x="3331" y="77"/>
                  </a:lnTo>
                  <a:lnTo>
                    <a:pt x="3322" y="93"/>
                  </a:lnTo>
                  <a:lnTo>
                    <a:pt x="3312" y="108"/>
                  </a:lnTo>
                  <a:lnTo>
                    <a:pt x="3306" y="124"/>
                  </a:lnTo>
                  <a:lnTo>
                    <a:pt x="3301" y="142"/>
                  </a:lnTo>
                  <a:lnTo>
                    <a:pt x="3298" y="159"/>
                  </a:lnTo>
                  <a:lnTo>
                    <a:pt x="3297" y="179"/>
                  </a:lnTo>
                  <a:lnTo>
                    <a:pt x="3298" y="194"/>
                  </a:lnTo>
                  <a:lnTo>
                    <a:pt x="3300" y="211"/>
                  </a:lnTo>
                  <a:lnTo>
                    <a:pt x="3304" y="225"/>
                  </a:lnTo>
                  <a:lnTo>
                    <a:pt x="3309" y="240"/>
                  </a:lnTo>
                  <a:lnTo>
                    <a:pt x="3316" y="253"/>
                  </a:lnTo>
                  <a:lnTo>
                    <a:pt x="3324" y="265"/>
                  </a:lnTo>
                  <a:lnTo>
                    <a:pt x="3333" y="277"/>
                  </a:lnTo>
                  <a:lnTo>
                    <a:pt x="3343" y="288"/>
                  </a:lnTo>
                  <a:lnTo>
                    <a:pt x="3355" y="299"/>
                  </a:lnTo>
                  <a:lnTo>
                    <a:pt x="3367" y="310"/>
                  </a:lnTo>
                  <a:lnTo>
                    <a:pt x="3381" y="319"/>
                  </a:lnTo>
                  <a:lnTo>
                    <a:pt x="3396" y="328"/>
                  </a:lnTo>
                  <a:lnTo>
                    <a:pt x="3412" y="336"/>
                  </a:lnTo>
                  <a:lnTo>
                    <a:pt x="3429" y="345"/>
                  </a:lnTo>
                  <a:lnTo>
                    <a:pt x="3447" y="352"/>
                  </a:lnTo>
                  <a:lnTo>
                    <a:pt x="3466" y="359"/>
                  </a:lnTo>
                  <a:lnTo>
                    <a:pt x="3492" y="369"/>
                  </a:lnTo>
                  <a:lnTo>
                    <a:pt x="3516" y="381"/>
                  </a:lnTo>
                  <a:lnTo>
                    <a:pt x="3525" y="386"/>
                  </a:lnTo>
                  <a:lnTo>
                    <a:pt x="3534" y="392"/>
                  </a:lnTo>
                  <a:lnTo>
                    <a:pt x="3543" y="397"/>
                  </a:lnTo>
                  <a:lnTo>
                    <a:pt x="3550" y="403"/>
                  </a:lnTo>
                  <a:lnTo>
                    <a:pt x="3556" y="409"/>
                  </a:lnTo>
                  <a:lnTo>
                    <a:pt x="3561" y="417"/>
                  </a:lnTo>
                  <a:lnTo>
                    <a:pt x="3565" y="423"/>
                  </a:lnTo>
                  <a:lnTo>
                    <a:pt x="3569" y="430"/>
                  </a:lnTo>
                  <a:lnTo>
                    <a:pt x="3571" y="437"/>
                  </a:lnTo>
                  <a:lnTo>
                    <a:pt x="3573" y="445"/>
                  </a:lnTo>
                  <a:lnTo>
                    <a:pt x="3575" y="454"/>
                  </a:lnTo>
                  <a:lnTo>
                    <a:pt x="3576" y="462"/>
                  </a:lnTo>
                  <a:lnTo>
                    <a:pt x="3575" y="471"/>
                  </a:lnTo>
                  <a:lnTo>
                    <a:pt x="3573" y="480"/>
                  </a:lnTo>
                  <a:lnTo>
                    <a:pt x="3571" y="489"/>
                  </a:lnTo>
                  <a:lnTo>
                    <a:pt x="3567" y="497"/>
                  </a:lnTo>
                  <a:lnTo>
                    <a:pt x="3563" y="504"/>
                  </a:lnTo>
                  <a:lnTo>
                    <a:pt x="3558" y="511"/>
                  </a:lnTo>
                  <a:lnTo>
                    <a:pt x="3553" y="517"/>
                  </a:lnTo>
                  <a:lnTo>
                    <a:pt x="3546" y="524"/>
                  </a:lnTo>
                  <a:lnTo>
                    <a:pt x="3539" y="529"/>
                  </a:lnTo>
                  <a:lnTo>
                    <a:pt x="3530" y="533"/>
                  </a:lnTo>
                  <a:lnTo>
                    <a:pt x="3521" y="537"/>
                  </a:lnTo>
                  <a:lnTo>
                    <a:pt x="3511" y="540"/>
                  </a:lnTo>
                  <a:lnTo>
                    <a:pt x="3500" y="543"/>
                  </a:lnTo>
                  <a:lnTo>
                    <a:pt x="3488" y="545"/>
                  </a:lnTo>
                  <a:lnTo>
                    <a:pt x="3476" y="546"/>
                  </a:lnTo>
                  <a:lnTo>
                    <a:pt x="3463" y="546"/>
                  </a:lnTo>
                  <a:lnTo>
                    <a:pt x="3441" y="546"/>
                  </a:lnTo>
                  <a:lnTo>
                    <a:pt x="3420" y="543"/>
                  </a:lnTo>
                  <a:lnTo>
                    <a:pt x="3400" y="540"/>
                  </a:lnTo>
                  <a:lnTo>
                    <a:pt x="3379" y="535"/>
                  </a:lnTo>
                  <a:lnTo>
                    <a:pt x="3361" y="529"/>
                  </a:lnTo>
                  <a:lnTo>
                    <a:pt x="3343" y="523"/>
                  </a:lnTo>
                  <a:lnTo>
                    <a:pt x="3327" y="514"/>
                  </a:lnTo>
                  <a:lnTo>
                    <a:pt x="3312" y="507"/>
                  </a:lnTo>
                  <a:lnTo>
                    <a:pt x="3288" y="601"/>
                  </a:lnTo>
                  <a:close/>
                  <a:moveTo>
                    <a:pt x="3188" y="263"/>
                  </a:moveTo>
                  <a:lnTo>
                    <a:pt x="2955" y="263"/>
                  </a:lnTo>
                  <a:lnTo>
                    <a:pt x="2955" y="104"/>
                  </a:lnTo>
                  <a:lnTo>
                    <a:pt x="3202" y="104"/>
                  </a:lnTo>
                  <a:lnTo>
                    <a:pt x="3202" y="10"/>
                  </a:lnTo>
                  <a:lnTo>
                    <a:pt x="2841" y="10"/>
                  </a:lnTo>
                  <a:lnTo>
                    <a:pt x="2841" y="631"/>
                  </a:lnTo>
                  <a:lnTo>
                    <a:pt x="3216" y="631"/>
                  </a:lnTo>
                  <a:lnTo>
                    <a:pt x="3216" y="537"/>
                  </a:lnTo>
                  <a:lnTo>
                    <a:pt x="2955" y="537"/>
                  </a:lnTo>
                  <a:lnTo>
                    <a:pt x="2955" y="355"/>
                  </a:lnTo>
                  <a:lnTo>
                    <a:pt x="3188" y="355"/>
                  </a:lnTo>
                  <a:lnTo>
                    <a:pt x="3188" y="263"/>
                  </a:lnTo>
                  <a:close/>
                  <a:moveTo>
                    <a:pt x="2727" y="523"/>
                  </a:moveTo>
                  <a:lnTo>
                    <a:pt x="2714" y="528"/>
                  </a:lnTo>
                  <a:lnTo>
                    <a:pt x="2701" y="532"/>
                  </a:lnTo>
                  <a:lnTo>
                    <a:pt x="2687" y="536"/>
                  </a:lnTo>
                  <a:lnTo>
                    <a:pt x="2671" y="539"/>
                  </a:lnTo>
                  <a:lnTo>
                    <a:pt x="2655" y="542"/>
                  </a:lnTo>
                  <a:lnTo>
                    <a:pt x="2637" y="544"/>
                  </a:lnTo>
                  <a:lnTo>
                    <a:pt x="2621" y="545"/>
                  </a:lnTo>
                  <a:lnTo>
                    <a:pt x="2604" y="545"/>
                  </a:lnTo>
                  <a:lnTo>
                    <a:pt x="2590" y="545"/>
                  </a:lnTo>
                  <a:lnTo>
                    <a:pt x="2579" y="544"/>
                  </a:lnTo>
                  <a:lnTo>
                    <a:pt x="2567" y="543"/>
                  </a:lnTo>
                  <a:lnTo>
                    <a:pt x="2555" y="541"/>
                  </a:lnTo>
                  <a:lnTo>
                    <a:pt x="2544" y="539"/>
                  </a:lnTo>
                  <a:lnTo>
                    <a:pt x="2533" y="537"/>
                  </a:lnTo>
                  <a:lnTo>
                    <a:pt x="2522" y="534"/>
                  </a:lnTo>
                  <a:lnTo>
                    <a:pt x="2512" y="530"/>
                  </a:lnTo>
                  <a:lnTo>
                    <a:pt x="2502" y="526"/>
                  </a:lnTo>
                  <a:lnTo>
                    <a:pt x="2493" y="522"/>
                  </a:lnTo>
                  <a:lnTo>
                    <a:pt x="2483" y="516"/>
                  </a:lnTo>
                  <a:lnTo>
                    <a:pt x="2475" y="511"/>
                  </a:lnTo>
                  <a:lnTo>
                    <a:pt x="2467" y="505"/>
                  </a:lnTo>
                  <a:lnTo>
                    <a:pt x="2459" y="499"/>
                  </a:lnTo>
                  <a:lnTo>
                    <a:pt x="2451" y="492"/>
                  </a:lnTo>
                  <a:lnTo>
                    <a:pt x="2444" y="486"/>
                  </a:lnTo>
                  <a:lnTo>
                    <a:pt x="2437" y="477"/>
                  </a:lnTo>
                  <a:lnTo>
                    <a:pt x="2431" y="470"/>
                  </a:lnTo>
                  <a:lnTo>
                    <a:pt x="2426" y="462"/>
                  </a:lnTo>
                  <a:lnTo>
                    <a:pt x="2420" y="453"/>
                  </a:lnTo>
                  <a:lnTo>
                    <a:pt x="2414" y="443"/>
                  </a:lnTo>
                  <a:lnTo>
                    <a:pt x="2410" y="434"/>
                  </a:lnTo>
                  <a:lnTo>
                    <a:pt x="2406" y="425"/>
                  </a:lnTo>
                  <a:lnTo>
                    <a:pt x="2402" y="415"/>
                  </a:lnTo>
                  <a:lnTo>
                    <a:pt x="2396" y="393"/>
                  </a:lnTo>
                  <a:lnTo>
                    <a:pt x="2391" y="371"/>
                  </a:lnTo>
                  <a:lnTo>
                    <a:pt x="2389" y="347"/>
                  </a:lnTo>
                  <a:lnTo>
                    <a:pt x="2388" y="322"/>
                  </a:lnTo>
                  <a:lnTo>
                    <a:pt x="2388" y="309"/>
                  </a:lnTo>
                  <a:lnTo>
                    <a:pt x="2389" y="295"/>
                  </a:lnTo>
                  <a:lnTo>
                    <a:pt x="2390" y="282"/>
                  </a:lnTo>
                  <a:lnTo>
                    <a:pt x="2392" y="270"/>
                  </a:lnTo>
                  <a:lnTo>
                    <a:pt x="2394" y="257"/>
                  </a:lnTo>
                  <a:lnTo>
                    <a:pt x="2397" y="246"/>
                  </a:lnTo>
                  <a:lnTo>
                    <a:pt x="2400" y="235"/>
                  </a:lnTo>
                  <a:lnTo>
                    <a:pt x="2403" y="223"/>
                  </a:lnTo>
                  <a:lnTo>
                    <a:pt x="2408" y="213"/>
                  </a:lnTo>
                  <a:lnTo>
                    <a:pt x="2412" y="203"/>
                  </a:lnTo>
                  <a:lnTo>
                    <a:pt x="2418" y="193"/>
                  </a:lnTo>
                  <a:lnTo>
                    <a:pt x="2423" y="184"/>
                  </a:lnTo>
                  <a:lnTo>
                    <a:pt x="2429" y="176"/>
                  </a:lnTo>
                  <a:lnTo>
                    <a:pt x="2435" y="168"/>
                  </a:lnTo>
                  <a:lnTo>
                    <a:pt x="2441" y="159"/>
                  </a:lnTo>
                  <a:lnTo>
                    <a:pt x="2448" y="152"/>
                  </a:lnTo>
                  <a:lnTo>
                    <a:pt x="2457" y="145"/>
                  </a:lnTo>
                  <a:lnTo>
                    <a:pt x="2464" y="139"/>
                  </a:lnTo>
                  <a:lnTo>
                    <a:pt x="2472" y="133"/>
                  </a:lnTo>
                  <a:lnTo>
                    <a:pt x="2480" y="127"/>
                  </a:lnTo>
                  <a:lnTo>
                    <a:pt x="2489" y="121"/>
                  </a:lnTo>
                  <a:lnTo>
                    <a:pt x="2499" y="117"/>
                  </a:lnTo>
                  <a:lnTo>
                    <a:pt x="2508" y="112"/>
                  </a:lnTo>
                  <a:lnTo>
                    <a:pt x="2517" y="109"/>
                  </a:lnTo>
                  <a:lnTo>
                    <a:pt x="2538" y="102"/>
                  </a:lnTo>
                  <a:lnTo>
                    <a:pt x="2559" y="98"/>
                  </a:lnTo>
                  <a:lnTo>
                    <a:pt x="2582" y="95"/>
                  </a:lnTo>
                  <a:lnTo>
                    <a:pt x="2605" y="94"/>
                  </a:lnTo>
                  <a:lnTo>
                    <a:pt x="2623" y="95"/>
                  </a:lnTo>
                  <a:lnTo>
                    <a:pt x="2641" y="96"/>
                  </a:lnTo>
                  <a:lnTo>
                    <a:pt x="2658" y="98"/>
                  </a:lnTo>
                  <a:lnTo>
                    <a:pt x="2673" y="101"/>
                  </a:lnTo>
                  <a:lnTo>
                    <a:pt x="2688" y="105"/>
                  </a:lnTo>
                  <a:lnTo>
                    <a:pt x="2701" y="109"/>
                  </a:lnTo>
                  <a:lnTo>
                    <a:pt x="2714" y="113"/>
                  </a:lnTo>
                  <a:lnTo>
                    <a:pt x="2726" y="118"/>
                  </a:lnTo>
                  <a:lnTo>
                    <a:pt x="2750" y="28"/>
                  </a:lnTo>
                  <a:lnTo>
                    <a:pt x="2740" y="24"/>
                  </a:lnTo>
                  <a:lnTo>
                    <a:pt x="2728" y="19"/>
                  </a:lnTo>
                  <a:lnTo>
                    <a:pt x="2712" y="13"/>
                  </a:lnTo>
                  <a:lnTo>
                    <a:pt x="2695" y="9"/>
                  </a:lnTo>
                  <a:lnTo>
                    <a:pt x="2674" y="6"/>
                  </a:lnTo>
                  <a:lnTo>
                    <a:pt x="2652" y="3"/>
                  </a:lnTo>
                  <a:lnTo>
                    <a:pt x="2627" y="1"/>
                  </a:lnTo>
                  <a:lnTo>
                    <a:pt x="2600" y="0"/>
                  </a:lnTo>
                  <a:lnTo>
                    <a:pt x="2583" y="1"/>
                  </a:lnTo>
                  <a:lnTo>
                    <a:pt x="2566" y="2"/>
                  </a:lnTo>
                  <a:lnTo>
                    <a:pt x="2548" y="4"/>
                  </a:lnTo>
                  <a:lnTo>
                    <a:pt x="2532" y="6"/>
                  </a:lnTo>
                  <a:lnTo>
                    <a:pt x="2515" y="9"/>
                  </a:lnTo>
                  <a:lnTo>
                    <a:pt x="2499" y="13"/>
                  </a:lnTo>
                  <a:lnTo>
                    <a:pt x="2483" y="17"/>
                  </a:lnTo>
                  <a:lnTo>
                    <a:pt x="2468" y="23"/>
                  </a:lnTo>
                  <a:lnTo>
                    <a:pt x="2454" y="29"/>
                  </a:lnTo>
                  <a:lnTo>
                    <a:pt x="2439" y="35"/>
                  </a:lnTo>
                  <a:lnTo>
                    <a:pt x="2426" y="42"/>
                  </a:lnTo>
                  <a:lnTo>
                    <a:pt x="2411" y="50"/>
                  </a:lnTo>
                  <a:lnTo>
                    <a:pt x="2399" y="59"/>
                  </a:lnTo>
                  <a:lnTo>
                    <a:pt x="2387" y="68"/>
                  </a:lnTo>
                  <a:lnTo>
                    <a:pt x="2374" y="77"/>
                  </a:lnTo>
                  <a:lnTo>
                    <a:pt x="2363" y="87"/>
                  </a:lnTo>
                  <a:lnTo>
                    <a:pt x="2352" y="99"/>
                  </a:lnTo>
                  <a:lnTo>
                    <a:pt x="2342" y="110"/>
                  </a:lnTo>
                  <a:lnTo>
                    <a:pt x="2332" y="122"/>
                  </a:lnTo>
                  <a:lnTo>
                    <a:pt x="2323" y="135"/>
                  </a:lnTo>
                  <a:lnTo>
                    <a:pt x="2315" y="148"/>
                  </a:lnTo>
                  <a:lnTo>
                    <a:pt x="2307" y="162"/>
                  </a:lnTo>
                  <a:lnTo>
                    <a:pt x="2300" y="176"/>
                  </a:lnTo>
                  <a:lnTo>
                    <a:pt x="2293" y="190"/>
                  </a:lnTo>
                  <a:lnTo>
                    <a:pt x="2288" y="206"/>
                  </a:lnTo>
                  <a:lnTo>
                    <a:pt x="2283" y="222"/>
                  </a:lnTo>
                  <a:lnTo>
                    <a:pt x="2278" y="239"/>
                  </a:lnTo>
                  <a:lnTo>
                    <a:pt x="2275" y="255"/>
                  </a:lnTo>
                  <a:lnTo>
                    <a:pt x="2272" y="273"/>
                  </a:lnTo>
                  <a:lnTo>
                    <a:pt x="2270" y="290"/>
                  </a:lnTo>
                  <a:lnTo>
                    <a:pt x="2269" y="309"/>
                  </a:lnTo>
                  <a:lnTo>
                    <a:pt x="2269" y="328"/>
                  </a:lnTo>
                  <a:lnTo>
                    <a:pt x="2269" y="346"/>
                  </a:lnTo>
                  <a:lnTo>
                    <a:pt x="2270" y="362"/>
                  </a:lnTo>
                  <a:lnTo>
                    <a:pt x="2272" y="380"/>
                  </a:lnTo>
                  <a:lnTo>
                    <a:pt x="2274" y="395"/>
                  </a:lnTo>
                  <a:lnTo>
                    <a:pt x="2277" y="412"/>
                  </a:lnTo>
                  <a:lnTo>
                    <a:pt x="2281" y="427"/>
                  </a:lnTo>
                  <a:lnTo>
                    <a:pt x="2285" y="441"/>
                  </a:lnTo>
                  <a:lnTo>
                    <a:pt x="2290" y="457"/>
                  </a:lnTo>
                  <a:lnTo>
                    <a:pt x="2295" y="470"/>
                  </a:lnTo>
                  <a:lnTo>
                    <a:pt x="2302" y="484"/>
                  </a:lnTo>
                  <a:lnTo>
                    <a:pt x="2309" y="497"/>
                  </a:lnTo>
                  <a:lnTo>
                    <a:pt x="2317" y="509"/>
                  </a:lnTo>
                  <a:lnTo>
                    <a:pt x="2325" y="522"/>
                  </a:lnTo>
                  <a:lnTo>
                    <a:pt x="2333" y="534"/>
                  </a:lnTo>
                  <a:lnTo>
                    <a:pt x="2343" y="544"/>
                  </a:lnTo>
                  <a:lnTo>
                    <a:pt x="2353" y="555"/>
                  </a:lnTo>
                  <a:lnTo>
                    <a:pt x="2363" y="565"/>
                  </a:lnTo>
                  <a:lnTo>
                    <a:pt x="2374" y="574"/>
                  </a:lnTo>
                  <a:lnTo>
                    <a:pt x="2386" y="583"/>
                  </a:lnTo>
                  <a:lnTo>
                    <a:pt x="2398" y="592"/>
                  </a:lnTo>
                  <a:lnTo>
                    <a:pt x="2411" y="599"/>
                  </a:lnTo>
                  <a:lnTo>
                    <a:pt x="2424" y="606"/>
                  </a:lnTo>
                  <a:lnTo>
                    <a:pt x="2438" y="612"/>
                  </a:lnTo>
                  <a:lnTo>
                    <a:pt x="2452" y="618"/>
                  </a:lnTo>
                  <a:lnTo>
                    <a:pt x="2467" y="623"/>
                  </a:lnTo>
                  <a:lnTo>
                    <a:pt x="2482" y="628"/>
                  </a:lnTo>
                  <a:lnTo>
                    <a:pt x="2499" y="632"/>
                  </a:lnTo>
                  <a:lnTo>
                    <a:pt x="2515" y="635"/>
                  </a:lnTo>
                  <a:lnTo>
                    <a:pt x="2532" y="637"/>
                  </a:lnTo>
                  <a:lnTo>
                    <a:pt x="2549" y="639"/>
                  </a:lnTo>
                  <a:lnTo>
                    <a:pt x="2567" y="640"/>
                  </a:lnTo>
                  <a:lnTo>
                    <a:pt x="2585" y="641"/>
                  </a:lnTo>
                  <a:lnTo>
                    <a:pt x="2612" y="640"/>
                  </a:lnTo>
                  <a:lnTo>
                    <a:pt x="2637" y="638"/>
                  </a:lnTo>
                  <a:lnTo>
                    <a:pt x="2661" y="635"/>
                  </a:lnTo>
                  <a:lnTo>
                    <a:pt x="2684" y="632"/>
                  </a:lnTo>
                  <a:lnTo>
                    <a:pt x="2702" y="628"/>
                  </a:lnTo>
                  <a:lnTo>
                    <a:pt x="2720" y="622"/>
                  </a:lnTo>
                  <a:lnTo>
                    <a:pt x="2734" y="617"/>
                  </a:lnTo>
                  <a:lnTo>
                    <a:pt x="2745" y="612"/>
                  </a:lnTo>
                  <a:lnTo>
                    <a:pt x="2727" y="523"/>
                  </a:lnTo>
                  <a:close/>
                  <a:moveTo>
                    <a:pt x="2058" y="10"/>
                  </a:moveTo>
                  <a:lnTo>
                    <a:pt x="2058" y="631"/>
                  </a:lnTo>
                  <a:lnTo>
                    <a:pt x="2171" y="631"/>
                  </a:lnTo>
                  <a:lnTo>
                    <a:pt x="2171" y="10"/>
                  </a:lnTo>
                  <a:lnTo>
                    <a:pt x="2058" y="10"/>
                  </a:lnTo>
                  <a:close/>
                  <a:moveTo>
                    <a:pt x="1776" y="631"/>
                  </a:moveTo>
                  <a:lnTo>
                    <a:pt x="1991" y="10"/>
                  </a:lnTo>
                  <a:lnTo>
                    <a:pt x="1871" y="10"/>
                  </a:lnTo>
                  <a:lnTo>
                    <a:pt x="1780" y="294"/>
                  </a:lnTo>
                  <a:lnTo>
                    <a:pt x="1771" y="322"/>
                  </a:lnTo>
                  <a:lnTo>
                    <a:pt x="1762" y="351"/>
                  </a:lnTo>
                  <a:lnTo>
                    <a:pt x="1754" y="379"/>
                  </a:lnTo>
                  <a:lnTo>
                    <a:pt x="1746" y="407"/>
                  </a:lnTo>
                  <a:lnTo>
                    <a:pt x="1738" y="435"/>
                  </a:lnTo>
                  <a:lnTo>
                    <a:pt x="1730" y="463"/>
                  </a:lnTo>
                  <a:lnTo>
                    <a:pt x="1724" y="491"/>
                  </a:lnTo>
                  <a:lnTo>
                    <a:pt x="1717" y="518"/>
                  </a:lnTo>
                  <a:lnTo>
                    <a:pt x="1715" y="518"/>
                  </a:lnTo>
                  <a:lnTo>
                    <a:pt x="1709" y="491"/>
                  </a:lnTo>
                  <a:lnTo>
                    <a:pt x="1702" y="462"/>
                  </a:lnTo>
                  <a:lnTo>
                    <a:pt x="1695" y="434"/>
                  </a:lnTo>
                  <a:lnTo>
                    <a:pt x="1688" y="406"/>
                  </a:lnTo>
                  <a:lnTo>
                    <a:pt x="1680" y="379"/>
                  </a:lnTo>
                  <a:lnTo>
                    <a:pt x="1672" y="350"/>
                  </a:lnTo>
                  <a:lnTo>
                    <a:pt x="1663" y="321"/>
                  </a:lnTo>
                  <a:lnTo>
                    <a:pt x="1654" y="292"/>
                  </a:lnTo>
                  <a:lnTo>
                    <a:pt x="1570" y="10"/>
                  </a:lnTo>
                  <a:lnTo>
                    <a:pt x="1447" y="10"/>
                  </a:lnTo>
                  <a:lnTo>
                    <a:pt x="1647" y="631"/>
                  </a:lnTo>
                  <a:lnTo>
                    <a:pt x="1776" y="631"/>
                  </a:lnTo>
                  <a:close/>
                  <a:moveTo>
                    <a:pt x="1090" y="97"/>
                  </a:moveTo>
                  <a:lnTo>
                    <a:pt x="1101" y="95"/>
                  </a:lnTo>
                  <a:lnTo>
                    <a:pt x="1117" y="93"/>
                  </a:lnTo>
                  <a:lnTo>
                    <a:pt x="1136" y="92"/>
                  </a:lnTo>
                  <a:lnTo>
                    <a:pt x="1161" y="91"/>
                  </a:lnTo>
                  <a:lnTo>
                    <a:pt x="1174" y="92"/>
                  </a:lnTo>
                  <a:lnTo>
                    <a:pt x="1187" y="93"/>
                  </a:lnTo>
                  <a:lnTo>
                    <a:pt x="1199" y="95"/>
                  </a:lnTo>
                  <a:lnTo>
                    <a:pt x="1210" y="97"/>
                  </a:lnTo>
                  <a:lnTo>
                    <a:pt x="1222" y="100"/>
                  </a:lnTo>
                  <a:lnTo>
                    <a:pt x="1231" y="105"/>
                  </a:lnTo>
                  <a:lnTo>
                    <a:pt x="1240" y="109"/>
                  </a:lnTo>
                  <a:lnTo>
                    <a:pt x="1248" y="115"/>
                  </a:lnTo>
                  <a:lnTo>
                    <a:pt x="1256" y="121"/>
                  </a:lnTo>
                  <a:lnTo>
                    <a:pt x="1263" y="130"/>
                  </a:lnTo>
                  <a:lnTo>
                    <a:pt x="1268" y="137"/>
                  </a:lnTo>
                  <a:lnTo>
                    <a:pt x="1273" y="146"/>
                  </a:lnTo>
                  <a:lnTo>
                    <a:pt x="1277" y="156"/>
                  </a:lnTo>
                  <a:lnTo>
                    <a:pt x="1279" y="167"/>
                  </a:lnTo>
                  <a:lnTo>
                    <a:pt x="1281" y="178"/>
                  </a:lnTo>
                  <a:lnTo>
                    <a:pt x="1281" y="190"/>
                  </a:lnTo>
                  <a:lnTo>
                    <a:pt x="1281" y="202"/>
                  </a:lnTo>
                  <a:lnTo>
                    <a:pt x="1279" y="212"/>
                  </a:lnTo>
                  <a:lnTo>
                    <a:pt x="1277" y="222"/>
                  </a:lnTo>
                  <a:lnTo>
                    <a:pt x="1273" y="232"/>
                  </a:lnTo>
                  <a:lnTo>
                    <a:pt x="1268" y="242"/>
                  </a:lnTo>
                  <a:lnTo>
                    <a:pt x="1263" y="250"/>
                  </a:lnTo>
                  <a:lnTo>
                    <a:pt x="1255" y="257"/>
                  </a:lnTo>
                  <a:lnTo>
                    <a:pt x="1248" y="264"/>
                  </a:lnTo>
                  <a:lnTo>
                    <a:pt x="1240" y="271"/>
                  </a:lnTo>
                  <a:lnTo>
                    <a:pt x="1231" y="277"/>
                  </a:lnTo>
                  <a:lnTo>
                    <a:pt x="1221" y="281"/>
                  </a:lnTo>
                  <a:lnTo>
                    <a:pt x="1209" y="285"/>
                  </a:lnTo>
                  <a:lnTo>
                    <a:pt x="1197" y="288"/>
                  </a:lnTo>
                  <a:lnTo>
                    <a:pt x="1185" y="291"/>
                  </a:lnTo>
                  <a:lnTo>
                    <a:pt x="1171" y="292"/>
                  </a:lnTo>
                  <a:lnTo>
                    <a:pt x="1158" y="292"/>
                  </a:lnTo>
                  <a:lnTo>
                    <a:pt x="1090" y="292"/>
                  </a:lnTo>
                  <a:lnTo>
                    <a:pt x="1090" y="97"/>
                  </a:lnTo>
                  <a:close/>
                  <a:moveTo>
                    <a:pt x="978" y="631"/>
                  </a:moveTo>
                  <a:lnTo>
                    <a:pt x="1090" y="631"/>
                  </a:lnTo>
                  <a:lnTo>
                    <a:pt x="1090" y="375"/>
                  </a:lnTo>
                  <a:lnTo>
                    <a:pt x="1148" y="375"/>
                  </a:lnTo>
                  <a:lnTo>
                    <a:pt x="1159" y="377"/>
                  </a:lnTo>
                  <a:lnTo>
                    <a:pt x="1170" y="378"/>
                  </a:lnTo>
                  <a:lnTo>
                    <a:pt x="1180" y="380"/>
                  </a:lnTo>
                  <a:lnTo>
                    <a:pt x="1190" y="382"/>
                  </a:lnTo>
                  <a:lnTo>
                    <a:pt x="1198" y="385"/>
                  </a:lnTo>
                  <a:lnTo>
                    <a:pt x="1206" y="389"/>
                  </a:lnTo>
                  <a:lnTo>
                    <a:pt x="1213" y="394"/>
                  </a:lnTo>
                  <a:lnTo>
                    <a:pt x="1221" y="400"/>
                  </a:lnTo>
                  <a:lnTo>
                    <a:pt x="1227" y="407"/>
                  </a:lnTo>
                  <a:lnTo>
                    <a:pt x="1233" y="415"/>
                  </a:lnTo>
                  <a:lnTo>
                    <a:pt x="1238" y="424"/>
                  </a:lnTo>
                  <a:lnTo>
                    <a:pt x="1243" y="433"/>
                  </a:lnTo>
                  <a:lnTo>
                    <a:pt x="1247" y="444"/>
                  </a:lnTo>
                  <a:lnTo>
                    <a:pt x="1251" y="457"/>
                  </a:lnTo>
                  <a:lnTo>
                    <a:pt x="1255" y="470"/>
                  </a:lnTo>
                  <a:lnTo>
                    <a:pt x="1259" y="485"/>
                  </a:lnTo>
                  <a:lnTo>
                    <a:pt x="1272" y="537"/>
                  </a:lnTo>
                  <a:lnTo>
                    <a:pt x="1283" y="579"/>
                  </a:lnTo>
                  <a:lnTo>
                    <a:pt x="1288" y="597"/>
                  </a:lnTo>
                  <a:lnTo>
                    <a:pt x="1292" y="611"/>
                  </a:lnTo>
                  <a:lnTo>
                    <a:pt x="1297" y="622"/>
                  </a:lnTo>
                  <a:lnTo>
                    <a:pt x="1301" y="631"/>
                  </a:lnTo>
                  <a:lnTo>
                    <a:pt x="1417" y="631"/>
                  </a:lnTo>
                  <a:lnTo>
                    <a:pt x="1413" y="619"/>
                  </a:lnTo>
                  <a:lnTo>
                    <a:pt x="1406" y="605"/>
                  </a:lnTo>
                  <a:lnTo>
                    <a:pt x="1401" y="585"/>
                  </a:lnTo>
                  <a:lnTo>
                    <a:pt x="1395" y="565"/>
                  </a:lnTo>
                  <a:lnTo>
                    <a:pt x="1389" y="540"/>
                  </a:lnTo>
                  <a:lnTo>
                    <a:pt x="1382" y="514"/>
                  </a:lnTo>
                  <a:lnTo>
                    <a:pt x="1376" y="487"/>
                  </a:lnTo>
                  <a:lnTo>
                    <a:pt x="1368" y="458"/>
                  </a:lnTo>
                  <a:lnTo>
                    <a:pt x="1362" y="436"/>
                  </a:lnTo>
                  <a:lnTo>
                    <a:pt x="1354" y="416"/>
                  </a:lnTo>
                  <a:lnTo>
                    <a:pt x="1346" y="398"/>
                  </a:lnTo>
                  <a:lnTo>
                    <a:pt x="1336" y="382"/>
                  </a:lnTo>
                  <a:lnTo>
                    <a:pt x="1330" y="374"/>
                  </a:lnTo>
                  <a:lnTo>
                    <a:pt x="1324" y="367"/>
                  </a:lnTo>
                  <a:lnTo>
                    <a:pt x="1318" y="361"/>
                  </a:lnTo>
                  <a:lnTo>
                    <a:pt x="1312" y="355"/>
                  </a:lnTo>
                  <a:lnTo>
                    <a:pt x="1305" y="350"/>
                  </a:lnTo>
                  <a:lnTo>
                    <a:pt x="1298" y="346"/>
                  </a:lnTo>
                  <a:lnTo>
                    <a:pt x="1290" y="342"/>
                  </a:lnTo>
                  <a:lnTo>
                    <a:pt x="1282" y="337"/>
                  </a:lnTo>
                  <a:lnTo>
                    <a:pt x="1282" y="335"/>
                  </a:lnTo>
                  <a:lnTo>
                    <a:pt x="1292" y="330"/>
                  </a:lnTo>
                  <a:lnTo>
                    <a:pt x="1304" y="326"/>
                  </a:lnTo>
                  <a:lnTo>
                    <a:pt x="1314" y="320"/>
                  </a:lnTo>
                  <a:lnTo>
                    <a:pt x="1324" y="314"/>
                  </a:lnTo>
                  <a:lnTo>
                    <a:pt x="1334" y="306"/>
                  </a:lnTo>
                  <a:lnTo>
                    <a:pt x="1343" y="298"/>
                  </a:lnTo>
                  <a:lnTo>
                    <a:pt x="1352" y="289"/>
                  </a:lnTo>
                  <a:lnTo>
                    <a:pt x="1360" y="280"/>
                  </a:lnTo>
                  <a:lnTo>
                    <a:pt x="1367" y="270"/>
                  </a:lnTo>
                  <a:lnTo>
                    <a:pt x="1374" y="258"/>
                  </a:lnTo>
                  <a:lnTo>
                    <a:pt x="1380" y="247"/>
                  </a:lnTo>
                  <a:lnTo>
                    <a:pt x="1385" y="235"/>
                  </a:lnTo>
                  <a:lnTo>
                    <a:pt x="1389" y="222"/>
                  </a:lnTo>
                  <a:lnTo>
                    <a:pt x="1392" y="209"/>
                  </a:lnTo>
                  <a:lnTo>
                    <a:pt x="1394" y="194"/>
                  </a:lnTo>
                  <a:lnTo>
                    <a:pt x="1394" y="180"/>
                  </a:lnTo>
                  <a:lnTo>
                    <a:pt x="1393" y="160"/>
                  </a:lnTo>
                  <a:lnTo>
                    <a:pt x="1391" y="142"/>
                  </a:lnTo>
                  <a:lnTo>
                    <a:pt x="1386" y="124"/>
                  </a:lnTo>
                  <a:lnTo>
                    <a:pt x="1381" y="108"/>
                  </a:lnTo>
                  <a:lnTo>
                    <a:pt x="1373" y="94"/>
                  </a:lnTo>
                  <a:lnTo>
                    <a:pt x="1363" y="79"/>
                  </a:lnTo>
                  <a:lnTo>
                    <a:pt x="1353" y="67"/>
                  </a:lnTo>
                  <a:lnTo>
                    <a:pt x="1341" y="56"/>
                  </a:lnTo>
                  <a:lnTo>
                    <a:pt x="1333" y="49"/>
                  </a:lnTo>
                  <a:lnTo>
                    <a:pt x="1324" y="43"/>
                  </a:lnTo>
                  <a:lnTo>
                    <a:pt x="1315" y="38"/>
                  </a:lnTo>
                  <a:lnTo>
                    <a:pt x="1306" y="33"/>
                  </a:lnTo>
                  <a:lnTo>
                    <a:pt x="1296" y="28"/>
                  </a:lnTo>
                  <a:lnTo>
                    <a:pt x="1285" y="24"/>
                  </a:lnTo>
                  <a:lnTo>
                    <a:pt x="1275" y="21"/>
                  </a:lnTo>
                  <a:lnTo>
                    <a:pt x="1263" y="17"/>
                  </a:lnTo>
                  <a:lnTo>
                    <a:pt x="1238" y="12"/>
                  </a:lnTo>
                  <a:lnTo>
                    <a:pt x="1211" y="8"/>
                  </a:lnTo>
                  <a:lnTo>
                    <a:pt x="1181" y="6"/>
                  </a:lnTo>
                  <a:lnTo>
                    <a:pt x="1150" y="5"/>
                  </a:lnTo>
                  <a:lnTo>
                    <a:pt x="1125" y="5"/>
                  </a:lnTo>
                  <a:lnTo>
                    <a:pt x="1101" y="6"/>
                  </a:lnTo>
                  <a:lnTo>
                    <a:pt x="1078" y="7"/>
                  </a:lnTo>
                  <a:lnTo>
                    <a:pt x="1055" y="9"/>
                  </a:lnTo>
                  <a:lnTo>
                    <a:pt x="1034" y="11"/>
                  </a:lnTo>
                  <a:lnTo>
                    <a:pt x="1014" y="13"/>
                  </a:lnTo>
                  <a:lnTo>
                    <a:pt x="995" y="15"/>
                  </a:lnTo>
                  <a:lnTo>
                    <a:pt x="978" y="19"/>
                  </a:lnTo>
                  <a:lnTo>
                    <a:pt x="978" y="631"/>
                  </a:lnTo>
                  <a:close/>
                  <a:moveTo>
                    <a:pt x="852" y="263"/>
                  </a:moveTo>
                  <a:lnTo>
                    <a:pt x="617" y="263"/>
                  </a:lnTo>
                  <a:lnTo>
                    <a:pt x="617" y="104"/>
                  </a:lnTo>
                  <a:lnTo>
                    <a:pt x="865" y="104"/>
                  </a:lnTo>
                  <a:lnTo>
                    <a:pt x="865" y="10"/>
                  </a:lnTo>
                  <a:lnTo>
                    <a:pt x="504" y="10"/>
                  </a:lnTo>
                  <a:lnTo>
                    <a:pt x="504" y="631"/>
                  </a:lnTo>
                  <a:lnTo>
                    <a:pt x="879" y="631"/>
                  </a:lnTo>
                  <a:lnTo>
                    <a:pt x="879" y="537"/>
                  </a:lnTo>
                  <a:lnTo>
                    <a:pt x="617" y="537"/>
                  </a:lnTo>
                  <a:lnTo>
                    <a:pt x="617" y="355"/>
                  </a:lnTo>
                  <a:lnTo>
                    <a:pt x="852" y="355"/>
                  </a:lnTo>
                  <a:lnTo>
                    <a:pt x="852" y="263"/>
                  </a:lnTo>
                  <a:close/>
                  <a:moveTo>
                    <a:pt x="0" y="601"/>
                  </a:moveTo>
                  <a:lnTo>
                    <a:pt x="14" y="609"/>
                  </a:lnTo>
                  <a:lnTo>
                    <a:pt x="32" y="616"/>
                  </a:lnTo>
                  <a:lnTo>
                    <a:pt x="50" y="622"/>
                  </a:lnTo>
                  <a:lnTo>
                    <a:pt x="72" y="629"/>
                  </a:lnTo>
                  <a:lnTo>
                    <a:pt x="94" y="634"/>
                  </a:lnTo>
                  <a:lnTo>
                    <a:pt x="118" y="637"/>
                  </a:lnTo>
                  <a:lnTo>
                    <a:pt x="143" y="640"/>
                  </a:lnTo>
                  <a:lnTo>
                    <a:pt x="167" y="641"/>
                  </a:lnTo>
                  <a:lnTo>
                    <a:pt x="196" y="640"/>
                  </a:lnTo>
                  <a:lnTo>
                    <a:pt x="224" y="637"/>
                  </a:lnTo>
                  <a:lnTo>
                    <a:pt x="236" y="635"/>
                  </a:lnTo>
                  <a:lnTo>
                    <a:pt x="248" y="632"/>
                  </a:lnTo>
                  <a:lnTo>
                    <a:pt x="261" y="629"/>
                  </a:lnTo>
                  <a:lnTo>
                    <a:pt x="272" y="625"/>
                  </a:lnTo>
                  <a:lnTo>
                    <a:pt x="282" y="621"/>
                  </a:lnTo>
                  <a:lnTo>
                    <a:pt x="293" y="617"/>
                  </a:lnTo>
                  <a:lnTo>
                    <a:pt x="303" y="613"/>
                  </a:lnTo>
                  <a:lnTo>
                    <a:pt x="312" y="608"/>
                  </a:lnTo>
                  <a:lnTo>
                    <a:pt x="321" y="603"/>
                  </a:lnTo>
                  <a:lnTo>
                    <a:pt x="330" y="597"/>
                  </a:lnTo>
                  <a:lnTo>
                    <a:pt x="338" y="591"/>
                  </a:lnTo>
                  <a:lnTo>
                    <a:pt x="345" y="584"/>
                  </a:lnTo>
                  <a:lnTo>
                    <a:pt x="352" y="578"/>
                  </a:lnTo>
                  <a:lnTo>
                    <a:pt x="358" y="571"/>
                  </a:lnTo>
                  <a:lnTo>
                    <a:pt x="365" y="564"/>
                  </a:lnTo>
                  <a:lnTo>
                    <a:pt x="371" y="557"/>
                  </a:lnTo>
                  <a:lnTo>
                    <a:pt x="380" y="541"/>
                  </a:lnTo>
                  <a:lnTo>
                    <a:pt x="388" y="526"/>
                  </a:lnTo>
                  <a:lnTo>
                    <a:pt x="394" y="508"/>
                  </a:lnTo>
                  <a:lnTo>
                    <a:pt x="400" y="491"/>
                  </a:lnTo>
                  <a:lnTo>
                    <a:pt x="402" y="472"/>
                  </a:lnTo>
                  <a:lnTo>
                    <a:pt x="403" y="454"/>
                  </a:lnTo>
                  <a:lnTo>
                    <a:pt x="402" y="437"/>
                  </a:lnTo>
                  <a:lnTo>
                    <a:pt x="401" y="422"/>
                  </a:lnTo>
                  <a:lnTo>
                    <a:pt x="397" y="407"/>
                  </a:lnTo>
                  <a:lnTo>
                    <a:pt x="393" y="393"/>
                  </a:lnTo>
                  <a:lnTo>
                    <a:pt x="387" y="380"/>
                  </a:lnTo>
                  <a:lnTo>
                    <a:pt x="381" y="367"/>
                  </a:lnTo>
                  <a:lnTo>
                    <a:pt x="373" y="355"/>
                  </a:lnTo>
                  <a:lnTo>
                    <a:pt x="364" y="344"/>
                  </a:lnTo>
                  <a:lnTo>
                    <a:pt x="353" y="332"/>
                  </a:lnTo>
                  <a:lnTo>
                    <a:pt x="341" y="322"/>
                  </a:lnTo>
                  <a:lnTo>
                    <a:pt x="328" y="313"/>
                  </a:lnTo>
                  <a:lnTo>
                    <a:pt x="313" y="303"/>
                  </a:lnTo>
                  <a:lnTo>
                    <a:pt x="298" y="294"/>
                  </a:lnTo>
                  <a:lnTo>
                    <a:pt x="281" y="286"/>
                  </a:lnTo>
                  <a:lnTo>
                    <a:pt x="263" y="278"/>
                  </a:lnTo>
                  <a:lnTo>
                    <a:pt x="243" y="270"/>
                  </a:lnTo>
                  <a:lnTo>
                    <a:pt x="215" y="258"/>
                  </a:lnTo>
                  <a:lnTo>
                    <a:pt x="190" y="247"/>
                  </a:lnTo>
                  <a:lnTo>
                    <a:pt x="179" y="242"/>
                  </a:lnTo>
                  <a:lnTo>
                    <a:pt x="169" y="236"/>
                  </a:lnTo>
                  <a:lnTo>
                    <a:pt x="161" y="230"/>
                  </a:lnTo>
                  <a:lnTo>
                    <a:pt x="153" y="224"/>
                  </a:lnTo>
                  <a:lnTo>
                    <a:pt x="146" y="219"/>
                  </a:lnTo>
                  <a:lnTo>
                    <a:pt x="141" y="213"/>
                  </a:lnTo>
                  <a:lnTo>
                    <a:pt x="135" y="206"/>
                  </a:lnTo>
                  <a:lnTo>
                    <a:pt x="131" y="200"/>
                  </a:lnTo>
                  <a:lnTo>
                    <a:pt x="128" y="192"/>
                  </a:lnTo>
                  <a:lnTo>
                    <a:pt x="126" y="184"/>
                  </a:lnTo>
                  <a:lnTo>
                    <a:pt x="125" y="177"/>
                  </a:lnTo>
                  <a:lnTo>
                    <a:pt x="125" y="168"/>
                  </a:lnTo>
                  <a:lnTo>
                    <a:pt x="125" y="162"/>
                  </a:lnTo>
                  <a:lnTo>
                    <a:pt x="126" y="154"/>
                  </a:lnTo>
                  <a:lnTo>
                    <a:pt x="128" y="147"/>
                  </a:lnTo>
                  <a:lnTo>
                    <a:pt x="130" y="141"/>
                  </a:lnTo>
                  <a:lnTo>
                    <a:pt x="134" y="135"/>
                  </a:lnTo>
                  <a:lnTo>
                    <a:pt x="139" y="129"/>
                  </a:lnTo>
                  <a:lnTo>
                    <a:pt x="143" y="122"/>
                  </a:lnTo>
                  <a:lnTo>
                    <a:pt x="149" y="117"/>
                  </a:lnTo>
                  <a:lnTo>
                    <a:pt x="156" y="112"/>
                  </a:lnTo>
                  <a:lnTo>
                    <a:pt x="163" y="107"/>
                  </a:lnTo>
                  <a:lnTo>
                    <a:pt x="171" y="103"/>
                  </a:lnTo>
                  <a:lnTo>
                    <a:pt x="181" y="100"/>
                  </a:lnTo>
                  <a:lnTo>
                    <a:pt x="191" y="97"/>
                  </a:lnTo>
                  <a:lnTo>
                    <a:pt x="202" y="95"/>
                  </a:lnTo>
                  <a:lnTo>
                    <a:pt x="215" y="94"/>
                  </a:lnTo>
                  <a:lnTo>
                    <a:pt x="227" y="94"/>
                  </a:lnTo>
                  <a:lnTo>
                    <a:pt x="248" y="94"/>
                  </a:lnTo>
                  <a:lnTo>
                    <a:pt x="268" y="96"/>
                  </a:lnTo>
                  <a:lnTo>
                    <a:pt x="285" y="100"/>
                  </a:lnTo>
                  <a:lnTo>
                    <a:pt x="302" y="104"/>
                  </a:lnTo>
                  <a:lnTo>
                    <a:pt x="317" y="108"/>
                  </a:lnTo>
                  <a:lnTo>
                    <a:pt x="331" y="113"/>
                  </a:lnTo>
                  <a:lnTo>
                    <a:pt x="342" y="118"/>
                  </a:lnTo>
                  <a:lnTo>
                    <a:pt x="351" y="122"/>
                  </a:lnTo>
                  <a:lnTo>
                    <a:pt x="378" y="31"/>
                  </a:lnTo>
                  <a:lnTo>
                    <a:pt x="366" y="25"/>
                  </a:lnTo>
                  <a:lnTo>
                    <a:pt x="350" y="20"/>
                  </a:lnTo>
                  <a:lnTo>
                    <a:pt x="335" y="14"/>
                  </a:lnTo>
                  <a:lnTo>
                    <a:pt x="316" y="9"/>
                  </a:lnTo>
                  <a:lnTo>
                    <a:pt x="298" y="6"/>
                  </a:lnTo>
                  <a:lnTo>
                    <a:pt x="276" y="3"/>
                  </a:lnTo>
                  <a:lnTo>
                    <a:pt x="254" y="1"/>
                  </a:lnTo>
                  <a:lnTo>
                    <a:pt x="229" y="0"/>
                  </a:lnTo>
                  <a:lnTo>
                    <a:pt x="204" y="1"/>
                  </a:lnTo>
                  <a:lnTo>
                    <a:pt x="182" y="4"/>
                  </a:lnTo>
                  <a:lnTo>
                    <a:pt x="159" y="8"/>
                  </a:lnTo>
                  <a:lnTo>
                    <a:pt x="139" y="14"/>
                  </a:lnTo>
                  <a:lnTo>
                    <a:pt x="119" y="22"/>
                  </a:lnTo>
                  <a:lnTo>
                    <a:pt x="101" y="30"/>
                  </a:lnTo>
                  <a:lnTo>
                    <a:pt x="84" y="40"/>
                  </a:lnTo>
                  <a:lnTo>
                    <a:pt x="70" y="51"/>
                  </a:lnTo>
                  <a:lnTo>
                    <a:pt x="56" y="64"/>
                  </a:lnTo>
                  <a:lnTo>
                    <a:pt x="44" y="77"/>
                  </a:lnTo>
                  <a:lnTo>
                    <a:pt x="34" y="93"/>
                  </a:lnTo>
                  <a:lnTo>
                    <a:pt x="26" y="108"/>
                  </a:lnTo>
                  <a:lnTo>
                    <a:pt x="18" y="124"/>
                  </a:lnTo>
                  <a:lnTo>
                    <a:pt x="14" y="142"/>
                  </a:lnTo>
                  <a:lnTo>
                    <a:pt x="11" y="159"/>
                  </a:lnTo>
                  <a:lnTo>
                    <a:pt x="10" y="179"/>
                  </a:lnTo>
                  <a:lnTo>
                    <a:pt x="11" y="194"/>
                  </a:lnTo>
                  <a:lnTo>
                    <a:pt x="13" y="211"/>
                  </a:lnTo>
                  <a:lnTo>
                    <a:pt x="16" y="225"/>
                  </a:lnTo>
                  <a:lnTo>
                    <a:pt x="21" y="240"/>
                  </a:lnTo>
                  <a:lnTo>
                    <a:pt x="29" y="253"/>
                  </a:lnTo>
                  <a:lnTo>
                    <a:pt x="36" y="265"/>
                  </a:lnTo>
                  <a:lnTo>
                    <a:pt x="45" y="277"/>
                  </a:lnTo>
                  <a:lnTo>
                    <a:pt x="55" y="288"/>
                  </a:lnTo>
                  <a:lnTo>
                    <a:pt x="67" y="299"/>
                  </a:lnTo>
                  <a:lnTo>
                    <a:pt x="80" y="310"/>
                  </a:lnTo>
                  <a:lnTo>
                    <a:pt x="93" y="319"/>
                  </a:lnTo>
                  <a:lnTo>
                    <a:pt x="109" y="328"/>
                  </a:lnTo>
                  <a:lnTo>
                    <a:pt x="124" y="336"/>
                  </a:lnTo>
                  <a:lnTo>
                    <a:pt x="142" y="345"/>
                  </a:lnTo>
                  <a:lnTo>
                    <a:pt x="159" y="352"/>
                  </a:lnTo>
                  <a:lnTo>
                    <a:pt x="178" y="359"/>
                  </a:lnTo>
                  <a:lnTo>
                    <a:pt x="205" y="369"/>
                  </a:lnTo>
                  <a:lnTo>
                    <a:pt x="228" y="381"/>
                  </a:lnTo>
                  <a:lnTo>
                    <a:pt x="238" y="386"/>
                  </a:lnTo>
                  <a:lnTo>
                    <a:pt x="247" y="392"/>
                  </a:lnTo>
                  <a:lnTo>
                    <a:pt x="255" y="397"/>
                  </a:lnTo>
                  <a:lnTo>
                    <a:pt x="262" y="403"/>
                  </a:lnTo>
                  <a:lnTo>
                    <a:pt x="268" y="409"/>
                  </a:lnTo>
                  <a:lnTo>
                    <a:pt x="273" y="417"/>
                  </a:lnTo>
                  <a:lnTo>
                    <a:pt x="278" y="423"/>
                  </a:lnTo>
                  <a:lnTo>
                    <a:pt x="281" y="430"/>
                  </a:lnTo>
                  <a:lnTo>
                    <a:pt x="284" y="437"/>
                  </a:lnTo>
                  <a:lnTo>
                    <a:pt x="287" y="445"/>
                  </a:lnTo>
                  <a:lnTo>
                    <a:pt x="288" y="454"/>
                  </a:lnTo>
                  <a:lnTo>
                    <a:pt x="288" y="462"/>
                  </a:lnTo>
                  <a:lnTo>
                    <a:pt x="288" y="471"/>
                  </a:lnTo>
                  <a:lnTo>
                    <a:pt x="285" y="480"/>
                  </a:lnTo>
                  <a:lnTo>
                    <a:pt x="283" y="489"/>
                  </a:lnTo>
                  <a:lnTo>
                    <a:pt x="280" y="497"/>
                  </a:lnTo>
                  <a:lnTo>
                    <a:pt x="276" y="504"/>
                  </a:lnTo>
                  <a:lnTo>
                    <a:pt x="271" y="511"/>
                  </a:lnTo>
                  <a:lnTo>
                    <a:pt x="265" y="517"/>
                  </a:lnTo>
                  <a:lnTo>
                    <a:pt x="259" y="524"/>
                  </a:lnTo>
                  <a:lnTo>
                    <a:pt x="251" y="529"/>
                  </a:lnTo>
                  <a:lnTo>
                    <a:pt x="242" y="533"/>
                  </a:lnTo>
                  <a:lnTo>
                    <a:pt x="233" y="537"/>
                  </a:lnTo>
                  <a:lnTo>
                    <a:pt x="223" y="540"/>
                  </a:lnTo>
                  <a:lnTo>
                    <a:pt x="213" y="543"/>
                  </a:lnTo>
                  <a:lnTo>
                    <a:pt x="200" y="545"/>
                  </a:lnTo>
                  <a:lnTo>
                    <a:pt x="188" y="546"/>
                  </a:lnTo>
                  <a:lnTo>
                    <a:pt x="175" y="546"/>
                  </a:lnTo>
                  <a:lnTo>
                    <a:pt x="154" y="546"/>
                  </a:lnTo>
                  <a:lnTo>
                    <a:pt x="132" y="543"/>
                  </a:lnTo>
                  <a:lnTo>
                    <a:pt x="112" y="540"/>
                  </a:lnTo>
                  <a:lnTo>
                    <a:pt x="92" y="535"/>
                  </a:lnTo>
                  <a:lnTo>
                    <a:pt x="74" y="529"/>
                  </a:lnTo>
                  <a:lnTo>
                    <a:pt x="56" y="523"/>
                  </a:lnTo>
                  <a:lnTo>
                    <a:pt x="40" y="514"/>
                  </a:lnTo>
                  <a:lnTo>
                    <a:pt x="26" y="507"/>
                  </a:lnTo>
                  <a:lnTo>
                    <a:pt x="0" y="601"/>
                  </a:lnTo>
                  <a:close/>
                </a:path>
              </a:pathLst>
            </a:custGeom>
            <a:solidFill>
              <a:srgbClr val="FEFEF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auto">
            <a:xfrm>
              <a:off x="617" y="270"/>
              <a:ext cx="737" cy="80"/>
            </a:xfrm>
            <a:custGeom>
              <a:avLst/>
              <a:gdLst/>
              <a:ahLst/>
              <a:cxnLst>
                <a:cxn ang="0">
                  <a:pos x="5506" y="10"/>
                </a:cxn>
                <a:cxn ang="0">
                  <a:pos x="5169" y="544"/>
                </a:cxn>
                <a:cxn ang="0">
                  <a:pos x="5029" y="477"/>
                </a:cxn>
                <a:cxn ang="0">
                  <a:pos x="4982" y="270"/>
                </a:cxn>
                <a:cxn ang="0">
                  <a:pos x="5063" y="133"/>
                </a:cxn>
                <a:cxn ang="0">
                  <a:pos x="5293" y="109"/>
                </a:cxn>
                <a:cxn ang="0">
                  <a:pos x="5122" y="6"/>
                </a:cxn>
                <a:cxn ang="0">
                  <a:pos x="4924" y="122"/>
                </a:cxn>
                <a:cxn ang="0">
                  <a:pos x="4861" y="362"/>
                </a:cxn>
                <a:cxn ang="0">
                  <a:pos x="4955" y="565"/>
                </a:cxn>
                <a:cxn ang="0">
                  <a:pos x="5175" y="641"/>
                </a:cxn>
                <a:cxn ang="0">
                  <a:pos x="4373" y="269"/>
                </a:cxn>
                <a:cxn ang="0">
                  <a:pos x="4761" y="631"/>
                </a:cxn>
                <a:cxn ang="0">
                  <a:pos x="4630" y="407"/>
                </a:cxn>
                <a:cxn ang="0">
                  <a:pos x="3905" y="100"/>
                </a:cxn>
                <a:cxn ang="0">
                  <a:pos x="3809" y="456"/>
                </a:cxn>
                <a:cxn ang="0">
                  <a:pos x="3020" y="10"/>
                </a:cxn>
                <a:cxn ang="0">
                  <a:pos x="2324" y="528"/>
                </a:cxn>
                <a:cxn ang="0">
                  <a:pos x="2455" y="633"/>
                </a:cxn>
                <a:cxn ang="0">
                  <a:pos x="2663" y="610"/>
                </a:cxn>
                <a:cxn ang="0">
                  <a:pos x="2767" y="461"/>
                </a:cxn>
                <a:cxn ang="0">
                  <a:pos x="2644" y="481"/>
                </a:cxn>
                <a:cxn ang="0">
                  <a:pos x="2470" y="533"/>
                </a:cxn>
                <a:cxn ang="0">
                  <a:pos x="1803" y="609"/>
                </a:cxn>
                <a:cxn ang="0">
                  <a:pos x="2082" y="617"/>
                </a:cxn>
                <a:cxn ang="0">
                  <a:pos x="2191" y="472"/>
                </a:cxn>
                <a:cxn ang="0">
                  <a:pos x="2070" y="286"/>
                </a:cxn>
                <a:cxn ang="0">
                  <a:pos x="1914" y="177"/>
                </a:cxn>
                <a:cxn ang="0">
                  <a:pos x="1991" y="95"/>
                </a:cxn>
                <a:cxn ang="0">
                  <a:pos x="2106" y="9"/>
                </a:cxn>
                <a:cxn ang="0">
                  <a:pos x="1823" y="93"/>
                </a:cxn>
                <a:cxn ang="0">
                  <a:pos x="1869" y="310"/>
                </a:cxn>
                <a:cxn ang="0">
                  <a:pos x="2067" y="423"/>
                </a:cxn>
                <a:cxn ang="0">
                  <a:pos x="2031" y="533"/>
                </a:cxn>
                <a:cxn ang="0">
                  <a:pos x="1789" y="601"/>
                </a:cxn>
                <a:cxn ang="0">
                  <a:pos x="1348" y="251"/>
                </a:cxn>
                <a:cxn ang="0">
                  <a:pos x="1587" y="422"/>
                </a:cxn>
                <a:cxn ang="0">
                  <a:pos x="1300" y="631"/>
                </a:cxn>
                <a:cxn ang="0">
                  <a:pos x="679" y="482"/>
                </a:cxn>
                <a:cxn ang="0">
                  <a:pos x="668" y="177"/>
                </a:cxn>
                <a:cxn ang="0">
                  <a:pos x="807" y="91"/>
                </a:cxn>
                <a:cxn ang="0">
                  <a:pos x="944" y="177"/>
                </a:cxn>
                <a:cxn ang="0">
                  <a:pos x="933" y="482"/>
                </a:cxn>
                <a:cxn ang="0">
                  <a:pos x="804" y="550"/>
                </a:cxn>
                <a:cxn ang="0">
                  <a:pos x="993" y="575"/>
                </a:cxn>
                <a:cxn ang="0">
                  <a:pos x="1094" y="370"/>
                </a:cxn>
                <a:cxn ang="0">
                  <a:pos x="1054" y="137"/>
                </a:cxn>
                <a:cxn ang="0">
                  <a:pos x="890" y="9"/>
                </a:cxn>
                <a:cxn ang="0">
                  <a:pos x="665" y="37"/>
                </a:cxn>
                <a:cxn ang="0">
                  <a:pos x="531" y="209"/>
                </a:cxn>
                <a:cxn ang="0">
                  <a:pos x="535" y="452"/>
                </a:cxn>
                <a:cxn ang="0">
                  <a:pos x="670" y="611"/>
                </a:cxn>
                <a:cxn ang="0">
                  <a:pos x="403" y="539"/>
                </a:cxn>
                <a:cxn ang="0">
                  <a:pos x="216" y="516"/>
                </a:cxn>
                <a:cxn ang="0">
                  <a:pos x="123" y="371"/>
                </a:cxn>
                <a:cxn ang="0">
                  <a:pos x="160" y="176"/>
                </a:cxn>
                <a:cxn ang="0">
                  <a:pos x="337" y="94"/>
                </a:cxn>
                <a:cxn ang="0">
                  <a:pos x="383" y="3"/>
                </a:cxn>
                <a:cxn ang="0">
                  <a:pos x="130" y="59"/>
                </a:cxn>
                <a:cxn ang="0">
                  <a:pos x="6" y="255"/>
                </a:cxn>
                <a:cxn ang="0">
                  <a:pos x="41" y="497"/>
                </a:cxn>
                <a:cxn ang="0">
                  <a:pos x="215" y="628"/>
                </a:cxn>
                <a:cxn ang="0">
                  <a:pos x="458" y="523"/>
                </a:cxn>
              </a:cxnLst>
              <a:rect l="0" t="0" r="r" b="b"/>
              <a:pathLst>
                <a:path w="5893" h="641">
                  <a:moveTo>
                    <a:pt x="5686" y="631"/>
                  </a:moveTo>
                  <a:lnTo>
                    <a:pt x="5686" y="369"/>
                  </a:lnTo>
                  <a:lnTo>
                    <a:pt x="5893" y="10"/>
                  </a:lnTo>
                  <a:lnTo>
                    <a:pt x="5764" y="10"/>
                  </a:lnTo>
                  <a:lnTo>
                    <a:pt x="5690" y="169"/>
                  </a:lnTo>
                  <a:lnTo>
                    <a:pt x="5675" y="202"/>
                  </a:lnTo>
                  <a:lnTo>
                    <a:pt x="5661" y="232"/>
                  </a:lnTo>
                  <a:lnTo>
                    <a:pt x="5648" y="262"/>
                  </a:lnTo>
                  <a:lnTo>
                    <a:pt x="5636" y="292"/>
                  </a:lnTo>
                  <a:lnTo>
                    <a:pt x="5635" y="292"/>
                  </a:lnTo>
                  <a:lnTo>
                    <a:pt x="5621" y="261"/>
                  </a:lnTo>
                  <a:lnTo>
                    <a:pt x="5609" y="232"/>
                  </a:lnTo>
                  <a:lnTo>
                    <a:pt x="5596" y="202"/>
                  </a:lnTo>
                  <a:lnTo>
                    <a:pt x="5580" y="170"/>
                  </a:lnTo>
                  <a:lnTo>
                    <a:pt x="5506" y="10"/>
                  </a:lnTo>
                  <a:lnTo>
                    <a:pt x="5377" y="10"/>
                  </a:lnTo>
                  <a:lnTo>
                    <a:pt x="5573" y="372"/>
                  </a:lnTo>
                  <a:lnTo>
                    <a:pt x="5573" y="631"/>
                  </a:lnTo>
                  <a:lnTo>
                    <a:pt x="5686" y="631"/>
                  </a:lnTo>
                  <a:close/>
                  <a:moveTo>
                    <a:pt x="5318" y="523"/>
                  </a:moveTo>
                  <a:lnTo>
                    <a:pt x="5306" y="528"/>
                  </a:lnTo>
                  <a:lnTo>
                    <a:pt x="5293" y="532"/>
                  </a:lnTo>
                  <a:lnTo>
                    <a:pt x="5277" y="536"/>
                  </a:lnTo>
                  <a:lnTo>
                    <a:pt x="5262" y="539"/>
                  </a:lnTo>
                  <a:lnTo>
                    <a:pt x="5245" y="542"/>
                  </a:lnTo>
                  <a:lnTo>
                    <a:pt x="5229" y="544"/>
                  </a:lnTo>
                  <a:lnTo>
                    <a:pt x="5211" y="545"/>
                  </a:lnTo>
                  <a:lnTo>
                    <a:pt x="5194" y="545"/>
                  </a:lnTo>
                  <a:lnTo>
                    <a:pt x="5182" y="545"/>
                  </a:lnTo>
                  <a:lnTo>
                    <a:pt x="5169" y="544"/>
                  </a:lnTo>
                  <a:lnTo>
                    <a:pt x="5157" y="543"/>
                  </a:lnTo>
                  <a:lnTo>
                    <a:pt x="5146" y="541"/>
                  </a:lnTo>
                  <a:lnTo>
                    <a:pt x="5134" y="539"/>
                  </a:lnTo>
                  <a:lnTo>
                    <a:pt x="5124" y="537"/>
                  </a:lnTo>
                  <a:lnTo>
                    <a:pt x="5113" y="534"/>
                  </a:lnTo>
                  <a:lnTo>
                    <a:pt x="5104" y="530"/>
                  </a:lnTo>
                  <a:lnTo>
                    <a:pt x="5093" y="526"/>
                  </a:lnTo>
                  <a:lnTo>
                    <a:pt x="5084" y="522"/>
                  </a:lnTo>
                  <a:lnTo>
                    <a:pt x="5075" y="516"/>
                  </a:lnTo>
                  <a:lnTo>
                    <a:pt x="5067" y="511"/>
                  </a:lnTo>
                  <a:lnTo>
                    <a:pt x="5057" y="505"/>
                  </a:lnTo>
                  <a:lnTo>
                    <a:pt x="5050" y="499"/>
                  </a:lnTo>
                  <a:lnTo>
                    <a:pt x="5042" y="492"/>
                  </a:lnTo>
                  <a:lnTo>
                    <a:pt x="5036" y="486"/>
                  </a:lnTo>
                  <a:lnTo>
                    <a:pt x="5029" y="477"/>
                  </a:lnTo>
                  <a:lnTo>
                    <a:pt x="5022" y="470"/>
                  </a:lnTo>
                  <a:lnTo>
                    <a:pt x="5016" y="462"/>
                  </a:lnTo>
                  <a:lnTo>
                    <a:pt x="5011" y="453"/>
                  </a:lnTo>
                  <a:lnTo>
                    <a:pt x="5006" y="443"/>
                  </a:lnTo>
                  <a:lnTo>
                    <a:pt x="5001" y="434"/>
                  </a:lnTo>
                  <a:lnTo>
                    <a:pt x="4997" y="425"/>
                  </a:lnTo>
                  <a:lnTo>
                    <a:pt x="4993" y="415"/>
                  </a:lnTo>
                  <a:lnTo>
                    <a:pt x="4986" y="393"/>
                  </a:lnTo>
                  <a:lnTo>
                    <a:pt x="4982" y="371"/>
                  </a:lnTo>
                  <a:lnTo>
                    <a:pt x="4979" y="347"/>
                  </a:lnTo>
                  <a:lnTo>
                    <a:pt x="4978" y="322"/>
                  </a:lnTo>
                  <a:lnTo>
                    <a:pt x="4979" y="309"/>
                  </a:lnTo>
                  <a:lnTo>
                    <a:pt x="4979" y="295"/>
                  </a:lnTo>
                  <a:lnTo>
                    <a:pt x="4981" y="282"/>
                  </a:lnTo>
                  <a:lnTo>
                    <a:pt x="4982" y="270"/>
                  </a:lnTo>
                  <a:lnTo>
                    <a:pt x="4985" y="257"/>
                  </a:lnTo>
                  <a:lnTo>
                    <a:pt x="4987" y="246"/>
                  </a:lnTo>
                  <a:lnTo>
                    <a:pt x="4991" y="235"/>
                  </a:lnTo>
                  <a:lnTo>
                    <a:pt x="4995" y="223"/>
                  </a:lnTo>
                  <a:lnTo>
                    <a:pt x="4999" y="213"/>
                  </a:lnTo>
                  <a:lnTo>
                    <a:pt x="5004" y="203"/>
                  </a:lnTo>
                  <a:lnTo>
                    <a:pt x="5008" y="193"/>
                  </a:lnTo>
                  <a:lnTo>
                    <a:pt x="5014" y="184"/>
                  </a:lnTo>
                  <a:lnTo>
                    <a:pt x="5019" y="176"/>
                  </a:lnTo>
                  <a:lnTo>
                    <a:pt x="5026" y="168"/>
                  </a:lnTo>
                  <a:lnTo>
                    <a:pt x="5033" y="159"/>
                  </a:lnTo>
                  <a:lnTo>
                    <a:pt x="5040" y="152"/>
                  </a:lnTo>
                  <a:lnTo>
                    <a:pt x="5047" y="145"/>
                  </a:lnTo>
                  <a:lnTo>
                    <a:pt x="5055" y="139"/>
                  </a:lnTo>
                  <a:lnTo>
                    <a:pt x="5063" y="133"/>
                  </a:lnTo>
                  <a:lnTo>
                    <a:pt x="5072" y="127"/>
                  </a:lnTo>
                  <a:lnTo>
                    <a:pt x="5080" y="121"/>
                  </a:lnTo>
                  <a:lnTo>
                    <a:pt x="5089" y="117"/>
                  </a:lnTo>
                  <a:lnTo>
                    <a:pt x="5098" y="112"/>
                  </a:lnTo>
                  <a:lnTo>
                    <a:pt x="5109" y="109"/>
                  </a:lnTo>
                  <a:lnTo>
                    <a:pt x="5129" y="102"/>
                  </a:lnTo>
                  <a:lnTo>
                    <a:pt x="5150" y="98"/>
                  </a:lnTo>
                  <a:lnTo>
                    <a:pt x="5172" y="95"/>
                  </a:lnTo>
                  <a:lnTo>
                    <a:pt x="5196" y="94"/>
                  </a:lnTo>
                  <a:lnTo>
                    <a:pt x="5215" y="95"/>
                  </a:lnTo>
                  <a:lnTo>
                    <a:pt x="5232" y="96"/>
                  </a:lnTo>
                  <a:lnTo>
                    <a:pt x="5248" y="98"/>
                  </a:lnTo>
                  <a:lnTo>
                    <a:pt x="5264" y="101"/>
                  </a:lnTo>
                  <a:lnTo>
                    <a:pt x="5279" y="105"/>
                  </a:lnTo>
                  <a:lnTo>
                    <a:pt x="5293" y="109"/>
                  </a:lnTo>
                  <a:lnTo>
                    <a:pt x="5305" y="113"/>
                  </a:lnTo>
                  <a:lnTo>
                    <a:pt x="5316" y="118"/>
                  </a:lnTo>
                  <a:lnTo>
                    <a:pt x="5341" y="28"/>
                  </a:lnTo>
                  <a:lnTo>
                    <a:pt x="5332" y="24"/>
                  </a:lnTo>
                  <a:lnTo>
                    <a:pt x="5318" y="19"/>
                  </a:lnTo>
                  <a:lnTo>
                    <a:pt x="5303" y="13"/>
                  </a:lnTo>
                  <a:lnTo>
                    <a:pt x="5285" y="9"/>
                  </a:lnTo>
                  <a:lnTo>
                    <a:pt x="5265" y="6"/>
                  </a:lnTo>
                  <a:lnTo>
                    <a:pt x="5242" y="3"/>
                  </a:lnTo>
                  <a:lnTo>
                    <a:pt x="5218" y="1"/>
                  </a:lnTo>
                  <a:lnTo>
                    <a:pt x="5191" y="0"/>
                  </a:lnTo>
                  <a:lnTo>
                    <a:pt x="5173" y="1"/>
                  </a:lnTo>
                  <a:lnTo>
                    <a:pt x="5156" y="2"/>
                  </a:lnTo>
                  <a:lnTo>
                    <a:pt x="5139" y="4"/>
                  </a:lnTo>
                  <a:lnTo>
                    <a:pt x="5122" y="6"/>
                  </a:lnTo>
                  <a:lnTo>
                    <a:pt x="5106" y="9"/>
                  </a:lnTo>
                  <a:lnTo>
                    <a:pt x="5090" y="13"/>
                  </a:lnTo>
                  <a:lnTo>
                    <a:pt x="5075" y="17"/>
                  </a:lnTo>
                  <a:lnTo>
                    <a:pt x="5059" y="23"/>
                  </a:lnTo>
                  <a:lnTo>
                    <a:pt x="5045" y="29"/>
                  </a:lnTo>
                  <a:lnTo>
                    <a:pt x="5031" y="35"/>
                  </a:lnTo>
                  <a:lnTo>
                    <a:pt x="5016" y="42"/>
                  </a:lnTo>
                  <a:lnTo>
                    <a:pt x="5003" y="50"/>
                  </a:lnTo>
                  <a:lnTo>
                    <a:pt x="4989" y="59"/>
                  </a:lnTo>
                  <a:lnTo>
                    <a:pt x="4977" y="68"/>
                  </a:lnTo>
                  <a:lnTo>
                    <a:pt x="4966" y="77"/>
                  </a:lnTo>
                  <a:lnTo>
                    <a:pt x="4955" y="87"/>
                  </a:lnTo>
                  <a:lnTo>
                    <a:pt x="4943" y="99"/>
                  </a:lnTo>
                  <a:lnTo>
                    <a:pt x="4933" y="110"/>
                  </a:lnTo>
                  <a:lnTo>
                    <a:pt x="4924" y="122"/>
                  </a:lnTo>
                  <a:lnTo>
                    <a:pt x="4914" y="135"/>
                  </a:lnTo>
                  <a:lnTo>
                    <a:pt x="4906" y="148"/>
                  </a:lnTo>
                  <a:lnTo>
                    <a:pt x="4898" y="162"/>
                  </a:lnTo>
                  <a:lnTo>
                    <a:pt x="4891" y="176"/>
                  </a:lnTo>
                  <a:lnTo>
                    <a:pt x="4885" y="190"/>
                  </a:lnTo>
                  <a:lnTo>
                    <a:pt x="4879" y="206"/>
                  </a:lnTo>
                  <a:lnTo>
                    <a:pt x="4873" y="222"/>
                  </a:lnTo>
                  <a:lnTo>
                    <a:pt x="4869" y="239"/>
                  </a:lnTo>
                  <a:lnTo>
                    <a:pt x="4866" y="255"/>
                  </a:lnTo>
                  <a:lnTo>
                    <a:pt x="4863" y="273"/>
                  </a:lnTo>
                  <a:lnTo>
                    <a:pt x="4861" y="290"/>
                  </a:lnTo>
                  <a:lnTo>
                    <a:pt x="4860" y="309"/>
                  </a:lnTo>
                  <a:lnTo>
                    <a:pt x="4859" y="328"/>
                  </a:lnTo>
                  <a:lnTo>
                    <a:pt x="4860" y="346"/>
                  </a:lnTo>
                  <a:lnTo>
                    <a:pt x="4861" y="362"/>
                  </a:lnTo>
                  <a:lnTo>
                    <a:pt x="4862" y="380"/>
                  </a:lnTo>
                  <a:lnTo>
                    <a:pt x="4865" y="395"/>
                  </a:lnTo>
                  <a:lnTo>
                    <a:pt x="4868" y="412"/>
                  </a:lnTo>
                  <a:lnTo>
                    <a:pt x="4871" y="427"/>
                  </a:lnTo>
                  <a:lnTo>
                    <a:pt x="4876" y="441"/>
                  </a:lnTo>
                  <a:lnTo>
                    <a:pt x="4881" y="457"/>
                  </a:lnTo>
                  <a:lnTo>
                    <a:pt x="4887" y="470"/>
                  </a:lnTo>
                  <a:lnTo>
                    <a:pt x="4893" y="484"/>
                  </a:lnTo>
                  <a:lnTo>
                    <a:pt x="4900" y="497"/>
                  </a:lnTo>
                  <a:lnTo>
                    <a:pt x="4907" y="509"/>
                  </a:lnTo>
                  <a:lnTo>
                    <a:pt x="4915" y="522"/>
                  </a:lnTo>
                  <a:lnTo>
                    <a:pt x="4925" y="534"/>
                  </a:lnTo>
                  <a:lnTo>
                    <a:pt x="4934" y="544"/>
                  </a:lnTo>
                  <a:lnTo>
                    <a:pt x="4943" y="555"/>
                  </a:lnTo>
                  <a:lnTo>
                    <a:pt x="4955" y="565"/>
                  </a:lnTo>
                  <a:lnTo>
                    <a:pt x="4965" y="574"/>
                  </a:lnTo>
                  <a:lnTo>
                    <a:pt x="4977" y="583"/>
                  </a:lnTo>
                  <a:lnTo>
                    <a:pt x="4989" y="592"/>
                  </a:lnTo>
                  <a:lnTo>
                    <a:pt x="5002" y="599"/>
                  </a:lnTo>
                  <a:lnTo>
                    <a:pt x="5015" y="606"/>
                  </a:lnTo>
                  <a:lnTo>
                    <a:pt x="5029" y="612"/>
                  </a:lnTo>
                  <a:lnTo>
                    <a:pt x="5043" y="618"/>
                  </a:lnTo>
                  <a:lnTo>
                    <a:pt x="5058" y="623"/>
                  </a:lnTo>
                  <a:lnTo>
                    <a:pt x="5074" y="628"/>
                  </a:lnTo>
                  <a:lnTo>
                    <a:pt x="5089" y="632"/>
                  </a:lnTo>
                  <a:lnTo>
                    <a:pt x="5106" y="635"/>
                  </a:lnTo>
                  <a:lnTo>
                    <a:pt x="5122" y="637"/>
                  </a:lnTo>
                  <a:lnTo>
                    <a:pt x="5139" y="639"/>
                  </a:lnTo>
                  <a:lnTo>
                    <a:pt x="5158" y="640"/>
                  </a:lnTo>
                  <a:lnTo>
                    <a:pt x="5175" y="641"/>
                  </a:lnTo>
                  <a:lnTo>
                    <a:pt x="5203" y="640"/>
                  </a:lnTo>
                  <a:lnTo>
                    <a:pt x="5229" y="638"/>
                  </a:lnTo>
                  <a:lnTo>
                    <a:pt x="5253" y="635"/>
                  </a:lnTo>
                  <a:lnTo>
                    <a:pt x="5274" y="632"/>
                  </a:lnTo>
                  <a:lnTo>
                    <a:pt x="5294" y="628"/>
                  </a:lnTo>
                  <a:lnTo>
                    <a:pt x="5310" y="622"/>
                  </a:lnTo>
                  <a:lnTo>
                    <a:pt x="5324" y="617"/>
                  </a:lnTo>
                  <a:lnTo>
                    <a:pt x="5337" y="612"/>
                  </a:lnTo>
                  <a:lnTo>
                    <a:pt x="5318" y="523"/>
                  </a:lnTo>
                  <a:close/>
                  <a:moveTo>
                    <a:pt x="4374" y="631"/>
                  </a:moveTo>
                  <a:lnTo>
                    <a:pt x="4374" y="408"/>
                  </a:lnTo>
                  <a:lnTo>
                    <a:pt x="4374" y="371"/>
                  </a:lnTo>
                  <a:lnTo>
                    <a:pt x="4374" y="335"/>
                  </a:lnTo>
                  <a:lnTo>
                    <a:pt x="4374" y="301"/>
                  </a:lnTo>
                  <a:lnTo>
                    <a:pt x="4373" y="269"/>
                  </a:lnTo>
                  <a:lnTo>
                    <a:pt x="4372" y="237"/>
                  </a:lnTo>
                  <a:lnTo>
                    <a:pt x="4371" y="205"/>
                  </a:lnTo>
                  <a:lnTo>
                    <a:pt x="4370" y="175"/>
                  </a:lnTo>
                  <a:lnTo>
                    <a:pt x="4369" y="144"/>
                  </a:lnTo>
                  <a:lnTo>
                    <a:pt x="4371" y="144"/>
                  </a:lnTo>
                  <a:lnTo>
                    <a:pt x="4383" y="170"/>
                  </a:lnTo>
                  <a:lnTo>
                    <a:pt x="4396" y="198"/>
                  </a:lnTo>
                  <a:lnTo>
                    <a:pt x="4410" y="224"/>
                  </a:lnTo>
                  <a:lnTo>
                    <a:pt x="4423" y="251"/>
                  </a:lnTo>
                  <a:lnTo>
                    <a:pt x="4438" y="279"/>
                  </a:lnTo>
                  <a:lnTo>
                    <a:pt x="4453" y="306"/>
                  </a:lnTo>
                  <a:lnTo>
                    <a:pt x="4468" y="332"/>
                  </a:lnTo>
                  <a:lnTo>
                    <a:pt x="4483" y="358"/>
                  </a:lnTo>
                  <a:lnTo>
                    <a:pt x="4644" y="631"/>
                  </a:lnTo>
                  <a:lnTo>
                    <a:pt x="4761" y="631"/>
                  </a:lnTo>
                  <a:lnTo>
                    <a:pt x="4761" y="10"/>
                  </a:lnTo>
                  <a:lnTo>
                    <a:pt x="4657" y="10"/>
                  </a:lnTo>
                  <a:lnTo>
                    <a:pt x="4657" y="226"/>
                  </a:lnTo>
                  <a:lnTo>
                    <a:pt x="4657" y="261"/>
                  </a:lnTo>
                  <a:lnTo>
                    <a:pt x="4658" y="295"/>
                  </a:lnTo>
                  <a:lnTo>
                    <a:pt x="4658" y="328"/>
                  </a:lnTo>
                  <a:lnTo>
                    <a:pt x="4659" y="360"/>
                  </a:lnTo>
                  <a:lnTo>
                    <a:pt x="4661" y="391"/>
                  </a:lnTo>
                  <a:lnTo>
                    <a:pt x="4662" y="422"/>
                  </a:lnTo>
                  <a:lnTo>
                    <a:pt x="4665" y="453"/>
                  </a:lnTo>
                  <a:lnTo>
                    <a:pt x="4667" y="484"/>
                  </a:lnTo>
                  <a:lnTo>
                    <a:pt x="4665" y="485"/>
                  </a:lnTo>
                  <a:lnTo>
                    <a:pt x="4653" y="459"/>
                  </a:lnTo>
                  <a:lnTo>
                    <a:pt x="4642" y="433"/>
                  </a:lnTo>
                  <a:lnTo>
                    <a:pt x="4630" y="407"/>
                  </a:lnTo>
                  <a:lnTo>
                    <a:pt x="4616" y="381"/>
                  </a:lnTo>
                  <a:lnTo>
                    <a:pt x="4603" y="355"/>
                  </a:lnTo>
                  <a:lnTo>
                    <a:pt x="4589" y="328"/>
                  </a:lnTo>
                  <a:lnTo>
                    <a:pt x="4574" y="302"/>
                  </a:lnTo>
                  <a:lnTo>
                    <a:pt x="4559" y="277"/>
                  </a:lnTo>
                  <a:lnTo>
                    <a:pt x="4399" y="10"/>
                  </a:lnTo>
                  <a:lnTo>
                    <a:pt x="4270" y="10"/>
                  </a:lnTo>
                  <a:lnTo>
                    <a:pt x="4270" y="631"/>
                  </a:lnTo>
                  <a:lnTo>
                    <a:pt x="4374" y="631"/>
                  </a:lnTo>
                  <a:close/>
                  <a:moveTo>
                    <a:pt x="3827" y="369"/>
                  </a:moveTo>
                  <a:lnTo>
                    <a:pt x="3876" y="216"/>
                  </a:lnTo>
                  <a:lnTo>
                    <a:pt x="3884" y="187"/>
                  </a:lnTo>
                  <a:lnTo>
                    <a:pt x="3891" y="158"/>
                  </a:lnTo>
                  <a:lnTo>
                    <a:pt x="3898" y="129"/>
                  </a:lnTo>
                  <a:lnTo>
                    <a:pt x="3905" y="100"/>
                  </a:lnTo>
                  <a:lnTo>
                    <a:pt x="3908" y="100"/>
                  </a:lnTo>
                  <a:lnTo>
                    <a:pt x="3915" y="128"/>
                  </a:lnTo>
                  <a:lnTo>
                    <a:pt x="3922" y="157"/>
                  </a:lnTo>
                  <a:lnTo>
                    <a:pt x="3930" y="187"/>
                  </a:lnTo>
                  <a:lnTo>
                    <a:pt x="3938" y="217"/>
                  </a:lnTo>
                  <a:lnTo>
                    <a:pt x="3988" y="369"/>
                  </a:lnTo>
                  <a:lnTo>
                    <a:pt x="3827" y="369"/>
                  </a:lnTo>
                  <a:close/>
                  <a:moveTo>
                    <a:pt x="4006" y="456"/>
                  </a:moveTo>
                  <a:lnTo>
                    <a:pt x="4063" y="631"/>
                  </a:lnTo>
                  <a:lnTo>
                    <a:pt x="4184" y="631"/>
                  </a:lnTo>
                  <a:lnTo>
                    <a:pt x="3983" y="10"/>
                  </a:lnTo>
                  <a:lnTo>
                    <a:pt x="3839" y="10"/>
                  </a:lnTo>
                  <a:lnTo>
                    <a:pt x="3639" y="631"/>
                  </a:lnTo>
                  <a:lnTo>
                    <a:pt x="3756" y="631"/>
                  </a:lnTo>
                  <a:lnTo>
                    <a:pt x="3809" y="456"/>
                  </a:lnTo>
                  <a:lnTo>
                    <a:pt x="4006" y="456"/>
                  </a:lnTo>
                  <a:close/>
                  <a:moveTo>
                    <a:pt x="3389" y="631"/>
                  </a:moveTo>
                  <a:lnTo>
                    <a:pt x="3502" y="631"/>
                  </a:lnTo>
                  <a:lnTo>
                    <a:pt x="3502" y="105"/>
                  </a:lnTo>
                  <a:lnTo>
                    <a:pt x="3680" y="105"/>
                  </a:lnTo>
                  <a:lnTo>
                    <a:pt x="3680" y="10"/>
                  </a:lnTo>
                  <a:lnTo>
                    <a:pt x="3211" y="10"/>
                  </a:lnTo>
                  <a:lnTo>
                    <a:pt x="3211" y="105"/>
                  </a:lnTo>
                  <a:lnTo>
                    <a:pt x="3389" y="105"/>
                  </a:lnTo>
                  <a:lnTo>
                    <a:pt x="3389" y="631"/>
                  </a:lnTo>
                  <a:close/>
                  <a:moveTo>
                    <a:pt x="2906" y="631"/>
                  </a:moveTo>
                  <a:lnTo>
                    <a:pt x="3275" y="631"/>
                  </a:lnTo>
                  <a:lnTo>
                    <a:pt x="3275" y="536"/>
                  </a:lnTo>
                  <a:lnTo>
                    <a:pt x="3020" y="536"/>
                  </a:lnTo>
                  <a:lnTo>
                    <a:pt x="3020" y="10"/>
                  </a:lnTo>
                  <a:lnTo>
                    <a:pt x="2906" y="10"/>
                  </a:lnTo>
                  <a:lnTo>
                    <a:pt x="2906" y="631"/>
                  </a:lnTo>
                  <a:close/>
                  <a:moveTo>
                    <a:pt x="2293" y="10"/>
                  </a:moveTo>
                  <a:lnTo>
                    <a:pt x="2293" y="365"/>
                  </a:lnTo>
                  <a:lnTo>
                    <a:pt x="2293" y="383"/>
                  </a:lnTo>
                  <a:lnTo>
                    <a:pt x="2294" y="400"/>
                  </a:lnTo>
                  <a:lnTo>
                    <a:pt x="2295" y="417"/>
                  </a:lnTo>
                  <a:lnTo>
                    <a:pt x="2297" y="433"/>
                  </a:lnTo>
                  <a:lnTo>
                    <a:pt x="2299" y="449"/>
                  </a:lnTo>
                  <a:lnTo>
                    <a:pt x="2303" y="463"/>
                  </a:lnTo>
                  <a:lnTo>
                    <a:pt x="2306" y="477"/>
                  </a:lnTo>
                  <a:lnTo>
                    <a:pt x="2310" y="491"/>
                  </a:lnTo>
                  <a:lnTo>
                    <a:pt x="2314" y="503"/>
                  </a:lnTo>
                  <a:lnTo>
                    <a:pt x="2319" y="515"/>
                  </a:lnTo>
                  <a:lnTo>
                    <a:pt x="2324" y="528"/>
                  </a:lnTo>
                  <a:lnTo>
                    <a:pt x="2330" y="538"/>
                  </a:lnTo>
                  <a:lnTo>
                    <a:pt x="2336" y="548"/>
                  </a:lnTo>
                  <a:lnTo>
                    <a:pt x="2343" y="559"/>
                  </a:lnTo>
                  <a:lnTo>
                    <a:pt x="2350" y="568"/>
                  </a:lnTo>
                  <a:lnTo>
                    <a:pt x="2357" y="576"/>
                  </a:lnTo>
                  <a:lnTo>
                    <a:pt x="2365" y="584"/>
                  </a:lnTo>
                  <a:lnTo>
                    <a:pt x="2373" y="592"/>
                  </a:lnTo>
                  <a:lnTo>
                    <a:pt x="2383" y="599"/>
                  </a:lnTo>
                  <a:lnTo>
                    <a:pt x="2392" y="605"/>
                  </a:lnTo>
                  <a:lnTo>
                    <a:pt x="2401" y="611"/>
                  </a:lnTo>
                  <a:lnTo>
                    <a:pt x="2411" y="616"/>
                  </a:lnTo>
                  <a:lnTo>
                    <a:pt x="2422" y="621"/>
                  </a:lnTo>
                  <a:lnTo>
                    <a:pt x="2432" y="625"/>
                  </a:lnTo>
                  <a:lnTo>
                    <a:pt x="2443" y="629"/>
                  </a:lnTo>
                  <a:lnTo>
                    <a:pt x="2455" y="633"/>
                  </a:lnTo>
                  <a:lnTo>
                    <a:pt x="2466" y="635"/>
                  </a:lnTo>
                  <a:lnTo>
                    <a:pt x="2478" y="637"/>
                  </a:lnTo>
                  <a:lnTo>
                    <a:pt x="2503" y="640"/>
                  </a:lnTo>
                  <a:lnTo>
                    <a:pt x="2530" y="641"/>
                  </a:lnTo>
                  <a:lnTo>
                    <a:pt x="2543" y="641"/>
                  </a:lnTo>
                  <a:lnTo>
                    <a:pt x="2556" y="640"/>
                  </a:lnTo>
                  <a:lnTo>
                    <a:pt x="2570" y="639"/>
                  </a:lnTo>
                  <a:lnTo>
                    <a:pt x="2583" y="637"/>
                  </a:lnTo>
                  <a:lnTo>
                    <a:pt x="2595" y="635"/>
                  </a:lnTo>
                  <a:lnTo>
                    <a:pt x="2608" y="632"/>
                  </a:lnTo>
                  <a:lnTo>
                    <a:pt x="2619" y="629"/>
                  </a:lnTo>
                  <a:lnTo>
                    <a:pt x="2631" y="624"/>
                  </a:lnTo>
                  <a:lnTo>
                    <a:pt x="2643" y="620"/>
                  </a:lnTo>
                  <a:lnTo>
                    <a:pt x="2653" y="615"/>
                  </a:lnTo>
                  <a:lnTo>
                    <a:pt x="2663" y="610"/>
                  </a:lnTo>
                  <a:lnTo>
                    <a:pt x="2673" y="604"/>
                  </a:lnTo>
                  <a:lnTo>
                    <a:pt x="2683" y="598"/>
                  </a:lnTo>
                  <a:lnTo>
                    <a:pt x="2692" y="591"/>
                  </a:lnTo>
                  <a:lnTo>
                    <a:pt x="2701" y="582"/>
                  </a:lnTo>
                  <a:lnTo>
                    <a:pt x="2709" y="574"/>
                  </a:lnTo>
                  <a:lnTo>
                    <a:pt x="2718" y="566"/>
                  </a:lnTo>
                  <a:lnTo>
                    <a:pt x="2725" y="557"/>
                  </a:lnTo>
                  <a:lnTo>
                    <a:pt x="2732" y="546"/>
                  </a:lnTo>
                  <a:lnTo>
                    <a:pt x="2738" y="536"/>
                  </a:lnTo>
                  <a:lnTo>
                    <a:pt x="2744" y="525"/>
                  </a:lnTo>
                  <a:lnTo>
                    <a:pt x="2750" y="513"/>
                  </a:lnTo>
                  <a:lnTo>
                    <a:pt x="2755" y="501"/>
                  </a:lnTo>
                  <a:lnTo>
                    <a:pt x="2760" y="489"/>
                  </a:lnTo>
                  <a:lnTo>
                    <a:pt x="2764" y="475"/>
                  </a:lnTo>
                  <a:lnTo>
                    <a:pt x="2767" y="461"/>
                  </a:lnTo>
                  <a:lnTo>
                    <a:pt x="2770" y="446"/>
                  </a:lnTo>
                  <a:lnTo>
                    <a:pt x="2772" y="431"/>
                  </a:lnTo>
                  <a:lnTo>
                    <a:pt x="2774" y="416"/>
                  </a:lnTo>
                  <a:lnTo>
                    <a:pt x="2776" y="399"/>
                  </a:lnTo>
                  <a:lnTo>
                    <a:pt x="2777" y="383"/>
                  </a:lnTo>
                  <a:lnTo>
                    <a:pt x="2777" y="364"/>
                  </a:lnTo>
                  <a:lnTo>
                    <a:pt x="2777" y="10"/>
                  </a:lnTo>
                  <a:lnTo>
                    <a:pt x="2664" y="10"/>
                  </a:lnTo>
                  <a:lnTo>
                    <a:pt x="2664" y="372"/>
                  </a:lnTo>
                  <a:lnTo>
                    <a:pt x="2663" y="394"/>
                  </a:lnTo>
                  <a:lnTo>
                    <a:pt x="2661" y="415"/>
                  </a:lnTo>
                  <a:lnTo>
                    <a:pt x="2659" y="433"/>
                  </a:lnTo>
                  <a:lnTo>
                    <a:pt x="2655" y="451"/>
                  </a:lnTo>
                  <a:lnTo>
                    <a:pt x="2650" y="467"/>
                  </a:lnTo>
                  <a:lnTo>
                    <a:pt x="2644" y="481"/>
                  </a:lnTo>
                  <a:lnTo>
                    <a:pt x="2638" y="495"/>
                  </a:lnTo>
                  <a:lnTo>
                    <a:pt x="2629" y="506"/>
                  </a:lnTo>
                  <a:lnTo>
                    <a:pt x="2620" y="516"/>
                  </a:lnTo>
                  <a:lnTo>
                    <a:pt x="2611" y="526"/>
                  </a:lnTo>
                  <a:lnTo>
                    <a:pt x="2600" y="533"/>
                  </a:lnTo>
                  <a:lnTo>
                    <a:pt x="2588" y="539"/>
                  </a:lnTo>
                  <a:lnTo>
                    <a:pt x="2576" y="544"/>
                  </a:lnTo>
                  <a:lnTo>
                    <a:pt x="2563" y="547"/>
                  </a:lnTo>
                  <a:lnTo>
                    <a:pt x="2548" y="549"/>
                  </a:lnTo>
                  <a:lnTo>
                    <a:pt x="2534" y="549"/>
                  </a:lnTo>
                  <a:lnTo>
                    <a:pt x="2519" y="549"/>
                  </a:lnTo>
                  <a:lnTo>
                    <a:pt x="2506" y="547"/>
                  </a:lnTo>
                  <a:lnTo>
                    <a:pt x="2493" y="543"/>
                  </a:lnTo>
                  <a:lnTo>
                    <a:pt x="2481" y="539"/>
                  </a:lnTo>
                  <a:lnTo>
                    <a:pt x="2470" y="533"/>
                  </a:lnTo>
                  <a:lnTo>
                    <a:pt x="2460" y="526"/>
                  </a:lnTo>
                  <a:lnTo>
                    <a:pt x="2449" y="516"/>
                  </a:lnTo>
                  <a:lnTo>
                    <a:pt x="2441" y="506"/>
                  </a:lnTo>
                  <a:lnTo>
                    <a:pt x="2433" y="495"/>
                  </a:lnTo>
                  <a:lnTo>
                    <a:pt x="2426" y="481"/>
                  </a:lnTo>
                  <a:lnTo>
                    <a:pt x="2421" y="467"/>
                  </a:lnTo>
                  <a:lnTo>
                    <a:pt x="2416" y="451"/>
                  </a:lnTo>
                  <a:lnTo>
                    <a:pt x="2411" y="433"/>
                  </a:lnTo>
                  <a:lnTo>
                    <a:pt x="2408" y="415"/>
                  </a:lnTo>
                  <a:lnTo>
                    <a:pt x="2406" y="394"/>
                  </a:lnTo>
                  <a:lnTo>
                    <a:pt x="2406" y="372"/>
                  </a:lnTo>
                  <a:lnTo>
                    <a:pt x="2406" y="10"/>
                  </a:lnTo>
                  <a:lnTo>
                    <a:pt x="2293" y="10"/>
                  </a:lnTo>
                  <a:close/>
                  <a:moveTo>
                    <a:pt x="1789" y="601"/>
                  </a:moveTo>
                  <a:lnTo>
                    <a:pt x="1803" y="609"/>
                  </a:lnTo>
                  <a:lnTo>
                    <a:pt x="1821" y="616"/>
                  </a:lnTo>
                  <a:lnTo>
                    <a:pt x="1840" y="622"/>
                  </a:lnTo>
                  <a:lnTo>
                    <a:pt x="1861" y="629"/>
                  </a:lnTo>
                  <a:lnTo>
                    <a:pt x="1883" y="634"/>
                  </a:lnTo>
                  <a:lnTo>
                    <a:pt x="1908" y="637"/>
                  </a:lnTo>
                  <a:lnTo>
                    <a:pt x="1932" y="640"/>
                  </a:lnTo>
                  <a:lnTo>
                    <a:pt x="1956" y="641"/>
                  </a:lnTo>
                  <a:lnTo>
                    <a:pt x="1986" y="640"/>
                  </a:lnTo>
                  <a:lnTo>
                    <a:pt x="2013" y="637"/>
                  </a:lnTo>
                  <a:lnTo>
                    <a:pt x="2025" y="635"/>
                  </a:lnTo>
                  <a:lnTo>
                    <a:pt x="2037" y="632"/>
                  </a:lnTo>
                  <a:lnTo>
                    <a:pt x="2050" y="629"/>
                  </a:lnTo>
                  <a:lnTo>
                    <a:pt x="2061" y="625"/>
                  </a:lnTo>
                  <a:lnTo>
                    <a:pt x="2071" y="621"/>
                  </a:lnTo>
                  <a:lnTo>
                    <a:pt x="2082" y="617"/>
                  </a:lnTo>
                  <a:lnTo>
                    <a:pt x="2092" y="613"/>
                  </a:lnTo>
                  <a:lnTo>
                    <a:pt x="2101" y="608"/>
                  </a:lnTo>
                  <a:lnTo>
                    <a:pt x="2110" y="603"/>
                  </a:lnTo>
                  <a:lnTo>
                    <a:pt x="2119" y="597"/>
                  </a:lnTo>
                  <a:lnTo>
                    <a:pt x="2127" y="591"/>
                  </a:lnTo>
                  <a:lnTo>
                    <a:pt x="2134" y="584"/>
                  </a:lnTo>
                  <a:lnTo>
                    <a:pt x="2141" y="578"/>
                  </a:lnTo>
                  <a:lnTo>
                    <a:pt x="2147" y="571"/>
                  </a:lnTo>
                  <a:lnTo>
                    <a:pt x="2154" y="564"/>
                  </a:lnTo>
                  <a:lnTo>
                    <a:pt x="2160" y="557"/>
                  </a:lnTo>
                  <a:lnTo>
                    <a:pt x="2170" y="541"/>
                  </a:lnTo>
                  <a:lnTo>
                    <a:pt x="2177" y="526"/>
                  </a:lnTo>
                  <a:lnTo>
                    <a:pt x="2183" y="508"/>
                  </a:lnTo>
                  <a:lnTo>
                    <a:pt x="2189" y="491"/>
                  </a:lnTo>
                  <a:lnTo>
                    <a:pt x="2191" y="472"/>
                  </a:lnTo>
                  <a:lnTo>
                    <a:pt x="2192" y="454"/>
                  </a:lnTo>
                  <a:lnTo>
                    <a:pt x="2192" y="437"/>
                  </a:lnTo>
                  <a:lnTo>
                    <a:pt x="2190" y="422"/>
                  </a:lnTo>
                  <a:lnTo>
                    <a:pt x="2186" y="407"/>
                  </a:lnTo>
                  <a:lnTo>
                    <a:pt x="2182" y="393"/>
                  </a:lnTo>
                  <a:lnTo>
                    <a:pt x="2176" y="380"/>
                  </a:lnTo>
                  <a:lnTo>
                    <a:pt x="2170" y="367"/>
                  </a:lnTo>
                  <a:lnTo>
                    <a:pt x="2162" y="355"/>
                  </a:lnTo>
                  <a:lnTo>
                    <a:pt x="2153" y="344"/>
                  </a:lnTo>
                  <a:lnTo>
                    <a:pt x="2142" y="332"/>
                  </a:lnTo>
                  <a:lnTo>
                    <a:pt x="2130" y="322"/>
                  </a:lnTo>
                  <a:lnTo>
                    <a:pt x="2117" y="313"/>
                  </a:lnTo>
                  <a:lnTo>
                    <a:pt x="2102" y="303"/>
                  </a:lnTo>
                  <a:lnTo>
                    <a:pt x="2087" y="294"/>
                  </a:lnTo>
                  <a:lnTo>
                    <a:pt x="2070" y="286"/>
                  </a:lnTo>
                  <a:lnTo>
                    <a:pt x="2052" y="278"/>
                  </a:lnTo>
                  <a:lnTo>
                    <a:pt x="2032" y="270"/>
                  </a:lnTo>
                  <a:lnTo>
                    <a:pt x="2004" y="258"/>
                  </a:lnTo>
                  <a:lnTo>
                    <a:pt x="1979" y="247"/>
                  </a:lnTo>
                  <a:lnTo>
                    <a:pt x="1969" y="242"/>
                  </a:lnTo>
                  <a:lnTo>
                    <a:pt x="1958" y="236"/>
                  </a:lnTo>
                  <a:lnTo>
                    <a:pt x="1950" y="230"/>
                  </a:lnTo>
                  <a:lnTo>
                    <a:pt x="1942" y="224"/>
                  </a:lnTo>
                  <a:lnTo>
                    <a:pt x="1936" y="219"/>
                  </a:lnTo>
                  <a:lnTo>
                    <a:pt x="1930" y="213"/>
                  </a:lnTo>
                  <a:lnTo>
                    <a:pt x="1924" y="206"/>
                  </a:lnTo>
                  <a:lnTo>
                    <a:pt x="1920" y="200"/>
                  </a:lnTo>
                  <a:lnTo>
                    <a:pt x="1917" y="192"/>
                  </a:lnTo>
                  <a:lnTo>
                    <a:pt x="1915" y="184"/>
                  </a:lnTo>
                  <a:lnTo>
                    <a:pt x="1914" y="177"/>
                  </a:lnTo>
                  <a:lnTo>
                    <a:pt x="1914" y="168"/>
                  </a:lnTo>
                  <a:lnTo>
                    <a:pt x="1914" y="162"/>
                  </a:lnTo>
                  <a:lnTo>
                    <a:pt x="1915" y="154"/>
                  </a:lnTo>
                  <a:lnTo>
                    <a:pt x="1917" y="147"/>
                  </a:lnTo>
                  <a:lnTo>
                    <a:pt x="1919" y="141"/>
                  </a:lnTo>
                  <a:lnTo>
                    <a:pt x="1923" y="135"/>
                  </a:lnTo>
                  <a:lnTo>
                    <a:pt x="1928" y="129"/>
                  </a:lnTo>
                  <a:lnTo>
                    <a:pt x="1933" y="122"/>
                  </a:lnTo>
                  <a:lnTo>
                    <a:pt x="1938" y="117"/>
                  </a:lnTo>
                  <a:lnTo>
                    <a:pt x="1945" y="112"/>
                  </a:lnTo>
                  <a:lnTo>
                    <a:pt x="1952" y="107"/>
                  </a:lnTo>
                  <a:lnTo>
                    <a:pt x="1960" y="103"/>
                  </a:lnTo>
                  <a:lnTo>
                    <a:pt x="1970" y="100"/>
                  </a:lnTo>
                  <a:lnTo>
                    <a:pt x="1980" y="97"/>
                  </a:lnTo>
                  <a:lnTo>
                    <a:pt x="1991" y="95"/>
                  </a:lnTo>
                  <a:lnTo>
                    <a:pt x="2004" y="94"/>
                  </a:lnTo>
                  <a:lnTo>
                    <a:pt x="2016" y="94"/>
                  </a:lnTo>
                  <a:lnTo>
                    <a:pt x="2037" y="94"/>
                  </a:lnTo>
                  <a:lnTo>
                    <a:pt x="2057" y="96"/>
                  </a:lnTo>
                  <a:lnTo>
                    <a:pt x="2075" y="100"/>
                  </a:lnTo>
                  <a:lnTo>
                    <a:pt x="2092" y="104"/>
                  </a:lnTo>
                  <a:lnTo>
                    <a:pt x="2106" y="108"/>
                  </a:lnTo>
                  <a:lnTo>
                    <a:pt x="2120" y="113"/>
                  </a:lnTo>
                  <a:lnTo>
                    <a:pt x="2131" y="118"/>
                  </a:lnTo>
                  <a:lnTo>
                    <a:pt x="2140" y="122"/>
                  </a:lnTo>
                  <a:lnTo>
                    <a:pt x="2167" y="31"/>
                  </a:lnTo>
                  <a:lnTo>
                    <a:pt x="2155" y="25"/>
                  </a:lnTo>
                  <a:lnTo>
                    <a:pt x="2139" y="20"/>
                  </a:lnTo>
                  <a:lnTo>
                    <a:pt x="2124" y="14"/>
                  </a:lnTo>
                  <a:lnTo>
                    <a:pt x="2106" y="9"/>
                  </a:lnTo>
                  <a:lnTo>
                    <a:pt x="2087" y="6"/>
                  </a:lnTo>
                  <a:lnTo>
                    <a:pt x="2065" y="3"/>
                  </a:lnTo>
                  <a:lnTo>
                    <a:pt x="2043" y="1"/>
                  </a:lnTo>
                  <a:lnTo>
                    <a:pt x="2019" y="0"/>
                  </a:lnTo>
                  <a:lnTo>
                    <a:pt x="1994" y="1"/>
                  </a:lnTo>
                  <a:lnTo>
                    <a:pt x="1971" y="4"/>
                  </a:lnTo>
                  <a:lnTo>
                    <a:pt x="1948" y="8"/>
                  </a:lnTo>
                  <a:lnTo>
                    <a:pt x="1928" y="14"/>
                  </a:lnTo>
                  <a:lnTo>
                    <a:pt x="1908" y="22"/>
                  </a:lnTo>
                  <a:lnTo>
                    <a:pt x="1890" y="30"/>
                  </a:lnTo>
                  <a:lnTo>
                    <a:pt x="1873" y="40"/>
                  </a:lnTo>
                  <a:lnTo>
                    <a:pt x="1859" y="51"/>
                  </a:lnTo>
                  <a:lnTo>
                    <a:pt x="1845" y="64"/>
                  </a:lnTo>
                  <a:lnTo>
                    <a:pt x="1833" y="77"/>
                  </a:lnTo>
                  <a:lnTo>
                    <a:pt x="1823" y="93"/>
                  </a:lnTo>
                  <a:lnTo>
                    <a:pt x="1815" y="108"/>
                  </a:lnTo>
                  <a:lnTo>
                    <a:pt x="1808" y="124"/>
                  </a:lnTo>
                  <a:lnTo>
                    <a:pt x="1803" y="142"/>
                  </a:lnTo>
                  <a:lnTo>
                    <a:pt x="1800" y="159"/>
                  </a:lnTo>
                  <a:lnTo>
                    <a:pt x="1799" y="179"/>
                  </a:lnTo>
                  <a:lnTo>
                    <a:pt x="1800" y="194"/>
                  </a:lnTo>
                  <a:lnTo>
                    <a:pt x="1802" y="211"/>
                  </a:lnTo>
                  <a:lnTo>
                    <a:pt x="1806" y="225"/>
                  </a:lnTo>
                  <a:lnTo>
                    <a:pt x="1811" y="240"/>
                  </a:lnTo>
                  <a:lnTo>
                    <a:pt x="1818" y="253"/>
                  </a:lnTo>
                  <a:lnTo>
                    <a:pt x="1825" y="265"/>
                  </a:lnTo>
                  <a:lnTo>
                    <a:pt x="1834" y="277"/>
                  </a:lnTo>
                  <a:lnTo>
                    <a:pt x="1844" y="288"/>
                  </a:lnTo>
                  <a:lnTo>
                    <a:pt x="1857" y="299"/>
                  </a:lnTo>
                  <a:lnTo>
                    <a:pt x="1869" y="310"/>
                  </a:lnTo>
                  <a:lnTo>
                    <a:pt x="1882" y="319"/>
                  </a:lnTo>
                  <a:lnTo>
                    <a:pt x="1898" y="328"/>
                  </a:lnTo>
                  <a:lnTo>
                    <a:pt x="1913" y="336"/>
                  </a:lnTo>
                  <a:lnTo>
                    <a:pt x="1931" y="345"/>
                  </a:lnTo>
                  <a:lnTo>
                    <a:pt x="1948" y="352"/>
                  </a:lnTo>
                  <a:lnTo>
                    <a:pt x="1967" y="359"/>
                  </a:lnTo>
                  <a:lnTo>
                    <a:pt x="1994" y="369"/>
                  </a:lnTo>
                  <a:lnTo>
                    <a:pt x="2017" y="381"/>
                  </a:lnTo>
                  <a:lnTo>
                    <a:pt x="2027" y="386"/>
                  </a:lnTo>
                  <a:lnTo>
                    <a:pt x="2036" y="392"/>
                  </a:lnTo>
                  <a:lnTo>
                    <a:pt x="2044" y="397"/>
                  </a:lnTo>
                  <a:lnTo>
                    <a:pt x="2051" y="403"/>
                  </a:lnTo>
                  <a:lnTo>
                    <a:pt x="2057" y="409"/>
                  </a:lnTo>
                  <a:lnTo>
                    <a:pt x="2062" y="417"/>
                  </a:lnTo>
                  <a:lnTo>
                    <a:pt x="2067" y="423"/>
                  </a:lnTo>
                  <a:lnTo>
                    <a:pt x="2070" y="430"/>
                  </a:lnTo>
                  <a:lnTo>
                    <a:pt x="2073" y="437"/>
                  </a:lnTo>
                  <a:lnTo>
                    <a:pt x="2075" y="445"/>
                  </a:lnTo>
                  <a:lnTo>
                    <a:pt x="2077" y="454"/>
                  </a:lnTo>
                  <a:lnTo>
                    <a:pt x="2077" y="462"/>
                  </a:lnTo>
                  <a:lnTo>
                    <a:pt x="2077" y="471"/>
                  </a:lnTo>
                  <a:lnTo>
                    <a:pt x="2074" y="480"/>
                  </a:lnTo>
                  <a:lnTo>
                    <a:pt x="2072" y="489"/>
                  </a:lnTo>
                  <a:lnTo>
                    <a:pt x="2069" y="497"/>
                  </a:lnTo>
                  <a:lnTo>
                    <a:pt x="2065" y="504"/>
                  </a:lnTo>
                  <a:lnTo>
                    <a:pt x="2060" y="511"/>
                  </a:lnTo>
                  <a:lnTo>
                    <a:pt x="2054" y="517"/>
                  </a:lnTo>
                  <a:lnTo>
                    <a:pt x="2048" y="524"/>
                  </a:lnTo>
                  <a:lnTo>
                    <a:pt x="2040" y="529"/>
                  </a:lnTo>
                  <a:lnTo>
                    <a:pt x="2031" y="533"/>
                  </a:lnTo>
                  <a:lnTo>
                    <a:pt x="2022" y="537"/>
                  </a:lnTo>
                  <a:lnTo>
                    <a:pt x="2012" y="540"/>
                  </a:lnTo>
                  <a:lnTo>
                    <a:pt x="2002" y="543"/>
                  </a:lnTo>
                  <a:lnTo>
                    <a:pt x="1989" y="545"/>
                  </a:lnTo>
                  <a:lnTo>
                    <a:pt x="1977" y="546"/>
                  </a:lnTo>
                  <a:lnTo>
                    <a:pt x="1965" y="546"/>
                  </a:lnTo>
                  <a:lnTo>
                    <a:pt x="1943" y="546"/>
                  </a:lnTo>
                  <a:lnTo>
                    <a:pt x="1921" y="543"/>
                  </a:lnTo>
                  <a:lnTo>
                    <a:pt x="1901" y="540"/>
                  </a:lnTo>
                  <a:lnTo>
                    <a:pt x="1881" y="535"/>
                  </a:lnTo>
                  <a:lnTo>
                    <a:pt x="1863" y="529"/>
                  </a:lnTo>
                  <a:lnTo>
                    <a:pt x="1845" y="523"/>
                  </a:lnTo>
                  <a:lnTo>
                    <a:pt x="1829" y="514"/>
                  </a:lnTo>
                  <a:lnTo>
                    <a:pt x="1815" y="507"/>
                  </a:lnTo>
                  <a:lnTo>
                    <a:pt x="1789" y="601"/>
                  </a:lnTo>
                  <a:close/>
                  <a:moveTo>
                    <a:pt x="1300" y="631"/>
                  </a:moveTo>
                  <a:lnTo>
                    <a:pt x="1300" y="408"/>
                  </a:lnTo>
                  <a:lnTo>
                    <a:pt x="1300" y="371"/>
                  </a:lnTo>
                  <a:lnTo>
                    <a:pt x="1299" y="335"/>
                  </a:lnTo>
                  <a:lnTo>
                    <a:pt x="1299" y="301"/>
                  </a:lnTo>
                  <a:lnTo>
                    <a:pt x="1298" y="269"/>
                  </a:lnTo>
                  <a:lnTo>
                    <a:pt x="1298" y="237"/>
                  </a:lnTo>
                  <a:lnTo>
                    <a:pt x="1297" y="205"/>
                  </a:lnTo>
                  <a:lnTo>
                    <a:pt x="1295" y="175"/>
                  </a:lnTo>
                  <a:lnTo>
                    <a:pt x="1294" y="144"/>
                  </a:lnTo>
                  <a:lnTo>
                    <a:pt x="1297" y="144"/>
                  </a:lnTo>
                  <a:lnTo>
                    <a:pt x="1308" y="170"/>
                  </a:lnTo>
                  <a:lnTo>
                    <a:pt x="1321" y="198"/>
                  </a:lnTo>
                  <a:lnTo>
                    <a:pt x="1335" y="224"/>
                  </a:lnTo>
                  <a:lnTo>
                    <a:pt x="1348" y="251"/>
                  </a:lnTo>
                  <a:lnTo>
                    <a:pt x="1362" y="279"/>
                  </a:lnTo>
                  <a:lnTo>
                    <a:pt x="1378" y="306"/>
                  </a:lnTo>
                  <a:lnTo>
                    <a:pt x="1392" y="332"/>
                  </a:lnTo>
                  <a:lnTo>
                    <a:pt x="1408" y="358"/>
                  </a:lnTo>
                  <a:lnTo>
                    <a:pt x="1569" y="631"/>
                  </a:lnTo>
                  <a:lnTo>
                    <a:pt x="1686" y="631"/>
                  </a:lnTo>
                  <a:lnTo>
                    <a:pt x="1686" y="10"/>
                  </a:lnTo>
                  <a:lnTo>
                    <a:pt x="1582" y="10"/>
                  </a:lnTo>
                  <a:lnTo>
                    <a:pt x="1582" y="226"/>
                  </a:lnTo>
                  <a:lnTo>
                    <a:pt x="1582" y="261"/>
                  </a:lnTo>
                  <a:lnTo>
                    <a:pt x="1582" y="295"/>
                  </a:lnTo>
                  <a:lnTo>
                    <a:pt x="1583" y="328"/>
                  </a:lnTo>
                  <a:lnTo>
                    <a:pt x="1584" y="360"/>
                  </a:lnTo>
                  <a:lnTo>
                    <a:pt x="1585" y="391"/>
                  </a:lnTo>
                  <a:lnTo>
                    <a:pt x="1587" y="422"/>
                  </a:lnTo>
                  <a:lnTo>
                    <a:pt x="1589" y="453"/>
                  </a:lnTo>
                  <a:lnTo>
                    <a:pt x="1592" y="484"/>
                  </a:lnTo>
                  <a:lnTo>
                    <a:pt x="1589" y="485"/>
                  </a:lnTo>
                  <a:lnTo>
                    <a:pt x="1578" y="459"/>
                  </a:lnTo>
                  <a:lnTo>
                    <a:pt x="1567" y="433"/>
                  </a:lnTo>
                  <a:lnTo>
                    <a:pt x="1555" y="407"/>
                  </a:lnTo>
                  <a:lnTo>
                    <a:pt x="1541" y="381"/>
                  </a:lnTo>
                  <a:lnTo>
                    <a:pt x="1528" y="355"/>
                  </a:lnTo>
                  <a:lnTo>
                    <a:pt x="1513" y="328"/>
                  </a:lnTo>
                  <a:lnTo>
                    <a:pt x="1499" y="302"/>
                  </a:lnTo>
                  <a:lnTo>
                    <a:pt x="1484" y="277"/>
                  </a:lnTo>
                  <a:lnTo>
                    <a:pt x="1324" y="10"/>
                  </a:lnTo>
                  <a:lnTo>
                    <a:pt x="1195" y="10"/>
                  </a:lnTo>
                  <a:lnTo>
                    <a:pt x="1195" y="631"/>
                  </a:lnTo>
                  <a:lnTo>
                    <a:pt x="1300" y="631"/>
                  </a:lnTo>
                  <a:close/>
                  <a:moveTo>
                    <a:pt x="804" y="550"/>
                  </a:moveTo>
                  <a:lnTo>
                    <a:pt x="795" y="549"/>
                  </a:lnTo>
                  <a:lnTo>
                    <a:pt x="785" y="549"/>
                  </a:lnTo>
                  <a:lnTo>
                    <a:pt x="776" y="547"/>
                  </a:lnTo>
                  <a:lnTo>
                    <a:pt x="766" y="545"/>
                  </a:lnTo>
                  <a:lnTo>
                    <a:pt x="757" y="543"/>
                  </a:lnTo>
                  <a:lnTo>
                    <a:pt x="749" y="540"/>
                  </a:lnTo>
                  <a:lnTo>
                    <a:pt x="741" y="536"/>
                  </a:lnTo>
                  <a:lnTo>
                    <a:pt x="733" y="532"/>
                  </a:lnTo>
                  <a:lnTo>
                    <a:pt x="724" y="527"/>
                  </a:lnTo>
                  <a:lnTo>
                    <a:pt x="717" y="523"/>
                  </a:lnTo>
                  <a:lnTo>
                    <a:pt x="710" y="516"/>
                  </a:lnTo>
                  <a:lnTo>
                    <a:pt x="703" y="510"/>
                  </a:lnTo>
                  <a:lnTo>
                    <a:pt x="690" y="497"/>
                  </a:lnTo>
                  <a:lnTo>
                    <a:pt x="679" y="482"/>
                  </a:lnTo>
                  <a:lnTo>
                    <a:pt x="668" y="466"/>
                  </a:lnTo>
                  <a:lnTo>
                    <a:pt x="660" y="449"/>
                  </a:lnTo>
                  <a:lnTo>
                    <a:pt x="651" y="430"/>
                  </a:lnTo>
                  <a:lnTo>
                    <a:pt x="645" y="410"/>
                  </a:lnTo>
                  <a:lnTo>
                    <a:pt x="640" y="389"/>
                  </a:lnTo>
                  <a:lnTo>
                    <a:pt x="637" y="367"/>
                  </a:lnTo>
                  <a:lnTo>
                    <a:pt x="634" y="346"/>
                  </a:lnTo>
                  <a:lnTo>
                    <a:pt x="634" y="322"/>
                  </a:lnTo>
                  <a:lnTo>
                    <a:pt x="634" y="299"/>
                  </a:lnTo>
                  <a:lnTo>
                    <a:pt x="636" y="277"/>
                  </a:lnTo>
                  <a:lnTo>
                    <a:pt x="640" y="255"/>
                  </a:lnTo>
                  <a:lnTo>
                    <a:pt x="645" y="235"/>
                  </a:lnTo>
                  <a:lnTo>
                    <a:pt x="651" y="214"/>
                  </a:lnTo>
                  <a:lnTo>
                    <a:pt x="659" y="194"/>
                  </a:lnTo>
                  <a:lnTo>
                    <a:pt x="668" y="177"/>
                  </a:lnTo>
                  <a:lnTo>
                    <a:pt x="677" y="160"/>
                  </a:lnTo>
                  <a:lnTo>
                    <a:pt x="689" y="145"/>
                  </a:lnTo>
                  <a:lnTo>
                    <a:pt x="702" y="132"/>
                  </a:lnTo>
                  <a:lnTo>
                    <a:pt x="709" y="126"/>
                  </a:lnTo>
                  <a:lnTo>
                    <a:pt x="716" y="119"/>
                  </a:lnTo>
                  <a:lnTo>
                    <a:pt x="723" y="114"/>
                  </a:lnTo>
                  <a:lnTo>
                    <a:pt x="732" y="109"/>
                  </a:lnTo>
                  <a:lnTo>
                    <a:pt x="740" y="105"/>
                  </a:lnTo>
                  <a:lnTo>
                    <a:pt x="748" y="102"/>
                  </a:lnTo>
                  <a:lnTo>
                    <a:pt x="757" y="99"/>
                  </a:lnTo>
                  <a:lnTo>
                    <a:pt x="766" y="96"/>
                  </a:lnTo>
                  <a:lnTo>
                    <a:pt x="776" y="94"/>
                  </a:lnTo>
                  <a:lnTo>
                    <a:pt x="786" y="92"/>
                  </a:lnTo>
                  <a:lnTo>
                    <a:pt x="795" y="91"/>
                  </a:lnTo>
                  <a:lnTo>
                    <a:pt x="807" y="91"/>
                  </a:lnTo>
                  <a:lnTo>
                    <a:pt x="817" y="91"/>
                  </a:lnTo>
                  <a:lnTo>
                    <a:pt x="827" y="92"/>
                  </a:lnTo>
                  <a:lnTo>
                    <a:pt x="836" y="94"/>
                  </a:lnTo>
                  <a:lnTo>
                    <a:pt x="846" y="96"/>
                  </a:lnTo>
                  <a:lnTo>
                    <a:pt x="855" y="99"/>
                  </a:lnTo>
                  <a:lnTo>
                    <a:pt x="864" y="102"/>
                  </a:lnTo>
                  <a:lnTo>
                    <a:pt x="872" y="106"/>
                  </a:lnTo>
                  <a:lnTo>
                    <a:pt x="881" y="110"/>
                  </a:lnTo>
                  <a:lnTo>
                    <a:pt x="889" y="114"/>
                  </a:lnTo>
                  <a:lnTo>
                    <a:pt x="896" y="120"/>
                  </a:lnTo>
                  <a:lnTo>
                    <a:pt x="903" y="126"/>
                  </a:lnTo>
                  <a:lnTo>
                    <a:pt x="910" y="132"/>
                  </a:lnTo>
                  <a:lnTo>
                    <a:pt x="923" y="145"/>
                  </a:lnTo>
                  <a:lnTo>
                    <a:pt x="934" y="160"/>
                  </a:lnTo>
                  <a:lnTo>
                    <a:pt x="944" y="177"/>
                  </a:lnTo>
                  <a:lnTo>
                    <a:pt x="952" y="194"/>
                  </a:lnTo>
                  <a:lnTo>
                    <a:pt x="961" y="214"/>
                  </a:lnTo>
                  <a:lnTo>
                    <a:pt x="967" y="234"/>
                  </a:lnTo>
                  <a:lnTo>
                    <a:pt x="971" y="254"/>
                  </a:lnTo>
                  <a:lnTo>
                    <a:pt x="974" y="275"/>
                  </a:lnTo>
                  <a:lnTo>
                    <a:pt x="976" y="296"/>
                  </a:lnTo>
                  <a:lnTo>
                    <a:pt x="977" y="318"/>
                  </a:lnTo>
                  <a:lnTo>
                    <a:pt x="976" y="343"/>
                  </a:lnTo>
                  <a:lnTo>
                    <a:pt x="974" y="365"/>
                  </a:lnTo>
                  <a:lnTo>
                    <a:pt x="971" y="388"/>
                  </a:lnTo>
                  <a:lnTo>
                    <a:pt x="966" y="409"/>
                  </a:lnTo>
                  <a:lnTo>
                    <a:pt x="960" y="430"/>
                  </a:lnTo>
                  <a:lnTo>
                    <a:pt x="951" y="449"/>
                  </a:lnTo>
                  <a:lnTo>
                    <a:pt x="943" y="467"/>
                  </a:lnTo>
                  <a:lnTo>
                    <a:pt x="933" y="482"/>
                  </a:lnTo>
                  <a:lnTo>
                    <a:pt x="921" y="498"/>
                  </a:lnTo>
                  <a:lnTo>
                    <a:pt x="908" y="511"/>
                  </a:lnTo>
                  <a:lnTo>
                    <a:pt x="901" y="517"/>
                  </a:lnTo>
                  <a:lnTo>
                    <a:pt x="894" y="523"/>
                  </a:lnTo>
                  <a:lnTo>
                    <a:pt x="887" y="528"/>
                  </a:lnTo>
                  <a:lnTo>
                    <a:pt x="878" y="532"/>
                  </a:lnTo>
                  <a:lnTo>
                    <a:pt x="870" y="536"/>
                  </a:lnTo>
                  <a:lnTo>
                    <a:pt x="862" y="540"/>
                  </a:lnTo>
                  <a:lnTo>
                    <a:pt x="854" y="543"/>
                  </a:lnTo>
                  <a:lnTo>
                    <a:pt x="845" y="545"/>
                  </a:lnTo>
                  <a:lnTo>
                    <a:pt x="835" y="547"/>
                  </a:lnTo>
                  <a:lnTo>
                    <a:pt x="826" y="549"/>
                  </a:lnTo>
                  <a:lnTo>
                    <a:pt x="816" y="549"/>
                  </a:lnTo>
                  <a:lnTo>
                    <a:pt x="805" y="550"/>
                  </a:lnTo>
                  <a:lnTo>
                    <a:pt x="804" y="550"/>
                  </a:lnTo>
                  <a:close/>
                  <a:moveTo>
                    <a:pt x="802" y="641"/>
                  </a:moveTo>
                  <a:lnTo>
                    <a:pt x="818" y="641"/>
                  </a:lnTo>
                  <a:lnTo>
                    <a:pt x="833" y="640"/>
                  </a:lnTo>
                  <a:lnTo>
                    <a:pt x="849" y="638"/>
                  </a:lnTo>
                  <a:lnTo>
                    <a:pt x="863" y="636"/>
                  </a:lnTo>
                  <a:lnTo>
                    <a:pt x="878" y="633"/>
                  </a:lnTo>
                  <a:lnTo>
                    <a:pt x="893" y="629"/>
                  </a:lnTo>
                  <a:lnTo>
                    <a:pt x="906" y="624"/>
                  </a:lnTo>
                  <a:lnTo>
                    <a:pt x="920" y="619"/>
                  </a:lnTo>
                  <a:lnTo>
                    <a:pt x="933" y="613"/>
                  </a:lnTo>
                  <a:lnTo>
                    <a:pt x="946" y="607"/>
                  </a:lnTo>
                  <a:lnTo>
                    <a:pt x="959" y="600"/>
                  </a:lnTo>
                  <a:lnTo>
                    <a:pt x="970" y="593"/>
                  </a:lnTo>
                  <a:lnTo>
                    <a:pt x="982" y="584"/>
                  </a:lnTo>
                  <a:lnTo>
                    <a:pt x="993" y="575"/>
                  </a:lnTo>
                  <a:lnTo>
                    <a:pt x="1004" y="566"/>
                  </a:lnTo>
                  <a:lnTo>
                    <a:pt x="1013" y="556"/>
                  </a:lnTo>
                  <a:lnTo>
                    <a:pt x="1023" y="545"/>
                  </a:lnTo>
                  <a:lnTo>
                    <a:pt x="1033" y="533"/>
                  </a:lnTo>
                  <a:lnTo>
                    <a:pt x="1041" y="522"/>
                  </a:lnTo>
                  <a:lnTo>
                    <a:pt x="1049" y="509"/>
                  </a:lnTo>
                  <a:lnTo>
                    <a:pt x="1056" y="496"/>
                  </a:lnTo>
                  <a:lnTo>
                    <a:pt x="1063" y="482"/>
                  </a:lnTo>
                  <a:lnTo>
                    <a:pt x="1070" y="468"/>
                  </a:lnTo>
                  <a:lnTo>
                    <a:pt x="1076" y="453"/>
                  </a:lnTo>
                  <a:lnTo>
                    <a:pt x="1081" y="437"/>
                  </a:lnTo>
                  <a:lnTo>
                    <a:pt x="1085" y="422"/>
                  </a:lnTo>
                  <a:lnTo>
                    <a:pt x="1089" y="405"/>
                  </a:lnTo>
                  <a:lnTo>
                    <a:pt x="1092" y="388"/>
                  </a:lnTo>
                  <a:lnTo>
                    <a:pt x="1094" y="370"/>
                  </a:lnTo>
                  <a:lnTo>
                    <a:pt x="1096" y="352"/>
                  </a:lnTo>
                  <a:lnTo>
                    <a:pt x="1097" y="333"/>
                  </a:lnTo>
                  <a:lnTo>
                    <a:pt x="1097" y="314"/>
                  </a:lnTo>
                  <a:lnTo>
                    <a:pt x="1097" y="297"/>
                  </a:lnTo>
                  <a:lnTo>
                    <a:pt x="1096" y="281"/>
                  </a:lnTo>
                  <a:lnTo>
                    <a:pt x="1095" y="265"/>
                  </a:lnTo>
                  <a:lnTo>
                    <a:pt x="1093" y="250"/>
                  </a:lnTo>
                  <a:lnTo>
                    <a:pt x="1090" y="235"/>
                  </a:lnTo>
                  <a:lnTo>
                    <a:pt x="1087" y="219"/>
                  </a:lnTo>
                  <a:lnTo>
                    <a:pt x="1083" y="205"/>
                  </a:lnTo>
                  <a:lnTo>
                    <a:pt x="1078" y="190"/>
                  </a:lnTo>
                  <a:lnTo>
                    <a:pt x="1073" y="176"/>
                  </a:lnTo>
                  <a:lnTo>
                    <a:pt x="1068" y="163"/>
                  </a:lnTo>
                  <a:lnTo>
                    <a:pt x="1061" y="149"/>
                  </a:lnTo>
                  <a:lnTo>
                    <a:pt x="1054" y="137"/>
                  </a:lnTo>
                  <a:lnTo>
                    <a:pt x="1047" y="124"/>
                  </a:lnTo>
                  <a:lnTo>
                    <a:pt x="1039" y="113"/>
                  </a:lnTo>
                  <a:lnTo>
                    <a:pt x="1031" y="102"/>
                  </a:lnTo>
                  <a:lnTo>
                    <a:pt x="1021" y="91"/>
                  </a:lnTo>
                  <a:lnTo>
                    <a:pt x="1012" y="80"/>
                  </a:lnTo>
                  <a:lnTo>
                    <a:pt x="1002" y="71"/>
                  </a:lnTo>
                  <a:lnTo>
                    <a:pt x="991" y="62"/>
                  </a:lnTo>
                  <a:lnTo>
                    <a:pt x="980" y="52"/>
                  </a:lnTo>
                  <a:lnTo>
                    <a:pt x="969" y="44"/>
                  </a:lnTo>
                  <a:lnTo>
                    <a:pt x="957" y="37"/>
                  </a:lnTo>
                  <a:lnTo>
                    <a:pt x="944" y="30"/>
                  </a:lnTo>
                  <a:lnTo>
                    <a:pt x="932" y="24"/>
                  </a:lnTo>
                  <a:lnTo>
                    <a:pt x="917" y="19"/>
                  </a:lnTo>
                  <a:lnTo>
                    <a:pt x="904" y="13"/>
                  </a:lnTo>
                  <a:lnTo>
                    <a:pt x="890" y="9"/>
                  </a:lnTo>
                  <a:lnTo>
                    <a:pt x="874" y="6"/>
                  </a:lnTo>
                  <a:lnTo>
                    <a:pt x="859" y="3"/>
                  </a:lnTo>
                  <a:lnTo>
                    <a:pt x="844" y="2"/>
                  </a:lnTo>
                  <a:lnTo>
                    <a:pt x="827" y="0"/>
                  </a:lnTo>
                  <a:lnTo>
                    <a:pt x="811" y="0"/>
                  </a:lnTo>
                  <a:lnTo>
                    <a:pt x="794" y="0"/>
                  </a:lnTo>
                  <a:lnTo>
                    <a:pt x="778" y="2"/>
                  </a:lnTo>
                  <a:lnTo>
                    <a:pt x="762" y="3"/>
                  </a:lnTo>
                  <a:lnTo>
                    <a:pt x="747" y="6"/>
                  </a:lnTo>
                  <a:lnTo>
                    <a:pt x="733" y="9"/>
                  </a:lnTo>
                  <a:lnTo>
                    <a:pt x="718" y="13"/>
                  </a:lnTo>
                  <a:lnTo>
                    <a:pt x="704" y="19"/>
                  </a:lnTo>
                  <a:lnTo>
                    <a:pt x="690" y="24"/>
                  </a:lnTo>
                  <a:lnTo>
                    <a:pt x="677" y="30"/>
                  </a:lnTo>
                  <a:lnTo>
                    <a:pt x="665" y="37"/>
                  </a:lnTo>
                  <a:lnTo>
                    <a:pt x="652" y="44"/>
                  </a:lnTo>
                  <a:lnTo>
                    <a:pt x="640" y="52"/>
                  </a:lnTo>
                  <a:lnTo>
                    <a:pt x="629" y="62"/>
                  </a:lnTo>
                  <a:lnTo>
                    <a:pt x="617" y="71"/>
                  </a:lnTo>
                  <a:lnTo>
                    <a:pt x="607" y="80"/>
                  </a:lnTo>
                  <a:lnTo>
                    <a:pt x="597" y="92"/>
                  </a:lnTo>
                  <a:lnTo>
                    <a:pt x="588" y="102"/>
                  </a:lnTo>
                  <a:lnTo>
                    <a:pt x="578" y="114"/>
                  </a:lnTo>
                  <a:lnTo>
                    <a:pt x="570" y="126"/>
                  </a:lnTo>
                  <a:lnTo>
                    <a:pt x="562" y="139"/>
                  </a:lnTo>
                  <a:lnTo>
                    <a:pt x="555" y="151"/>
                  </a:lnTo>
                  <a:lnTo>
                    <a:pt x="549" y="166"/>
                  </a:lnTo>
                  <a:lnTo>
                    <a:pt x="542" y="179"/>
                  </a:lnTo>
                  <a:lnTo>
                    <a:pt x="536" y="194"/>
                  </a:lnTo>
                  <a:lnTo>
                    <a:pt x="531" y="209"/>
                  </a:lnTo>
                  <a:lnTo>
                    <a:pt x="527" y="224"/>
                  </a:lnTo>
                  <a:lnTo>
                    <a:pt x="524" y="241"/>
                  </a:lnTo>
                  <a:lnTo>
                    <a:pt x="521" y="256"/>
                  </a:lnTo>
                  <a:lnTo>
                    <a:pt x="518" y="273"/>
                  </a:lnTo>
                  <a:lnTo>
                    <a:pt x="517" y="290"/>
                  </a:lnTo>
                  <a:lnTo>
                    <a:pt x="516" y="308"/>
                  </a:lnTo>
                  <a:lnTo>
                    <a:pt x="515" y="325"/>
                  </a:lnTo>
                  <a:lnTo>
                    <a:pt x="516" y="342"/>
                  </a:lnTo>
                  <a:lnTo>
                    <a:pt x="517" y="359"/>
                  </a:lnTo>
                  <a:lnTo>
                    <a:pt x="518" y="374"/>
                  </a:lnTo>
                  <a:lnTo>
                    <a:pt x="520" y="391"/>
                  </a:lnTo>
                  <a:lnTo>
                    <a:pt x="523" y="406"/>
                  </a:lnTo>
                  <a:lnTo>
                    <a:pt x="526" y="422"/>
                  </a:lnTo>
                  <a:lnTo>
                    <a:pt x="530" y="436"/>
                  </a:lnTo>
                  <a:lnTo>
                    <a:pt x="535" y="452"/>
                  </a:lnTo>
                  <a:lnTo>
                    <a:pt x="540" y="465"/>
                  </a:lnTo>
                  <a:lnTo>
                    <a:pt x="547" y="479"/>
                  </a:lnTo>
                  <a:lnTo>
                    <a:pt x="553" y="492"/>
                  </a:lnTo>
                  <a:lnTo>
                    <a:pt x="559" y="505"/>
                  </a:lnTo>
                  <a:lnTo>
                    <a:pt x="567" y="517"/>
                  </a:lnTo>
                  <a:lnTo>
                    <a:pt x="575" y="529"/>
                  </a:lnTo>
                  <a:lnTo>
                    <a:pt x="584" y="540"/>
                  </a:lnTo>
                  <a:lnTo>
                    <a:pt x="593" y="551"/>
                  </a:lnTo>
                  <a:lnTo>
                    <a:pt x="602" y="562"/>
                  </a:lnTo>
                  <a:lnTo>
                    <a:pt x="612" y="571"/>
                  </a:lnTo>
                  <a:lnTo>
                    <a:pt x="623" y="580"/>
                  </a:lnTo>
                  <a:lnTo>
                    <a:pt x="634" y="588"/>
                  </a:lnTo>
                  <a:lnTo>
                    <a:pt x="645" y="597"/>
                  </a:lnTo>
                  <a:lnTo>
                    <a:pt x="658" y="604"/>
                  </a:lnTo>
                  <a:lnTo>
                    <a:pt x="670" y="611"/>
                  </a:lnTo>
                  <a:lnTo>
                    <a:pt x="682" y="617"/>
                  </a:lnTo>
                  <a:lnTo>
                    <a:pt x="696" y="622"/>
                  </a:lnTo>
                  <a:lnTo>
                    <a:pt x="710" y="628"/>
                  </a:lnTo>
                  <a:lnTo>
                    <a:pt x="724" y="632"/>
                  </a:lnTo>
                  <a:lnTo>
                    <a:pt x="739" y="635"/>
                  </a:lnTo>
                  <a:lnTo>
                    <a:pt x="753" y="638"/>
                  </a:lnTo>
                  <a:lnTo>
                    <a:pt x="769" y="640"/>
                  </a:lnTo>
                  <a:lnTo>
                    <a:pt x="785" y="641"/>
                  </a:lnTo>
                  <a:lnTo>
                    <a:pt x="801" y="641"/>
                  </a:lnTo>
                  <a:lnTo>
                    <a:pt x="802" y="641"/>
                  </a:lnTo>
                  <a:close/>
                  <a:moveTo>
                    <a:pt x="458" y="523"/>
                  </a:moveTo>
                  <a:lnTo>
                    <a:pt x="447" y="528"/>
                  </a:lnTo>
                  <a:lnTo>
                    <a:pt x="434" y="532"/>
                  </a:lnTo>
                  <a:lnTo>
                    <a:pt x="418" y="536"/>
                  </a:lnTo>
                  <a:lnTo>
                    <a:pt x="403" y="539"/>
                  </a:lnTo>
                  <a:lnTo>
                    <a:pt x="386" y="542"/>
                  </a:lnTo>
                  <a:lnTo>
                    <a:pt x="370" y="544"/>
                  </a:lnTo>
                  <a:lnTo>
                    <a:pt x="352" y="545"/>
                  </a:lnTo>
                  <a:lnTo>
                    <a:pt x="335" y="545"/>
                  </a:lnTo>
                  <a:lnTo>
                    <a:pt x="323" y="545"/>
                  </a:lnTo>
                  <a:lnTo>
                    <a:pt x="310" y="544"/>
                  </a:lnTo>
                  <a:lnTo>
                    <a:pt x="298" y="543"/>
                  </a:lnTo>
                  <a:lnTo>
                    <a:pt x="287" y="541"/>
                  </a:lnTo>
                  <a:lnTo>
                    <a:pt x="275" y="539"/>
                  </a:lnTo>
                  <a:lnTo>
                    <a:pt x="265" y="537"/>
                  </a:lnTo>
                  <a:lnTo>
                    <a:pt x="254" y="534"/>
                  </a:lnTo>
                  <a:lnTo>
                    <a:pt x="243" y="530"/>
                  </a:lnTo>
                  <a:lnTo>
                    <a:pt x="234" y="526"/>
                  </a:lnTo>
                  <a:lnTo>
                    <a:pt x="225" y="522"/>
                  </a:lnTo>
                  <a:lnTo>
                    <a:pt x="216" y="516"/>
                  </a:lnTo>
                  <a:lnTo>
                    <a:pt x="207" y="511"/>
                  </a:lnTo>
                  <a:lnTo>
                    <a:pt x="198" y="505"/>
                  </a:lnTo>
                  <a:lnTo>
                    <a:pt x="191" y="499"/>
                  </a:lnTo>
                  <a:lnTo>
                    <a:pt x="183" y="492"/>
                  </a:lnTo>
                  <a:lnTo>
                    <a:pt x="177" y="486"/>
                  </a:lnTo>
                  <a:lnTo>
                    <a:pt x="169" y="477"/>
                  </a:lnTo>
                  <a:lnTo>
                    <a:pt x="163" y="470"/>
                  </a:lnTo>
                  <a:lnTo>
                    <a:pt x="157" y="462"/>
                  </a:lnTo>
                  <a:lnTo>
                    <a:pt x="152" y="453"/>
                  </a:lnTo>
                  <a:lnTo>
                    <a:pt x="147" y="443"/>
                  </a:lnTo>
                  <a:lnTo>
                    <a:pt x="142" y="434"/>
                  </a:lnTo>
                  <a:lnTo>
                    <a:pt x="138" y="425"/>
                  </a:lnTo>
                  <a:lnTo>
                    <a:pt x="134" y="415"/>
                  </a:lnTo>
                  <a:lnTo>
                    <a:pt x="127" y="393"/>
                  </a:lnTo>
                  <a:lnTo>
                    <a:pt x="123" y="371"/>
                  </a:lnTo>
                  <a:lnTo>
                    <a:pt x="120" y="347"/>
                  </a:lnTo>
                  <a:lnTo>
                    <a:pt x="119" y="322"/>
                  </a:lnTo>
                  <a:lnTo>
                    <a:pt x="119" y="309"/>
                  </a:lnTo>
                  <a:lnTo>
                    <a:pt x="120" y="295"/>
                  </a:lnTo>
                  <a:lnTo>
                    <a:pt x="122" y="282"/>
                  </a:lnTo>
                  <a:lnTo>
                    <a:pt x="123" y="270"/>
                  </a:lnTo>
                  <a:lnTo>
                    <a:pt x="125" y="257"/>
                  </a:lnTo>
                  <a:lnTo>
                    <a:pt x="128" y="246"/>
                  </a:lnTo>
                  <a:lnTo>
                    <a:pt x="131" y="235"/>
                  </a:lnTo>
                  <a:lnTo>
                    <a:pt x="136" y="223"/>
                  </a:lnTo>
                  <a:lnTo>
                    <a:pt x="140" y="213"/>
                  </a:lnTo>
                  <a:lnTo>
                    <a:pt x="145" y="203"/>
                  </a:lnTo>
                  <a:lnTo>
                    <a:pt x="149" y="193"/>
                  </a:lnTo>
                  <a:lnTo>
                    <a:pt x="155" y="184"/>
                  </a:lnTo>
                  <a:lnTo>
                    <a:pt x="160" y="176"/>
                  </a:lnTo>
                  <a:lnTo>
                    <a:pt x="167" y="168"/>
                  </a:lnTo>
                  <a:lnTo>
                    <a:pt x="174" y="159"/>
                  </a:lnTo>
                  <a:lnTo>
                    <a:pt x="181" y="152"/>
                  </a:lnTo>
                  <a:lnTo>
                    <a:pt x="188" y="145"/>
                  </a:lnTo>
                  <a:lnTo>
                    <a:pt x="196" y="139"/>
                  </a:lnTo>
                  <a:lnTo>
                    <a:pt x="204" y="133"/>
                  </a:lnTo>
                  <a:lnTo>
                    <a:pt x="213" y="127"/>
                  </a:lnTo>
                  <a:lnTo>
                    <a:pt x="221" y="121"/>
                  </a:lnTo>
                  <a:lnTo>
                    <a:pt x="230" y="117"/>
                  </a:lnTo>
                  <a:lnTo>
                    <a:pt x="239" y="112"/>
                  </a:lnTo>
                  <a:lnTo>
                    <a:pt x="250" y="109"/>
                  </a:lnTo>
                  <a:lnTo>
                    <a:pt x="270" y="102"/>
                  </a:lnTo>
                  <a:lnTo>
                    <a:pt x="291" y="98"/>
                  </a:lnTo>
                  <a:lnTo>
                    <a:pt x="313" y="95"/>
                  </a:lnTo>
                  <a:lnTo>
                    <a:pt x="337" y="94"/>
                  </a:lnTo>
                  <a:lnTo>
                    <a:pt x="355" y="95"/>
                  </a:lnTo>
                  <a:lnTo>
                    <a:pt x="373" y="96"/>
                  </a:lnTo>
                  <a:lnTo>
                    <a:pt x="389" y="98"/>
                  </a:lnTo>
                  <a:lnTo>
                    <a:pt x="405" y="101"/>
                  </a:lnTo>
                  <a:lnTo>
                    <a:pt x="420" y="105"/>
                  </a:lnTo>
                  <a:lnTo>
                    <a:pt x="434" y="109"/>
                  </a:lnTo>
                  <a:lnTo>
                    <a:pt x="446" y="113"/>
                  </a:lnTo>
                  <a:lnTo>
                    <a:pt x="457" y="118"/>
                  </a:lnTo>
                  <a:lnTo>
                    <a:pt x="482" y="28"/>
                  </a:lnTo>
                  <a:lnTo>
                    <a:pt x="473" y="24"/>
                  </a:lnTo>
                  <a:lnTo>
                    <a:pt x="459" y="19"/>
                  </a:lnTo>
                  <a:lnTo>
                    <a:pt x="444" y="13"/>
                  </a:lnTo>
                  <a:lnTo>
                    <a:pt x="426" y="9"/>
                  </a:lnTo>
                  <a:lnTo>
                    <a:pt x="406" y="6"/>
                  </a:lnTo>
                  <a:lnTo>
                    <a:pt x="383" y="3"/>
                  </a:lnTo>
                  <a:lnTo>
                    <a:pt x="359" y="1"/>
                  </a:lnTo>
                  <a:lnTo>
                    <a:pt x="332" y="0"/>
                  </a:lnTo>
                  <a:lnTo>
                    <a:pt x="314" y="1"/>
                  </a:lnTo>
                  <a:lnTo>
                    <a:pt x="297" y="2"/>
                  </a:lnTo>
                  <a:lnTo>
                    <a:pt x="280" y="4"/>
                  </a:lnTo>
                  <a:lnTo>
                    <a:pt x="263" y="6"/>
                  </a:lnTo>
                  <a:lnTo>
                    <a:pt x="247" y="9"/>
                  </a:lnTo>
                  <a:lnTo>
                    <a:pt x="231" y="13"/>
                  </a:lnTo>
                  <a:lnTo>
                    <a:pt x="216" y="17"/>
                  </a:lnTo>
                  <a:lnTo>
                    <a:pt x="200" y="23"/>
                  </a:lnTo>
                  <a:lnTo>
                    <a:pt x="185" y="29"/>
                  </a:lnTo>
                  <a:lnTo>
                    <a:pt x="172" y="35"/>
                  </a:lnTo>
                  <a:lnTo>
                    <a:pt x="157" y="42"/>
                  </a:lnTo>
                  <a:lnTo>
                    <a:pt x="144" y="50"/>
                  </a:lnTo>
                  <a:lnTo>
                    <a:pt x="130" y="59"/>
                  </a:lnTo>
                  <a:lnTo>
                    <a:pt x="118" y="68"/>
                  </a:lnTo>
                  <a:lnTo>
                    <a:pt x="107" y="77"/>
                  </a:lnTo>
                  <a:lnTo>
                    <a:pt x="94" y="87"/>
                  </a:lnTo>
                  <a:lnTo>
                    <a:pt x="84" y="99"/>
                  </a:lnTo>
                  <a:lnTo>
                    <a:pt x="74" y="110"/>
                  </a:lnTo>
                  <a:lnTo>
                    <a:pt x="65" y="122"/>
                  </a:lnTo>
                  <a:lnTo>
                    <a:pt x="55" y="135"/>
                  </a:lnTo>
                  <a:lnTo>
                    <a:pt x="47" y="148"/>
                  </a:lnTo>
                  <a:lnTo>
                    <a:pt x="39" y="162"/>
                  </a:lnTo>
                  <a:lnTo>
                    <a:pt x="32" y="176"/>
                  </a:lnTo>
                  <a:lnTo>
                    <a:pt x="26" y="190"/>
                  </a:lnTo>
                  <a:lnTo>
                    <a:pt x="19" y="206"/>
                  </a:lnTo>
                  <a:lnTo>
                    <a:pt x="14" y="222"/>
                  </a:lnTo>
                  <a:lnTo>
                    <a:pt x="10" y="239"/>
                  </a:lnTo>
                  <a:lnTo>
                    <a:pt x="6" y="255"/>
                  </a:lnTo>
                  <a:lnTo>
                    <a:pt x="4" y="273"/>
                  </a:lnTo>
                  <a:lnTo>
                    <a:pt x="2" y="290"/>
                  </a:lnTo>
                  <a:lnTo>
                    <a:pt x="1" y="309"/>
                  </a:lnTo>
                  <a:lnTo>
                    <a:pt x="0" y="328"/>
                  </a:lnTo>
                  <a:lnTo>
                    <a:pt x="1" y="346"/>
                  </a:lnTo>
                  <a:lnTo>
                    <a:pt x="2" y="362"/>
                  </a:lnTo>
                  <a:lnTo>
                    <a:pt x="3" y="380"/>
                  </a:lnTo>
                  <a:lnTo>
                    <a:pt x="6" y="395"/>
                  </a:lnTo>
                  <a:lnTo>
                    <a:pt x="9" y="412"/>
                  </a:lnTo>
                  <a:lnTo>
                    <a:pt x="12" y="427"/>
                  </a:lnTo>
                  <a:lnTo>
                    <a:pt x="16" y="441"/>
                  </a:lnTo>
                  <a:lnTo>
                    <a:pt x="22" y="457"/>
                  </a:lnTo>
                  <a:lnTo>
                    <a:pt x="28" y="470"/>
                  </a:lnTo>
                  <a:lnTo>
                    <a:pt x="34" y="484"/>
                  </a:lnTo>
                  <a:lnTo>
                    <a:pt x="41" y="497"/>
                  </a:lnTo>
                  <a:lnTo>
                    <a:pt x="48" y="509"/>
                  </a:lnTo>
                  <a:lnTo>
                    <a:pt x="56" y="522"/>
                  </a:lnTo>
                  <a:lnTo>
                    <a:pt x="66" y="534"/>
                  </a:lnTo>
                  <a:lnTo>
                    <a:pt x="75" y="544"/>
                  </a:lnTo>
                  <a:lnTo>
                    <a:pt x="84" y="555"/>
                  </a:lnTo>
                  <a:lnTo>
                    <a:pt x="95" y="565"/>
                  </a:lnTo>
                  <a:lnTo>
                    <a:pt x="106" y="574"/>
                  </a:lnTo>
                  <a:lnTo>
                    <a:pt x="118" y="583"/>
                  </a:lnTo>
                  <a:lnTo>
                    <a:pt x="130" y="592"/>
                  </a:lnTo>
                  <a:lnTo>
                    <a:pt x="143" y="599"/>
                  </a:lnTo>
                  <a:lnTo>
                    <a:pt x="156" y="606"/>
                  </a:lnTo>
                  <a:lnTo>
                    <a:pt x="169" y="612"/>
                  </a:lnTo>
                  <a:lnTo>
                    <a:pt x="184" y="618"/>
                  </a:lnTo>
                  <a:lnTo>
                    <a:pt x="199" y="623"/>
                  </a:lnTo>
                  <a:lnTo>
                    <a:pt x="215" y="628"/>
                  </a:lnTo>
                  <a:lnTo>
                    <a:pt x="230" y="632"/>
                  </a:lnTo>
                  <a:lnTo>
                    <a:pt x="247" y="635"/>
                  </a:lnTo>
                  <a:lnTo>
                    <a:pt x="263" y="637"/>
                  </a:lnTo>
                  <a:lnTo>
                    <a:pt x="280" y="639"/>
                  </a:lnTo>
                  <a:lnTo>
                    <a:pt x="298" y="640"/>
                  </a:lnTo>
                  <a:lnTo>
                    <a:pt x="316" y="641"/>
                  </a:lnTo>
                  <a:lnTo>
                    <a:pt x="344" y="640"/>
                  </a:lnTo>
                  <a:lnTo>
                    <a:pt x="370" y="638"/>
                  </a:lnTo>
                  <a:lnTo>
                    <a:pt x="393" y="635"/>
                  </a:lnTo>
                  <a:lnTo>
                    <a:pt x="415" y="632"/>
                  </a:lnTo>
                  <a:lnTo>
                    <a:pt x="435" y="628"/>
                  </a:lnTo>
                  <a:lnTo>
                    <a:pt x="451" y="622"/>
                  </a:lnTo>
                  <a:lnTo>
                    <a:pt x="465" y="617"/>
                  </a:lnTo>
                  <a:lnTo>
                    <a:pt x="478" y="612"/>
                  </a:lnTo>
                  <a:lnTo>
                    <a:pt x="458" y="523"/>
                  </a:lnTo>
                  <a:close/>
                </a:path>
              </a:pathLst>
            </a:custGeom>
            <a:solidFill>
              <a:srgbClr val="FEFEF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267" y="271"/>
              <a:ext cx="311" cy="78"/>
            </a:xfrm>
            <a:custGeom>
              <a:avLst/>
              <a:gdLst/>
              <a:ahLst/>
              <a:cxnLst>
                <a:cxn ang="0">
                  <a:pos x="598" y="179"/>
                </a:cxn>
                <a:cxn ang="0">
                  <a:pos x="598" y="0"/>
                </a:cxn>
                <a:cxn ang="0">
                  <a:pos x="524" y="0"/>
                </a:cxn>
                <a:cxn ang="0">
                  <a:pos x="449" y="0"/>
                </a:cxn>
                <a:cxn ang="0">
                  <a:pos x="374" y="0"/>
                </a:cxn>
                <a:cxn ang="0">
                  <a:pos x="299" y="0"/>
                </a:cxn>
                <a:cxn ang="0">
                  <a:pos x="224" y="0"/>
                </a:cxn>
                <a:cxn ang="0">
                  <a:pos x="150" y="0"/>
                </a:cxn>
                <a:cxn ang="0">
                  <a:pos x="75" y="0"/>
                </a:cxn>
                <a:cxn ang="0">
                  <a:pos x="0" y="0"/>
                </a:cxn>
                <a:cxn ang="0">
                  <a:pos x="0" y="179"/>
                </a:cxn>
                <a:cxn ang="0">
                  <a:pos x="176" y="179"/>
                </a:cxn>
                <a:cxn ang="0">
                  <a:pos x="176" y="621"/>
                </a:cxn>
                <a:cxn ang="0">
                  <a:pos x="423" y="621"/>
                </a:cxn>
                <a:cxn ang="0">
                  <a:pos x="423" y="179"/>
                </a:cxn>
                <a:cxn ang="0">
                  <a:pos x="598" y="179"/>
                </a:cxn>
                <a:cxn ang="0">
                  <a:pos x="907" y="250"/>
                </a:cxn>
                <a:cxn ang="0">
                  <a:pos x="781" y="621"/>
                </a:cxn>
                <a:cxn ang="0">
                  <a:pos x="539" y="621"/>
                </a:cxn>
                <a:cxn ang="0">
                  <a:pos x="776" y="0"/>
                </a:cxn>
                <a:cxn ang="0">
                  <a:pos x="809" y="0"/>
                </a:cxn>
                <a:cxn ang="0">
                  <a:pos x="842" y="0"/>
                </a:cxn>
                <a:cxn ang="0">
                  <a:pos x="874" y="0"/>
                </a:cxn>
                <a:cxn ang="0">
                  <a:pos x="907" y="0"/>
                </a:cxn>
                <a:cxn ang="0">
                  <a:pos x="939" y="0"/>
                </a:cxn>
                <a:cxn ang="0">
                  <a:pos x="972" y="0"/>
                </a:cxn>
                <a:cxn ang="0">
                  <a:pos x="1005" y="0"/>
                </a:cxn>
                <a:cxn ang="0">
                  <a:pos x="1038" y="0"/>
                </a:cxn>
                <a:cxn ang="0">
                  <a:pos x="1275" y="621"/>
                </a:cxn>
                <a:cxn ang="0">
                  <a:pos x="1033" y="621"/>
                </a:cxn>
                <a:cxn ang="0">
                  <a:pos x="907" y="250"/>
                </a:cxn>
                <a:cxn ang="0">
                  <a:pos x="1814" y="179"/>
                </a:cxn>
                <a:cxn ang="0">
                  <a:pos x="1814" y="0"/>
                </a:cxn>
                <a:cxn ang="0">
                  <a:pos x="1740" y="0"/>
                </a:cxn>
                <a:cxn ang="0">
                  <a:pos x="1665" y="0"/>
                </a:cxn>
                <a:cxn ang="0">
                  <a:pos x="1590" y="0"/>
                </a:cxn>
                <a:cxn ang="0">
                  <a:pos x="1515" y="0"/>
                </a:cxn>
                <a:cxn ang="0">
                  <a:pos x="1440" y="0"/>
                </a:cxn>
                <a:cxn ang="0">
                  <a:pos x="1366" y="0"/>
                </a:cxn>
                <a:cxn ang="0">
                  <a:pos x="1291" y="0"/>
                </a:cxn>
                <a:cxn ang="0">
                  <a:pos x="1216" y="0"/>
                </a:cxn>
                <a:cxn ang="0">
                  <a:pos x="1216" y="179"/>
                </a:cxn>
                <a:cxn ang="0">
                  <a:pos x="1391" y="179"/>
                </a:cxn>
                <a:cxn ang="0">
                  <a:pos x="1391" y="621"/>
                </a:cxn>
                <a:cxn ang="0">
                  <a:pos x="1639" y="621"/>
                </a:cxn>
                <a:cxn ang="0">
                  <a:pos x="1639" y="179"/>
                </a:cxn>
                <a:cxn ang="0">
                  <a:pos x="1814" y="179"/>
                </a:cxn>
                <a:cxn ang="0">
                  <a:pos x="2123" y="250"/>
                </a:cxn>
                <a:cxn ang="0">
                  <a:pos x="1996" y="621"/>
                </a:cxn>
                <a:cxn ang="0">
                  <a:pos x="1754" y="621"/>
                </a:cxn>
                <a:cxn ang="0">
                  <a:pos x="1991" y="0"/>
                </a:cxn>
                <a:cxn ang="0">
                  <a:pos x="2024" y="0"/>
                </a:cxn>
                <a:cxn ang="0">
                  <a:pos x="2057" y="0"/>
                </a:cxn>
                <a:cxn ang="0">
                  <a:pos x="2090" y="0"/>
                </a:cxn>
                <a:cxn ang="0">
                  <a:pos x="2123" y="0"/>
                </a:cxn>
                <a:cxn ang="0">
                  <a:pos x="2155" y="0"/>
                </a:cxn>
                <a:cxn ang="0">
                  <a:pos x="2188" y="0"/>
                </a:cxn>
                <a:cxn ang="0">
                  <a:pos x="2220" y="0"/>
                </a:cxn>
                <a:cxn ang="0">
                  <a:pos x="2253" y="0"/>
                </a:cxn>
                <a:cxn ang="0">
                  <a:pos x="2491" y="621"/>
                </a:cxn>
                <a:cxn ang="0">
                  <a:pos x="2248" y="621"/>
                </a:cxn>
                <a:cxn ang="0">
                  <a:pos x="2123" y="250"/>
                </a:cxn>
              </a:cxnLst>
              <a:rect l="0" t="0" r="r" b="b"/>
              <a:pathLst>
                <a:path w="2491" h="621">
                  <a:moveTo>
                    <a:pt x="598" y="179"/>
                  </a:moveTo>
                  <a:lnTo>
                    <a:pt x="598" y="0"/>
                  </a:lnTo>
                  <a:lnTo>
                    <a:pt x="524" y="0"/>
                  </a:lnTo>
                  <a:lnTo>
                    <a:pt x="449" y="0"/>
                  </a:lnTo>
                  <a:lnTo>
                    <a:pt x="374" y="0"/>
                  </a:lnTo>
                  <a:lnTo>
                    <a:pt x="299" y="0"/>
                  </a:lnTo>
                  <a:lnTo>
                    <a:pt x="224" y="0"/>
                  </a:lnTo>
                  <a:lnTo>
                    <a:pt x="150" y="0"/>
                  </a:lnTo>
                  <a:lnTo>
                    <a:pt x="75" y="0"/>
                  </a:lnTo>
                  <a:lnTo>
                    <a:pt x="0" y="0"/>
                  </a:lnTo>
                  <a:lnTo>
                    <a:pt x="0" y="179"/>
                  </a:lnTo>
                  <a:lnTo>
                    <a:pt x="176" y="179"/>
                  </a:lnTo>
                  <a:lnTo>
                    <a:pt x="176" y="621"/>
                  </a:lnTo>
                  <a:lnTo>
                    <a:pt x="423" y="621"/>
                  </a:lnTo>
                  <a:lnTo>
                    <a:pt x="423" y="179"/>
                  </a:lnTo>
                  <a:lnTo>
                    <a:pt x="598" y="179"/>
                  </a:lnTo>
                  <a:close/>
                  <a:moveTo>
                    <a:pt x="907" y="250"/>
                  </a:moveTo>
                  <a:lnTo>
                    <a:pt x="781" y="621"/>
                  </a:lnTo>
                  <a:lnTo>
                    <a:pt x="539" y="621"/>
                  </a:lnTo>
                  <a:lnTo>
                    <a:pt x="776" y="0"/>
                  </a:lnTo>
                  <a:lnTo>
                    <a:pt x="809" y="0"/>
                  </a:lnTo>
                  <a:lnTo>
                    <a:pt x="842" y="0"/>
                  </a:lnTo>
                  <a:lnTo>
                    <a:pt x="874" y="0"/>
                  </a:lnTo>
                  <a:lnTo>
                    <a:pt x="907" y="0"/>
                  </a:lnTo>
                  <a:lnTo>
                    <a:pt x="939" y="0"/>
                  </a:lnTo>
                  <a:lnTo>
                    <a:pt x="972" y="0"/>
                  </a:lnTo>
                  <a:lnTo>
                    <a:pt x="1005" y="0"/>
                  </a:lnTo>
                  <a:lnTo>
                    <a:pt x="1038" y="0"/>
                  </a:lnTo>
                  <a:lnTo>
                    <a:pt x="1275" y="621"/>
                  </a:lnTo>
                  <a:lnTo>
                    <a:pt x="1033" y="621"/>
                  </a:lnTo>
                  <a:lnTo>
                    <a:pt x="907" y="250"/>
                  </a:lnTo>
                  <a:close/>
                  <a:moveTo>
                    <a:pt x="1814" y="179"/>
                  </a:moveTo>
                  <a:lnTo>
                    <a:pt x="1814" y="0"/>
                  </a:lnTo>
                  <a:lnTo>
                    <a:pt x="1740" y="0"/>
                  </a:lnTo>
                  <a:lnTo>
                    <a:pt x="1665" y="0"/>
                  </a:lnTo>
                  <a:lnTo>
                    <a:pt x="1590" y="0"/>
                  </a:lnTo>
                  <a:lnTo>
                    <a:pt x="1515" y="0"/>
                  </a:lnTo>
                  <a:lnTo>
                    <a:pt x="1440" y="0"/>
                  </a:lnTo>
                  <a:lnTo>
                    <a:pt x="1366" y="0"/>
                  </a:lnTo>
                  <a:lnTo>
                    <a:pt x="1291" y="0"/>
                  </a:lnTo>
                  <a:lnTo>
                    <a:pt x="1216" y="0"/>
                  </a:lnTo>
                  <a:lnTo>
                    <a:pt x="1216" y="179"/>
                  </a:lnTo>
                  <a:lnTo>
                    <a:pt x="1391" y="179"/>
                  </a:lnTo>
                  <a:lnTo>
                    <a:pt x="1391" y="621"/>
                  </a:lnTo>
                  <a:lnTo>
                    <a:pt x="1639" y="621"/>
                  </a:lnTo>
                  <a:lnTo>
                    <a:pt x="1639" y="179"/>
                  </a:lnTo>
                  <a:lnTo>
                    <a:pt x="1814" y="179"/>
                  </a:lnTo>
                  <a:close/>
                  <a:moveTo>
                    <a:pt x="2123" y="250"/>
                  </a:moveTo>
                  <a:lnTo>
                    <a:pt x="1996" y="621"/>
                  </a:lnTo>
                  <a:lnTo>
                    <a:pt x="1754" y="621"/>
                  </a:lnTo>
                  <a:lnTo>
                    <a:pt x="1991" y="0"/>
                  </a:lnTo>
                  <a:lnTo>
                    <a:pt x="2024" y="0"/>
                  </a:lnTo>
                  <a:lnTo>
                    <a:pt x="2057" y="0"/>
                  </a:lnTo>
                  <a:lnTo>
                    <a:pt x="2090" y="0"/>
                  </a:lnTo>
                  <a:lnTo>
                    <a:pt x="2123" y="0"/>
                  </a:lnTo>
                  <a:lnTo>
                    <a:pt x="2155" y="0"/>
                  </a:lnTo>
                  <a:lnTo>
                    <a:pt x="2188" y="0"/>
                  </a:lnTo>
                  <a:lnTo>
                    <a:pt x="2220" y="0"/>
                  </a:lnTo>
                  <a:lnTo>
                    <a:pt x="2253" y="0"/>
                  </a:lnTo>
                  <a:lnTo>
                    <a:pt x="2491" y="621"/>
                  </a:lnTo>
                  <a:lnTo>
                    <a:pt x="2248" y="621"/>
                  </a:lnTo>
                  <a:lnTo>
                    <a:pt x="2123" y="250"/>
                  </a:lnTo>
                  <a:close/>
                </a:path>
              </a:pathLst>
            </a:custGeom>
            <a:solidFill>
              <a:srgbClr val="FEFEF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3" name="Freeform 9"/>
            <p:cNvSpPr>
              <a:spLocks noEditPoints="1"/>
            </p:cNvSpPr>
            <p:nvPr userDrawn="1"/>
          </p:nvSpPr>
          <p:spPr bwMode="auto">
            <a:xfrm>
              <a:off x="1328" y="402"/>
              <a:ext cx="994" cy="105"/>
            </a:xfrm>
            <a:custGeom>
              <a:avLst/>
              <a:gdLst/>
              <a:ahLst/>
              <a:cxnLst>
                <a:cxn ang="0">
                  <a:pos x="805" y="637"/>
                </a:cxn>
                <a:cxn ang="0">
                  <a:pos x="996" y="219"/>
                </a:cxn>
                <a:cxn ang="0">
                  <a:pos x="1304" y="357"/>
                </a:cxn>
                <a:cxn ang="0">
                  <a:pos x="1069" y="644"/>
                </a:cxn>
                <a:cxn ang="0">
                  <a:pos x="1040" y="573"/>
                </a:cxn>
                <a:cxn ang="0">
                  <a:pos x="1182" y="280"/>
                </a:cxn>
                <a:cxn ang="0">
                  <a:pos x="1457" y="426"/>
                </a:cxn>
                <a:cxn ang="0">
                  <a:pos x="1680" y="639"/>
                </a:cxn>
                <a:cxn ang="0">
                  <a:pos x="1384" y="480"/>
                </a:cxn>
                <a:cxn ang="0">
                  <a:pos x="1565" y="178"/>
                </a:cxn>
                <a:cxn ang="0">
                  <a:pos x="1772" y="419"/>
                </a:cxn>
                <a:cxn ang="0">
                  <a:pos x="1479" y="300"/>
                </a:cxn>
                <a:cxn ang="0">
                  <a:pos x="2054" y="179"/>
                </a:cxn>
                <a:cxn ang="0">
                  <a:pos x="2260" y="188"/>
                </a:cxn>
                <a:cxn ang="0">
                  <a:pos x="2257" y="15"/>
                </a:cxn>
                <a:cxn ang="0">
                  <a:pos x="2523" y="568"/>
                </a:cxn>
                <a:cxn ang="0">
                  <a:pos x="2483" y="627"/>
                </a:cxn>
                <a:cxn ang="0">
                  <a:pos x="2395" y="282"/>
                </a:cxn>
                <a:cxn ang="0">
                  <a:pos x="2669" y="201"/>
                </a:cxn>
                <a:cxn ang="0">
                  <a:pos x="2657" y="282"/>
                </a:cxn>
                <a:cxn ang="0">
                  <a:pos x="2858" y="220"/>
                </a:cxn>
                <a:cxn ang="0">
                  <a:pos x="3192" y="222"/>
                </a:cxn>
                <a:cxn ang="0">
                  <a:pos x="3092" y="249"/>
                </a:cxn>
                <a:cxn ang="0">
                  <a:pos x="3666" y="632"/>
                </a:cxn>
                <a:cxn ang="0">
                  <a:pos x="3354" y="500"/>
                </a:cxn>
                <a:cxn ang="0">
                  <a:pos x="3484" y="195"/>
                </a:cxn>
                <a:cxn ang="0">
                  <a:pos x="3516" y="256"/>
                </a:cxn>
                <a:cxn ang="0">
                  <a:pos x="3592" y="581"/>
                </a:cxn>
                <a:cxn ang="0">
                  <a:pos x="4055" y="577"/>
                </a:cxn>
                <a:cxn ang="0">
                  <a:pos x="3803" y="567"/>
                </a:cxn>
                <a:cxn ang="0">
                  <a:pos x="3854" y="210"/>
                </a:cxn>
                <a:cxn ang="0">
                  <a:pos x="4132" y="281"/>
                </a:cxn>
                <a:cxn ang="0">
                  <a:pos x="3947" y="237"/>
                </a:cxn>
                <a:cxn ang="0">
                  <a:pos x="4571" y="638"/>
                </a:cxn>
                <a:cxn ang="0">
                  <a:pos x="4425" y="355"/>
                </a:cxn>
                <a:cxn ang="0">
                  <a:pos x="4692" y="179"/>
                </a:cxn>
                <a:cxn ang="0">
                  <a:pos x="4503" y="378"/>
                </a:cxn>
                <a:cxn ang="0">
                  <a:pos x="4914" y="445"/>
                </a:cxn>
                <a:cxn ang="0">
                  <a:pos x="5116" y="642"/>
                </a:cxn>
                <a:cxn ang="0">
                  <a:pos x="4837" y="469"/>
                </a:cxn>
                <a:cxn ang="0">
                  <a:pos x="5032" y="177"/>
                </a:cxn>
                <a:cxn ang="0">
                  <a:pos x="5225" y="427"/>
                </a:cxn>
                <a:cxn ang="0">
                  <a:pos x="4929" y="310"/>
                </a:cxn>
                <a:cxn ang="0">
                  <a:pos x="5520" y="177"/>
                </a:cxn>
                <a:cxn ang="0">
                  <a:pos x="5849" y="249"/>
                </a:cxn>
                <a:cxn ang="0">
                  <a:pos x="5745" y="644"/>
                </a:cxn>
                <a:cxn ang="0">
                  <a:pos x="6173" y="588"/>
                </a:cxn>
                <a:cxn ang="0">
                  <a:pos x="5907" y="543"/>
                </a:cxn>
                <a:cxn ang="0">
                  <a:pos x="6173" y="317"/>
                </a:cxn>
                <a:cxn ang="0">
                  <a:pos x="6044" y="179"/>
                </a:cxn>
                <a:cxn ang="0">
                  <a:pos x="6022" y="438"/>
                </a:cxn>
                <a:cxn ang="0">
                  <a:pos x="6118" y="573"/>
                </a:cxn>
                <a:cxn ang="0">
                  <a:pos x="6379" y="72"/>
                </a:cxn>
                <a:cxn ang="0">
                  <a:pos x="6454" y="99"/>
                </a:cxn>
                <a:cxn ang="0">
                  <a:pos x="6815" y="177"/>
                </a:cxn>
                <a:cxn ang="0">
                  <a:pos x="6901" y="333"/>
                </a:cxn>
                <a:cxn ang="0">
                  <a:pos x="6691" y="329"/>
                </a:cxn>
                <a:cxn ang="0">
                  <a:pos x="7278" y="580"/>
                </a:cxn>
                <a:cxn ang="0">
                  <a:pos x="7137" y="188"/>
                </a:cxn>
                <a:cxn ang="0">
                  <a:pos x="7541" y="759"/>
                </a:cxn>
                <a:cxn ang="0">
                  <a:pos x="7366" y="188"/>
                </a:cxn>
                <a:cxn ang="0">
                  <a:pos x="7881" y="532"/>
                </a:cxn>
                <a:cxn ang="0">
                  <a:pos x="7920" y="642"/>
                </a:cxn>
              </a:cxnLst>
              <a:rect l="0" t="0" r="r" b="b"/>
              <a:pathLst>
                <a:path w="7953" h="842">
                  <a:moveTo>
                    <a:pt x="324" y="277"/>
                  </a:moveTo>
                  <a:lnTo>
                    <a:pt x="324" y="344"/>
                  </a:lnTo>
                  <a:lnTo>
                    <a:pt x="81" y="344"/>
                  </a:lnTo>
                  <a:lnTo>
                    <a:pt x="81" y="569"/>
                  </a:lnTo>
                  <a:lnTo>
                    <a:pt x="352" y="569"/>
                  </a:lnTo>
                  <a:lnTo>
                    <a:pt x="352" y="637"/>
                  </a:lnTo>
                  <a:lnTo>
                    <a:pt x="0" y="637"/>
                  </a:lnTo>
                  <a:lnTo>
                    <a:pt x="0" y="11"/>
                  </a:lnTo>
                  <a:lnTo>
                    <a:pt x="338" y="11"/>
                  </a:lnTo>
                  <a:lnTo>
                    <a:pt x="338" y="79"/>
                  </a:lnTo>
                  <a:lnTo>
                    <a:pt x="81" y="79"/>
                  </a:lnTo>
                  <a:lnTo>
                    <a:pt x="81" y="277"/>
                  </a:lnTo>
                  <a:lnTo>
                    <a:pt x="324" y="277"/>
                  </a:lnTo>
                  <a:close/>
                  <a:moveTo>
                    <a:pt x="401" y="188"/>
                  </a:moveTo>
                  <a:lnTo>
                    <a:pt x="492" y="188"/>
                  </a:lnTo>
                  <a:lnTo>
                    <a:pt x="556" y="284"/>
                  </a:lnTo>
                  <a:lnTo>
                    <a:pt x="566" y="300"/>
                  </a:lnTo>
                  <a:lnTo>
                    <a:pt x="578" y="317"/>
                  </a:lnTo>
                  <a:lnTo>
                    <a:pt x="589" y="337"/>
                  </a:lnTo>
                  <a:lnTo>
                    <a:pt x="601" y="357"/>
                  </a:lnTo>
                  <a:lnTo>
                    <a:pt x="604" y="357"/>
                  </a:lnTo>
                  <a:lnTo>
                    <a:pt x="614" y="340"/>
                  </a:lnTo>
                  <a:lnTo>
                    <a:pt x="625" y="321"/>
                  </a:lnTo>
                  <a:lnTo>
                    <a:pt x="636" y="303"/>
                  </a:lnTo>
                  <a:lnTo>
                    <a:pt x="649" y="283"/>
                  </a:lnTo>
                  <a:lnTo>
                    <a:pt x="712" y="188"/>
                  </a:lnTo>
                  <a:lnTo>
                    <a:pt x="800" y="188"/>
                  </a:lnTo>
                  <a:lnTo>
                    <a:pt x="646" y="405"/>
                  </a:lnTo>
                  <a:lnTo>
                    <a:pt x="805" y="637"/>
                  </a:lnTo>
                  <a:lnTo>
                    <a:pt x="712" y="637"/>
                  </a:lnTo>
                  <a:lnTo>
                    <a:pt x="646" y="535"/>
                  </a:lnTo>
                  <a:lnTo>
                    <a:pt x="635" y="520"/>
                  </a:lnTo>
                  <a:lnTo>
                    <a:pt x="624" y="501"/>
                  </a:lnTo>
                  <a:lnTo>
                    <a:pt x="612" y="481"/>
                  </a:lnTo>
                  <a:lnTo>
                    <a:pt x="598" y="457"/>
                  </a:lnTo>
                  <a:lnTo>
                    <a:pt x="596" y="457"/>
                  </a:lnTo>
                  <a:lnTo>
                    <a:pt x="588" y="472"/>
                  </a:lnTo>
                  <a:lnTo>
                    <a:pt x="578" y="490"/>
                  </a:lnTo>
                  <a:lnTo>
                    <a:pt x="564" y="511"/>
                  </a:lnTo>
                  <a:lnTo>
                    <a:pt x="549" y="535"/>
                  </a:lnTo>
                  <a:lnTo>
                    <a:pt x="484" y="637"/>
                  </a:lnTo>
                  <a:lnTo>
                    <a:pt x="394" y="637"/>
                  </a:lnTo>
                  <a:lnTo>
                    <a:pt x="553" y="408"/>
                  </a:lnTo>
                  <a:lnTo>
                    <a:pt x="401" y="188"/>
                  </a:lnTo>
                  <a:close/>
                  <a:moveTo>
                    <a:pt x="883" y="820"/>
                  </a:moveTo>
                  <a:lnTo>
                    <a:pt x="883" y="334"/>
                  </a:lnTo>
                  <a:lnTo>
                    <a:pt x="883" y="298"/>
                  </a:lnTo>
                  <a:lnTo>
                    <a:pt x="882" y="261"/>
                  </a:lnTo>
                  <a:lnTo>
                    <a:pt x="881" y="224"/>
                  </a:lnTo>
                  <a:lnTo>
                    <a:pt x="880" y="188"/>
                  </a:lnTo>
                  <a:lnTo>
                    <a:pt x="953" y="188"/>
                  </a:lnTo>
                  <a:lnTo>
                    <a:pt x="957" y="265"/>
                  </a:lnTo>
                  <a:lnTo>
                    <a:pt x="958" y="265"/>
                  </a:lnTo>
                  <a:lnTo>
                    <a:pt x="965" y="255"/>
                  </a:lnTo>
                  <a:lnTo>
                    <a:pt x="972" y="244"/>
                  </a:lnTo>
                  <a:lnTo>
                    <a:pt x="979" y="235"/>
                  </a:lnTo>
                  <a:lnTo>
                    <a:pt x="988" y="227"/>
                  </a:lnTo>
                  <a:lnTo>
                    <a:pt x="996" y="219"/>
                  </a:lnTo>
                  <a:lnTo>
                    <a:pt x="1005" y="211"/>
                  </a:lnTo>
                  <a:lnTo>
                    <a:pt x="1014" y="205"/>
                  </a:lnTo>
                  <a:lnTo>
                    <a:pt x="1024" y="199"/>
                  </a:lnTo>
                  <a:lnTo>
                    <a:pt x="1034" y="194"/>
                  </a:lnTo>
                  <a:lnTo>
                    <a:pt x="1045" y="190"/>
                  </a:lnTo>
                  <a:lnTo>
                    <a:pt x="1055" y="186"/>
                  </a:lnTo>
                  <a:lnTo>
                    <a:pt x="1068" y="183"/>
                  </a:lnTo>
                  <a:lnTo>
                    <a:pt x="1079" y="181"/>
                  </a:lnTo>
                  <a:lnTo>
                    <a:pt x="1091" y="178"/>
                  </a:lnTo>
                  <a:lnTo>
                    <a:pt x="1105" y="177"/>
                  </a:lnTo>
                  <a:lnTo>
                    <a:pt x="1118" y="177"/>
                  </a:lnTo>
                  <a:lnTo>
                    <a:pt x="1138" y="178"/>
                  </a:lnTo>
                  <a:lnTo>
                    <a:pt x="1157" y="182"/>
                  </a:lnTo>
                  <a:lnTo>
                    <a:pt x="1166" y="184"/>
                  </a:lnTo>
                  <a:lnTo>
                    <a:pt x="1176" y="187"/>
                  </a:lnTo>
                  <a:lnTo>
                    <a:pt x="1185" y="190"/>
                  </a:lnTo>
                  <a:lnTo>
                    <a:pt x="1193" y="193"/>
                  </a:lnTo>
                  <a:lnTo>
                    <a:pt x="1201" y="198"/>
                  </a:lnTo>
                  <a:lnTo>
                    <a:pt x="1210" y="202"/>
                  </a:lnTo>
                  <a:lnTo>
                    <a:pt x="1218" y="207"/>
                  </a:lnTo>
                  <a:lnTo>
                    <a:pt x="1225" y="213"/>
                  </a:lnTo>
                  <a:lnTo>
                    <a:pt x="1240" y="226"/>
                  </a:lnTo>
                  <a:lnTo>
                    <a:pt x="1254" y="241"/>
                  </a:lnTo>
                  <a:lnTo>
                    <a:pt x="1266" y="258"/>
                  </a:lnTo>
                  <a:lnTo>
                    <a:pt x="1277" y="275"/>
                  </a:lnTo>
                  <a:lnTo>
                    <a:pt x="1287" y="294"/>
                  </a:lnTo>
                  <a:lnTo>
                    <a:pt x="1294" y="314"/>
                  </a:lnTo>
                  <a:lnTo>
                    <a:pt x="1300" y="335"/>
                  </a:lnTo>
                  <a:lnTo>
                    <a:pt x="1304" y="357"/>
                  </a:lnTo>
                  <a:lnTo>
                    <a:pt x="1307" y="381"/>
                  </a:lnTo>
                  <a:lnTo>
                    <a:pt x="1308" y="406"/>
                  </a:lnTo>
                  <a:lnTo>
                    <a:pt x="1307" y="434"/>
                  </a:lnTo>
                  <a:lnTo>
                    <a:pt x="1304" y="460"/>
                  </a:lnTo>
                  <a:lnTo>
                    <a:pt x="1302" y="473"/>
                  </a:lnTo>
                  <a:lnTo>
                    <a:pt x="1299" y="485"/>
                  </a:lnTo>
                  <a:lnTo>
                    <a:pt x="1296" y="497"/>
                  </a:lnTo>
                  <a:lnTo>
                    <a:pt x="1292" y="509"/>
                  </a:lnTo>
                  <a:lnTo>
                    <a:pt x="1288" y="520"/>
                  </a:lnTo>
                  <a:lnTo>
                    <a:pt x="1283" y="530"/>
                  </a:lnTo>
                  <a:lnTo>
                    <a:pt x="1278" y="541"/>
                  </a:lnTo>
                  <a:lnTo>
                    <a:pt x="1272" y="551"/>
                  </a:lnTo>
                  <a:lnTo>
                    <a:pt x="1266" y="560"/>
                  </a:lnTo>
                  <a:lnTo>
                    <a:pt x="1260" y="569"/>
                  </a:lnTo>
                  <a:lnTo>
                    <a:pt x="1253" y="579"/>
                  </a:lnTo>
                  <a:lnTo>
                    <a:pt x="1245" y="587"/>
                  </a:lnTo>
                  <a:lnTo>
                    <a:pt x="1231" y="601"/>
                  </a:lnTo>
                  <a:lnTo>
                    <a:pt x="1215" y="614"/>
                  </a:lnTo>
                  <a:lnTo>
                    <a:pt x="1207" y="619"/>
                  </a:lnTo>
                  <a:lnTo>
                    <a:pt x="1198" y="624"/>
                  </a:lnTo>
                  <a:lnTo>
                    <a:pt x="1190" y="628"/>
                  </a:lnTo>
                  <a:lnTo>
                    <a:pt x="1181" y="632"/>
                  </a:lnTo>
                  <a:lnTo>
                    <a:pt x="1163" y="638"/>
                  </a:lnTo>
                  <a:lnTo>
                    <a:pt x="1144" y="643"/>
                  </a:lnTo>
                  <a:lnTo>
                    <a:pt x="1123" y="647"/>
                  </a:lnTo>
                  <a:lnTo>
                    <a:pt x="1103" y="648"/>
                  </a:lnTo>
                  <a:lnTo>
                    <a:pt x="1091" y="647"/>
                  </a:lnTo>
                  <a:lnTo>
                    <a:pt x="1079" y="646"/>
                  </a:lnTo>
                  <a:lnTo>
                    <a:pt x="1069" y="644"/>
                  </a:lnTo>
                  <a:lnTo>
                    <a:pt x="1058" y="642"/>
                  </a:lnTo>
                  <a:lnTo>
                    <a:pt x="1048" y="640"/>
                  </a:lnTo>
                  <a:lnTo>
                    <a:pt x="1038" y="637"/>
                  </a:lnTo>
                  <a:lnTo>
                    <a:pt x="1029" y="633"/>
                  </a:lnTo>
                  <a:lnTo>
                    <a:pt x="1019" y="629"/>
                  </a:lnTo>
                  <a:lnTo>
                    <a:pt x="1011" y="625"/>
                  </a:lnTo>
                  <a:lnTo>
                    <a:pt x="1003" y="620"/>
                  </a:lnTo>
                  <a:lnTo>
                    <a:pt x="996" y="614"/>
                  </a:lnTo>
                  <a:lnTo>
                    <a:pt x="989" y="607"/>
                  </a:lnTo>
                  <a:lnTo>
                    <a:pt x="981" y="600"/>
                  </a:lnTo>
                  <a:lnTo>
                    <a:pt x="975" y="593"/>
                  </a:lnTo>
                  <a:lnTo>
                    <a:pt x="969" y="585"/>
                  </a:lnTo>
                  <a:lnTo>
                    <a:pt x="964" y="577"/>
                  </a:lnTo>
                  <a:lnTo>
                    <a:pt x="964" y="820"/>
                  </a:lnTo>
                  <a:lnTo>
                    <a:pt x="883" y="820"/>
                  </a:lnTo>
                  <a:close/>
                  <a:moveTo>
                    <a:pt x="964" y="377"/>
                  </a:moveTo>
                  <a:lnTo>
                    <a:pt x="964" y="454"/>
                  </a:lnTo>
                  <a:lnTo>
                    <a:pt x="964" y="468"/>
                  </a:lnTo>
                  <a:lnTo>
                    <a:pt x="966" y="480"/>
                  </a:lnTo>
                  <a:lnTo>
                    <a:pt x="969" y="492"/>
                  </a:lnTo>
                  <a:lnTo>
                    <a:pt x="972" y="504"/>
                  </a:lnTo>
                  <a:lnTo>
                    <a:pt x="977" y="515"/>
                  </a:lnTo>
                  <a:lnTo>
                    <a:pt x="983" y="525"/>
                  </a:lnTo>
                  <a:lnTo>
                    <a:pt x="991" y="535"/>
                  </a:lnTo>
                  <a:lnTo>
                    <a:pt x="1000" y="546"/>
                  </a:lnTo>
                  <a:lnTo>
                    <a:pt x="1009" y="554"/>
                  </a:lnTo>
                  <a:lnTo>
                    <a:pt x="1018" y="562"/>
                  </a:lnTo>
                  <a:lnTo>
                    <a:pt x="1029" y="568"/>
                  </a:lnTo>
                  <a:lnTo>
                    <a:pt x="1040" y="573"/>
                  </a:lnTo>
                  <a:lnTo>
                    <a:pt x="1051" y="578"/>
                  </a:lnTo>
                  <a:lnTo>
                    <a:pt x="1064" y="581"/>
                  </a:lnTo>
                  <a:lnTo>
                    <a:pt x="1077" y="583"/>
                  </a:lnTo>
                  <a:lnTo>
                    <a:pt x="1090" y="583"/>
                  </a:lnTo>
                  <a:lnTo>
                    <a:pt x="1106" y="583"/>
                  </a:lnTo>
                  <a:lnTo>
                    <a:pt x="1120" y="580"/>
                  </a:lnTo>
                  <a:lnTo>
                    <a:pt x="1133" y="577"/>
                  </a:lnTo>
                  <a:lnTo>
                    <a:pt x="1147" y="571"/>
                  </a:lnTo>
                  <a:lnTo>
                    <a:pt x="1159" y="564"/>
                  </a:lnTo>
                  <a:lnTo>
                    <a:pt x="1170" y="556"/>
                  </a:lnTo>
                  <a:lnTo>
                    <a:pt x="1181" y="547"/>
                  </a:lnTo>
                  <a:lnTo>
                    <a:pt x="1190" y="535"/>
                  </a:lnTo>
                  <a:lnTo>
                    <a:pt x="1198" y="523"/>
                  </a:lnTo>
                  <a:lnTo>
                    <a:pt x="1205" y="510"/>
                  </a:lnTo>
                  <a:lnTo>
                    <a:pt x="1212" y="495"/>
                  </a:lnTo>
                  <a:lnTo>
                    <a:pt x="1217" y="480"/>
                  </a:lnTo>
                  <a:lnTo>
                    <a:pt x="1221" y="463"/>
                  </a:lnTo>
                  <a:lnTo>
                    <a:pt x="1224" y="447"/>
                  </a:lnTo>
                  <a:lnTo>
                    <a:pt x="1226" y="428"/>
                  </a:lnTo>
                  <a:lnTo>
                    <a:pt x="1226" y="410"/>
                  </a:lnTo>
                  <a:lnTo>
                    <a:pt x="1226" y="392"/>
                  </a:lnTo>
                  <a:lnTo>
                    <a:pt x="1224" y="376"/>
                  </a:lnTo>
                  <a:lnTo>
                    <a:pt x="1221" y="360"/>
                  </a:lnTo>
                  <a:lnTo>
                    <a:pt x="1218" y="345"/>
                  </a:lnTo>
                  <a:lnTo>
                    <a:pt x="1213" y="331"/>
                  </a:lnTo>
                  <a:lnTo>
                    <a:pt x="1206" y="317"/>
                  </a:lnTo>
                  <a:lnTo>
                    <a:pt x="1200" y="305"/>
                  </a:lnTo>
                  <a:lnTo>
                    <a:pt x="1192" y="293"/>
                  </a:lnTo>
                  <a:lnTo>
                    <a:pt x="1182" y="280"/>
                  </a:lnTo>
                  <a:lnTo>
                    <a:pt x="1172" y="271"/>
                  </a:lnTo>
                  <a:lnTo>
                    <a:pt x="1160" y="262"/>
                  </a:lnTo>
                  <a:lnTo>
                    <a:pt x="1149" y="255"/>
                  </a:lnTo>
                  <a:lnTo>
                    <a:pt x="1136" y="249"/>
                  </a:lnTo>
                  <a:lnTo>
                    <a:pt x="1122" y="245"/>
                  </a:lnTo>
                  <a:lnTo>
                    <a:pt x="1108" y="243"/>
                  </a:lnTo>
                  <a:lnTo>
                    <a:pt x="1092" y="242"/>
                  </a:lnTo>
                  <a:lnTo>
                    <a:pt x="1082" y="243"/>
                  </a:lnTo>
                  <a:lnTo>
                    <a:pt x="1072" y="244"/>
                  </a:lnTo>
                  <a:lnTo>
                    <a:pt x="1062" y="246"/>
                  </a:lnTo>
                  <a:lnTo>
                    <a:pt x="1052" y="249"/>
                  </a:lnTo>
                  <a:lnTo>
                    <a:pt x="1042" y="254"/>
                  </a:lnTo>
                  <a:lnTo>
                    <a:pt x="1033" y="258"/>
                  </a:lnTo>
                  <a:lnTo>
                    <a:pt x="1024" y="264"/>
                  </a:lnTo>
                  <a:lnTo>
                    <a:pt x="1015" y="270"/>
                  </a:lnTo>
                  <a:lnTo>
                    <a:pt x="1007" y="277"/>
                  </a:lnTo>
                  <a:lnTo>
                    <a:pt x="999" y="285"/>
                  </a:lnTo>
                  <a:lnTo>
                    <a:pt x="993" y="294"/>
                  </a:lnTo>
                  <a:lnTo>
                    <a:pt x="987" y="303"/>
                  </a:lnTo>
                  <a:lnTo>
                    <a:pt x="981" y="312"/>
                  </a:lnTo>
                  <a:lnTo>
                    <a:pt x="976" y="321"/>
                  </a:lnTo>
                  <a:lnTo>
                    <a:pt x="972" y="333"/>
                  </a:lnTo>
                  <a:lnTo>
                    <a:pt x="969" y="344"/>
                  </a:lnTo>
                  <a:lnTo>
                    <a:pt x="967" y="353"/>
                  </a:lnTo>
                  <a:lnTo>
                    <a:pt x="965" y="363"/>
                  </a:lnTo>
                  <a:lnTo>
                    <a:pt x="964" y="370"/>
                  </a:lnTo>
                  <a:lnTo>
                    <a:pt x="964" y="377"/>
                  </a:lnTo>
                  <a:close/>
                  <a:moveTo>
                    <a:pt x="1771" y="427"/>
                  </a:moveTo>
                  <a:lnTo>
                    <a:pt x="1457" y="426"/>
                  </a:lnTo>
                  <a:lnTo>
                    <a:pt x="1458" y="445"/>
                  </a:lnTo>
                  <a:lnTo>
                    <a:pt x="1460" y="463"/>
                  </a:lnTo>
                  <a:lnTo>
                    <a:pt x="1464" y="480"/>
                  </a:lnTo>
                  <a:lnTo>
                    <a:pt x="1469" y="495"/>
                  </a:lnTo>
                  <a:lnTo>
                    <a:pt x="1477" y="510"/>
                  </a:lnTo>
                  <a:lnTo>
                    <a:pt x="1484" y="523"/>
                  </a:lnTo>
                  <a:lnTo>
                    <a:pt x="1493" y="535"/>
                  </a:lnTo>
                  <a:lnTo>
                    <a:pt x="1504" y="546"/>
                  </a:lnTo>
                  <a:lnTo>
                    <a:pt x="1515" y="554"/>
                  </a:lnTo>
                  <a:lnTo>
                    <a:pt x="1526" y="562"/>
                  </a:lnTo>
                  <a:lnTo>
                    <a:pt x="1537" y="568"/>
                  </a:lnTo>
                  <a:lnTo>
                    <a:pt x="1551" y="573"/>
                  </a:lnTo>
                  <a:lnTo>
                    <a:pt x="1564" y="577"/>
                  </a:lnTo>
                  <a:lnTo>
                    <a:pt x="1578" y="580"/>
                  </a:lnTo>
                  <a:lnTo>
                    <a:pt x="1594" y="582"/>
                  </a:lnTo>
                  <a:lnTo>
                    <a:pt x="1610" y="582"/>
                  </a:lnTo>
                  <a:lnTo>
                    <a:pt x="1628" y="582"/>
                  </a:lnTo>
                  <a:lnTo>
                    <a:pt x="1644" y="581"/>
                  </a:lnTo>
                  <a:lnTo>
                    <a:pt x="1660" y="579"/>
                  </a:lnTo>
                  <a:lnTo>
                    <a:pt x="1676" y="577"/>
                  </a:lnTo>
                  <a:lnTo>
                    <a:pt x="1690" y="573"/>
                  </a:lnTo>
                  <a:lnTo>
                    <a:pt x="1706" y="569"/>
                  </a:lnTo>
                  <a:lnTo>
                    <a:pt x="1720" y="564"/>
                  </a:lnTo>
                  <a:lnTo>
                    <a:pt x="1735" y="559"/>
                  </a:lnTo>
                  <a:lnTo>
                    <a:pt x="1748" y="618"/>
                  </a:lnTo>
                  <a:lnTo>
                    <a:pt x="1733" y="624"/>
                  </a:lnTo>
                  <a:lnTo>
                    <a:pt x="1715" y="630"/>
                  </a:lnTo>
                  <a:lnTo>
                    <a:pt x="1698" y="635"/>
                  </a:lnTo>
                  <a:lnTo>
                    <a:pt x="1680" y="639"/>
                  </a:lnTo>
                  <a:lnTo>
                    <a:pt x="1661" y="642"/>
                  </a:lnTo>
                  <a:lnTo>
                    <a:pt x="1641" y="644"/>
                  </a:lnTo>
                  <a:lnTo>
                    <a:pt x="1621" y="646"/>
                  </a:lnTo>
                  <a:lnTo>
                    <a:pt x="1599" y="647"/>
                  </a:lnTo>
                  <a:lnTo>
                    <a:pt x="1574" y="646"/>
                  </a:lnTo>
                  <a:lnTo>
                    <a:pt x="1551" y="642"/>
                  </a:lnTo>
                  <a:lnTo>
                    <a:pt x="1539" y="640"/>
                  </a:lnTo>
                  <a:lnTo>
                    <a:pt x="1528" y="637"/>
                  </a:lnTo>
                  <a:lnTo>
                    <a:pt x="1518" y="634"/>
                  </a:lnTo>
                  <a:lnTo>
                    <a:pt x="1507" y="631"/>
                  </a:lnTo>
                  <a:lnTo>
                    <a:pt x="1497" y="627"/>
                  </a:lnTo>
                  <a:lnTo>
                    <a:pt x="1488" y="622"/>
                  </a:lnTo>
                  <a:lnTo>
                    <a:pt x="1479" y="617"/>
                  </a:lnTo>
                  <a:lnTo>
                    <a:pt x="1469" y="612"/>
                  </a:lnTo>
                  <a:lnTo>
                    <a:pt x="1461" y="605"/>
                  </a:lnTo>
                  <a:lnTo>
                    <a:pt x="1453" y="598"/>
                  </a:lnTo>
                  <a:lnTo>
                    <a:pt x="1445" y="592"/>
                  </a:lnTo>
                  <a:lnTo>
                    <a:pt x="1438" y="584"/>
                  </a:lnTo>
                  <a:lnTo>
                    <a:pt x="1430" y="576"/>
                  </a:lnTo>
                  <a:lnTo>
                    <a:pt x="1423" y="567"/>
                  </a:lnTo>
                  <a:lnTo>
                    <a:pt x="1417" y="559"/>
                  </a:lnTo>
                  <a:lnTo>
                    <a:pt x="1412" y="551"/>
                  </a:lnTo>
                  <a:lnTo>
                    <a:pt x="1406" y="542"/>
                  </a:lnTo>
                  <a:lnTo>
                    <a:pt x="1402" y="531"/>
                  </a:lnTo>
                  <a:lnTo>
                    <a:pt x="1397" y="522"/>
                  </a:lnTo>
                  <a:lnTo>
                    <a:pt x="1393" y="512"/>
                  </a:lnTo>
                  <a:lnTo>
                    <a:pt x="1389" y="501"/>
                  </a:lnTo>
                  <a:lnTo>
                    <a:pt x="1386" y="490"/>
                  </a:lnTo>
                  <a:lnTo>
                    <a:pt x="1384" y="480"/>
                  </a:lnTo>
                  <a:lnTo>
                    <a:pt x="1382" y="469"/>
                  </a:lnTo>
                  <a:lnTo>
                    <a:pt x="1379" y="445"/>
                  </a:lnTo>
                  <a:lnTo>
                    <a:pt x="1378" y="419"/>
                  </a:lnTo>
                  <a:lnTo>
                    <a:pt x="1379" y="394"/>
                  </a:lnTo>
                  <a:lnTo>
                    <a:pt x="1382" y="370"/>
                  </a:lnTo>
                  <a:lnTo>
                    <a:pt x="1386" y="346"/>
                  </a:lnTo>
                  <a:lnTo>
                    <a:pt x="1392" y="324"/>
                  </a:lnTo>
                  <a:lnTo>
                    <a:pt x="1397" y="313"/>
                  </a:lnTo>
                  <a:lnTo>
                    <a:pt x="1401" y="303"/>
                  </a:lnTo>
                  <a:lnTo>
                    <a:pt x="1406" y="293"/>
                  </a:lnTo>
                  <a:lnTo>
                    <a:pt x="1411" y="282"/>
                  </a:lnTo>
                  <a:lnTo>
                    <a:pt x="1416" y="273"/>
                  </a:lnTo>
                  <a:lnTo>
                    <a:pt x="1422" y="264"/>
                  </a:lnTo>
                  <a:lnTo>
                    <a:pt x="1428" y="255"/>
                  </a:lnTo>
                  <a:lnTo>
                    <a:pt x="1436" y="246"/>
                  </a:lnTo>
                  <a:lnTo>
                    <a:pt x="1443" y="238"/>
                  </a:lnTo>
                  <a:lnTo>
                    <a:pt x="1451" y="230"/>
                  </a:lnTo>
                  <a:lnTo>
                    <a:pt x="1458" y="223"/>
                  </a:lnTo>
                  <a:lnTo>
                    <a:pt x="1466" y="217"/>
                  </a:lnTo>
                  <a:lnTo>
                    <a:pt x="1476" y="210"/>
                  </a:lnTo>
                  <a:lnTo>
                    <a:pt x="1484" y="204"/>
                  </a:lnTo>
                  <a:lnTo>
                    <a:pt x="1493" y="199"/>
                  </a:lnTo>
                  <a:lnTo>
                    <a:pt x="1502" y="195"/>
                  </a:lnTo>
                  <a:lnTo>
                    <a:pt x="1513" y="191"/>
                  </a:lnTo>
                  <a:lnTo>
                    <a:pt x="1522" y="187"/>
                  </a:lnTo>
                  <a:lnTo>
                    <a:pt x="1532" y="185"/>
                  </a:lnTo>
                  <a:lnTo>
                    <a:pt x="1543" y="182"/>
                  </a:lnTo>
                  <a:lnTo>
                    <a:pt x="1554" y="179"/>
                  </a:lnTo>
                  <a:lnTo>
                    <a:pt x="1565" y="178"/>
                  </a:lnTo>
                  <a:lnTo>
                    <a:pt x="1576" y="177"/>
                  </a:lnTo>
                  <a:lnTo>
                    <a:pt x="1589" y="177"/>
                  </a:lnTo>
                  <a:lnTo>
                    <a:pt x="1601" y="177"/>
                  </a:lnTo>
                  <a:lnTo>
                    <a:pt x="1612" y="178"/>
                  </a:lnTo>
                  <a:lnTo>
                    <a:pt x="1624" y="181"/>
                  </a:lnTo>
                  <a:lnTo>
                    <a:pt x="1635" y="183"/>
                  </a:lnTo>
                  <a:lnTo>
                    <a:pt x="1645" y="185"/>
                  </a:lnTo>
                  <a:lnTo>
                    <a:pt x="1655" y="188"/>
                  </a:lnTo>
                  <a:lnTo>
                    <a:pt x="1665" y="192"/>
                  </a:lnTo>
                  <a:lnTo>
                    <a:pt x="1675" y="196"/>
                  </a:lnTo>
                  <a:lnTo>
                    <a:pt x="1683" y="201"/>
                  </a:lnTo>
                  <a:lnTo>
                    <a:pt x="1692" y="206"/>
                  </a:lnTo>
                  <a:lnTo>
                    <a:pt x="1701" y="212"/>
                  </a:lnTo>
                  <a:lnTo>
                    <a:pt x="1708" y="220"/>
                  </a:lnTo>
                  <a:lnTo>
                    <a:pt x="1716" y="227"/>
                  </a:lnTo>
                  <a:lnTo>
                    <a:pt x="1723" y="234"/>
                  </a:lnTo>
                  <a:lnTo>
                    <a:pt x="1729" y="242"/>
                  </a:lnTo>
                  <a:lnTo>
                    <a:pt x="1736" y="251"/>
                  </a:lnTo>
                  <a:lnTo>
                    <a:pt x="1745" y="266"/>
                  </a:lnTo>
                  <a:lnTo>
                    <a:pt x="1753" y="281"/>
                  </a:lnTo>
                  <a:lnTo>
                    <a:pt x="1759" y="298"/>
                  </a:lnTo>
                  <a:lnTo>
                    <a:pt x="1764" y="314"/>
                  </a:lnTo>
                  <a:lnTo>
                    <a:pt x="1768" y="332"/>
                  </a:lnTo>
                  <a:lnTo>
                    <a:pt x="1772" y="349"/>
                  </a:lnTo>
                  <a:lnTo>
                    <a:pt x="1774" y="369"/>
                  </a:lnTo>
                  <a:lnTo>
                    <a:pt x="1774" y="388"/>
                  </a:lnTo>
                  <a:lnTo>
                    <a:pt x="1774" y="400"/>
                  </a:lnTo>
                  <a:lnTo>
                    <a:pt x="1773" y="410"/>
                  </a:lnTo>
                  <a:lnTo>
                    <a:pt x="1772" y="419"/>
                  </a:lnTo>
                  <a:lnTo>
                    <a:pt x="1771" y="427"/>
                  </a:lnTo>
                  <a:close/>
                  <a:moveTo>
                    <a:pt x="1457" y="368"/>
                  </a:moveTo>
                  <a:lnTo>
                    <a:pt x="1696" y="368"/>
                  </a:lnTo>
                  <a:lnTo>
                    <a:pt x="1696" y="355"/>
                  </a:lnTo>
                  <a:lnTo>
                    <a:pt x="1694" y="344"/>
                  </a:lnTo>
                  <a:lnTo>
                    <a:pt x="1692" y="332"/>
                  </a:lnTo>
                  <a:lnTo>
                    <a:pt x="1690" y="321"/>
                  </a:lnTo>
                  <a:lnTo>
                    <a:pt x="1687" y="311"/>
                  </a:lnTo>
                  <a:lnTo>
                    <a:pt x="1683" y="301"/>
                  </a:lnTo>
                  <a:lnTo>
                    <a:pt x="1678" y="292"/>
                  </a:lnTo>
                  <a:lnTo>
                    <a:pt x="1673" y="282"/>
                  </a:lnTo>
                  <a:lnTo>
                    <a:pt x="1666" y="271"/>
                  </a:lnTo>
                  <a:lnTo>
                    <a:pt x="1656" y="262"/>
                  </a:lnTo>
                  <a:lnTo>
                    <a:pt x="1646" y="254"/>
                  </a:lnTo>
                  <a:lnTo>
                    <a:pt x="1636" y="247"/>
                  </a:lnTo>
                  <a:lnTo>
                    <a:pt x="1624" y="242"/>
                  </a:lnTo>
                  <a:lnTo>
                    <a:pt x="1611" y="239"/>
                  </a:lnTo>
                  <a:lnTo>
                    <a:pt x="1597" y="237"/>
                  </a:lnTo>
                  <a:lnTo>
                    <a:pt x="1583" y="236"/>
                  </a:lnTo>
                  <a:lnTo>
                    <a:pt x="1568" y="237"/>
                  </a:lnTo>
                  <a:lnTo>
                    <a:pt x="1555" y="239"/>
                  </a:lnTo>
                  <a:lnTo>
                    <a:pt x="1542" y="242"/>
                  </a:lnTo>
                  <a:lnTo>
                    <a:pt x="1531" y="247"/>
                  </a:lnTo>
                  <a:lnTo>
                    <a:pt x="1520" y="254"/>
                  </a:lnTo>
                  <a:lnTo>
                    <a:pt x="1510" y="261"/>
                  </a:lnTo>
                  <a:lnTo>
                    <a:pt x="1500" y="270"/>
                  </a:lnTo>
                  <a:lnTo>
                    <a:pt x="1491" y="280"/>
                  </a:lnTo>
                  <a:lnTo>
                    <a:pt x="1485" y="290"/>
                  </a:lnTo>
                  <a:lnTo>
                    <a:pt x="1479" y="300"/>
                  </a:lnTo>
                  <a:lnTo>
                    <a:pt x="1474" y="310"/>
                  </a:lnTo>
                  <a:lnTo>
                    <a:pt x="1468" y="320"/>
                  </a:lnTo>
                  <a:lnTo>
                    <a:pt x="1464" y="332"/>
                  </a:lnTo>
                  <a:lnTo>
                    <a:pt x="1461" y="343"/>
                  </a:lnTo>
                  <a:lnTo>
                    <a:pt x="1459" y="355"/>
                  </a:lnTo>
                  <a:lnTo>
                    <a:pt x="1457" y="368"/>
                  </a:lnTo>
                  <a:close/>
                  <a:moveTo>
                    <a:pt x="1875" y="637"/>
                  </a:moveTo>
                  <a:lnTo>
                    <a:pt x="1875" y="328"/>
                  </a:lnTo>
                  <a:lnTo>
                    <a:pt x="1875" y="291"/>
                  </a:lnTo>
                  <a:lnTo>
                    <a:pt x="1874" y="256"/>
                  </a:lnTo>
                  <a:lnTo>
                    <a:pt x="1873" y="221"/>
                  </a:lnTo>
                  <a:lnTo>
                    <a:pt x="1872" y="188"/>
                  </a:lnTo>
                  <a:lnTo>
                    <a:pt x="1944" y="188"/>
                  </a:lnTo>
                  <a:lnTo>
                    <a:pt x="1946" y="276"/>
                  </a:lnTo>
                  <a:lnTo>
                    <a:pt x="1950" y="276"/>
                  </a:lnTo>
                  <a:lnTo>
                    <a:pt x="1954" y="265"/>
                  </a:lnTo>
                  <a:lnTo>
                    <a:pt x="1959" y="255"/>
                  </a:lnTo>
                  <a:lnTo>
                    <a:pt x="1964" y="245"/>
                  </a:lnTo>
                  <a:lnTo>
                    <a:pt x="1970" y="236"/>
                  </a:lnTo>
                  <a:lnTo>
                    <a:pt x="1976" y="227"/>
                  </a:lnTo>
                  <a:lnTo>
                    <a:pt x="1983" y="219"/>
                  </a:lnTo>
                  <a:lnTo>
                    <a:pt x="1991" y="211"/>
                  </a:lnTo>
                  <a:lnTo>
                    <a:pt x="2000" y="204"/>
                  </a:lnTo>
                  <a:lnTo>
                    <a:pt x="2008" y="198"/>
                  </a:lnTo>
                  <a:lnTo>
                    <a:pt x="2017" y="193"/>
                  </a:lnTo>
                  <a:lnTo>
                    <a:pt x="2026" y="188"/>
                  </a:lnTo>
                  <a:lnTo>
                    <a:pt x="2036" y="185"/>
                  </a:lnTo>
                  <a:lnTo>
                    <a:pt x="2045" y="182"/>
                  </a:lnTo>
                  <a:lnTo>
                    <a:pt x="2054" y="179"/>
                  </a:lnTo>
                  <a:lnTo>
                    <a:pt x="2064" y="177"/>
                  </a:lnTo>
                  <a:lnTo>
                    <a:pt x="2075" y="177"/>
                  </a:lnTo>
                  <a:lnTo>
                    <a:pt x="2087" y="178"/>
                  </a:lnTo>
                  <a:lnTo>
                    <a:pt x="2097" y="181"/>
                  </a:lnTo>
                  <a:lnTo>
                    <a:pt x="2097" y="258"/>
                  </a:lnTo>
                  <a:lnTo>
                    <a:pt x="2084" y="256"/>
                  </a:lnTo>
                  <a:lnTo>
                    <a:pt x="2069" y="255"/>
                  </a:lnTo>
                  <a:lnTo>
                    <a:pt x="2055" y="256"/>
                  </a:lnTo>
                  <a:lnTo>
                    <a:pt x="2043" y="258"/>
                  </a:lnTo>
                  <a:lnTo>
                    <a:pt x="2032" y="261"/>
                  </a:lnTo>
                  <a:lnTo>
                    <a:pt x="2020" y="266"/>
                  </a:lnTo>
                  <a:lnTo>
                    <a:pt x="2010" y="272"/>
                  </a:lnTo>
                  <a:lnTo>
                    <a:pt x="2000" y="280"/>
                  </a:lnTo>
                  <a:lnTo>
                    <a:pt x="1990" y="290"/>
                  </a:lnTo>
                  <a:lnTo>
                    <a:pt x="1982" y="300"/>
                  </a:lnTo>
                  <a:lnTo>
                    <a:pt x="1976" y="310"/>
                  </a:lnTo>
                  <a:lnTo>
                    <a:pt x="1971" y="321"/>
                  </a:lnTo>
                  <a:lnTo>
                    <a:pt x="1966" y="333"/>
                  </a:lnTo>
                  <a:lnTo>
                    <a:pt x="1963" y="344"/>
                  </a:lnTo>
                  <a:lnTo>
                    <a:pt x="1960" y="356"/>
                  </a:lnTo>
                  <a:lnTo>
                    <a:pt x="1958" y="370"/>
                  </a:lnTo>
                  <a:lnTo>
                    <a:pt x="1957" y="383"/>
                  </a:lnTo>
                  <a:lnTo>
                    <a:pt x="1955" y="398"/>
                  </a:lnTo>
                  <a:lnTo>
                    <a:pt x="1955" y="637"/>
                  </a:lnTo>
                  <a:lnTo>
                    <a:pt x="1875" y="637"/>
                  </a:lnTo>
                  <a:close/>
                  <a:moveTo>
                    <a:pt x="2260" y="637"/>
                  </a:moveTo>
                  <a:lnTo>
                    <a:pt x="2178" y="637"/>
                  </a:lnTo>
                  <a:lnTo>
                    <a:pt x="2178" y="188"/>
                  </a:lnTo>
                  <a:lnTo>
                    <a:pt x="2260" y="188"/>
                  </a:lnTo>
                  <a:lnTo>
                    <a:pt x="2260" y="637"/>
                  </a:lnTo>
                  <a:close/>
                  <a:moveTo>
                    <a:pt x="2219" y="105"/>
                  </a:moveTo>
                  <a:lnTo>
                    <a:pt x="2217" y="105"/>
                  </a:lnTo>
                  <a:lnTo>
                    <a:pt x="2206" y="104"/>
                  </a:lnTo>
                  <a:lnTo>
                    <a:pt x="2197" y="101"/>
                  </a:lnTo>
                  <a:lnTo>
                    <a:pt x="2193" y="99"/>
                  </a:lnTo>
                  <a:lnTo>
                    <a:pt x="2189" y="96"/>
                  </a:lnTo>
                  <a:lnTo>
                    <a:pt x="2185" y="93"/>
                  </a:lnTo>
                  <a:lnTo>
                    <a:pt x="2181" y="90"/>
                  </a:lnTo>
                  <a:lnTo>
                    <a:pt x="2174" y="82"/>
                  </a:lnTo>
                  <a:lnTo>
                    <a:pt x="2170" y="72"/>
                  </a:lnTo>
                  <a:lnTo>
                    <a:pt x="2167" y="63"/>
                  </a:lnTo>
                  <a:lnTo>
                    <a:pt x="2166" y="52"/>
                  </a:lnTo>
                  <a:lnTo>
                    <a:pt x="2167" y="42"/>
                  </a:lnTo>
                  <a:lnTo>
                    <a:pt x="2170" y="32"/>
                  </a:lnTo>
                  <a:lnTo>
                    <a:pt x="2174" y="23"/>
                  </a:lnTo>
                  <a:lnTo>
                    <a:pt x="2182" y="16"/>
                  </a:lnTo>
                  <a:lnTo>
                    <a:pt x="2185" y="12"/>
                  </a:lnTo>
                  <a:lnTo>
                    <a:pt x="2189" y="9"/>
                  </a:lnTo>
                  <a:lnTo>
                    <a:pt x="2194" y="6"/>
                  </a:lnTo>
                  <a:lnTo>
                    <a:pt x="2198" y="4"/>
                  </a:lnTo>
                  <a:lnTo>
                    <a:pt x="2208" y="2"/>
                  </a:lnTo>
                  <a:lnTo>
                    <a:pt x="2220" y="0"/>
                  </a:lnTo>
                  <a:lnTo>
                    <a:pt x="2230" y="2"/>
                  </a:lnTo>
                  <a:lnTo>
                    <a:pt x="2240" y="4"/>
                  </a:lnTo>
                  <a:lnTo>
                    <a:pt x="2244" y="6"/>
                  </a:lnTo>
                  <a:lnTo>
                    <a:pt x="2249" y="9"/>
                  </a:lnTo>
                  <a:lnTo>
                    <a:pt x="2253" y="12"/>
                  </a:lnTo>
                  <a:lnTo>
                    <a:pt x="2257" y="15"/>
                  </a:lnTo>
                  <a:lnTo>
                    <a:pt x="2263" y="23"/>
                  </a:lnTo>
                  <a:lnTo>
                    <a:pt x="2268" y="31"/>
                  </a:lnTo>
                  <a:lnTo>
                    <a:pt x="2270" y="42"/>
                  </a:lnTo>
                  <a:lnTo>
                    <a:pt x="2271" y="52"/>
                  </a:lnTo>
                  <a:lnTo>
                    <a:pt x="2270" y="63"/>
                  </a:lnTo>
                  <a:lnTo>
                    <a:pt x="2268" y="72"/>
                  </a:lnTo>
                  <a:lnTo>
                    <a:pt x="2263" y="82"/>
                  </a:lnTo>
                  <a:lnTo>
                    <a:pt x="2257" y="90"/>
                  </a:lnTo>
                  <a:lnTo>
                    <a:pt x="2253" y="93"/>
                  </a:lnTo>
                  <a:lnTo>
                    <a:pt x="2249" y="96"/>
                  </a:lnTo>
                  <a:lnTo>
                    <a:pt x="2244" y="99"/>
                  </a:lnTo>
                  <a:lnTo>
                    <a:pt x="2240" y="101"/>
                  </a:lnTo>
                  <a:lnTo>
                    <a:pt x="2235" y="103"/>
                  </a:lnTo>
                  <a:lnTo>
                    <a:pt x="2230" y="104"/>
                  </a:lnTo>
                  <a:lnTo>
                    <a:pt x="2224" y="104"/>
                  </a:lnTo>
                  <a:lnTo>
                    <a:pt x="2219" y="105"/>
                  </a:lnTo>
                  <a:close/>
                  <a:moveTo>
                    <a:pt x="2755" y="427"/>
                  </a:moveTo>
                  <a:lnTo>
                    <a:pt x="2441" y="426"/>
                  </a:lnTo>
                  <a:lnTo>
                    <a:pt x="2443" y="445"/>
                  </a:lnTo>
                  <a:lnTo>
                    <a:pt x="2446" y="463"/>
                  </a:lnTo>
                  <a:lnTo>
                    <a:pt x="2449" y="480"/>
                  </a:lnTo>
                  <a:lnTo>
                    <a:pt x="2454" y="495"/>
                  </a:lnTo>
                  <a:lnTo>
                    <a:pt x="2461" y="510"/>
                  </a:lnTo>
                  <a:lnTo>
                    <a:pt x="2469" y="523"/>
                  </a:lnTo>
                  <a:lnTo>
                    <a:pt x="2478" y="535"/>
                  </a:lnTo>
                  <a:lnTo>
                    <a:pt x="2489" y="546"/>
                  </a:lnTo>
                  <a:lnTo>
                    <a:pt x="2499" y="554"/>
                  </a:lnTo>
                  <a:lnTo>
                    <a:pt x="2510" y="562"/>
                  </a:lnTo>
                  <a:lnTo>
                    <a:pt x="2523" y="568"/>
                  </a:lnTo>
                  <a:lnTo>
                    <a:pt x="2535" y="573"/>
                  </a:lnTo>
                  <a:lnTo>
                    <a:pt x="2548" y="577"/>
                  </a:lnTo>
                  <a:lnTo>
                    <a:pt x="2564" y="580"/>
                  </a:lnTo>
                  <a:lnTo>
                    <a:pt x="2579" y="582"/>
                  </a:lnTo>
                  <a:lnTo>
                    <a:pt x="2595" y="582"/>
                  </a:lnTo>
                  <a:lnTo>
                    <a:pt x="2612" y="582"/>
                  </a:lnTo>
                  <a:lnTo>
                    <a:pt x="2628" y="581"/>
                  </a:lnTo>
                  <a:lnTo>
                    <a:pt x="2644" y="579"/>
                  </a:lnTo>
                  <a:lnTo>
                    <a:pt x="2660" y="577"/>
                  </a:lnTo>
                  <a:lnTo>
                    <a:pt x="2676" y="573"/>
                  </a:lnTo>
                  <a:lnTo>
                    <a:pt x="2690" y="569"/>
                  </a:lnTo>
                  <a:lnTo>
                    <a:pt x="2705" y="564"/>
                  </a:lnTo>
                  <a:lnTo>
                    <a:pt x="2719" y="559"/>
                  </a:lnTo>
                  <a:lnTo>
                    <a:pt x="2732" y="618"/>
                  </a:lnTo>
                  <a:lnTo>
                    <a:pt x="2717" y="624"/>
                  </a:lnTo>
                  <a:lnTo>
                    <a:pt x="2700" y="630"/>
                  </a:lnTo>
                  <a:lnTo>
                    <a:pt x="2683" y="635"/>
                  </a:lnTo>
                  <a:lnTo>
                    <a:pt x="2664" y="639"/>
                  </a:lnTo>
                  <a:lnTo>
                    <a:pt x="2645" y="642"/>
                  </a:lnTo>
                  <a:lnTo>
                    <a:pt x="2625" y="644"/>
                  </a:lnTo>
                  <a:lnTo>
                    <a:pt x="2605" y="646"/>
                  </a:lnTo>
                  <a:lnTo>
                    <a:pt x="2583" y="647"/>
                  </a:lnTo>
                  <a:lnTo>
                    <a:pt x="2559" y="646"/>
                  </a:lnTo>
                  <a:lnTo>
                    <a:pt x="2535" y="642"/>
                  </a:lnTo>
                  <a:lnTo>
                    <a:pt x="2524" y="640"/>
                  </a:lnTo>
                  <a:lnTo>
                    <a:pt x="2512" y="637"/>
                  </a:lnTo>
                  <a:lnTo>
                    <a:pt x="2502" y="634"/>
                  </a:lnTo>
                  <a:lnTo>
                    <a:pt x="2492" y="631"/>
                  </a:lnTo>
                  <a:lnTo>
                    <a:pt x="2483" y="627"/>
                  </a:lnTo>
                  <a:lnTo>
                    <a:pt x="2472" y="622"/>
                  </a:lnTo>
                  <a:lnTo>
                    <a:pt x="2463" y="617"/>
                  </a:lnTo>
                  <a:lnTo>
                    <a:pt x="2455" y="612"/>
                  </a:lnTo>
                  <a:lnTo>
                    <a:pt x="2446" y="605"/>
                  </a:lnTo>
                  <a:lnTo>
                    <a:pt x="2437" y="598"/>
                  </a:lnTo>
                  <a:lnTo>
                    <a:pt x="2429" y="592"/>
                  </a:lnTo>
                  <a:lnTo>
                    <a:pt x="2422" y="584"/>
                  </a:lnTo>
                  <a:lnTo>
                    <a:pt x="2415" y="576"/>
                  </a:lnTo>
                  <a:lnTo>
                    <a:pt x="2409" y="567"/>
                  </a:lnTo>
                  <a:lnTo>
                    <a:pt x="2401" y="559"/>
                  </a:lnTo>
                  <a:lnTo>
                    <a:pt x="2396" y="551"/>
                  </a:lnTo>
                  <a:lnTo>
                    <a:pt x="2391" y="542"/>
                  </a:lnTo>
                  <a:lnTo>
                    <a:pt x="2386" y="531"/>
                  </a:lnTo>
                  <a:lnTo>
                    <a:pt x="2382" y="522"/>
                  </a:lnTo>
                  <a:lnTo>
                    <a:pt x="2378" y="512"/>
                  </a:lnTo>
                  <a:lnTo>
                    <a:pt x="2374" y="501"/>
                  </a:lnTo>
                  <a:lnTo>
                    <a:pt x="2371" y="490"/>
                  </a:lnTo>
                  <a:lnTo>
                    <a:pt x="2369" y="480"/>
                  </a:lnTo>
                  <a:lnTo>
                    <a:pt x="2366" y="469"/>
                  </a:lnTo>
                  <a:lnTo>
                    <a:pt x="2363" y="445"/>
                  </a:lnTo>
                  <a:lnTo>
                    <a:pt x="2362" y="419"/>
                  </a:lnTo>
                  <a:lnTo>
                    <a:pt x="2363" y="394"/>
                  </a:lnTo>
                  <a:lnTo>
                    <a:pt x="2366" y="370"/>
                  </a:lnTo>
                  <a:lnTo>
                    <a:pt x="2371" y="346"/>
                  </a:lnTo>
                  <a:lnTo>
                    <a:pt x="2377" y="324"/>
                  </a:lnTo>
                  <a:lnTo>
                    <a:pt x="2381" y="313"/>
                  </a:lnTo>
                  <a:lnTo>
                    <a:pt x="2385" y="303"/>
                  </a:lnTo>
                  <a:lnTo>
                    <a:pt x="2390" y="293"/>
                  </a:lnTo>
                  <a:lnTo>
                    <a:pt x="2395" y="282"/>
                  </a:lnTo>
                  <a:lnTo>
                    <a:pt x="2400" y="273"/>
                  </a:lnTo>
                  <a:lnTo>
                    <a:pt x="2407" y="264"/>
                  </a:lnTo>
                  <a:lnTo>
                    <a:pt x="2414" y="255"/>
                  </a:lnTo>
                  <a:lnTo>
                    <a:pt x="2420" y="246"/>
                  </a:lnTo>
                  <a:lnTo>
                    <a:pt x="2427" y="238"/>
                  </a:lnTo>
                  <a:lnTo>
                    <a:pt x="2435" y="230"/>
                  </a:lnTo>
                  <a:lnTo>
                    <a:pt x="2444" y="223"/>
                  </a:lnTo>
                  <a:lnTo>
                    <a:pt x="2452" y="217"/>
                  </a:lnTo>
                  <a:lnTo>
                    <a:pt x="2460" y="210"/>
                  </a:lnTo>
                  <a:lnTo>
                    <a:pt x="2468" y="204"/>
                  </a:lnTo>
                  <a:lnTo>
                    <a:pt x="2477" y="199"/>
                  </a:lnTo>
                  <a:lnTo>
                    <a:pt x="2487" y="195"/>
                  </a:lnTo>
                  <a:lnTo>
                    <a:pt x="2497" y="191"/>
                  </a:lnTo>
                  <a:lnTo>
                    <a:pt x="2507" y="187"/>
                  </a:lnTo>
                  <a:lnTo>
                    <a:pt x="2518" y="185"/>
                  </a:lnTo>
                  <a:lnTo>
                    <a:pt x="2528" y="182"/>
                  </a:lnTo>
                  <a:lnTo>
                    <a:pt x="2539" y="179"/>
                  </a:lnTo>
                  <a:lnTo>
                    <a:pt x="2549" y="178"/>
                  </a:lnTo>
                  <a:lnTo>
                    <a:pt x="2562" y="177"/>
                  </a:lnTo>
                  <a:lnTo>
                    <a:pt x="2573" y="177"/>
                  </a:lnTo>
                  <a:lnTo>
                    <a:pt x="2585" y="177"/>
                  </a:lnTo>
                  <a:lnTo>
                    <a:pt x="2597" y="178"/>
                  </a:lnTo>
                  <a:lnTo>
                    <a:pt x="2608" y="181"/>
                  </a:lnTo>
                  <a:lnTo>
                    <a:pt x="2619" y="183"/>
                  </a:lnTo>
                  <a:lnTo>
                    <a:pt x="2630" y="185"/>
                  </a:lnTo>
                  <a:lnTo>
                    <a:pt x="2640" y="188"/>
                  </a:lnTo>
                  <a:lnTo>
                    <a:pt x="2650" y="192"/>
                  </a:lnTo>
                  <a:lnTo>
                    <a:pt x="2659" y="196"/>
                  </a:lnTo>
                  <a:lnTo>
                    <a:pt x="2669" y="201"/>
                  </a:lnTo>
                  <a:lnTo>
                    <a:pt x="2677" y="206"/>
                  </a:lnTo>
                  <a:lnTo>
                    <a:pt x="2685" y="212"/>
                  </a:lnTo>
                  <a:lnTo>
                    <a:pt x="2693" y="220"/>
                  </a:lnTo>
                  <a:lnTo>
                    <a:pt x="2700" y="227"/>
                  </a:lnTo>
                  <a:lnTo>
                    <a:pt x="2708" y="234"/>
                  </a:lnTo>
                  <a:lnTo>
                    <a:pt x="2714" y="242"/>
                  </a:lnTo>
                  <a:lnTo>
                    <a:pt x="2721" y="251"/>
                  </a:lnTo>
                  <a:lnTo>
                    <a:pt x="2729" y="266"/>
                  </a:lnTo>
                  <a:lnTo>
                    <a:pt x="2737" y="281"/>
                  </a:lnTo>
                  <a:lnTo>
                    <a:pt x="2744" y="298"/>
                  </a:lnTo>
                  <a:lnTo>
                    <a:pt x="2749" y="314"/>
                  </a:lnTo>
                  <a:lnTo>
                    <a:pt x="2753" y="332"/>
                  </a:lnTo>
                  <a:lnTo>
                    <a:pt x="2756" y="349"/>
                  </a:lnTo>
                  <a:lnTo>
                    <a:pt x="2758" y="369"/>
                  </a:lnTo>
                  <a:lnTo>
                    <a:pt x="2759" y="388"/>
                  </a:lnTo>
                  <a:lnTo>
                    <a:pt x="2758" y="400"/>
                  </a:lnTo>
                  <a:lnTo>
                    <a:pt x="2758" y="410"/>
                  </a:lnTo>
                  <a:lnTo>
                    <a:pt x="2757" y="419"/>
                  </a:lnTo>
                  <a:lnTo>
                    <a:pt x="2755" y="427"/>
                  </a:lnTo>
                  <a:close/>
                  <a:moveTo>
                    <a:pt x="2441" y="368"/>
                  </a:moveTo>
                  <a:lnTo>
                    <a:pt x="2680" y="368"/>
                  </a:lnTo>
                  <a:lnTo>
                    <a:pt x="2680" y="355"/>
                  </a:lnTo>
                  <a:lnTo>
                    <a:pt x="2679" y="344"/>
                  </a:lnTo>
                  <a:lnTo>
                    <a:pt x="2677" y="332"/>
                  </a:lnTo>
                  <a:lnTo>
                    <a:pt x="2675" y="321"/>
                  </a:lnTo>
                  <a:lnTo>
                    <a:pt x="2672" y="311"/>
                  </a:lnTo>
                  <a:lnTo>
                    <a:pt x="2668" y="301"/>
                  </a:lnTo>
                  <a:lnTo>
                    <a:pt x="2663" y="292"/>
                  </a:lnTo>
                  <a:lnTo>
                    <a:pt x="2657" y="282"/>
                  </a:lnTo>
                  <a:lnTo>
                    <a:pt x="2650" y="271"/>
                  </a:lnTo>
                  <a:lnTo>
                    <a:pt x="2641" y="262"/>
                  </a:lnTo>
                  <a:lnTo>
                    <a:pt x="2632" y="254"/>
                  </a:lnTo>
                  <a:lnTo>
                    <a:pt x="2620" y="247"/>
                  </a:lnTo>
                  <a:lnTo>
                    <a:pt x="2609" y="242"/>
                  </a:lnTo>
                  <a:lnTo>
                    <a:pt x="2596" y="239"/>
                  </a:lnTo>
                  <a:lnTo>
                    <a:pt x="2581" y="237"/>
                  </a:lnTo>
                  <a:lnTo>
                    <a:pt x="2567" y="236"/>
                  </a:lnTo>
                  <a:lnTo>
                    <a:pt x="2552" y="237"/>
                  </a:lnTo>
                  <a:lnTo>
                    <a:pt x="2540" y="239"/>
                  </a:lnTo>
                  <a:lnTo>
                    <a:pt x="2528" y="242"/>
                  </a:lnTo>
                  <a:lnTo>
                    <a:pt x="2515" y="247"/>
                  </a:lnTo>
                  <a:lnTo>
                    <a:pt x="2504" y="254"/>
                  </a:lnTo>
                  <a:lnTo>
                    <a:pt x="2494" y="261"/>
                  </a:lnTo>
                  <a:lnTo>
                    <a:pt x="2485" y="270"/>
                  </a:lnTo>
                  <a:lnTo>
                    <a:pt x="2475" y="280"/>
                  </a:lnTo>
                  <a:lnTo>
                    <a:pt x="2469" y="290"/>
                  </a:lnTo>
                  <a:lnTo>
                    <a:pt x="2463" y="300"/>
                  </a:lnTo>
                  <a:lnTo>
                    <a:pt x="2458" y="310"/>
                  </a:lnTo>
                  <a:lnTo>
                    <a:pt x="2454" y="320"/>
                  </a:lnTo>
                  <a:lnTo>
                    <a:pt x="2450" y="332"/>
                  </a:lnTo>
                  <a:lnTo>
                    <a:pt x="2446" y="343"/>
                  </a:lnTo>
                  <a:lnTo>
                    <a:pt x="2444" y="355"/>
                  </a:lnTo>
                  <a:lnTo>
                    <a:pt x="2441" y="368"/>
                  </a:lnTo>
                  <a:close/>
                  <a:moveTo>
                    <a:pt x="2860" y="637"/>
                  </a:moveTo>
                  <a:lnTo>
                    <a:pt x="2860" y="309"/>
                  </a:lnTo>
                  <a:lnTo>
                    <a:pt x="2860" y="280"/>
                  </a:lnTo>
                  <a:lnTo>
                    <a:pt x="2859" y="250"/>
                  </a:lnTo>
                  <a:lnTo>
                    <a:pt x="2858" y="220"/>
                  </a:lnTo>
                  <a:lnTo>
                    <a:pt x="2856" y="188"/>
                  </a:lnTo>
                  <a:lnTo>
                    <a:pt x="2929" y="188"/>
                  </a:lnTo>
                  <a:lnTo>
                    <a:pt x="2933" y="262"/>
                  </a:lnTo>
                  <a:lnTo>
                    <a:pt x="2935" y="262"/>
                  </a:lnTo>
                  <a:lnTo>
                    <a:pt x="2940" y="254"/>
                  </a:lnTo>
                  <a:lnTo>
                    <a:pt x="2945" y="245"/>
                  </a:lnTo>
                  <a:lnTo>
                    <a:pt x="2951" y="237"/>
                  </a:lnTo>
                  <a:lnTo>
                    <a:pt x="2958" y="230"/>
                  </a:lnTo>
                  <a:lnTo>
                    <a:pt x="2964" y="223"/>
                  </a:lnTo>
                  <a:lnTo>
                    <a:pt x="2973" y="217"/>
                  </a:lnTo>
                  <a:lnTo>
                    <a:pt x="2981" y="210"/>
                  </a:lnTo>
                  <a:lnTo>
                    <a:pt x="2989" y="204"/>
                  </a:lnTo>
                  <a:lnTo>
                    <a:pt x="3000" y="198"/>
                  </a:lnTo>
                  <a:lnTo>
                    <a:pt x="3011" y="193"/>
                  </a:lnTo>
                  <a:lnTo>
                    <a:pt x="3022" y="188"/>
                  </a:lnTo>
                  <a:lnTo>
                    <a:pt x="3033" y="185"/>
                  </a:lnTo>
                  <a:lnTo>
                    <a:pt x="3046" y="182"/>
                  </a:lnTo>
                  <a:lnTo>
                    <a:pt x="3058" y="179"/>
                  </a:lnTo>
                  <a:lnTo>
                    <a:pt x="3070" y="177"/>
                  </a:lnTo>
                  <a:lnTo>
                    <a:pt x="3084" y="177"/>
                  </a:lnTo>
                  <a:lnTo>
                    <a:pt x="3098" y="178"/>
                  </a:lnTo>
                  <a:lnTo>
                    <a:pt x="3112" y="179"/>
                  </a:lnTo>
                  <a:lnTo>
                    <a:pt x="3126" y="183"/>
                  </a:lnTo>
                  <a:lnTo>
                    <a:pt x="3139" y="187"/>
                  </a:lnTo>
                  <a:lnTo>
                    <a:pt x="3151" y="192"/>
                  </a:lnTo>
                  <a:lnTo>
                    <a:pt x="3163" y="199"/>
                  </a:lnTo>
                  <a:lnTo>
                    <a:pt x="3174" y="206"/>
                  </a:lnTo>
                  <a:lnTo>
                    <a:pt x="3185" y="215"/>
                  </a:lnTo>
                  <a:lnTo>
                    <a:pt x="3192" y="222"/>
                  </a:lnTo>
                  <a:lnTo>
                    <a:pt x="3199" y="229"/>
                  </a:lnTo>
                  <a:lnTo>
                    <a:pt x="3205" y="236"/>
                  </a:lnTo>
                  <a:lnTo>
                    <a:pt x="3210" y="244"/>
                  </a:lnTo>
                  <a:lnTo>
                    <a:pt x="3215" y="251"/>
                  </a:lnTo>
                  <a:lnTo>
                    <a:pt x="3219" y="261"/>
                  </a:lnTo>
                  <a:lnTo>
                    <a:pt x="3223" y="269"/>
                  </a:lnTo>
                  <a:lnTo>
                    <a:pt x="3228" y="279"/>
                  </a:lnTo>
                  <a:lnTo>
                    <a:pt x="3231" y="289"/>
                  </a:lnTo>
                  <a:lnTo>
                    <a:pt x="3234" y="299"/>
                  </a:lnTo>
                  <a:lnTo>
                    <a:pt x="3236" y="309"/>
                  </a:lnTo>
                  <a:lnTo>
                    <a:pt x="3238" y="320"/>
                  </a:lnTo>
                  <a:lnTo>
                    <a:pt x="3241" y="344"/>
                  </a:lnTo>
                  <a:lnTo>
                    <a:pt x="3242" y="369"/>
                  </a:lnTo>
                  <a:lnTo>
                    <a:pt x="3242" y="637"/>
                  </a:lnTo>
                  <a:lnTo>
                    <a:pt x="3160" y="637"/>
                  </a:lnTo>
                  <a:lnTo>
                    <a:pt x="3160" y="378"/>
                  </a:lnTo>
                  <a:lnTo>
                    <a:pt x="3160" y="362"/>
                  </a:lnTo>
                  <a:lnTo>
                    <a:pt x="3159" y="346"/>
                  </a:lnTo>
                  <a:lnTo>
                    <a:pt x="3157" y="333"/>
                  </a:lnTo>
                  <a:lnTo>
                    <a:pt x="3154" y="319"/>
                  </a:lnTo>
                  <a:lnTo>
                    <a:pt x="3150" y="307"/>
                  </a:lnTo>
                  <a:lnTo>
                    <a:pt x="3145" y="297"/>
                  </a:lnTo>
                  <a:lnTo>
                    <a:pt x="3140" y="286"/>
                  </a:lnTo>
                  <a:lnTo>
                    <a:pt x="3134" y="277"/>
                  </a:lnTo>
                  <a:lnTo>
                    <a:pt x="3127" y="270"/>
                  </a:lnTo>
                  <a:lnTo>
                    <a:pt x="3120" y="263"/>
                  </a:lnTo>
                  <a:lnTo>
                    <a:pt x="3111" y="258"/>
                  </a:lnTo>
                  <a:lnTo>
                    <a:pt x="3102" y="253"/>
                  </a:lnTo>
                  <a:lnTo>
                    <a:pt x="3092" y="249"/>
                  </a:lnTo>
                  <a:lnTo>
                    <a:pt x="3081" y="246"/>
                  </a:lnTo>
                  <a:lnTo>
                    <a:pt x="3069" y="244"/>
                  </a:lnTo>
                  <a:lnTo>
                    <a:pt x="3056" y="244"/>
                  </a:lnTo>
                  <a:lnTo>
                    <a:pt x="3047" y="244"/>
                  </a:lnTo>
                  <a:lnTo>
                    <a:pt x="3037" y="245"/>
                  </a:lnTo>
                  <a:lnTo>
                    <a:pt x="3028" y="247"/>
                  </a:lnTo>
                  <a:lnTo>
                    <a:pt x="3020" y="250"/>
                  </a:lnTo>
                  <a:lnTo>
                    <a:pt x="3012" y="254"/>
                  </a:lnTo>
                  <a:lnTo>
                    <a:pt x="3004" y="258"/>
                  </a:lnTo>
                  <a:lnTo>
                    <a:pt x="2995" y="263"/>
                  </a:lnTo>
                  <a:lnTo>
                    <a:pt x="2988" y="268"/>
                  </a:lnTo>
                  <a:lnTo>
                    <a:pt x="2981" y="274"/>
                  </a:lnTo>
                  <a:lnTo>
                    <a:pt x="2974" y="281"/>
                  </a:lnTo>
                  <a:lnTo>
                    <a:pt x="2968" y="289"/>
                  </a:lnTo>
                  <a:lnTo>
                    <a:pt x="2962" y="296"/>
                  </a:lnTo>
                  <a:lnTo>
                    <a:pt x="2958" y="303"/>
                  </a:lnTo>
                  <a:lnTo>
                    <a:pt x="2953" y="311"/>
                  </a:lnTo>
                  <a:lnTo>
                    <a:pt x="2950" y="319"/>
                  </a:lnTo>
                  <a:lnTo>
                    <a:pt x="2947" y="329"/>
                  </a:lnTo>
                  <a:lnTo>
                    <a:pt x="2945" y="337"/>
                  </a:lnTo>
                  <a:lnTo>
                    <a:pt x="2943" y="346"/>
                  </a:lnTo>
                  <a:lnTo>
                    <a:pt x="2942" y="356"/>
                  </a:lnTo>
                  <a:lnTo>
                    <a:pt x="2942" y="367"/>
                  </a:lnTo>
                  <a:lnTo>
                    <a:pt x="2942" y="637"/>
                  </a:lnTo>
                  <a:lnTo>
                    <a:pt x="2860" y="637"/>
                  </a:lnTo>
                  <a:close/>
                  <a:moveTo>
                    <a:pt x="3680" y="559"/>
                  </a:moveTo>
                  <a:lnTo>
                    <a:pt x="3694" y="620"/>
                  </a:lnTo>
                  <a:lnTo>
                    <a:pt x="3681" y="627"/>
                  </a:lnTo>
                  <a:lnTo>
                    <a:pt x="3666" y="632"/>
                  </a:lnTo>
                  <a:lnTo>
                    <a:pt x="3651" y="636"/>
                  </a:lnTo>
                  <a:lnTo>
                    <a:pt x="3635" y="640"/>
                  </a:lnTo>
                  <a:lnTo>
                    <a:pt x="3619" y="643"/>
                  </a:lnTo>
                  <a:lnTo>
                    <a:pt x="3602" y="646"/>
                  </a:lnTo>
                  <a:lnTo>
                    <a:pt x="3584" y="647"/>
                  </a:lnTo>
                  <a:lnTo>
                    <a:pt x="3566" y="648"/>
                  </a:lnTo>
                  <a:lnTo>
                    <a:pt x="3541" y="647"/>
                  </a:lnTo>
                  <a:lnTo>
                    <a:pt x="3517" y="643"/>
                  </a:lnTo>
                  <a:lnTo>
                    <a:pt x="3506" y="641"/>
                  </a:lnTo>
                  <a:lnTo>
                    <a:pt x="3495" y="638"/>
                  </a:lnTo>
                  <a:lnTo>
                    <a:pt x="3484" y="635"/>
                  </a:lnTo>
                  <a:lnTo>
                    <a:pt x="3474" y="631"/>
                  </a:lnTo>
                  <a:lnTo>
                    <a:pt x="3464" y="627"/>
                  </a:lnTo>
                  <a:lnTo>
                    <a:pt x="3455" y="623"/>
                  </a:lnTo>
                  <a:lnTo>
                    <a:pt x="3445" y="618"/>
                  </a:lnTo>
                  <a:lnTo>
                    <a:pt x="3436" y="612"/>
                  </a:lnTo>
                  <a:lnTo>
                    <a:pt x="3427" y="605"/>
                  </a:lnTo>
                  <a:lnTo>
                    <a:pt x="3419" y="599"/>
                  </a:lnTo>
                  <a:lnTo>
                    <a:pt x="3410" y="592"/>
                  </a:lnTo>
                  <a:lnTo>
                    <a:pt x="3403" y="584"/>
                  </a:lnTo>
                  <a:lnTo>
                    <a:pt x="3395" y="576"/>
                  </a:lnTo>
                  <a:lnTo>
                    <a:pt x="3389" y="567"/>
                  </a:lnTo>
                  <a:lnTo>
                    <a:pt x="3382" y="559"/>
                  </a:lnTo>
                  <a:lnTo>
                    <a:pt x="3377" y="550"/>
                  </a:lnTo>
                  <a:lnTo>
                    <a:pt x="3370" y="541"/>
                  </a:lnTo>
                  <a:lnTo>
                    <a:pt x="3365" y="531"/>
                  </a:lnTo>
                  <a:lnTo>
                    <a:pt x="3361" y="521"/>
                  </a:lnTo>
                  <a:lnTo>
                    <a:pt x="3357" y="511"/>
                  </a:lnTo>
                  <a:lnTo>
                    <a:pt x="3354" y="500"/>
                  </a:lnTo>
                  <a:lnTo>
                    <a:pt x="3351" y="489"/>
                  </a:lnTo>
                  <a:lnTo>
                    <a:pt x="3348" y="478"/>
                  </a:lnTo>
                  <a:lnTo>
                    <a:pt x="3346" y="467"/>
                  </a:lnTo>
                  <a:lnTo>
                    <a:pt x="3343" y="442"/>
                  </a:lnTo>
                  <a:lnTo>
                    <a:pt x="3342" y="417"/>
                  </a:lnTo>
                  <a:lnTo>
                    <a:pt x="3342" y="404"/>
                  </a:lnTo>
                  <a:lnTo>
                    <a:pt x="3343" y="391"/>
                  </a:lnTo>
                  <a:lnTo>
                    <a:pt x="3344" y="379"/>
                  </a:lnTo>
                  <a:lnTo>
                    <a:pt x="3346" y="367"/>
                  </a:lnTo>
                  <a:lnTo>
                    <a:pt x="3348" y="355"/>
                  </a:lnTo>
                  <a:lnTo>
                    <a:pt x="3351" y="344"/>
                  </a:lnTo>
                  <a:lnTo>
                    <a:pt x="3354" y="333"/>
                  </a:lnTo>
                  <a:lnTo>
                    <a:pt x="3358" y="321"/>
                  </a:lnTo>
                  <a:lnTo>
                    <a:pt x="3363" y="311"/>
                  </a:lnTo>
                  <a:lnTo>
                    <a:pt x="3367" y="301"/>
                  </a:lnTo>
                  <a:lnTo>
                    <a:pt x="3373" y="291"/>
                  </a:lnTo>
                  <a:lnTo>
                    <a:pt x="3379" y="281"/>
                  </a:lnTo>
                  <a:lnTo>
                    <a:pt x="3386" y="272"/>
                  </a:lnTo>
                  <a:lnTo>
                    <a:pt x="3393" y="263"/>
                  </a:lnTo>
                  <a:lnTo>
                    <a:pt x="3400" y="254"/>
                  </a:lnTo>
                  <a:lnTo>
                    <a:pt x="3408" y="245"/>
                  </a:lnTo>
                  <a:lnTo>
                    <a:pt x="3417" y="237"/>
                  </a:lnTo>
                  <a:lnTo>
                    <a:pt x="3425" y="230"/>
                  </a:lnTo>
                  <a:lnTo>
                    <a:pt x="3434" y="223"/>
                  </a:lnTo>
                  <a:lnTo>
                    <a:pt x="3443" y="215"/>
                  </a:lnTo>
                  <a:lnTo>
                    <a:pt x="3454" y="210"/>
                  </a:lnTo>
                  <a:lnTo>
                    <a:pt x="3464" y="204"/>
                  </a:lnTo>
                  <a:lnTo>
                    <a:pt x="3474" y="199"/>
                  </a:lnTo>
                  <a:lnTo>
                    <a:pt x="3484" y="195"/>
                  </a:lnTo>
                  <a:lnTo>
                    <a:pt x="3496" y="191"/>
                  </a:lnTo>
                  <a:lnTo>
                    <a:pt x="3507" y="188"/>
                  </a:lnTo>
                  <a:lnTo>
                    <a:pt x="3519" y="185"/>
                  </a:lnTo>
                  <a:lnTo>
                    <a:pt x="3532" y="183"/>
                  </a:lnTo>
                  <a:lnTo>
                    <a:pt x="3544" y="181"/>
                  </a:lnTo>
                  <a:lnTo>
                    <a:pt x="3556" y="179"/>
                  </a:lnTo>
                  <a:lnTo>
                    <a:pt x="3570" y="178"/>
                  </a:lnTo>
                  <a:lnTo>
                    <a:pt x="3583" y="178"/>
                  </a:lnTo>
                  <a:lnTo>
                    <a:pt x="3599" y="178"/>
                  </a:lnTo>
                  <a:lnTo>
                    <a:pt x="3616" y="179"/>
                  </a:lnTo>
                  <a:lnTo>
                    <a:pt x="3631" y="182"/>
                  </a:lnTo>
                  <a:lnTo>
                    <a:pt x="3646" y="185"/>
                  </a:lnTo>
                  <a:lnTo>
                    <a:pt x="3659" y="188"/>
                  </a:lnTo>
                  <a:lnTo>
                    <a:pt x="3672" y="192"/>
                  </a:lnTo>
                  <a:lnTo>
                    <a:pt x="3685" y="196"/>
                  </a:lnTo>
                  <a:lnTo>
                    <a:pt x="3696" y="201"/>
                  </a:lnTo>
                  <a:lnTo>
                    <a:pt x="3678" y="265"/>
                  </a:lnTo>
                  <a:lnTo>
                    <a:pt x="3667" y="260"/>
                  </a:lnTo>
                  <a:lnTo>
                    <a:pt x="3656" y="256"/>
                  </a:lnTo>
                  <a:lnTo>
                    <a:pt x="3646" y="251"/>
                  </a:lnTo>
                  <a:lnTo>
                    <a:pt x="3633" y="248"/>
                  </a:lnTo>
                  <a:lnTo>
                    <a:pt x="3622" y="246"/>
                  </a:lnTo>
                  <a:lnTo>
                    <a:pt x="3609" y="244"/>
                  </a:lnTo>
                  <a:lnTo>
                    <a:pt x="3596" y="243"/>
                  </a:lnTo>
                  <a:lnTo>
                    <a:pt x="3583" y="243"/>
                  </a:lnTo>
                  <a:lnTo>
                    <a:pt x="3565" y="244"/>
                  </a:lnTo>
                  <a:lnTo>
                    <a:pt x="3548" y="246"/>
                  </a:lnTo>
                  <a:lnTo>
                    <a:pt x="3532" y="250"/>
                  </a:lnTo>
                  <a:lnTo>
                    <a:pt x="3516" y="256"/>
                  </a:lnTo>
                  <a:lnTo>
                    <a:pt x="3502" y="263"/>
                  </a:lnTo>
                  <a:lnTo>
                    <a:pt x="3489" y="271"/>
                  </a:lnTo>
                  <a:lnTo>
                    <a:pt x="3476" y="281"/>
                  </a:lnTo>
                  <a:lnTo>
                    <a:pt x="3465" y="294"/>
                  </a:lnTo>
                  <a:lnTo>
                    <a:pt x="3456" y="305"/>
                  </a:lnTo>
                  <a:lnTo>
                    <a:pt x="3447" y="318"/>
                  </a:lnTo>
                  <a:lnTo>
                    <a:pt x="3440" y="332"/>
                  </a:lnTo>
                  <a:lnTo>
                    <a:pt x="3434" y="346"/>
                  </a:lnTo>
                  <a:lnTo>
                    <a:pt x="3430" y="362"/>
                  </a:lnTo>
                  <a:lnTo>
                    <a:pt x="3427" y="378"/>
                  </a:lnTo>
                  <a:lnTo>
                    <a:pt x="3425" y="396"/>
                  </a:lnTo>
                  <a:lnTo>
                    <a:pt x="3424" y="413"/>
                  </a:lnTo>
                  <a:lnTo>
                    <a:pt x="3425" y="432"/>
                  </a:lnTo>
                  <a:lnTo>
                    <a:pt x="3427" y="449"/>
                  </a:lnTo>
                  <a:lnTo>
                    <a:pt x="3430" y="467"/>
                  </a:lnTo>
                  <a:lnTo>
                    <a:pt x="3435" y="482"/>
                  </a:lnTo>
                  <a:lnTo>
                    <a:pt x="3441" y="496"/>
                  </a:lnTo>
                  <a:lnTo>
                    <a:pt x="3449" y="511"/>
                  </a:lnTo>
                  <a:lnTo>
                    <a:pt x="3458" y="523"/>
                  </a:lnTo>
                  <a:lnTo>
                    <a:pt x="3468" y="535"/>
                  </a:lnTo>
                  <a:lnTo>
                    <a:pt x="3479" y="546"/>
                  </a:lnTo>
                  <a:lnTo>
                    <a:pt x="3492" y="555"/>
                  </a:lnTo>
                  <a:lnTo>
                    <a:pt x="3505" y="563"/>
                  </a:lnTo>
                  <a:lnTo>
                    <a:pt x="3518" y="569"/>
                  </a:lnTo>
                  <a:lnTo>
                    <a:pt x="3533" y="575"/>
                  </a:lnTo>
                  <a:lnTo>
                    <a:pt x="3548" y="579"/>
                  </a:lnTo>
                  <a:lnTo>
                    <a:pt x="3564" y="581"/>
                  </a:lnTo>
                  <a:lnTo>
                    <a:pt x="3580" y="581"/>
                  </a:lnTo>
                  <a:lnTo>
                    <a:pt x="3592" y="581"/>
                  </a:lnTo>
                  <a:lnTo>
                    <a:pt x="3605" y="580"/>
                  </a:lnTo>
                  <a:lnTo>
                    <a:pt x="3618" y="578"/>
                  </a:lnTo>
                  <a:lnTo>
                    <a:pt x="3630" y="576"/>
                  </a:lnTo>
                  <a:lnTo>
                    <a:pt x="3643" y="572"/>
                  </a:lnTo>
                  <a:lnTo>
                    <a:pt x="3655" y="568"/>
                  </a:lnTo>
                  <a:lnTo>
                    <a:pt x="3667" y="564"/>
                  </a:lnTo>
                  <a:lnTo>
                    <a:pt x="3680" y="559"/>
                  </a:lnTo>
                  <a:close/>
                  <a:moveTo>
                    <a:pt x="4149" y="427"/>
                  </a:moveTo>
                  <a:lnTo>
                    <a:pt x="3836" y="426"/>
                  </a:lnTo>
                  <a:lnTo>
                    <a:pt x="3837" y="445"/>
                  </a:lnTo>
                  <a:lnTo>
                    <a:pt x="3840" y="463"/>
                  </a:lnTo>
                  <a:lnTo>
                    <a:pt x="3843" y="480"/>
                  </a:lnTo>
                  <a:lnTo>
                    <a:pt x="3848" y="495"/>
                  </a:lnTo>
                  <a:lnTo>
                    <a:pt x="3855" y="510"/>
                  </a:lnTo>
                  <a:lnTo>
                    <a:pt x="3864" y="523"/>
                  </a:lnTo>
                  <a:lnTo>
                    <a:pt x="3873" y="535"/>
                  </a:lnTo>
                  <a:lnTo>
                    <a:pt x="3883" y="546"/>
                  </a:lnTo>
                  <a:lnTo>
                    <a:pt x="3893" y="554"/>
                  </a:lnTo>
                  <a:lnTo>
                    <a:pt x="3905" y="562"/>
                  </a:lnTo>
                  <a:lnTo>
                    <a:pt x="3917" y="568"/>
                  </a:lnTo>
                  <a:lnTo>
                    <a:pt x="3929" y="573"/>
                  </a:lnTo>
                  <a:lnTo>
                    <a:pt x="3943" y="577"/>
                  </a:lnTo>
                  <a:lnTo>
                    <a:pt x="3958" y="580"/>
                  </a:lnTo>
                  <a:lnTo>
                    <a:pt x="3973" y="582"/>
                  </a:lnTo>
                  <a:lnTo>
                    <a:pt x="3989" y="582"/>
                  </a:lnTo>
                  <a:lnTo>
                    <a:pt x="4006" y="582"/>
                  </a:lnTo>
                  <a:lnTo>
                    <a:pt x="4023" y="581"/>
                  </a:lnTo>
                  <a:lnTo>
                    <a:pt x="4038" y="579"/>
                  </a:lnTo>
                  <a:lnTo>
                    <a:pt x="4055" y="577"/>
                  </a:lnTo>
                  <a:lnTo>
                    <a:pt x="4070" y="573"/>
                  </a:lnTo>
                  <a:lnTo>
                    <a:pt x="4084" y="569"/>
                  </a:lnTo>
                  <a:lnTo>
                    <a:pt x="4099" y="564"/>
                  </a:lnTo>
                  <a:lnTo>
                    <a:pt x="4113" y="559"/>
                  </a:lnTo>
                  <a:lnTo>
                    <a:pt x="4127" y="618"/>
                  </a:lnTo>
                  <a:lnTo>
                    <a:pt x="4111" y="624"/>
                  </a:lnTo>
                  <a:lnTo>
                    <a:pt x="4095" y="630"/>
                  </a:lnTo>
                  <a:lnTo>
                    <a:pt x="4077" y="635"/>
                  </a:lnTo>
                  <a:lnTo>
                    <a:pt x="4059" y="639"/>
                  </a:lnTo>
                  <a:lnTo>
                    <a:pt x="4039" y="642"/>
                  </a:lnTo>
                  <a:lnTo>
                    <a:pt x="4020" y="644"/>
                  </a:lnTo>
                  <a:lnTo>
                    <a:pt x="3999" y="646"/>
                  </a:lnTo>
                  <a:lnTo>
                    <a:pt x="3978" y="647"/>
                  </a:lnTo>
                  <a:lnTo>
                    <a:pt x="3953" y="646"/>
                  </a:lnTo>
                  <a:lnTo>
                    <a:pt x="3929" y="642"/>
                  </a:lnTo>
                  <a:lnTo>
                    <a:pt x="3918" y="640"/>
                  </a:lnTo>
                  <a:lnTo>
                    <a:pt x="3907" y="637"/>
                  </a:lnTo>
                  <a:lnTo>
                    <a:pt x="3896" y="634"/>
                  </a:lnTo>
                  <a:lnTo>
                    <a:pt x="3886" y="631"/>
                  </a:lnTo>
                  <a:lnTo>
                    <a:pt x="3877" y="627"/>
                  </a:lnTo>
                  <a:lnTo>
                    <a:pt x="3867" y="622"/>
                  </a:lnTo>
                  <a:lnTo>
                    <a:pt x="3857" y="617"/>
                  </a:lnTo>
                  <a:lnTo>
                    <a:pt x="3849" y="612"/>
                  </a:lnTo>
                  <a:lnTo>
                    <a:pt x="3840" y="605"/>
                  </a:lnTo>
                  <a:lnTo>
                    <a:pt x="3832" y="598"/>
                  </a:lnTo>
                  <a:lnTo>
                    <a:pt x="3823" y="592"/>
                  </a:lnTo>
                  <a:lnTo>
                    <a:pt x="3816" y="584"/>
                  </a:lnTo>
                  <a:lnTo>
                    <a:pt x="3809" y="576"/>
                  </a:lnTo>
                  <a:lnTo>
                    <a:pt x="3803" y="567"/>
                  </a:lnTo>
                  <a:lnTo>
                    <a:pt x="3796" y="559"/>
                  </a:lnTo>
                  <a:lnTo>
                    <a:pt x="3791" y="551"/>
                  </a:lnTo>
                  <a:lnTo>
                    <a:pt x="3785" y="542"/>
                  </a:lnTo>
                  <a:lnTo>
                    <a:pt x="3780" y="531"/>
                  </a:lnTo>
                  <a:lnTo>
                    <a:pt x="3776" y="522"/>
                  </a:lnTo>
                  <a:lnTo>
                    <a:pt x="3772" y="512"/>
                  </a:lnTo>
                  <a:lnTo>
                    <a:pt x="3768" y="501"/>
                  </a:lnTo>
                  <a:lnTo>
                    <a:pt x="3765" y="490"/>
                  </a:lnTo>
                  <a:lnTo>
                    <a:pt x="3763" y="480"/>
                  </a:lnTo>
                  <a:lnTo>
                    <a:pt x="3761" y="469"/>
                  </a:lnTo>
                  <a:lnTo>
                    <a:pt x="3758" y="445"/>
                  </a:lnTo>
                  <a:lnTo>
                    <a:pt x="3757" y="419"/>
                  </a:lnTo>
                  <a:lnTo>
                    <a:pt x="3758" y="394"/>
                  </a:lnTo>
                  <a:lnTo>
                    <a:pt x="3761" y="370"/>
                  </a:lnTo>
                  <a:lnTo>
                    <a:pt x="3765" y="346"/>
                  </a:lnTo>
                  <a:lnTo>
                    <a:pt x="3771" y="324"/>
                  </a:lnTo>
                  <a:lnTo>
                    <a:pt x="3775" y="313"/>
                  </a:lnTo>
                  <a:lnTo>
                    <a:pt x="3779" y="303"/>
                  </a:lnTo>
                  <a:lnTo>
                    <a:pt x="3784" y="293"/>
                  </a:lnTo>
                  <a:lnTo>
                    <a:pt x="3790" y="282"/>
                  </a:lnTo>
                  <a:lnTo>
                    <a:pt x="3795" y="273"/>
                  </a:lnTo>
                  <a:lnTo>
                    <a:pt x="3801" y="264"/>
                  </a:lnTo>
                  <a:lnTo>
                    <a:pt x="3808" y="255"/>
                  </a:lnTo>
                  <a:lnTo>
                    <a:pt x="3814" y="246"/>
                  </a:lnTo>
                  <a:lnTo>
                    <a:pt x="3821" y="238"/>
                  </a:lnTo>
                  <a:lnTo>
                    <a:pt x="3830" y="230"/>
                  </a:lnTo>
                  <a:lnTo>
                    <a:pt x="3838" y="223"/>
                  </a:lnTo>
                  <a:lnTo>
                    <a:pt x="3846" y="217"/>
                  </a:lnTo>
                  <a:lnTo>
                    <a:pt x="3854" y="210"/>
                  </a:lnTo>
                  <a:lnTo>
                    <a:pt x="3863" y="204"/>
                  </a:lnTo>
                  <a:lnTo>
                    <a:pt x="3872" y="199"/>
                  </a:lnTo>
                  <a:lnTo>
                    <a:pt x="3881" y="195"/>
                  </a:lnTo>
                  <a:lnTo>
                    <a:pt x="3891" y="191"/>
                  </a:lnTo>
                  <a:lnTo>
                    <a:pt x="3902" y="187"/>
                  </a:lnTo>
                  <a:lnTo>
                    <a:pt x="3912" y="185"/>
                  </a:lnTo>
                  <a:lnTo>
                    <a:pt x="3922" y="182"/>
                  </a:lnTo>
                  <a:lnTo>
                    <a:pt x="3933" y="179"/>
                  </a:lnTo>
                  <a:lnTo>
                    <a:pt x="3944" y="178"/>
                  </a:lnTo>
                  <a:lnTo>
                    <a:pt x="3956" y="177"/>
                  </a:lnTo>
                  <a:lnTo>
                    <a:pt x="3967" y="177"/>
                  </a:lnTo>
                  <a:lnTo>
                    <a:pt x="3980" y="177"/>
                  </a:lnTo>
                  <a:lnTo>
                    <a:pt x="3991" y="178"/>
                  </a:lnTo>
                  <a:lnTo>
                    <a:pt x="4002" y="181"/>
                  </a:lnTo>
                  <a:lnTo>
                    <a:pt x="4014" y="183"/>
                  </a:lnTo>
                  <a:lnTo>
                    <a:pt x="4024" y="185"/>
                  </a:lnTo>
                  <a:lnTo>
                    <a:pt x="4034" y="188"/>
                  </a:lnTo>
                  <a:lnTo>
                    <a:pt x="4044" y="192"/>
                  </a:lnTo>
                  <a:lnTo>
                    <a:pt x="4054" y="196"/>
                  </a:lnTo>
                  <a:lnTo>
                    <a:pt x="4063" y="201"/>
                  </a:lnTo>
                  <a:lnTo>
                    <a:pt x="4071" y="206"/>
                  </a:lnTo>
                  <a:lnTo>
                    <a:pt x="4079" y="212"/>
                  </a:lnTo>
                  <a:lnTo>
                    <a:pt x="4088" y="220"/>
                  </a:lnTo>
                  <a:lnTo>
                    <a:pt x="4095" y="227"/>
                  </a:lnTo>
                  <a:lnTo>
                    <a:pt x="4102" y="234"/>
                  </a:lnTo>
                  <a:lnTo>
                    <a:pt x="4108" y="242"/>
                  </a:lnTo>
                  <a:lnTo>
                    <a:pt x="4115" y="251"/>
                  </a:lnTo>
                  <a:lnTo>
                    <a:pt x="4124" y="266"/>
                  </a:lnTo>
                  <a:lnTo>
                    <a:pt x="4132" y="281"/>
                  </a:lnTo>
                  <a:lnTo>
                    <a:pt x="4138" y="298"/>
                  </a:lnTo>
                  <a:lnTo>
                    <a:pt x="4143" y="314"/>
                  </a:lnTo>
                  <a:lnTo>
                    <a:pt x="4147" y="332"/>
                  </a:lnTo>
                  <a:lnTo>
                    <a:pt x="4150" y="349"/>
                  </a:lnTo>
                  <a:lnTo>
                    <a:pt x="4152" y="369"/>
                  </a:lnTo>
                  <a:lnTo>
                    <a:pt x="4153" y="388"/>
                  </a:lnTo>
                  <a:lnTo>
                    <a:pt x="4152" y="400"/>
                  </a:lnTo>
                  <a:lnTo>
                    <a:pt x="4152" y="410"/>
                  </a:lnTo>
                  <a:lnTo>
                    <a:pt x="4151" y="419"/>
                  </a:lnTo>
                  <a:lnTo>
                    <a:pt x="4149" y="427"/>
                  </a:lnTo>
                  <a:close/>
                  <a:moveTo>
                    <a:pt x="3836" y="368"/>
                  </a:moveTo>
                  <a:lnTo>
                    <a:pt x="4074" y="368"/>
                  </a:lnTo>
                  <a:lnTo>
                    <a:pt x="4074" y="355"/>
                  </a:lnTo>
                  <a:lnTo>
                    <a:pt x="4073" y="344"/>
                  </a:lnTo>
                  <a:lnTo>
                    <a:pt x="4071" y="332"/>
                  </a:lnTo>
                  <a:lnTo>
                    <a:pt x="4069" y="321"/>
                  </a:lnTo>
                  <a:lnTo>
                    <a:pt x="4066" y="311"/>
                  </a:lnTo>
                  <a:lnTo>
                    <a:pt x="4062" y="301"/>
                  </a:lnTo>
                  <a:lnTo>
                    <a:pt x="4058" y="292"/>
                  </a:lnTo>
                  <a:lnTo>
                    <a:pt x="4052" y="282"/>
                  </a:lnTo>
                  <a:lnTo>
                    <a:pt x="4044" y="271"/>
                  </a:lnTo>
                  <a:lnTo>
                    <a:pt x="4035" y="262"/>
                  </a:lnTo>
                  <a:lnTo>
                    <a:pt x="4026" y="254"/>
                  </a:lnTo>
                  <a:lnTo>
                    <a:pt x="4015" y="247"/>
                  </a:lnTo>
                  <a:lnTo>
                    <a:pt x="4003" y="242"/>
                  </a:lnTo>
                  <a:lnTo>
                    <a:pt x="3990" y="239"/>
                  </a:lnTo>
                  <a:lnTo>
                    <a:pt x="3976" y="237"/>
                  </a:lnTo>
                  <a:lnTo>
                    <a:pt x="3961" y="236"/>
                  </a:lnTo>
                  <a:lnTo>
                    <a:pt x="3947" y="237"/>
                  </a:lnTo>
                  <a:lnTo>
                    <a:pt x="3934" y="239"/>
                  </a:lnTo>
                  <a:lnTo>
                    <a:pt x="3922" y="242"/>
                  </a:lnTo>
                  <a:lnTo>
                    <a:pt x="3910" y="247"/>
                  </a:lnTo>
                  <a:lnTo>
                    <a:pt x="3900" y="254"/>
                  </a:lnTo>
                  <a:lnTo>
                    <a:pt x="3888" y="261"/>
                  </a:lnTo>
                  <a:lnTo>
                    <a:pt x="3879" y="270"/>
                  </a:lnTo>
                  <a:lnTo>
                    <a:pt x="3870" y="280"/>
                  </a:lnTo>
                  <a:lnTo>
                    <a:pt x="3864" y="290"/>
                  </a:lnTo>
                  <a:lnTo>
                    <a:pt x="3857" y="300"/>
                  </a:lnTo>
                  <a:lnTo>
                    <a:pt x="3852" y="310"/>
                  </a:lnTo>
                  <a:lnTo>
                    <a:pt x="3848" y="320"/>
                  </a:lnTo>
                  <a:lnTo>
                    <a:pt x="3844" y="332"/>
                  </a:lnTo>
                  <a:lnTo>
                    <a:pt x="3840" y="343"/>
                  </a:lnTo>
                  <a:lnTo>
                    <a:pt x="3838" y="355"/>
                  </a:lnTo>
                  <a:lnTo>
                    <a:pt x="3836" y="368"/>
                  </a:lnTo>
                  <a:close/>
                  <a:moveTo>
                    <a:pt x="4756" y="559"/>
                  </a:moveTo>
                  <a:lnTo>
                    <a:pt x="4771" y="620"/>
                  </a:lnTo>
                  <a:lnTo>
                    <a:pt x="4756" y="627"/>
                  </a:lnTo>
                  <a:lnTo>
                    <a:pt x="4742" y="632"/>
                  </a:lnTo>
                  <a:lnTo>
                    <a:pt x="4728" y="636"/>
                  </a:lnTo>
                  <a:lnTo>
                    <a:pt x="4711" y="640"/>
                  </a:lnTo>
                  <a:lnTo>
                    <a:pt x="4695" y="643"/>
                  </a:lnTo>
                  <a:lnTo>
                    <a:pt x="4678" y="646"/>
                  </a:lnTo>
                  <a:lnTo>
                    <a:pt x="4660" y="647"/>
                  </a:lnTo>
                  <a:lnTo>
                    <a:pt x="4641" y="648"/>
                  </a:lnTo>
                  <a:lnTo>
                    <a:pt x="4617" y="647"/>
                  </a:lnTo>
                  <a:lnTo>
                    <a:pt x="4593" y="643"/>
                  </a:lnTo>
                  <a:lnTo>
                    <a:pt x="4582" y="641"/>
                  </a:lnTo>
                  <a:lnTo>
                    <a:pt x="4571" y="638"/>
                  </a:lnTo>
                  <a:lnTo>
                    <a:pt x="4560" y="635"/>
                  </a:lnTo>
                  <a:lnTo>
                    <a:pt x="4550" y="631"/>
                  </a:lnTo>
                  <a:lnTo>
                    <a:pt x="4541" y="627"/>
                  </a:lnTo>
                  <a:lnTo>
                    <a:pt x="4530" y="623"/>
                  </a:lnTo>
                  <a:lnTo>
                    <a:pt x="4521" y="618"/>
                  </a:lnTo>
                  <a:lnTo>
                    <a:pt x="4512" y="612"/>
                  </a:lnTo>
                  <a:lnTo>
                    <a:pt x="4504" y="605"/>
                  </a:lnTo>
                  <a:lnTo>
                    <a:pt x="4495" y="599"/>
                  </a:lnTo>
                  <a:lnTo>
                    <a:pt x="4487" y="592"/>
                  </a:lnTo>
                  <a:lnTo>
                    <a:pt x="4479" y="584"/>
                  </a:lnTo>
                  <a:lnTo>
                    <a:pt x="4472" y="576"/>
                  </a:lnTo>
                  <a:lnTo>
                    <a:pt x="4465" y="567"/>
                  </a:lnTo>
                  <a:lnTo>
                    <a:pt x="4458" y="559"/>
                  </a:lnTo>
                  <a:lnTo>
                    <a:pt x="4452" y="550"/>
                  </a:lnTo>
                  <a:lnTo>
                    <a:pt x="4447" y="541"/>
                  </a:lnTo>
                  <a:lnTo>
                    <a:pt x="4442" y="531"/>
                  </a:lnTo>
                  <a:lnTo>
                    <a:pt x="4437" y="521"/>
                  </a:lnTo>
                  <a:lnTo>
                    <a:pt x="4434" y="511"/>
                  </a:lnTo>
                  <a:lnTo>
                    <a:pt x="4430" y="500"/>
                  </a:lnTo>
                  <a:lnTo>
                    <a:pt x="4427" y="489"/>
                  </a:lnTo>
                  <a:lnTo>
                    <a:pt x="4424" y="478"/>
                  </a:lnTo>
                  <a:lnTo>
                    <a:pt x="4421" y="467"/>
                  </a:lnTo>
                  <a:lnTo>
                    <a:pt x="4419" y="442"/>
                  </a:lnTo>
                  <a:lnTo>
                    <a:pt x="4418" y="417"/>
                  </a:lnTo>
                  <a:lnTo>
                    <a:pt x="4418" y="404"/>
                  </a:lnTo>
                  <a:lnTo>
                    <a:pt x="4419" y="391"/>
                  </a:lnTo>
                  <a:lnTo>
                    <a:pt x="4420" y="379"/>
                  </a:lnTo>
                  <a:lnTo>
                    <a:pt x="4423" y="367"/>
                  </a:lnTo>
                  <a:lnTo>
                    <a:pt x="4425" y="355"/>
                  </a:lnTo>
                  <a:lnTo>
                    <a:pt x="4428" y="344"/>
                  </a:lnTo>
                  <a:lnTo>
                    <a:pt x="4431" y="333"/>
                  </a:lnTo>
                  <a:lnTo>
                    <a:pt x="4435" y="321"/>
                  </a:lnTo>
                  <a:lnTo>
                    <a:pt x="4439" y="311"/>
                  </a:lnTo>
                  <a:lnTo>
                    <a:pt x="4444" y="301"/>
                  </a:lnTo>
                  <a:lnTo>
                    <a:pt x="4449" y="291"/>
                  </a:lnTo>
                  <a:lnTo>
                    <a:pt x="4455" y="281"/>
                  </a:lnTo>
                  <a:lnTo>
                    <a:pt x="4462" y="272"/>
                  </a:lnTo>
                  <a:lnTo>
                    <a:pt x="4469" y="263"/>
                  </a:lnTo>
                  <a:lnTo>
                    <a:pt x="4476" y="254"/>
                  </a:lnTo>
                  <a:lnTo>
                    <a:pt x="4484" y="245"/>
                  </a:lnTo>
                  <a:lnTo>
                    <a:pt x="4492" y="237"/>
                  </a:lnTo>
                  <a:lnTo>
                    <a:pt x="4502" y="230"/>
                  </a:lnTo>
                  <a:lnTo>
                    <a:pt x="4511" y="223"/>
                  </a:lnTo>
                  <a:lnTo>
                    <a:pt x="4520" y="215"/>
                  </a:lnTo>
                  <a:lnTo>
                    <a:pt x="4529" y="210"/>
                  </a:lnTo>
                  <a:lnTo>
                    <a:pt x="4540" y="204"/>
                  </a:lnTo>
                  <a:lnTo>
                    <a:pt x="4550" y="199"/>
                  </a:lnTo>
                  <a:lnTo>
                    <a:pt x="4561" y="195"/>
                  </a:lnTo>
                  <a:lnTo>
                    <a:pt x="4573" y="191"/>
                  </a:lnTo>
                  <a:lnTo>
                    <a:pt x="4584" y="188"/>
                  </a:lnTo>
                  <a:lnTo>
                    <a:pt x="4595" y="185"/>
                  </a:lnTo>
                  <a:lnTo>
                    <a:pt x="4607" y="183"/>
                  </a:lnTo>
                  <a:lnTo>
                    <a:pt x="4620" y="181"/>
                  </a:lnTo>
                  <a:lnTo>
                    <a:pt x="4632" y="179"/>
                  </a:lnTo>
                  <a:lnTo>
                    <a:pt x="4645" y="178"/>
                  </a:lnTo>
                  <a:lnTo>
                    <a:pt x="4659" y="178"/>
                  </a:lnTo>
                  <a:lnTo>
                    <a:pt x="4676" y="178"/>
                  </a:lnTo>
                  <a:lnTo>
                    <a:pt x="4692" y="179"/>
                  </a:lnTo>
                  <a:lnTo>
                    <a:pt x="4707" y="182"/>
                  </a:lnTo>
                  <a:lnTo>
                    <a:pt x="4722" y="185"/>
                  </a:lnTo>
                  <a:lnTo>
                    <a:pt x="4736" y="188"/>
                  </a:lnTo>
                  <a:lnTo>
                    <a:pt x="4748" y="192"/>
                  </a:lnTo>
                  <a:lnTo>
                    <a:pt x="4761" y="196"/>
                  </a:lnTo>
                  <a:lnTo>
                    <a:pt x="4772" y="201"/>
                  </a:lnTo>
                  <a:lnTo>
                    <a:pt x="4753" y="265"/>
                  </a:lnTo>
                  <a:lnTo>
                    <a:pt x="4743" y="260"/>
                  </a:lnTo>
                  <a:lnTo>
                    <a:pt x="4733" y="256"/>
                  </a:lnTo>
                  <a:lnTo>
                    <a:pt x="4722" y="251"/>
                  </a:lnTo>
                  <a:lnTo>
                    <a:pt x="4710" y="248"/>
                  </a:lnTo>
                  <a:lnTo>
                    <a:pt x="4698" y="246"/>
                  </a:lnTo>
                  <a:lnTo>
                    <a:pt x="4686" y="244"/>
                  </a:lnTo>
                  <a:lnTo>
                    <a:pt x="4672" y="243"/>
                  </a:lnTo>
                  <a:lnTo>
                    <a:pt x="4659" y="243"/>
                  </a:lnTo>
                  <a:lnTo>
                    <a:pt x="4641" y="244"/>
                  </a:lnTo>
                  <a:lnTo>
                    <a:pt x="4624" y="246"/>
                  </a:lnTo>
                  <a:lnTo>
                    <a:pt x="4607" y="250"/>
                  </a:lnTo>
                  <a:lnTo>
                    <a:pt x="4593" y="256"/>
                  </a:lnTo>
                  <a:lnTo>
                    <a:pt x="4579" y="263"/>
                  </a:lnTo>
                  <a:lnTo>
                    <a:pt x="4565" y="271"/>
                  </a:lnTo>
                  <a:lnTo>
                    <a:pt x="4553" y="281"/>
                  </a:lnTo>
                  <a:lnTo>
                    <a:pt x="4542" y="294"/>
                  </a:lnTo>
                  <a:lnTo>
                    <a:pt x="4531" y="305"/>
                  </a:lnTo>
                  <a:lnTo>
                    <a:pt x="4523" y="318"/>
                  </a:lnTo>
                  <a:lnTo>
                    <a:pt x="4516" y="332"/>
                  </a:lnTo>
                  <a:lnTo>
                    <a:pt x="4511" y="346"/>
                  </a:lnTo>
                  <a:lnTo>
                    <a:pt x="4507" y="362"/>
                  </a:lnTo>
                  <a:lnTo>
                    <a:pt x="4503" y="378"/>
                  </a:lnTo>
                  <a:lnTo>
                    <a:pt x="4502" y="396"/>
                  </a:lnTo>
                  <a:lnTo>
                    <a:pt x="4501" y="413"/>
                  </a:lnTo>
                  <a:lnTo>
                    <a:pt x="4502" y="432"/>
                  </a:lnTo>
                  <a:lnTo>
                    <a:pt x="4504" y="449"/>
                  </a:lnTo>
                  <a:lnTo>
                    <a:pt x="4507" y="467"/>
                  </a:lnTo>
                  <a:lnTo>
                    <a:pt x="4512" y="482"/>
                  </a:lnTo>
                  <a:lnTo>
                    <a:pt x="4518" y="496"/>
                  </a:lnTo>
                  <a:lnTo>
                    <a:pt x="4525" y="511"/>
                  </a:lnTo>
                  <a:lnTo>
                    <a:pt x="4535" y="523"/>
                  </a:lnTo>
                  <a:lnTo>
                    <a:pt x="4545" y="535"/>
                  </a:lnTo>
                  <a:lnTo>
                    <a:pt x="4556" y="546"/>
                  </a:lnTo>
                  <a:lnTo>
                    <a:pt x="4568" y="555"/>
                  </a:lnTo>
                  <a:lnTo>
                    <a:pt x="4581" y="563"/>
                  </a:lnTo>
                  <a:lnTo>
                    <a:pt x="4594" y="569"/>
                  </a:lnTo>
                  <a:lnTo>
                    <a:pt x="4608" y="575"/>
                  </a:lnTo>
                  <a:lnTo>
                    <a:pt x="4624" y="579"/>
                  </a:lnTo>
                  <a:lnTo>
                    <a:pt x="4639" y="581"/>
                  </a:lnTo>
                  <a:lnTo>
                    <a:pt x="4657" y="581"/>
                  </a:lnTo>
                  <a:lnTo>
                    <a:pt x="4669" y="581"/>
                  </a:lnTo>
                  <a:lnTo>
                    <a:pt x="4681" y="580"/>
                  </a:lnTo>
                  <a:lnTo>
                    <a:pt x="4694" y="578"/>
                  </a:lnTo>
                  <a:lnTo>
                    <a:pt x="4706" y="576"/>
                  </a:lnTo>
                  <a:lnTo>
                    <a:pt x="4718" y="572"/>
                  </a:lnTo>
                  <a:lnTo>
                    <a:pt x="4732" y="568"/>
                  </a:lnTo>
                  <a:lnTo>
                    <a:pt x="4744" y="564"/>
                  </a:lnTo>
                  <a:lnTo>
                    <a:pt x="4756" y="559"/>
                  </a:lnTo>
                  <a:close/>
                  <a:moveTo>
                    <a:pt x="5225" y="427"/>
                  </a:moveTo>
                  <a:lnTo>
                    <a:pt x="4913" y="426"/>
                  </a:lnTo>
                  <a:lnTo>
                    <a:pt x="4914" y="445"/>
                  </a:lnTo>
                  <a:lnTo>
                    <a:pt x="4916" y="463"/>
                  </a:lnTo>
                  <a:lnTo>
                    <a:pt x="4920" y="480"/>
                  </a:lnTo>
                  <a:lnTo>
                    <a:pt x="4925" y="495"/>
                  </a:lnTo>
                  <a:lnTo>
                    <a:pt x="4931" y="510"/>
                  </a:lnTo>
                  <a:lnTo>
                    <a:pt x="4939" y="523"/>
                  </a:lnTo>
                  <a:lnTo>
                    <a:pt x="4949" y="535"/>
                  </a:lnTo>
                  <a:lnTo>
                    <a:pt x="4959" y="546"/>
                  </a:lnTo>
                  <a:lnTo>
                    <a:pt x="4969" y="554"/>
                  </a:lnTo>
                  <a:lnTo>
                    <a:pt x="4980" y="562"/>
                  </a:lnTo>
                  <a:lnTo>
                    <a:pt x="4993" y="568"/>
                  </a:lnTo>
                  <a:lnTo>
                    <a:pt x="5006" y="573"/>
                  </a:lnTo>
                  <a:lnTo>
                    <a:pt x="5019" y="577"/>
                  </a:lnTo>
                  <a:lnTo>
                    <a:pt x="5034" y="580"/>
                  </a:lnTo>
                  <a:lnTo>
                    <a:pt x="5049" y="582"/>
                  </a:lnTo>
                  <a:lnTo>
                    <a:pt x="5066" y="582"/>
                  </a:lnTo>
                  <a:lnTo>
                    <a:pt x="5082" y="582"/>
                  </a:lnTo>
                  <a:lnTo>
                    <a:pt x="5099" y="581"/>
                  </a:lnTo>
                  <a:lnTo>
                    <a:pt x="5115" y="579"/>
                  </a:lnTo>
                  <a:lnTo>
                    <a:pt x="5130" y="577"/>
                  </a:lnTo>
                  <a:lnTo>
                    <a:pt x="5146" y="573"/>
                  </a:lnTo>
                  <a:lnTo>
                    <a:pt x="5161" y="569"/>
                  </a:lnTo>
                  <a:lnTo>
                    <a:pt x="5176" y="564"/>
                  </a:lnTo>
                  <a:lnTo>
                    <a:pt x="5189" y="559"/>
                  </a:lnTo>
                  <a:lnTo>
                    <a:pt x="5203" y="618"/>
                  </a:lnTo>
                  <a:lnTo>
                    <a:pt x="5187" y="624"/>
                  </a:lnTo>
                  <a:lnTo>
                    <a:pt x="5171" y="630"/>
                  </a:lnTo>
                  <a:lnTo>
                    <a:pt x="5153" y="635"/>
                  </a:lnTo>
                  <a:lnTo>
                    <a:pt x="5135" y="639"/>
                  </a:lnTo>
                  <a:lnTo>
                    <a:pt x="5116" y="642"/>
                  </a:lnTo>
                  <a:lnTo>
                    <a:pt x="5096" y="644"/>
                  </a:lnTo>
                  <a:lnTo>
                    <a:pt x="5075" y="646"/>
                  </a:lnTo>
                  <a:lnTo>
                    <a:pt x="5054" y="647"/>
                  </a:lnTo>
                  <a:lnTo>
                    <a:pt x="5029" y="646"/>
                  </a:lnTo>
                  <a:lnTo>
                    <a:pt x="5006" y="642"/>
                  </a:lnTo>
                  <a:lnTo>
                    <a:pt x="4995" y="640"/>
                  </a:lnTo>
                  <a:lnTo>
                    <a:pt x="4984" y="637"/>
                  </a:lnTo>
                  <a:lnTo>
                    <a:pt x="4973" y="634"/>
                  </a:lnTo>
                  <a:lnTo>
                    <a:pt x="4963" y="631"/>
                  </a:lnTo>
                  <a:lnTo>
                    <a:pt x="4953" y="627"/>
                  </a:lnTo>
                  <a:lnTo>
                    <a:pt x="4943" y="622"/>
                  </a:lnTo>
                  <a:lnTo>
                    <a:pt x="4934" y="617"/>
                  </a:lnTo>
                  <a:lnTo>
                    <a:pt x="4925" y="612"/>
                  </a:lnTo>
                  <a:lnTo>
                    <a:pt x="4917" y="605"/>
                  </a:lnTo>
                  <a:lnTo>
                    <a:pt x="4909" y="598"/>
                  </a:lnTo>
                  <a:lnTo>
                    <a:pt x="4900" y="592"/>
                  </a:lnTo>
                  <a:lnTo>
                    <a:pt x="4893" y="584"/>
                  </a:lnTo>
                  <a:lnTo>
                    <a:pt x="4886" y="576"/>
                  </a:lnTo>
                  <a:lnTo>
                    <a:pt x="4879" y="567"/>
                  </a:lnTo>
                  <a:lnTo>
                    <a:pt x="4873" y="559"/>
                  </a:lnTo>
                  <a:lnTo>
                    <a:pt x="4866" y="551"/>
                  </a:lnTo>
                  <a:lnTo>
                    <a:pt x="4861" y="542"/>
                  </a:lnTo>
                  <a:lnTo>
                    <a:pt x="4856" y="531"/>
                  </a:lnTo>
                  <a:lnTo>
                    <a:pt x="4852" y="522"/>
                  </a:lnTo>
                  <a:lnTo>
                    <a:pt x="4848" y="512"/>
                  </a:lnTo>
                  <a:lnTo>
                    <a:pt x="4845" y="501"/>
                  </a:lnTo>
                  <a:lnTo>
                    <a:pt x="4842" y="490"/>
                  </a:lnTo>
                  <a:lnTo>
                    <a:pt x="4840" y="480"/>
                  </a:lnTo>
                  <a:lnTo>
                    <a:pt x="4837" y="469"/>
                  </a:lnTo>
                  <a:lnTo>
                    <a:pt x="4835" y="445"/>
                  </a:lnTo>
                  <a:lnTo>
                    <a:pt x="4834" y="419"/>
                  </a:lnTo>
                  <a:lnTo>
                    <a:pt x="4835" y="394"/>
                  </a:lnTo>
                  <a:lnTo>
                    <a:pt x="4837" y="370"/>
                  </a:lnTo>
                  <a:lnTo>
                    <a:pt x="4842" y="346"/>
                  </a:lnTo>
                  <a:lnTo>
                    <a:pt x="4848" y="324"/>
                  </a:lnTo>
                  <a:lnTo>
                    <a:pt x="4852" y="313"/>
                  </a:lnTo>
                  <a:lnTo>
                    <a:pt x="4856" y="303"/>
                  </a:lnTo>
                  <a:lnTo>
                    <a:pt x="4860" y="293"/>
                  </a:lnTo>
                  <a:lnTo>
                    <a:pt x="4865" y="282"/>
                  </a:lnTo>
                  <a:lnTo>
                    <a:pt x="4872" y="273"/>
                  </a:lnTo>
                  <a:lnTo>
                    <a:pt x="4878" y="264"/>
                  </a:lnTo>
                  <a:lnTo>
                    <a:pt x="4884" y="255"/>
                  </a:lnTo>
                  <a:lnTo>
                    <a:pt x="4891" y="246"/>
                  </a:lnTo>
                  <a:lnTo>
                    <a:pt x="4898" y="238"/>
                  </a:lnTo>
                  <a:lnTo>
                    <a:pt x="4905" y="230"/>
                  </a:lnTo>
                  <a:lnTo>
                    <a:pt x="4914" y="223"/>
                  </a:lnTo>
                  <a:lnTo>
                    <a:pt x="4922" y="217"/>
                  </a:lnTo>
                  <a:lnTo>
                    <a:pt x="4930" y="210"/>
                  </a:lnTo>
                  <a:lnTo>
                    <a:pt x="4939" y="204"/>
                  </a:lnTo>
                  <a:lnTo>
                    <a:pt x="4949" y="199"/>
                  </a:lnTo>
                  <a:lnTo>
                    <a:pt x="4958" y="195"/>
                  </a:lnTo>
                  <a:lnTo>
                    <a:pt x="4967" y="191"/>
                  </a:lnTo>
                  <a:lnTo>
                    <a:pt x="4977" y="187"/>
                  </a:lnTo>
                  <a:lnTo>
                    <a:pt x="4988" y="185"/>
                  </a:lnTo>
                  <a:lnTo>
                    <a:pt x="4999" y="182"/>
                  </a:lnTo>
                  <a:lnTo>
                    <a:pt x="5009" y="179"/>
                  </a:lnTo>
                  <a:lnTo>
                    <a:pt x="5021" y="178"/>
                  </a:lnTo>
                  <a:lnTo>
                    <a:pt x="5032" y="177"/>
                  </a:lnTo>
                  <a:lnTo>
                    <a:pt x="5044" y="177"/>
                  </a:lnTo>
                  <a:lnTo>
                    <a:pt x="5055" y="177"/>
                  </a:lnTo>
                  <a:lnTo>
                    <a:pt x="5068" y="178"/>
                  </a:lnTo>
                  <a:lnTo>
                    <a:pt x="5079" y="181"/>
                  </a:lnTo>
                  <a:lnTo>
                    <a:pt x="5090" y="183"/>
                  </a:lnTo>
                  <a:lnTo>
                    <a:pt x="5101" y="185"/>
                  </a:lnTo>
                  <a:lnTo>
                    <a:pt x="5111" y="188"/>
                  </a:lnTo>
                  <a:lnTo>
                    <a:pt x="5120" y="192"/>
                  </a:lnTo>
                  <a:lnTo>
                    <a:pt x="5129" y="196"/>
                  </a:lnTo>
                  <a:lnTo>
                    <a:pt x="5139" y="201"/>
                  </a:lnTo>
                  <a:lnTo>
                    <a:pt x="5148" y="206"/>
                  </a:lnTo>
                  <a:lnTo>
                    <a:pt x="5156" y="212"/>
                  </a:lnTo>
                  <a:lnTo>
                    <a:pt x="5163" y="220"/>
                  </a:lnTo>
                  <a:lnTo>
                    <a:pt x="5172" y="227"/>
                  </a:lnTo>
                  <a:lnTo>
                    <a:pt x="5178" y="234"/>
                  </a:lnTo>
                  <a:lnTo>
                    <a:pt x="5185" y="242"/>
                  </a:lnTo>
                  <a:lnTo>
                    <a:pt x="5191" y="251"/>
                  </a:lnTo>
                  <a:lnTo>
                    <a:pt x="5200" y="266"/>
                  </a:lnTo>
                  <a:lnTo>
                    <a:pt x="5208" y="281"/>
                  </a:lnTo>
                  <a:lnTo>
                    <a:pt x="5215" y="298"/>
                  </a:lnTo>
                  <a:lnTo>
                    <a:pt x="5220" y="314"/>
                  </a:lnTo>
                  <a:lnTo>
                    <a:pt x="5224" y="332"/>
                  </a:lnTo>
                  <a:lnTo>
                    <a:pt x="5227" y="349"/>
                  </a:lnTo>
                  <a:lnTo>
                    <a:pt x="5229" y="369"/>
                  </a:lnTo>
                  <a:lnTo>
                    <a:pt x="5229" y="388"/>
                  </a:lnTo>
                  <a:lnTo>
                    <a:pt x="5229" y="400"/>
                  </a:lnTo>
                  <a:lnTo>
                    <a:pt x="5228" y="410"/>
                  </a:lnTo>
                  <a:lnTo>
                    <a:pt x="5227" y="419"/>
                  </a:lnTo>
                  <a:lnTo>
                    <a:pt x="5225" y="427"/>
                  </a:lnTo>
                  <a:close/>
                  <a:moveTo>
                    <a:pt x="4913" y="368"/>
                  </a:moveTo>
                  <a:lnTo>
                    <a:pt x="5150" y="368"/>
                  </a:lnTo>
                  <a:lnTo>
                    <a:pt x="5150" y="355"/>
                  </a:lnTo>
                  <a:lnTo>
                    <a:pt x="5149" y="344"/>
                  </a:lnTo>
                  <a:lnTo>
                    <a:pt x="5148" y="332"/>
                  </a:lnTo>
                  <a:lnTo>
                    <a:pt x="5145" y="321"/>
                  </a:lnTo>
                  <a:lnTo>
                    <a:pt x="5142" y="311"/>
                  </a:lnTo>
                  <a:lnTo>
                    <a:pt x="5139" y="301"/>
                  </a:lnTo>
                  <a:lnTo>
                    <a:pt x="5134" y="292"/>
                  </a:lnTo>
                  <a:lnTo>
                    <a:pt x="5128" y="282"/>
                  </a:lnTo>
                  <a:lnTo>
                    <a:pt x="5120" y="271"/>
                  </a:lnTo>
                  <a:lnTo>
                    <a:pt x="5112" y="262"/>
                  </a:lnTo>
                  <a:lnTo>
                    <a:pt x="5102" y="254"/>
                  </a:lnTo>
                  <a:lnTo>
                    <a:pt x="5091" y="247"/>
                  </a:lnTo>
                  <a:lnTo>
                    <a:pt x="5079" y="242"/>
                  </a:lnTo>
                  <a:lnTo>
                    <a:pt x="5067" y="239"/>
                  </a:lnTo>
                  <a:lnTo>
                    <a:pt x="5052" y="237"/>
                  </a:lnTo>
                  <a:lnTo>
                    <a:pt x="5037" y="236"/>
                  </a:lnTo>
                  <a:lnTo>
                    <a:pt x="5024" y="237"/>
                  </a:lnTo>
                  <a:lnTo>
                    <a:pt x="5010" y="239"/>
                  </a:lnTo>
                  <a:lnTo>
                    <a:pt x="4998" y="242"/>
                  </a:lnTo>
                  <a:lnTo>
                    <a:pt x="4987" y="247"/>
                  </a:lnTo>
                  <a:lnTo>
                    <a:pt x="4975" y="254"/>
                  </a:lnTo>
                  <a:lnTo>
                    <a:pt x="4965" y="261"/>
                  </a:lnTo>
                  <a:lnTo>
                    <a:pt x="4956" y="270"/>
                  </a:lnTo>
                  <a:lnTo>
                    <a:pt x="4947" y="280"/>
                  </a:lnTo>
                  <a:lnTo>
                    <a:pt x="4940" y="290"/>
                  </a:lnTo>
                  <a:lnTo>
                    <a:pt x="4934" y="300"/>
                  </a:lnTo>
                  <a:lnTo>
                    <a:pt x="4929" y="310"/>
                  </a:lnTo>
                  <a:lnTo>
                    <a:pt x="4924" y="320"/>
                  </a:lnTo>
                  <a:lnTo>
                    <a:pt x="4920" y="332"/>
                  </a:lnTo>
                  <a:lnTo>
                    <a:pt x="4917" y="343"/>
                  </a:lnTo>
                  <a:lnTo>
                    <a:pt x="4914" y="355"/>
                  </a:lnTo>
                  <a:lnTo>
                    <a:pt x="4913" y="368"/>
                  </a:lnTo>
                  <a:close/>
                  <a:moveTo>
                    <a:pt x="5330" y="637"/>
                  </a:moveTo>
                  <a:lnTo>
                    <a:pt x="5330" y="328"/>
                  </a:lnTo>
                  <a:lnTo>
                    <a:pt x="5330" y="291"/>
                  </a:lnTo>
                  <a:lnTo>
                    <a:pt x="5330" y="256"/>
                  </a:lnTo>
                  <a:lnTo>
                    <a:pt x="5329" y="221"/>
                  </a:lnTo>
                  <a:lnTo>
                    <a:pt x="5328" y="188"/>
                  </a:lnTo>
                  <a:lnTo>
                    <a:pt x="5399" y="188"/>
                  </a:lnTo>
                  <a:lnTo>
                    <a:pt x="5402" y="276"/>
                  </a:lnTo>
                  <a:lnTo>
                    <a:pt x="5406" y="276"/>
                  </a:lnTo>
                  <a:lnTo>
                    <a:pt x="5409" y="265"/>
                  </a:lnTo>
                  <a:lnTo>
                    <a:pt x="5414" y="255"/>
                  </a:lnTo>
                  <a:lnTo>
                    <a:pt x="5419" y="245"/>
                  </a:lnTo>
                  <a:lnTo>
                    <a:pt x="5425" y="236"/>
                  </a:lnTo>
                  <a:lnTo>
                    <a:pt x="5432" y="227"/>
                  </a:lnTo>
                  <a:lnTo>
                    <a:pt x="5439" y="219"/>
                  </a:lnTo>
                  <a:lnTo>
                    <a:pt x="5446" y="211"/>
                  </a:lnTo>
                  <a:lnTo>
                    <a:pt x="5454" y="204"/>
                  </a:lnTo>
                  <a:lnTo>
                    <a:pt x="5463" y="198"/>
                  </a:lnTo>
                  <a:lnTo>
                    <a:pt x="5472" y="193"/>
                  </a:lnTo>
                  <a:lnTo>
                    <a:pt x="5481" y="188"/>
                  </a:lnTo>
                  <a:lnTo>
                    <a:pt x="5490" y="185"/>
                  </a:lnTo>
                  <a:lnTo>
                    <a:pt x="5500" y="182"/>
                  </a:lnTo>
                  <a:lnTo>
                    <a:pt x="5510" y="179"/>
                  </a:lnTo>
                  <a:lnTo>
                    <a:pt x="5520" y="177"/>
                  </a:lnTo>
                  <a:lnTo>
                    <a:pt x="5529" y="177"/>
                  </a:lnTo>
                  <a:lnTo>
                    <a:pt x="5541" y="178"/>
                  </a:lnTo>
                  <a:lnTo>
                    <a:pt x="5553" y="181"/>
                  </a:lnTo>
                  <a:lnTo>
                    <a:pt x="5553" y="258"/>
                  </a:lnTo>
                  <a:lnTo>
                    <a:pt x="5539" y="256"/>
                  </a:lnTo>
                  <a:lnTo>
                    <a:pt x="5524" y="255"/>
                  </a:lnTo>
                  <a:lnTo>
                    <a:pt x="5511" y="256"/>
                  </a:lnTo>
                  <a:lnTo>
                    <a:pt x="5498" y="258"/>
                  </a:lnTo>
                  <a:lnTo>
                    <a:pt x="5486" y="261"/>
                  </a:lnTo>
                  <a:lnTo>
                    <a:pt x="5475" y="266"/>
                  </a:lnTo>
                  <a:lnTo>
                    <a:pt x="5464" y="272"/>
                  </a:lnTo>
                  <a:lnTo>
                    <a:pt x="5455" y="280"/>
                  </a:lnTo>
                  <a:lnTo>
                    <a:pt x="5446" y="290"/>
                  </a:lnTo>
                  <a:lnTo>
                    <a:pt x="5438" y="300"/>
                  </a:lnTo>
                  <a:lnTo>
                    <a:pt x="5432" y="310"/>
                  </a:lnTo>
                  <a:lnTo>
                    <a:pt x="5426" y="321"/>
                  </a:lnTo>
                  <a:lnTo>
                    <a:pt x="5421" y="333"/>
                  </a:lnTo>
                  <a:lnTo>
                    <a:pt x="5418" y="344"/>
                  </a:lnTo>
                  <a:lnTo>
                    <a:pt x="5415" y="356"/>
                  </a:lnTo>
                  <a:lnTo>
                    <a:pt x="5413" y="370"/>
                  </a:lnTo>
                  <a:lnTo>
                    <a:pt x="5411" y="383"/>
                  </a:lnTo>
                  <a:lnTo>
                    <a:pt x="5411" y="398"/>
                  </a:lnTo>
                  <a:lnTo>
                    <a:pt x="5411" y="637"/>
                  </a:lnTo>
                  <a:lnTo>
                    <a:pt x="5330" y="637"/>
                  </a:lnTo>
                  <a:close/>
                  <a:moveTo>
                    <a:pt x="5652" y="105"/>
                  </a:moveTo>
                  <a:lnTo>
                    <a:pt x="5732" y="80"/>
                  </a:lnTo>
                  <a:lnTo>
                    <a:pt x="5732" y="188"/>
                  </a:lnTo>
                  <a:lnTo>
                    <a:pt x="5849" y="188"/>
                  </a:lnTo>
                  <a:lnTo>
                    <a:pt x="5849" y="249"/>
                  </a:lnTo>
                  <a:lnTo>
                    <a:pt x="5732" y="249"/>
                  </a:lnTo>
                  <a:lnTo>
                    <a:pt x="5732" y="492"/>
                  </a:lnTo>
                  <a:lnTo>
                    <a:pt x="5733" y="503"/>
                  </a:lnTo>
                  <a:lnTo>
                    <a:pt x="5733" y="513"/>
                  </a:lnTo>
                  <a:lnTo>
                    <a:pt x="5734" y="522"/>
                  </a:lnTo>
                  <a:lnTo>
                    <a:pt x="5736" y="530"/>
                  </a:lnTo>
                  <a:lnTo>
                    <a:pt x="5738" y="539"/>
                  </a:lnTo>
                  <a:lnTo>
                    <a:pt x="5741" y="546"/>
                  </a:lnTo>
                  <a:lnTo>
                    <a:pt x="5744" y="552"/>
                  </a:lnTo>
                  <a:lnTo>
                    <a:pt x="5747" y="557"/>
                  </a:lnTo>
                  <a:lnTo>
                    <a:pt x="5751" y="562"/>
                  </a:lnTo>
                  <a:lnTo>
                    <a:pt x="5756" y="567"/>
                  </a:lnTo>
                  <a:lnTo>
                    <a:pt x="5760" y="570"/>
                  </a:lnTo>
                  <a:lnTo>
                    <a:pt x="5766" y="573"/>
                  </a:lnTo>
                  <a:lnTo>
                    <a:pt x="5773" y="577"/>
                  </a:lnTo>
                  <a:lnTo>
                    <a:pt x="5779" y="578"/>
                  </a:lnTo>
                  <a:lnTo>
                    <a:pt x="5786" y="579"/>
                  </a:lnTo>
                  <a:lnTo>
                    <a:pt x="5793" y="580"/>
                  </a:lnTo>
                  <a:lnTo>
                    <a:pt x="5807" y="579"/>
                  </a:lnTo>
                  <a:lnTo>
                    <a:pt x="5819" y="578"/>
                  </a:lnTo>
                  <a:lnTo>
                    <a:pt x="5830" y="577"/>
                  </a:lnTo>
                  <a:lnTo>
                    <a:pt x="5840" y="573"/>
                  </a:lnTo>
                  <a:lnTo>
                    <a:pt x="5844" y="635"/>
                  </a:lnTo>
                  <a:lnTo>
                    <a:pt x="5829" y="640"/>
                  </a:lnTo>
                  <a:lnTo>
                    <a:pt x="5812" y="644"/>
                  </a:lnTo>
                  <a:lnTo>
                    <a:pt x="5792" y="647"/>
                  </a:lnTo>
                  <a:lnTo>
                    <a:pt x="5772" y="648"/>
                  </a:lnTo>
                  <a:lnTo>
                    <a:pt x="5758" y="647"/>
                  </a:lnTo>
                  <a:lnTo>
                    <a:pt x="5745" y="644"/>
                  </a:lnTo>
                  <a:lnTo>
                    <a:pt x="5733" y="642"/>
                  </a:lnTo>
                  <a:lnTo>
                    <a:pt x="5721" y="638"/>
                  </a:lnTo>
                  <a:lnTo>
                    <a:pt x="5710" y="633"/>
                  </a:lnTo>
                  <a:lnTo>
                    <a:pt x="5701" y="627"/>
                  </a:lnTo>
                  <a:lnTo>
                    <a:pt x="5691" y="620"/>
                  </a:lnTo>
                  <a:lnTo>
                    <a:pt x="5683" y="612"/>
                  </a:lnTo>
                  <a:lnTo>
                    <a:pt x="5676" y="602"/>
                  </a:lnTo>
                  <a:lnTo>
                    <a:pt x="5670" y="591"/>
                  </a:lnTo>
                  <a:lnTo>
                    <a:pt x="5665" y="579"/>
                  </a:lnTo>
                  <a:lnTo>
                    <a:pt x="5660" y="565"/>
                  </a:lnTo>
                  <a:lnTo>
                    <a:pt x="5657" y="550"/>
                  </a:lnTo>
                  <a:lnTo>
                    <a:pt x="5654" y="532"/>
                  </a:lnTo>
                  <a:lnTo>
                    <a:pt x="5652" y="515"/>
                  </a:lnTo>
                  <a:lnTo>
                    <a:pt x="5652" y="495"/>
                  </a:lnTo>
                  <a:lnTo>
                    <a:pt x="5652" y="249"/>
                  </a:lnTo>
                  <a:lnTo>
                    <a:pt x="5583" y="249"/>
                  </a:lnTo>
                  <a:lnTo>
                    <a:pt x="5583" y="188"/>
                  </a:lnTo>
                  <a:lnTo>
                    <a:pt x="5652" y="188"/>
                  </a:lnTo>
                  <a:lnTo>
                    <a:pt x="5652" y="105"/>
                  </a:lnTo>
                  <a:close/>
                  <a:moveTo>
                    <a:pt x="6256" y="362"/>
                  </a:moveTo>
                  <a:lnTo>
                    <a:pt x="6256" y="529"/>
                  </a:lnTo>
                  <a:lnTo>
                    <a:pt x="6257" y="561"/>
                  </a:lnTo>
                  <a:lnTo>
                    <a:pt x="6258" y="589"/>
                  </a:lnTo>
                  <a:lnTo>
                    <a:pt x="6260" y="615"/>
                  </a:lnTo>
                  <a:lnTo>
                    <a:pt x="6263" y="637"/>
                  </a:lnTo>
                  <a:lnTo>
                    <a:pt x="6189" y="637"/>
                  </a:lnTo>
                  <a:lnTo>
                    <a:pt x="6183" y="581"/>
                  </a:lnTo>
                  <a:lnTo>
                    <a:pt x="6180" y="581"/>
                  </a:lnTo>
                  <a:lnTo>
                    <a:pt x="6173" y="588"/>
                  </a:lnTo>
                  <a:lnTo>
                    <a:pt x="6167" y="596"/>
                  </a:lnTo>
                  <a:lnTo>
                    <a:pt x="6160" y="603"/>
                  </a:lnTo>
                  <a:lnTo>
                    <a:pt x="6154" y="610"/>
                  </a:lnTo>
                  <a:lnTo>
                    <a:pt x="6146" y="616"/>
                  </a:lnTo>
                  <a:lnTo>
                    <a:pt x="6138" y="621"/>
                  </a:lnTo>
                  <a:lnTo>
                    <a:pt x="6130" y="626"/>
                  </a:lnTo>
                  <a:lnTo>
                    <a:pt x="6122" y="630"/>
                  </a:lnTo>
                  <a:lnTo>
                    <a:pt x="6113" y="634"/>
                  </a:lnTo>
                  <a:lnTo>
                    <a:pt x="6104" y="637"/>
                  </a:lnTo>
                  <a:lnTo>
                    <a:pt x="6094" y="640"/>
                  </a:lnTo>
                  <a:lnTo>
                    <a:pt x="6085" y="642"/>
                  </a:lnTo>
                  <a:lnTo>
                    <a:pt x="6075" y="644"/>
                  </a:lnTo>
                  <a:lnTo>
                    <a:pt x="6064" y="647"/>
                  </a:lnTo>
                  <a:lnTo>
                    <a:pt x="6053" y="647"/>
                  </a:lnTo>
                  <a:lnTo>
                    <a:pt x="6043" y="648"/>
                  </a:lnTo>
                  <a:lnTo>
                    <a:pt x="6026" y="647"/>
                  </a:lnTo>
                  <a:lnTo>
                    <a:pt x="6012" y="644"/>
                  </a:lnTo>
                  <a:lnTo>
                    <a:pt x="5998" y="641"/>
                  </a:lnTo>
                  <a:lnTo>
                    <a:pt x="5984" y="637"/>
                  </a:lnTo>
                  <a:lnTo>
                    <a:pt x="5972" y="631"/>
                  </a:lnTo>
                  <a:lnTo>
                    <a:pt x="5961" y="625"/>
                  </a:lnTo>
                  <a:lnTo>
                    <a:pt x="5949" y="617"/>
                  </a:lnTo>
                  <a:lnTo>
                    <a:pt x="5939" y="607"/>
                  </a:lnTo>
                  <a:lnTo>
                    <a:pt x="5932" y="598"/>
                  </a:lnTo>
                  <a:lnTo>
                    <a:pt x="5925" y="588"/>
                  </a:lnTo>
                  <a:lnTo>
                    <a:pt x="5919" y="578"/>
                  </a:lnTo>
                  <a:lnTo>
                    <a:pt x="5913" y="566"/>
                  </a:lnTo>
                  <a:lnTo>
                    <a:pt x="5910" y="555"/>
                  </a:lnTo>
                  <a:lnTo>
                    <a:pt x="5907" y="543"/>
                  </a:lnTo>
                  <a:lnTo>
                    <a:pt x="5906" y="531"/>
                  </a:lnTo>
                  <a:lnTo>
                    <a:pt x="5905" y="518"/>
                  </a:lnTo>
                  <a:lnTo>
                    <a:pt x="5905" y="508"/>
                  </a:lnTo>
                  <a:lnTo>
                    <a:pt x="5906" y="498"/>
                  </a:lnTo>
                  <a:lnTo>
                    <a:pt x="5907" y="489"/>
                  </a:lnTo>
                  <a:lnTo>
                    <a:pt x="5909" y="480"/>
                  </a:lnTo>
                  <a:lnTo>
                    <a:pt x="5912" y="471"/>
                  </a:lnTo>
                  <a:lnTo>
                    <a:pt x="5915" y="462"/>
                  </a:lnTo>
                  <a:lnTo>
                    <a:pt x="5919" y="454"/>
                  </a:lnTo>
                  <a:lnTo>
                    <a:pt x="5923" y="446"/>
                  </a:lnTo>
                  <a:lnTo>
                    <a:pt x="5928" y="439"/>
                  </a:lnTo>
                  <a:lnTo>
                    <a:pt x="5933" y="432"/>
                  </a:lnTo>
                  <a:lnTo>
                    <a:pt x="5938" y="424"/>
                  </a:lnTo>
                  <a:lnTo>
                    <a:pt x="5944" y="417"/>
                  </a:lnTo>
                  <a:lnTo>
                    <a:pt x="5951" y="411"/>
                  </a:lnTo>
                  <a:lnTo>
                    <a:pt x="5959" y="405"/>
                  </a:lnTo>
                  <a:lnTo>
                    <a:pt x="5967" y="399"/>
                  </a:lnTo>
                  <a:lnTo>
                    <a:pt x="5975" y="393"/>
                  </a:lnTo>
                  <a:lnTo>
                    <a:pt x="5994" y="383"/>
                  </a:lnTo>
                  <a:lnTo>
                    <a:pt x="6014" y="374"/>
                  </a:lnTo>
                  <a:lnTo>
                    <a:pt x="6036" y="367"/>
                  </a:lnTo>
                  <a:lnTo>
                    <a:pt x="6060" y="362"/>
                  </a:lnTo>
                  <a:lnTo>
                    <a:pt x="6086" y="356"/>
                  </a:lnTo>
                  <a:lnTo>
                    <a:pt x="6114" y="353"/>
                  </a:lnTo>
                  <a:lnTo>
                    <a:pt x="6144" y="351"/>
                  </a:lnTo>
                  <a:lnTo>
                    <a:pt x="6175" y="351"/>
                  </a:lnTo>
                  <a:lnTo>
                    <a:pt x="6175" y="342"/>
                  </a:lnTo>
                  <a:lnTo>
                    <a:pt x="6174" y="329"/>
                  </a:lnTo>
                  <a:lnTo>
                    <a:pt x="6173" y="317"/>
                  </a:lnTo>
                  <a:lnTo>
                    <a:pt x="6171" y="306"/>
                  </a:lnTo>
                  <a:lnTo>
                    <a:pt x="6168" y="296"/>
                  </a:lnTo>
                  <a:lnTo>
                    <a:pt x="6165" y="286"/>
                  </a:lnTo>
                  <a:lnTo>
                    <a:pt x="6161" y="278"/>
                  </a:lnTo>
                  <a:lnTo>
                    <a:pt x="6156" y="271"/>
                  </a:lnTo>
                  <a:lnTo>
                    <a:pt x="6150" y="264"/>
                  </a:lnTo>
                  <a:lnTo>
                    <a:pt x="6143" y="258"/>
                  </a:lnTo>
                  <a:lnTo>
                    <a:pt x="6135" y="253"/>
                  </a:lnTo>
                  <a:lnTo>
                    <a:pt x="6127" y="248"/>
                  </a:lnTo>
                  <a:lnTo>
                    <a:pt x="6118" y="244"/>
                  </a:lnTo>
                  <a:lnTo>
                    <a:pt x="6108" y="241"/>
                  </a:lnTo>
                  <a:lnTo>
                    <a:pt x="6097" y="239"/>
                  </a:lnTo>
                  <a:lnTo>
                    <a:pt x="6085" y="238"/>
                  </a:lnTo>
                  <a:lnTo>
                    <a:pt x="6073" y="238"/>
                  </a:lnTo>
                  <a:lnTo>
                    <a:pt x="6056" y="238"/>
                  </a:lnTo>
                  <a:lnTo>
                    <a:pt x="6041" y="240"/>
                  </a:lnTo>
                  <a:lnTo>
                    <a:pt x="6025" y="242"/>
                  </a:lnTo>
                  <a:lnTo>
                    <a:pt x="6010" y="246"/>
                  </a:lnTo>
                  <a:lnTo>
                    <a:pt x="5996" y="250"/>
                  </a:lnTo>
                  <a:lnTo>
                    <a:pt x="5982" y="257"/>
                  </a:lnTo>
                  <a:lnTo>
                    <a:pt x="5969" y="264"/>
                  </a:lnTo>
                  <a:lnTo>
                    <a:pt x="5957" y="271"/>
                  </a:lnTo>
                  <a:lnTo>
                    <a:pt x="5938" y="218"/>
                  </a:lnTo>
                  <a:lnTo>
                    <a:pt x="5953" y="208"/>
                  </a:lnTo>
                  <a:lnTo>
                    <a:pt x="5970" y="200"/>
                  </a:lnTo>
                  <a:lnTo>
                    <a:pt x="5987" y="193"/>
                  </a:lnTo>
                  <a:lnTo>
                    <a:pt x="6005" y="188"/>
                  </a:lnTo>
                  <a:lnTo>
                    <a:pt x="6024" y="183"/>
                  </a:lnTo>
                  <a:lnTo>
                    <a:pt x="6044" y="179"/>
                  </a:lnTo>
                  <a:lnTo>
                    <a:pt x="6063" y="178"/>
                  </a:lnTo>
                  <a:lnTo>
                    <a:pt x="6085" y="177"/>
                  </a:lnTo>
                  <a:lnTo>
                    <a:pt x="6106" y="178"/>
                  </a:lnTo>
                  <a:lnTo>
                    <a:pt x="6125" y="181"/>
                  </a:lnTo>
                  <a:lnTo>
                    <a:pt x="6143" y="184"/>
                  </a:lnTo>
                  <a:lnTo>
                    <a:pt x="6160" y="189"/>
                  </a:lnTo>
                  <a:lnTo>
                    <a:pt x="6175" y="195"/>
                  </a:lnTo>
                  <a:lnTo>
                    <a:pt x="6189" y="203"/>
                  </a:lnTo>
                  <a:lnTo>
                    <a:pt x="6202" y="212"/>
                  </a:lnTo>
                  <a:lnTo>
                    <a:pt x="6213" y="224"/>
                  </a:lnTo>
                  <a:lnTo>
                    <a:pt x="6223" y="236"/>
                  </a:lnTo>
                  <a:lnTo>
                    <a:pt x="6232" y="249"/>
                  </a:lnTo>
                  <a:lnTo>
                    <a:pt x="6239" y="264"/>
                  </a:lnTo>
                  <a:lnTo>
                    <a:pt x="6245" y="280"/>
                  </a:lnTo>
                  <a:lnTo>
                    <a:pt x="6249" y="299"/>
                  </a:lnTo>
                  <a:lnTo>
                    <a:pt x="6254" y="318"/>
                  </a:lnTo>
                  <a:lnTo>
                    <a:pt x="6255" y="339"/>
                  </a:lnTo>
                  <a:lnTo>
                    <a:pt x="6256" y="362"/>
                  </a:lnTo>
                  <a:close/>
                  <a:moveTo>
                    <a:pt x="6175" y="486"/>
                  </a:moveTo>
                  <a:lnTo>
                    <a:pt x="6175" y="408"/>
                  </a:lnTo>
                  <a:lnTo>
                    <a:pt x="6152" y="408"/>
                  </a:lnTo>
                  <a:lnTo>
                    <a:pt x="6131" y="409"/>
                  </a:lnTo>
                  <a:lnTo>
                    <a:pt x="6111" y="410"/>
                  </a:lnTo>
                  <a:lnTo>
                    <a:pt x="6092" y="413"/>
                  </a:lnTo>
                  <a:lnTo>
                    <a:pt x="6076" y="416"/>
                  </a:lnTo>
                  <a:lnTo>
                    <a:pt x="6060" y="420"/>
                  </a:lnTo>
                  <a:lnTo>
                    <a:pt x="6046" y="425"/>
                  </a:lnTo>
                  <a:lnTo>
                    <a:pt x="6034" y="432"/>
                  </a:lnTo>
                  <a:lnTo>
                    <a:pt x="6022" y="438"/>
                  </a:lnTo>
                  <a:lnTo>
                    <a:pt x="6013" y="445"/>
                  </a:lnTo>
                  <a:lnTo>
                    <a:pt x="6005" y="454"/>
                  </a:lnTo>
                  <a:lnTo>
                    <a:pt x="5999" y="463"/>
                  </a:lnTo>
                  <a:lnTo>
                    <a:pt x="5994" y="474"/>
                  </a:lnTo>
                  <a:lnTo>
                    <a:pt x="5989" y="484"/>
                  </a:lnTo>
                  <a:lnTo>
                    <a:pt x="5987" y="496"/>
                  </a:lnTo>
                  <a:lnTo>
                    <a:pt x="5986" y="509"/>
                  </a:lnTo>
                  <a:lnTo>
                    <a:pt x="5987" y="518"/>
                  </a:lnTo>
                  <a:lnTo>
                    <a:pt x="5988" y="527"/>
                  </a:lnTo>
                  <a:lnTo>
                    <a:pt x="5990" y="534"/>
                  </a:lnTo>
                  <a:lnTo>
                    <a:pt x="5993" y="543"/>
                  </a:lnTo>
                  <a:lnTo>
                    <a:pt x="5996" y="550"/>
                  </a:lnTo>
                  <a:lnTo>
                    <a:pt x="6000" y="556"/>
                  </a:lnTo>
                  <a:lnTo>
                    <a:pt x="6005" y="562"/>
                  </a:lnTo>
                  <a:lnTo>
                    <a:pt x="6010" y="567"/>
                  </a:lnTo>
                  <a:lnTo>
                    <a:pt x="6015" y="571"/>
                  </a:lnTo>
                  <a:lnTo>
                    <a:pt x="6020" y="576"/>
                  </a:lnTo>
                  <a:lnTo>
                    <a:pt x="6026" y="579"/>
                  </a:lnTo>
                  <a:lnTo>
                    <a:pt x="6034" y="582"/>
                  </a:lnTo>
                  <a:lnTo>
                    <a:pt x="6040" y="584"/>
                  </a:lnTo>
                  <a:lnTo>
                    <a:pt x="6047" y="586"/>
                  </a:lnTo>
                  <a:lnTo>
                    <a:pt x="6055" y="587"/>
                  </a:lnTo>
                  <a:lnTo>
                    <a:pt x="6063" y="587"/>
                  </a:lnTo>
                  <a:lnTo>
                    <a:pt x="6073" y="587"/>
                  </a:lnTo>
                  <a:lnTo>
                    <a:pt x="6083" y="585"/>
                  </a:lnTo>
                  <a:lnTo>
                    <a:pt x="6092" y="584"/>
                  </a:lnTo>
                  <a:lnTo>
                    <a:pt x="6100" y="581"/>
                  </a:lnTo>
                  <a:lnTo>
                    <a:pt x="6110" y="578"/>
                  </a:lnTo>
                  <a:lnTo>
                    <a:pt x="6118" y="573"/>
                  </a:lnTo>
                  <a:lnTo>
                    <a:pt x="6126" y="569"/>
                  </a:lnTo>
                  <a:lnTo>
                    <a:pt x="6133" y="563"/>
                  </a:lnTo>
                  <a:lnTo>
                    <a:pt x="6140" y="558"/>
                  </a:lnTo>
                  <a:lnTo>
                    <a:pt x="6146" y="553"/>
                  </a:lnTo>
                  <a:lnTo>
                    <a:pt x="6152" y="547"/>
                  </a:lnTo>
                  <a:lnTo>
                    <a:pt x="6156" y="541"/>
                  </a:lnTo>
                  <a:lnTo>
                    <a:pt x="6161" y="533"/>
                  </a:lnTo>
                  <a:lnTo>
                    <a:pt x="6164" y="526"/>
                  </a:lnTo>
                  <a:lnTo>
                    <a:pt x="6167" y="519"/>
                  </a:lnTo>
                  <a:lnTo>
                    <a:pt x="6170" y="512"/>
                  </a:lnTo>
                  <a:lnTo>
                    <a:pt x="6172" y="506"/>
                  </a:lnTo>
                  <a:lnTo>
                    <a:pt x="6173" y="499"/>
                  </a:lnTo>
                  <a:lnTo>
                    <a:pt x="6174" y="493"/>
                  </a:lnTo>
                  <a:lnTo>
                    <a:pt x="6175" y="486"/>
                  </a:lnTo>
                  <a:close/>
                  <a:moveTo>
                    <a:pt x="6469" y="637"/>
                  </a:moveTo>
                  <a:lnTo>
                    <a:pt x="6387" y="637"/>
                  </a:lnTo>
                  <a:lnTo>
                    <a:pt x="6387" y="188"/>
                  </a:lnTo>
                  <a:lnTo>
                    <a:pt x="6469" y="188"/>
                  </a:lnTo>
                  <a:lnTo>
                    <a:pt x="6469" y="637"/>
                  </a:lnTo>
                  <a:close/>
                  <a:moveTo>
                    <a:pt x="6427" y="105"/>
                  </a:moveTo>
                  <a:lnTo>
                    <a:pt x="6426" y="105"/>
                  </a:lnTo>
                  <a:lnTo>
                    <a:pt x="6416" y="104"/>
                  </a:lnTo>
                  <a:lnTo>
                    <a:pt x="6406" y="101"/>
                  </a:lnTo>
                  <a:lnTo>
                    <a:pt x="6401" y="99"/>
                  </a:lnTo>
                  <a:lnTo>
                    <a:pt x="6397" y="96"/>
                  </a:lnTo>
                  <a:lnTo>
                    <a:pt x="6393" y="93"/>
                  </a:lnTo>
                  <a:lnTo>
                    <a:pt x="6389" y="90"/>
                  </a:lnTo>
                  <a:lnTo>
                    <a:pt x="6383" y="82"/>
                  </a:lnTo>
                  <a:lnTo>
                    <a:pt x="6379" y="72"/>
                  </a:lnTo>
                  <a:lnTo>
                    <a:pt x="6376" y="63"/>
                  </a:lnTo>
                  <a:lnTo>
                    <a:pt x="6375" y="52"/>
                  </a:lnTo>
                  <a:lnTo>
                    <a:pt x="6376" y="42"/>
                  </a:lnTo>
                  <a:lnTo>
                    <a:pt x="6379" y="32"/>
                  </a:lnTo>
                  <a:lnTo>
                    <a:pt x="6384" y="23"/>
                  </a:lnTo>
                  <a:lnTo>
                    <a:pt x="6390" y="16"/>
                  </a:lnTo>
                  <a:lnTo>
                    <a:pt x="6394" y="12"/>
                  </a:lnTo>
                  <a:lnTo>
                    <a:pt x="6398" y="9"/>
                  </a:lnTo>
                  <a:lnTo>
                    <a:pt x="6403" y="6"/>
                  </a:lnTo>
                  <a:lnTo>
                    <a:pt x="6407" y="4"/>
                  </a:lnTo>
                  <a:lnTo>
                    <a:pt x="6417" y="2"/>
                  </a:lnTo>
                  <a:lnTo>
                    <a:pt x="6428" y="0"/>
                  </a:lnTo>
                  <a:lnTo>
                    <a:pt x="6439" y="2"/>
                  </a:lnTo>
                  <a:lnTo>
                    <a:pt x="6449" y="4"/>
                  </a:lnTo>
                  <a:lnTo>
                    <a:pt x="6454" y="6"/>
                  </a:lnTo>
                  <a:lnTo>
                    <a:pt x="6458" y="9"/>
                  </a:lnTo>
                  <a:lnTo>
                    <a:pt x="6462" y="12"/>
                  </a:lnTo>
                  <a:lnTo>
                    <a:pt x="6465" y="15"/>
                  </a:lnTo>
                  <a:lnTo>
                    <a:pt x="6472" y="23"/>
                  </a:lnTo>
                  <a:lnTo>
                    <a:pt x="6476" y="31"/>
                  </a:lnTo>
                  <a:lnTo>
                    <a:pt x="6480" y="42"/>
                  </a:lnTo>
                  <a:lnTo>
                    <a:pt x="6480" y="52"/>
                  </a:lnTo>
                  <a:lnTo>
                    <a:pt x="6480" y="63"/>
                  </a:lnTo>
                  <a:lnTo>
                    <a:pt x="6476" y="72"/>
                  </a:lnTo>
                  <a:lnTo>
                    <a:pt x="6472" y="82"/>
                  </a:lnTo>
                  <a:lnTo>
                    <a:pt x="6465" y="90"/>
                  </a:lnTo>
                  <a:lnTo>
                    <a:pt x="6462" y="93"/>
                  </a:lnTo>
                  <a:lnTo>
                    <a:pt x="6458" y="96"/>
                  </a:lnTo>
                  <a:lnTo>
                    <a:pt x="6454" y="99"/>
                  </a:lnTo>
                  <a:lnTo>
                    <a:pt x="6449" y="101"/>
                  </a:lnTo>
                  <a:lnTo>
                    <a:pt x="6444" y="103"/>
                  </a:lnTo>
                  <a:lnTo>
                    <a:pt x="6438" y="104"/>
                  </a:lnTo>
                  <a:lnTo>
                    <a:pt x="6433" y="104"/>
                  </a:lnTo>
                  <a:lnTo>
                    <a:pt x="6427" y="105"/>
                  </a:lnTo>
                  <a:close/>
                  <a:moveTo>
                    <a:pt x="6604" y="637"/>
                  </a:moveTo>
                  <a:lnTo>
                    <a:pt x="6604" y="309"/>
                  </a:lnTo>
                  <a:lnTo>
                    <a:pt x="6604" y="280"/>
                  </a:lnTo>
                  <a:lnTo>
                    <a:pt x="6603" y="250"/>
                  </a:lnTo>
                  <a:lnTo>
                    <a:pt x="6602" y="220"/>
                  </a:lnTo>
                  <a:lnTo>
                    <a:pt x="6601" y="188"/>
                  </a:lnTo>
                  <a:lnTo>
                    <a:pt x="6673" y="188"/>
                  </a:lnTo>
                  <a:lnTo>
                    <a:pt x="6678" y="262"/>
                  </a:lnTo>
                  <a:lnTo>
                    <a:pt x="6679" y="262"/>
                  </a:lnTo>
                  <a:lnTo>
                    <a:pt x="6684" y="254"/>
                  </a:lnTo>
                  <a:lnTo>
                    <a:pt x="6690" y="245"/>
                  </a:lnTo>
                  <a:lnTo>
                    <a:pt x="6695" y="237"/>
                  </a:lnTo>
                  <a:lnTo>
                    <a:pt x="6703" y="230"/>
                  </a:lnTo>
                  <a:lnTo>
                    <a:pt x="6710" y="223"/>
                  </a:lnTo>
                  <a:lnTo>
                    <a:pt x="6717" y="217"/>
                  </a:lnTo>
                  <a:lnTo>
                    <a:pt x="6725" y="210"/>
                  </a:lnTo>
                  <a:lnTo>
                    <a:pt x="6734" y="204"/>
                  </a:lnTo>
                  <a:lnTo>
                    <a:pt x="6745" y="198"/>
                  </a:lnTo>
                  <a:lnTo>
                    <a:pt x="6756" y="193"/>
                  </a:lnTo>
                  <a:lnTo>
                    <a:pt x="6767" y="188"/>
                  </a:lnTo>
                  <a:lnTo>
                    <a:pt x="6779" y="185"/>
                  </a:lnTo>
                  <a:lnTo>
                    <a:pt x="6790" y="182"/>
                  </a:lnTo>
                  <a:lnTo>
                    <a:pt x="6802" y="179"/>
                  </a:lnTo>
                  <a:lnTo>
                    <a:pt x="6815" y="177"/>
                  </a:lnTo>
                  <a:lnTo>
                    <a:pt x="6828" y="177"/>
                  </a:lnTo>
                  <a:lnTo>
                    <a:pt x="6842" y="178"/>
                  </a:lnTo>
                  <a:lnTo>
                    <a:pt x="6857" y="179"/>
                  </a:lnTo>
                  <a:lnTo>
                    <a:pt x="6870" y="183"/>
                  </a:lnTo>
                  <a:lnTo>
                    <a:pt x="6883" y="187"/>
                  </a:lnTo>
                  <a:lnTo>
                    <a:pt x="6896" y="192"/>
                  </a:lnTo>
                  <a:lnTo>
                    <a:pt x="6908" y="199"/>
                  </a:lnTo>
                  <a:lnTo>
                    <a:pt x="6919" y="206"/>
                  </a:lnTo>
                  <a:lnTo>
                    <a:pt x="6930" y="215"/>
                  </a:lnTo>
                  <a:lnTo>
                    <a:pt x="6937" y="222"/>
                  </a:lnTo>
                  <a:lnTo>
                    <a:pt x="6943" y="229"/>
                  </a:lnTo>
                  <a:lnTo>
                    <a:pt x="6949" y="236"/>
                  </a:lnTo>
                  <a:lnTo>
                    <a:pt x="6954" y="244"/>
                  </a:lnTo>
                  <a:lnTo>
                    <a:pt x="6959" y="251"/>
                  </a:lnTo>
                  <a:lnTo>
                    <a:pt x="6965" y="261"/>
                  </a:lnTo>
                  <a:lnTo>
                    <a:pt x="6969" y="269"/>
                  </a:lnTo>
                  <a:lnTo>
                    <a:pt x="6972" y="279"/>
                  </a:lnTo>
                  <a:lnTo>
                    <a:pt x="6976" y="289"/>
                  </a:lnTo>
                  <a:lnTo>
                    <a:pt x="6978" y="299"/>
                  </a:lnTo>
                  <a:lnTo>
                    <a:pt x="6981" y="309"/>
                  </a:lnTo>
                  <a:lnTo>
                    <a:pt x="6983" y="320"/>
                  </a:lnTo>
                  <a:lnTo>
                    <a:pt x="6985" y="344"/>
                  </a:lnTo>
                  <a:lnTo>
                    <a:pt x="6986" y="369"/>
                  </a:lnTo>
                  <a:lnTo>
                    <a:pt x="6986" y="637"/>
                  </a:lnTo>
                  <a:lnTo>
                    <a:pt x="6905" y="637"/>
                  </a:lnTo>
                  <a:lnTo>
                    <a:pt x="6905" y="378"/>
                  </a:lnTo>
                  <a:lnTo>
                    <a:pt x="6904" y="362"/>
                  </a:lnTo>
                  <a:lnTo>
                    <a:pt x="6903" y="346"/>
                  </a:lnTo>
                  <a:lnTo>
                    <a:pt x="6901" y="333"/>
                  </a:lnTo>
                  <a:lnTo>
                    <a:pt x="6898" y="319"/>
                  </a:lnTo>
                  <a:lnTo>
                    <a:pt x="6895" y="307"/>
                  </a:lnTo>
                  <a:lnTo>
                    <a:pt x="6890" y="297"/>
                  </a:lnTo>
                  <a:lnTo>
                    <a:pt x="6884" y="286"/>
                  </a:lnTo>
                  <a:lnTo>
                    <a:pt x="6878" y="277"/>
                  </a:lnTo>
                  <a:lnTo>
                    <a:pt x="6872" y="270"/>
                  </a:lnTo>
                  <a:lnTo>
                    <a:pt x="6864" y="263"/>
                  </a:lnTo>
                  <a:lnTo>
                    <a:pt x="6856" y="258"/>
                  </a:lnTo>
                  <a:lnTo>
                    <a:pt x="6846" y="253"/>
                  </a:lnTo>
                  <a:lnTo>
                    <a:pt x="6836" y="249"/>
                  </a:lnTo>
                  <a:lnTo>
                    <a:pt x="6825" y="246"/>
                  </a:lnTo>
                  <a:lnTo>
                    <a:pt x="6814" y="244"/>
                  </a:lnTo>
                  <a:lnTo>
                    <a:pt x="6801" y="244"/>
                  </a:lnTo>
                  <a:lnTo>
                    <a:pt x="6791" y="244"/>
                  </a:lnTo>
                  <a:lnTo>
                    <a:pt x="6782" y="245"/>
                  </a:lnTo>
                  <a:lnTo>
                    <a:pt x="6772" y="247"/>
                  </a:lnTo>
                  <a:lnTo>
                    <a:pt x="6764" y="250"/>
                  </a:lnTo>
                  <a:lnTo>
                    <a:pt x="6756" y="254"/>
                  </a:lnTo>
                  <a:lnTo>
                    <a:pt x="6748" y="258"/>
                  </a:lnTo>
                  <a:lnTo>
                    <a:pt x="6740" y="263"/>
                  </a:lnTo>
                  <a:lnTo>
                    <a:pt x="6732" y="268"/>
                  </a:lnTo>
                  <a:lnTo>
                    <a:pt x="6725" y="274"/>
                  </a:lnTo>
                  <a:lnTo>
                    <a:pt x="6719" y="281"/>
                  </a:lnTo>
                  <a:lnTo>
                    <a:pt x="6713" y="289"/>
                  </a:lnTo>
                  <a:lnTo>
                    <a:pt x="6707" y="296"/>
                  </a:lnTo>
                  <a:lnTo>
                    <a:pt x="6703" y="303"/>
                  </a:lnTo>
                  <a:lnTo>
                    <a:pt x="6698" y="311"/>
                  </a:lnTo>
                  <a:lnTo>
                    <a:pt x="6694" y="319"/>
                  </a:lnTo>
                  <a:lnTo>
                    <a:pt x="6691" y="329"/>
                  </a:lnTo>
                  <a:lnTo>
                    <a:pt x="6689" y="337"/>
                  </a:lnTo>
                  <a:lnTo>
                    <a:pt x="6687" y="346"/>
                  </a:lnTo>
                  <a:lnTo>
                    <a:pt x="6686" y="356"/>
                  </a:lnTo>
                  <a:lnTo>
                    <a:pt x="6686" y="367"/>
                  </a:lnTo>
                  <a:lnTo>
                    <a:pt x="6686" y="637"/>
                  </a:lnTo>
                  <a:lnTo>
                    <a:pt x="6604" y="637"/>
                  </a:lnTo>
                  <a:close/>
                  <a:moveTo>
                    <a:pt x="7137" y="105"/>
                  </a:moveTo>
                  <a:lnTo>
                    <a:pt x="7217" y="80"/>
                  </a:lnTo>
                  <a:lnTo>
                    <a:pt x="7217" y="188"/>
                  </a:lnTo>
                  <a:lnTo>
                    <a:pt x="7333" y="188"/>
                  </a:lnTo>
                  <a:lnTo>
                    <a:pt x="7333" y="249"/>
                  </a:lnTo>
                  <a:lnTo>
                    <a:pt x="7217" y="249"/>
                  </a:lnTo>
                  <a:lnTo>
                    <a:pt x="7217" y="492"/>
                  </a:lnTo>
                  <a:lnTo>
                    <a:pt x="7217" y="503"/>
                  </a:lnTo>
                  <a:lnTo>
                    <a:pt x="7218" y="513"/>
                  </a:lnTo>
                  <a:lnTo>
                    <a:pt x="7219" y="522"/>
                  </a:lnTo>
                  <a:lnTo>
                    <a:pt x="7220" y="530"/>
                  </a:lnTo>
                  <a:lnTo>
                    <a:pt x="7223" y="539"/>
                  </a:lnTo>
                  <a:lnTo>
                    <a:pt x="7226" y="546"/>
                  </a:lnTo>
                  <a:lnTo>
                    <a:pt x="7229" y="552"/>
                  </a:lnTo>
                  <a:lnTo>
                    <a:pt x="7233" y="557"/>
                  </a:lnTo>
                  <a:lnTo>
                    <a:pt x="7237" y="562"/>
                  </a:lnTo>
                  <a:lnTo>
                    <a:pt x="7241" y="567"/>
                  </a:lnTo>
                  <a:lnTo>
                    <a:pt x="7246" y="570"/>
                  </a:lnTo>
                  <a:lnTo>
                    <a:pt x="7251" y="573"/>
                  </a:lnTo>
                  <a:lnTo>
                    <a:pt x="7257" y="577"/>
                  </a:lnTo>
                  <a:lnTo>
                    <a:pt x="7264" y="578"/>
                  </a:lnTo>
                  <a:lnTo>
                    <a:pt x="7271" y="579"/>
                  </a:lnTo>
                  <a:lnTo>
                    <a:pt x="7278" y="580"/>
                  </a:lnTo>
                  <a:lnTo>
                    <a:pt x="7291" y="579"/>
                  </a:lnTo>
                  <a:lnTo>
                    <a:pt x="7304" y="578"/>
                  </a:lnTo>
                  <a:lnTo>
                    <a:pt x="7315" y="577"/>
                  </a:lnTo>
                  <a:lnTo>
                    <a:pt x="7325" y="573"/>
                  </a:lnTo>
                  <a:lnTo>
                    <a:pt x="7329" y="635"/>
                  </a:lnTo>
                  <a:lnTo>
                    <a:pt x="7314" y="640"/>
                  </a:lnTo>
                  <a:lnTo>
                    <a:pt x="7296" y="644"/>
                  </a:lnTo>
                  <a:lnTo>
                    <a:pt x="7278" y="647"/>
                  </a:lnTo>
                  <a:lnTo>
                    <a:pt x="7257" y="648"/>
                  </a:lnTo>
                  <a:lnTo>
                    <a:pt x="7243" y="647"/>
                  </a:lnTo>
                  <a:lnTo>
                    <a:pt x="7230" y="644"/>
                  </a:lnTo>
                  <a:lnTo>
                    <a:pt x="7217" y="642"/>
                  </a:lnTo>
                  <a:lnTo>
                    <a:pt x="7206" y="638"/>
                  </a:lnTo>
                  <a:lnTo>
                    <a:pt x="7196" y="633"/>
                  </a:lnTo>
                  <a:lnTo>
                    <a:pt x="7185" y="627"/>
                  </a:lnTo>
                  <a:lnTo>
                    <a:pt x="7176" y="620"/>
                  </a:lnTo>
                  <a:lnTo>
                    <a:pt x="7168" y="612"/>
                  </a:lnTo>
                  <a:lnTo>
                    <a:pt x="7161" y="602"/>
                  </a:lnTo>
                  <a:lnTo>
                    <a:pt x="7155" y="591"/>
                  </a:lnTo>
                  <a:lnTo>
                    <a:pt x="7149" y="579"/>
                  </a:lnTo>
                  <a:lnTo>
                    <a:pt x="7145" y="565"/>
                  </a:lnTo>
                  <a:lnTo>
                    <a:pt x="7141" y="550"/>
                  </a:lnTo>
                  <a:lnTo>
                    <a:pt x="7139" y="532"/>
                  </a:lnTo>
                  <a:lnTo>
                    <a:pt x="7138" y="515"/>
                  </a:lnTo>
                  <a:lnTo>
                    <a:pt x="7137" y="495"/>
                  </a:lnTo>
                  <a:lnTo>
                    <a:pt x="7137" y="249"/>
                  </a:lnTo>
                  <a:lnTo>
                    <a:pt x="7068" y="249"/>
                  </a:lnTo>
                  <a:lnTo>
                    <a:pt x="7068" y="188"/>
                  </a:lnTo>
                  <a:lnTo>
                    <a:pt x="7137" y="188"/>
                  </a:lnTo>
                  <a:lnTo>
                    <a:pt x="7137" y="105"/>
                  </a:lnTo>
                  <a:close/>
                  <a:moveTo>
                    <a:pt x="7366" y="188"/>
                  </a:moveTo>
                  <a:lnTo>
                    <a:pt x="7455" y="188"/>
                  </a:lnTo>
                  <a:lnTo>
                    <a:pt x="7553" y="453"/>
                  </a:lnTo>
                  <a:lnTo>
                    <a:pt x="7560" y="474"/>
                  </a:lnTo>
                  <a:lnTo>
                    <a:pt x="7568" y="495"/>
                  </a:lnTo>
                  <a:lnTo>
                    <a:pt x="7575" y="519"/>
                  </a:lnTo>
                  <a:lnTo>
                    <a:pt x="7582" y="545"/>
                  </a:lnTo>
                  <a:lnTo>
                    <a:pt x="7584" y="545"/>
                  </a:lnTo>
                  <a:lnTo>
                    <a:pt x="7589" y="527"/>
                  </a:lnTo>
                  <a:lnTo>
                    <a:pt x="7595" y="507"/>
                  </a:lnTo>
                  <a:lnTo>
                    <a:pt x="7604" y="481"/>
                  </a:lnTo>
                  <a:lnTo>
                    <a:pt x="7613" y="451"/>
                  </a:lnTo>
                  <a:lnTo>
                    <a:pt x="7701" y="188"/>
                  </a:lnTo>
                  <a:lnTo>
                    <a:pt x="7788" y="188"/>
                  </a:lnTo>
                  <a:lnTo>
                    <a:pt x="7665" y="508"/>
                  </a:lnTo>
                  <a:lnTo>
                    <a:pt x="7654" y="537"/>
                  </a:lnTo>
                  <a:lnTo>
                    <a:pt x="7644" y="564"/>
                  </a:lnTo>
                  <a:lnTo>
                    <a:pt x="7632" y="590"/>
                  </a:lnTo>
                  <a:lnTo>
                    <a:pt x="7623" y="614"/>
                  </a:lnTo>
                  <a:lnTo>
                    <a:pt x="7613" y="635"/>
                  </a:lnTo>
                  <a:lnTo>
                    <a:pt x="7604" y="655"/>
                  </a:lnTo>
                  <a:lnTo>
                    <a:pt x="7595" y="672"/>
                  </a:lnTo>
                  <a:lnTo>
                    <a:pt x="7587" y="688"/>
                  </a:lnTo>
                  <a:lnTo>
                    <a:pt x="7578" y="704"/>
                  </a:lnTo>
                  <a:lnTo>
                    <a:pt x="7569" y="719"/>
                  </a:lnTo>
                  <a:lnTo>
                    <a:pt x="7559" y="733"/>
                  </a:lnTo>
                  <a:lnTo>
                    <a:pt x="7550" y="746"/>
                  </a:lnTo>
                  <a:lnTo>
                    <a:pt x="7541" y="759"/>
                  </a:lnTo>
                  <a:lnTo>
                    <a:pt x="7532" y="770"/>
                  </a:lnTo>
                  <a:lnTo>
                    <a:pt x="7521" y="780"/>
                  </a:lnTo>
                  <a:lnTo>
                    <a:pt x="7512" y="790"/>
                  </a:lnTo>
                  <a:lnTo>
                    <a:pt x="7500" y="800"/>
                  </a:lnTo>
                  <a:lnTo>
                    <a:pt x="7487" y="809"/>
                  </a:lnTo>
                  <a:lnTo>
                    <a:pt x="7474" y="817"/>
                  </a:lnTo>
                  <a:lnTo>
                    <a:pt x="7462" y="825"/>
                  </a:lnTo>
                  <a:lnTo>
                    <a:pt x="7450" y="831"/>
                  </a:lnTo>
                  <a:lnTo>
                    <a:pt x="7437" y="835"/>
                  </a:lnTo>
                  <a:lnTo>
                    <a:pt x="7424" y="839"/>
                  </a:lnTo>
                  <a:lnTo>
                    <a:pt x="7412" y="842"/>
                  </a:lnTo>
                  <a:lnTo>
                    <a:pt x="7391" y="773"/>
                  </a:lnTo>
                  <a:lnTo>
                    <a:pt x="7409" y="766"/>
                  </a:lnTo>
                  <a:lnTo>
                    <a:pt x="7428" y="758"/>
                  </a:lnTo>
                  <a:lnTo>
                    <a:pt x="7445" y="746"/>
                  </a:lnTo>
                  <a:lnTo>
                    <a:pt x="7463" y="733"/>
                  </a:lnTo>
                  <a:lnTo>
                    <a:pt x="7473" y="725"/>
                  </a:lnTo>
                  <a:lnTo>
                    <a:pt x="7482" y="714"/>
                  </a:lnTo>
                  <a:lnTo>
                    <a:pt x="7493" y="704"/>
                  </a:lnTo>
                  <a:lnTo>
                    <a:pt x="7501" y="693"/>
                  </a:lnTo>
                  <a:lnTo>
                    <a:pt x="7509" y="682"/>
                  </a:lnTo>
                  <a:lnTo>
                    <a:pt x="7517" y="669"/>
                  </a:lnTo>
                  <a:lnTo>
                    <a:pt x="7525" y="656"/>
                  </a:lnTo>
                  <a:lnTo>
                    <a:pt x="7531" y="642"/>
                  </a:lnTo>
                  <a:lnTo>
                    <a:pt x="7536" y="631"/>
                  </a:lnTo>
                  <a:lnTo>
                    <a:pt x="7538" y="623"/>
                  </a:lnTo>
                  <a:lnTo>
                    <a:pt x="7536" y="615"/>
                  </a:lnTo>
                  <a:lnTo>
                    <a:pt x="7532" y="601"/>
                  </a:lnTo>
                  <a:lnTo>
                    <a:pt x="7366" y="188"/>
                  </a:lnTo>
                  <a:close/>
                  <a:moveTo>
                    <a:pt x="7898" y="648"/>
                  </a:moveTo>
                  <a:lnTo>
                    <a:pt x="7896" y="648"/>
                  </a:lnTo>
                  <a:lnTo>
                    <a:pt x="7890" y="647"/>
                  </a:lnTo>
                  <a:lnTo>
                    <a:pt x="7885" y="647"/>
                  </a:lnTo>
                  <a:lnTo>
                    <a:pt x="7880" y="644"/>
                  </a:lnTo>
                  <a:lnTo>
                    <a:pt x="7875" y="642"/>
                  </a:lnTo>
                  <a:lnTo>
                    <a:pt x="7871" y="640"/>
                  </a:lnTo>
                  <a:lnTo>
                    <a:pt x="7866" y="637"/>
                  </a:lnTo>
                  <a:lnTo>
                    <a:pt x="7862" y="634"/>
                  </a:lnTo>
                  <a:lnTo>
                    <a:pt x="7857" y="630"/>
                  </a:lnTo>
                  <a:lnTo>
                    <a:pt x="7854" y="626"/>
                  </a:lnTo>
                  <a:lnTo>
                    <a:pt x="7851" y="622"/>
                  </a:lnTo>
                  <a:lnTo>
                    <a:pt x="7848" y="617"/>
                  </a:lnTo>
                  <a:lnTo>
                    <a:pt x="7846" y="612"/>
                  </a:lnTo>
                  <a:lnTo>
                    <a:pt x="7844" y="600"/>
                  </a:lnTo>
                  <a:lnTo>
                    <a:pt x="7843" y="589"/>
                  </a:lnTo>
                  <a:lnTo>
                    <a:pt x="7843" y="583"/>
                  </a:lnTo>
                  <a:lnTo>
                    <a:pt x="7844" y="577"/>
                  </a:lnTo>
                  <a:lnTo>
                    <a:pt x="7845" y="571"/>
                  </a:lnTo>
                  <a:lnTo>
                    <a:pt x="7846" y="565"/>
                  </a:lnTo>
                  <a:lnTo>
                    <a:pt x="7849" y="560"/>
                  </a:lnTo>
                  <a:lnTo>
                    <a:pt x="7851" y="556"/>
                  </a:lnTo>
                  <a:lnTo>
                    <a:pt x="7854" y="551"/>
                  </a:lnTo>
                  <a:lnTo>
                    <a:pt x="7858" y="547"/>
                  </a:lnTo>
                  <a:lnTo>
                    <a:pt x="7863" y="543"/>
                  </a:lnTo>
                  <a:lnTo>
                    <a:pt x="7867" y="540"/>
                  </a:lnTo>
                  <a:lnTo>
                    <a:pt x="7872" y="536"/>
                  </a:lnTo>
                  <a:lnTo>
                    <a:pt x="7876" y="534"/>
                  </a:lnTo>
                  <a:lnTo>
                    <a:pt x="7881" y="532"/>
                  </a:lnTo>
                  <a:lnTo>
                    <a:pt x="7887" y="531"/>
                  </a:lnTo>
                  <a:lnTo>
                    <a:pt x="7892" y="530"/>
                  </a:lnTo>
                  <a:lnTo>
                    <a:pt x="7899" y="530"/>
                  </a:lnTo>
                  <a:lnTo>
                    <a:pt x="7905" y="530"/>
                  </a:lnTo>
                  <a:lnTo>
                    <a:pt x="7910" y="531"/>
                  </a:lnTo>
                  <a:lnTo>
                    <a:pt x="7915" y="532"/>
                  </a:lnTo>
                  <a:lnTo>
                    <a:pt x="7920" y="534"/>
                  </a:lnTo>
                  <a:lnTo>
                    <a:pt x="7925" y="536"/>
                  </a:lnTo>
                  <a:lnTo>
                    <a:pt x="7929" y="540"/>
                  </a:lnTo>
                  <a:lnTo>
                    <a:pt x="7933" y="543"/>
                  </a:lnTo>
                  <a:lnTo>
                    <a:pt x="7938" y="547"/>
                  </a:lnTo>
                  <a:lnTo>
                    <a:pt x="7942" y="551"/>
                  </a:lnTo>
                  <a:lnTo>
                    <a:pt x="7945" y="555"/>
                  </a:lnTo>
                  <a:lnTo>
                    <a:pt x="7947" y="560"/>
                  </a:lnTo>
                  <a:lnTo>
                    <a:pt x="7949" y="565"/>
                  </a:lnTo>
                  <a:lnTo>
                    <a:pt x="7951" y="570"/>
                  </a:lnTo>
                  <a:lnTo>
                    <a:pt x="7952" y="577"/>
                  </a:lnTo>
                  <a:lnTo>
                    <a:pt x="7953" y="583"/>
                  </a:lnTo>
                  <a:lnTo>
                    <a:pt x="7953" y="589"/>
                  </a:lnTo>
                  <a:lnTo>
                    <a:pt x="7952" y="600"/>
                  </a:lnTo>
                  <a:lnTo>
                    <a:pt x="7949" y="612"/>
                  </a:lnTo>
                  <a:lnTo>
                    <a:pt x="7947" y="617"/>
                  </a:lnTo>
                  <a:lnTo>
                    <a:pt x="7945" y="622"/>
                  </a:lnTo>
                  <a:lnTo>
                    <a:pt x="7942" y="626"/>
                  </a:lnTo>
                  <a:lnTo>
                    <a:pt x="7938" y="630"/>
                  </a:lnTo>
                  <a:lnTo>
                    <a:pt x="7933" y="634"/>
                  </a:lnTo>
                  <a:lnTo>
                    <a:pt x="7929" y="637"/>
                  </a:lnTo>
                  <a:lnTo>
                    <a:pt x="7925" y="640"/>
                  </a:lnTo>
                  <a:lnTo>
                    <a:pt x="7920" y="642"/>
                  </a:lnTo>
                  <a:lnTo>
                    <a:pt x="7915" y="644"/>
                  </a:lnTo>
                  <a:lnTo>
                    <a:pt x="7909" y="647"/>
                  </a:lnTo>
                  <a:lnTo>
                    <a:pt x="7904" y="647"/>
                  </a:lnTo>
                  <a:lnTo>
                    <a:pt x="7898" y="648"/>
                  </a:lnTo>
                  <a:close/>
                </a:path>
              </a:pathLst>
            </a:custGeom>
            <a:solidFill>
              <a:srgbClr val="B4D7F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sp>
        <p:nvSpPr>
          <p:cNvPr id="14" name="Freeform 9"/>
          <p:cNvSpPr>
            <a:spLocks noEditPoints="1"/>
          </p:cNvSpPr>
          <p:nvPr/>
        </p:nvSpPr>
        <p:spPr bwMode="auto">
          <a:xfrm>
            <a:off x="8181978" y="319092"/>
            <a:ext cx="485775" cy="317897"/>
          </a:xfrm>
          <a:custGeom>
            <a:avLst/>
            <a:gdLst/>
            <a:ahLst/>
            <a:cxnLst>
              <a:cxn ang="0">
                <a:pos x="491" y="5"/>
              </a:cxn>
              <a:cxn ang="0">
                <a:pos x="581" y="30"/>
              </a:cxn>
              <a:cxn ang="0">
                <a:pos x="653" y="71"/>
              </a:cxn>
              <a:cxn ang="0">
                <a:pos x="705" y="124"/>
              </a:cxn>
              <a:cxn ang="0">
                <a:pos x="602" y="117"/>
              </a:cxn>
              <a:cxn ang="0">
                <a:pos x="478" y="104"/>
              </a:cxn>
              <a:cxn ang="0">
                <a:pos x="444" y="106"/>
              </a:cxn>
              <a:cxn ang="0">
                <a:pos x="432" y="119"/>
              </a:cxn>
              <a:cxn ang="0">
                <a:pos x="403" y="415"/>
              </a:cxn>
              <a:cxn ang="0">
                <a:pos x="402" y="115"/>
              </a:cxn>
              <a:cxn ang="0">
                <a:pos x="388" y="105"/>
              </a:cxn>
              <a:cxn ang="0">
                <a:pos x="331" y="106"/>
              </a:cxn>
              <a:cxn ang="0">
                <a:pos x="195" y="124"/>
              </a:cxn>
              <a:cxn ang="0">
                <a:pos x="140" y="110"/>
              </a:cxn>
              <a:cxn ang="0">
                <a:pos x="197" y="59"/>
              </a:cxn>
              <a:cxn ang="0">
                <a:pos x="274" y="22"/>
              </a:cxn>
              <a:cxn ang="0">
                <a:pos x="367" y="2"/>
              </a:cxn>
              <a:cxn ang="0">
                <a:pos x="201" y="519"/>
              </a:cxn>
              <a:cxn ang="0">
                <a:pos x="100" y="519"/>
              </a:cxn>
              <a:cxn ang="0">
                <a:pos x="0" y="519"/>
              </a:cxn>
              <a:cxn ang="0">
                <a:pos x="141" y="727"/>
              </a:cxn>
              <a:cxn ang="0">
                <a:pos x="261" y="727"/>
              </a:cxn>
              <a:cxn ang="0">
                <a:pos x="303" y="519"/>
              </a:cxn>
              <a:cxn ang="0">
                <a:pos x="346" y="727"/>
              </a:cxn>
              <a:cxn ang="0">
                <a:pos x="583" y="519"/>
              </a:cxn>
              <a:cxn ang="0">
                <a:pos x="483" y="519"/>
              </a:cxn>
              <a:cxn ang="0">
                <a:pos x="407" y="579"/>
              </a:cxn>
              <a:cxn ang="0">
                <a:pos x="548" y="579"/>
              </a:cxn>
              <a:cxn ang="0">
                <a:pos x="587" y="727"/>
              </a:cxn>
              <a:cxn ang="0">
                <a:pos x="733" y="519"/>
              </a:cxn>
              <a:cxn ang="0">
                <a:pos x="712" y="602"/>
              </a:cxn>
              <a:cxn ang="0">
                <a:pos x="731" y="198"/>
              </a:cxn>
              <a:cxn ang="0">
                <a:pos x="722" y="257"/>
              </a:cxn>
              <a:cxn ang="0">
                <a:pos x="685" y="316"/>
              </a:cxn>
              <a:cxn ang="0">
                <a:pos x="622" y="365"/>
              </a:cxn>
              <a:cxn ang="0">
                <a:pos x="541" y="398"/>
              </a:cxn>
              <a:cxn ang="0">
                <a:pos x="474" y="183"/>
              </a:cxn>
              <a:cxn ang="0">
                <a:pos x="477" y="158"/>
              </a:cxn>
              <a:cxn ang="0">
                <a:pos x="489" y="146"/>
              </a:cxn>
              <a:cxn ang="0">
                <a:pos x="556" y="148"/>
              </a:cxn>
              <a:cxn ang="0">
                <a:pos x="669" y="163"/>
              </a:cxn>
              <a:cxn ang="0">
                <a:pos x="295" y="399"/>
              </a:cxn>
              <a:cxn ang="0">
                <a:pos x="213" y="365"/>
              </a:cxn>
              <a:cxn ang="0">
                <a:pos x="150" y="316"/>
              </a:cxn>
              <a:cxn ang="0">
                <a:pos x="112" y="257"/>
              </a:cxn>
              <a:cxn ang="0">
                <a:pos x="103" y="198"/>
              </a:cxn>
              <a:cxn ang="0">
                <a:pos x="136" y="168"/>
              </a:cxn>
              <a:cxn ang="0">
                <a:pos x="250" y="151"/>
              </a:cxn>
              <a:cxn ang="0">
                <a:pos x="342" y="144"/>
              </a:cxn>
              <a:cxn ang="0">
                <a:pos x="357" y="153"/>
              </a:cxn>
              <a:cxn ang="0">
                <a:pos x="362" y="175"/>
              </a:cxn>
              <a:cxn ang="0">
                <a:pos x="317" y="405"/>
              </a:cxn>
            </a:cxnLst>
            <a:rect l="0" t="0" r="r" b="b"/>
            <a:pathLst>
              <a:path w="835" h="727">
                <a:moveTo>
                  <a:pt x="417" y="0"/>
                </a:moveTo>
                <a:lnTo>
                  <a:pt x="443" y="0"/>
                </a:lnTo>
                <a:lnTo>
                  <a:pt x="467" y="2"/>
                </a:lnTo>
                <a:lnTo>
                  <a:pt x="491" y="5"/>
                </a:lnTo>
                <a:lnTo>
                  <a:pt x="515" y="9"/>
                </a:lnTo>
                <a:lnTo>
                  <a:pt x="538" y="16"/>
                </a:lnTo>
                <a:lnTo>
                  <a:pt x="559" y="22"/>
                </a:lnTo>
                <a:lnTo>
                  <a:pt x="581" y="30"/>
                </a:lnTo>
                <a:lnTo>
                  <a:pt x="600" y="38"/>
                </a:lnTo>
                <a:lnTo>
                  <a:pt x="620" y="48"/>
                </a:lnTo>
                <a:lnTo>
                  <a:pt x="637" y="59"/>
                </a:lnTo>
                <a:lnTo>
                  <a:pt x="653" y="71"/>
                </a:lnTo>
                <a:lnTo>
                  <a:pt x="668" y="83"/>
                </a:lnTo>
                <a:lnTo>
                  <a:pt x="682" y="96"/>
                </a:lnTo>
                <a:lnTo>
                  <a:pt x="694" y="110"/>
                </a:lnTo>
                <a:lnTo>
                  <a:pt x="705" y="124"/>
                </a:lnTo>
                <a:lnTo>
                  <a:pt x="714" y="139"/>
                </a:lnTo>
                <a:lnTo>
                  <a:pt x="676" y="131"/>
                </a:lnTo>
                <a:lnTo>
                  <a:pt x="639" y="124"/>
                </a:lnTo>
                <a:lnTo>
                  <a:pt x="602" y="117"/>
                </a:lnTo>
                <a:lnTo>
                  <a:pt x="567" y="113"/>
                </a:lnTo>
                <a:lnTo>
                  <a:pt x="534" y="109"/>
                </a:lnTo>
                <a:lnTo>
                  <a:pt x="504" y="106"/>
                </a:lnTo>
                <a:lnTo>
                  <a:pt x="478" y="104"/>
                </a:lnTo>
                <a:lnTo>
                  <a:pt x="458" y="104"/>
                </a:lnTo>
                <a:lnTo>
                  <a:pt x="453" y="104"/>
                </a:lnTo>
                <a:lnTo>
                  <a:pt x="448" y="105"/>
                </a:lnTo>
                <a:lnTo>
                  <a:pt x="444" y="106"/>
                </a:lnTo>
                <a:lnTo>
                  <a:pt x="440" y="109"/>
                </a:lnTo>
                <a:lnTo>
                  <a:pt x="436" y="112"/>
                </a:lnTo>
                <a:lnTo>
                  <a:pt x="434" y="115"/>
                </a:lnTo>
                <a:lnTo>
                  <a:pt x="432" y="119"/>
                </a:lnTo>
                <a:lnTo>
                  <a:pt x="432" y="124"/>
                </a:lnTo>
                <a:lnTo>
                  <a:pt x="432" y="133"/>
                </a:lnTo>
                <a:lnTo>
                  <a:pt x="432" y="415"/>
                </a:lnTo>
                <a:lnTo>
                  <a:pt x="403" y="415"/>
                </a:lnTo>
                <a:lnTo>
                  <a:pt x="404" y="133"/>
                </a:lnTo>
                <a:lnTo>
                  <a:pt x="404" y="124"/>
                </a:lnTo>
                <a:lnTo>
                  <a:pt x="403" y="119"/>
                </a:lnTo>
                <a:lnTo>
                  <a:pt x="402" y="115"/>
                </a:lnTo>
                <a:lnTo>
                  <a:pt x="398" y="112"/>
                </a:lnTo>
                <a:lnTo>
                  <a:pt x="395" y="109"/>
                </a:lnTo>
                <a:lnTo>
                  <a:pt x="392" y="106"/>
                </a:lnTo>
                <a:lnTo>
                  <a:pt x="388" y="105"/>
                </a:lnTo>
                <a:lnTo>
                  <a:pt x="382" y="104"/>
                </a:lnTo>
                <a:lnTo>
                  <a:pt x="378" y="104"/>
                </a:lnTo>
                <a:lnTo>
                  <a:pt x="356" y="104"/>
                </a:lnTo>
                <a:lnTo>
                  <a:pt x="331" y="106"/>
                </a:lnTo>
                <a:lnTo>
                  <a:pt x="301" y="109"/>
                </a:lnTo>
                <a:lnTo>
                  <a:pt x="268" y="113"/>
                </a:lnTo>
                <a:lnTo>
                  <a:pt x="232" y="118"/>
                </a:lnTo>
                <a:lnTo>
                  <a:pt x="195" y="124"/>
                </a:lnTo>
                <a:lnTo>
                  <a:pt x="157" y="131"/>
                </a:lnTo>
                <a:lnTo>
                  <a:pt x="121" y="139"/>
                </a:lnTo>
                <a:lnTo>
                  <a:pt x="129" y="125"/>
                </a:lnTo>
                <a:lnTo>
                  <a:pt x="140" y="110"/>
                </a:lnTo>
                <a:lnTo>
                  <a:pt x="152" y="96"/>
                </a:lnTo>
                <a:lnTo>
                  <a:pt x="166" y="83"/>
                </a:lnTo>
                <a:lnTo>
                  <a:pt x="180" y="71"/>
                </a:lnTo>
                <a:lnTo>
                  <a:pt x="197" y="59"/>
                </a:lnTo>
                <a:lnTo>
                  <a:pt x="215" y="48"/>
                </a:lnTo>
                <a:lnTo>
                  <a:pt x="233" y="38"/>
                </a:lnTo>
                <a:lnTo>
                  <a:pt x="254" y="30"/>
                </a:lnTo>
                <a:lnTo>
                  <a:pt x="274" y="22"/>
                </a:lnTo>
                <a:lnTo>
                  <a:pt x="296" y="16"/>
                </a:lnTo>
                <a:lnTo>
                  <a:pt x="319" y="9"/>
                </a:lnTo>
                <a:lnTo>
                  <a:pt x="342" y="5"/>
                </a:lnTo>
                <a:lnTo>
                  <a:pt x="367" y="2"/>
                </a:lnTo>
                <a:lnTo>
                  <a:pt x="392" y="0"/>
                </a:lnTo>
                <a:lnTo>
                  <a:pt x="417" y="0"/>
                </a:lnTo>
                <a:close/>
                <a:moveTo>
                  <a:pt x="201" y="579"/>
                </a:moveTo>
                <a:lnTo>
                  <a:pt x="201" y="519"/>
                </a:lnTo>
                <a:lnTo>
                  <a:pt x="175" y="519"/>
                </a:lnTo>
                <a:lnTo>
                  <a:pt x="150" y="519"/>
                </a:lnTo>
                <a:lnTo>
                  <a:pt x="125" y="519"/>
                </a:lnTo>
                <a:lnTo>
                  <a:pt x="100" y="519"/>
                </a:lnTo>
                <a:lnTo>
                  <a:pt x="75" y="519"/>
                </a:lnTo>
                <a:lnTo>
                  <a:pt x="49" y="519"/>
                </a:lnTo>
                <a:lnTo>
                  <a:pt x="25" y="519"/>
                </a:lnTo>
                <a:lnTo>
                  <a:pt x="0" y="519"/>
                </a:lnTo>
                <a:lnTo>
                  <a:pt x="0" y="579"/>
                </a:lnTo>
                <a:lnTo>
                  <a:pt x="58" y="579"/>
                </a:lnTo>
                <a:lnTo>
                  <a:pt x="58" y="727"/>
                </a:lnTo>
                <a:lnTo>
                  <a:pt x="141" y="727"/>
                </a:lnTo>
                <a:lnTo>
                  <a:pt x="141" y="579"/>
                </a:lnTo>
                <a:lnTo>
                  <a:pt x="201" y="579"/>
                </a:lnTo>
                <a:close/>
                <a:moveTo>
                  <a:pt x="303" y="602"/>
                </a:moveTo>
                <a:lnTo>
                  <a:pt x="261" y="727"/>
                </a:lnTo>
                <a:lnTo>
                  <a:pt x="180" y="727"/>
                </a:lnTo>
                <a:lnTo>
                  <a:pt x="260" y="519"/>
                </a:lnTo>
                <a:lnTo>
                  <a:pt x="282" y="519"/>
                </a:lnTo>
                <a:lnTo>
                  <a:pt x="303" y="519"/>
                </a:lnTo>
                <a:lnTo>
                  <a:pt x="326" y="519"/>
                </a:lnTo>
                <a:lnTo>
                  <a:pt x="348" y="519"/>
                </a:lnTo>
                <a:lnTo>
                  <a:pt x="427" y="727"/>
                </a:lnTo>
                <a:lnTo>
                  <a:pt x="346" y="727"/>
                </a:lnTo>
                <a:lnTo>
                  <a:pt x="303" y="602"/>
                </a:lnTo>
                <a:close/>
                <a:moveTo>
                  <a:pt x="608" y="579"/>
                </a:moveTo>
                <a:lnTo>
                  <a:pt x="608" y="519"/>
                </a:lnTo>
                <a:lnTo>
                  <a:pt x="583" y="519"/>
                </a:lnTo>
                <a:lnTo>
                  <a:pt x="557" y="519"/>
                </a:lnTo>
                <a:lnTo>
                  <a:pt x="532" y="519"/>
                </a:lnTo>
                <a:lnTo>
                  <a:pt x="507" y="519"/>
                </a:lnTo>
                <a:lnTo>
                  <a:pt x="483" y="519"/>
                </a:lnTo>
                <a:lnTo>
                  <a:pt x="458" y="519"/>
                </a:lnTo>
                <a:lnTo>
                  <a:pt x="432" y="519"/>
                </a:lnTo>
                <a:lnTo>
                  <a:pt x="407" y="519"/>
                </a:lnTo>
                <a:lnTo>
                  <a:pt x="407" y="579"/>
                </a:lnTo>
                <a:lnTo>
                  <a:pt x="466" y="579"/>
                </a:lnTo>
                <a:lnTo>
                  <a:pt x="466" y="727"/>
                </a:lnTo>
                <a:lnTo>
                  <a:pt x="548" y="727"/>
                </a:lnTo>
                <a:lnTo>
                  <a:pt x="548" y="579"/>
                </a:lnTo>
                <a:lnTo>
                  <a:pt x="608" y="579"/>
                </a:lnTo>
                <a:close/>
                <a:moveTo>
                  <a:pt x="712" y="602"/>
                </a:moveTo>
                <a:lnTo>
                  <a:pt x="669" y="727"/>
                </a:lnTo>
                <a:lnTo>
                  <a:pt x="587" y="727"/>
                </a:lnTo>
                <a:lnTo>
                  <a:pt x="667" y="519"/>
                </a:lnTo>
                <a:lnTo>
                  <a:pt x="689" y="519"/>
                </a:lnTo>
                <a:lnTo>
                  <a:pt x="712" y="519"/>
                </a:lnTo>
                <a:lnTo>
                  <a:pt x="733" y="519"/>
                </a:lnTo>
                <a:lnTo>
                  <a:pt x="755" y="519"/>
                </a:lnTo>
                <a:lnTo>
                  <a:pt x="835" y="727"/>
                </a:lnTo>
                <a:lnTo>
                  <a:pt x="754" y="727"/>
                </a:lnTo>
                <a:lnTo>
                  <a:pt x="712" y="602"/>
                </a:lnTo>
                <a:close/>
                <a:moveTo>
                  <a:pt x="727" y="172"/>
                </a:moveTo>
                <a:lnTo>
                  <a:pt x="729" y="181"/>
                </a:lnTo>
                <a:lnTo>
                  <a:pt x="730" y="190"/>
                </a:lnTo>
                <a:lnTo>
                  <a:pt x="731" y="198"/>
                </a:lnTo>
                <a:lnTo>
                  <a:pt x="731" y="207"/>
                </a:lnTo>
                <a:lnTo>
                  <a:pt x="730" y="224"/>
                </a:lnTo>
                <a:lnTo>
                  <a:pt x="727" y="240"/>
                </a:lnTo>
                <a:lnTo>
                  <a:pt x="722" y="257"/>
                </a:lnTo>
                <a:lnTo>
                  <a:pt x="715" y="273"/>
                </a:lnTo>
                <a:lnTo>
                  <a:pt x="706" y="288"/>
                </a:lnTo>
                <a:lnTo>
                  <a:pt x="696" y="302"/>
                </a:lnTo>
                <a:lnTo>
                  <a:pt x="685" y="316"/>
                </a:lnTo>
                <a:lnTo>
                  <a:pt x="670" y="329"/>
                </a:lnTo>
                <a:lnTo>
                  <a:pt x="656" y="342"/>
                </a:lnTo>
                <a:lnTo>
                  <a:pt x="640" y="354"/>
                </a:lnTo>
                <a:lnTo>
                  <a:pt x="622" y="365"/>
                </a:lnTo>
                <a:lnTo>
                  <a:pt x="604" y="374"/>
                </a:lnTo>
                <a:lnTo>
                  <a:pt x="584" y="383"/>
                </a:lnTo>
                <a:lnTo>
                  <a:pt x="562" y="392"/>
                </a:lnTo>
                <a:lnTo>
                  <a:pt x="541" y="398"/>
                </a:lnTo>
                <a:lnTo>
                  <a:pt x="518" y="405"/>
                </a:lnTo>
                <a:lnTo>
                  <a:pt x="476" y="202"/>
                </a:lnTo>
                <a:lnTo>
                  <a:pt x="475" y="193"/>
                </a:lnTo>
                <a:lnTo>
                  <a:pt x="474" y="183"/>
                </a:lnTo>
                <a:lnTo>
                  <a:pt x="474" y="175"/>
                </a:lnTo>
                <a:lnTo>
                  <a:pt x="474" y="166"/>
                </a:lnTo>
                <a:lnTo>
                  <a:pt x="475" y="162"/>
                </a:lnTo>
                <a:lnTo>
                  <a:pt x="477" y="158"/>
                </a:lnTo>
                <a:lnTo>
                  <a:pt x="479" y="155"/>
                </a:lnTo>
                <a:lnTo>
                  <a:pt x="481" y="152"/>
                </a:lnTo>
                <a:lnTo>
                  <a:pt x="485" y="149"/>
                </a:lnTo>
                <a:lnTo>
                  <a:pt x="489" y="146"/>
                </a:lnTo>
                <a:lnTo>
                  <a:pt x="493" y="145"/>
                </a:lnTo>
                <a:lnTo>
                  <a:pt x="499" y="144"/>
                </a:lnTo>
                <a:lnTo>
                  <a:pt x="528" y="145"/>
                </a:lnTo>
                <a:lnTo>
                  <a:pt x="556" y="148"/>
                </a:lnTo>
                <a:lnTo>
                  <a:pt x="584" y="151"/>
                </a:lnTo>
                <a:lnTo>
                  <a:pt x="613" y="154"/>
                </a:lnTo>
                <a:lnTo>
                  <a:pt x="641" y="158"/>
                </a:lnTo>
                <a:lnTo>
                  <a:pt x="669" y="163"/>
                </a:lnTo>
                <a:lnTo>
                  <a:pt x="699" y="167"/>
                </a:lnTo>
                <a:lnTo>
                  <a:pt x="727" y="172"/>
                </a:lnTo>
                <a:close/>
                <a:moveTo>
                  <a:pt x="317" y="405"/>
                </a:moveTo>
                <a:lnTo>
                  <a:pt x="295" y="399"/>
                </a:lnTo>
                <a:lnTo>
                  <a:pt x="272" y="392"/>
                </a:lnTo>
                <a:lnTo>
                  <a:pt x="251" y="384"/>
                </a:lnTo>
                <a:lnTo>
                  <a:pt x="231" y="374"/>
                </a:lnTo>
                <a:lnTo>
                  <a:pt x="213" y="365"/>
                </a:lnTo>
                <a:lnTo>
                  <a:pt x="195" y="354"/>
                </a:lnTo>
                <a:lnTo>
                  <a:pt x="179" y="342"/>
                </a:lnTo>
                <a:lnTo>
                  <a:pt x="164" y="330"/>
                </a:lnTo>
                <a:lnTo>
                  <a:pt x="150" y="316"/>
                </a:lnTo>
                <a:lnTo>
                  <a:pt x="138" y="303"/>
                </a:lnTo>
                <a:lnTo>
                  <a:pt x="128" y="288"/>
                </a:lnTo>
                <a:lnTo>
                  <a:pt x="120" y="273"/>
                </a:lnTo>
                <a:lnTo>
                  <a:pt x="112" y="257"/>
                </a:lnTo>
                <a:lnTo>
                  <a:pt x="108" y="240"/>
                </a:lnTo>
                <a:lnTo>
                  <a:pt x="105" y="224"/>
                </a:lnTo>
                <a:lnTo>
                  <a:pt x="103" y="207"/>
                </a:lnTo>
                <a:lnTo>
                  <a:pt x="103" y="198"/>
                </a:lnTo>
                <a:lnTo>
                  <a:pt x="105" y="190"/>
                </a:lnTo>
                <a:lnTo>
                  <a:pt x="106" y="181"/>
                </a:lnTo>
                <a:lnTo>
                  <a:pt x="108" y="172"/>
                </a:lnTo>
                <a:lnTo>
                  <a:pt x="136" y="168"/>
                </a:lnTo>
                <a:lnTo>
                  <a:pt x="165" y="163"/>
                </a:lnTo>
                <a:lnTo>
                  <a:pt x="193" y="158"/>
                </a:lnTo>
                <a:lnTo>
                  <a:pt x="222" y="154"/>
                </a:lnTo>
                <a:lnTo>
                  <a:pt x="250" y="151"/>
                </a:lnTo>
                <a:lnTo>
                  <a:pt x="280" y="148"/>
                </a:lnTo>
                <a:lnTo>
                  <a:pt x="308" y="145"/>
                </a:lnTo>
                <a:lnTo>
                  <a:pt x="337" y="144"/>
                </a:lnTo>
                <a:lnTo>
                  <a:pt x="342" y="144"/>
                </a:lnTo>
                <a:lnTo>
                  <a:pt x="348" y="145"/>
                </a:lnTo>
                <a:lnTo>
                  <a:pt x="351" y="146"/>
                </a:lnTo>
                <a:lnTo>
                  <a:pt x="354" y="150"/>
                </a:lnTo>
                <a:lnTo>
                  <a:pt x="357" y="153"/>
                </a:lnTo>
                <a:lnTo>
                  <a:pt x="358" y="156"/>
                </a:lnTo>
                <a:lnTo>
                  <a:pt x="361" y="161"/>
                </a:lnTo>
                <a:lnTo>
                  <a:pt x="362" y="165"/>
                </a:lnTo>
                <a:lnTo>
                  <a:pt x="362" y="175"/>
                </a:lnTo>
                <a:lnTo>
                  <a:pt x="362" y="184"/>
                </a:lnTo>
                <a:lnTo>
                  <a:pt x="361" y="194"/>
                </a:lnTo>
                <a:lnTo>
                  <a:pt x="359" y="202"/>
                </a:lnTo>
                <a:lnTo>
                  <a:pt x="317" y="405"/>
                </a:lnTo>
                <a:close/>
              </a:path>
            </a:pathLst>
          </a:custGeom>
          <a:solidFill>
            <a:srgbClr val="FEFEFE"/>
          </a:solidFill>
          <a:ln w="9525">
            <a:noFill/>
            <a:round/>
            <a:headEnd/>
            <a:tailEnd/>
          </a:ln>
        </p:spPr>
        <p:txBody>
          <a:bodyPr lIns="91392" tIns="45696" rIns="91392" bIns="45696"/>
          <a:lstStyle/>
          <a:p>
            <a:pPr>
              <a:defRPr/>
            </a:pPr>
            <a:endParaRPr lang="en-US" dirty="0">
              <a:solidFill>
                <a:prstClr val="black"/>
              </a:solidFill>
              <a:cs typeface="Arial" pitchFamily="34" charset="0"/>
            </a:endParaRPr>
          </a:p>
        </p:txBody>
      </p:sp>
      <p:pic>
        <p:nvPicPr>
          <p:cNvPr id="15" name="Picture 4" descr="Q:\Repro 2\New guidelines 2011_12\Final 260411\PPT\OLD\050511\WMF\TATA Patter revised.wmf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" y="1008462"/>
            <a:ext cx="2462213" cy="9453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6" name="Straight Connector 20"/>
          <p:cNvCxnSpPr/>
          <p:nvPr/>
        </p:nvCxnSpPr>
        <p:spPr>
          <a:xfrm>
            <a:off x="0" y="2917031"/>
            <a:ext cx="9144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4523" y="2400302"/>
            <a:ext cx="7772401" cy="457200"/>
          </a:xfrm>
        </p:spPr>
        <p:txBody>
          <a:bodyPr>
            <a:noAutofit/>
          </a:bodyPr>
          <a:lstStyle>
            <a:lvl1pPr algn="l">
              <a:defRPr sz="39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54520" y="2937293"/>
            <a:ext cx="7785100" cy="457200"/>
          </a:xfrm>
        </p:spPr>
        <p:txBody>
          <a:bodyPr>
            <a:noAutofit/>
          </a:bodyPr>
          <a:lstStyle>
            <a:lvl1pPr marL="0" indent="0" algn="l">
              <a:buNone/>
              <a:defRPr sz="24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  <a:lvl2pPr marL="456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7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6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420376" y="3878920"/>
            <a:ext cx="3117303" cy="551259"/>
          </a:xfrm>
        </p:spPr>
        <p:txBody>
          <a:bodyPr/>
          <a:lstStyle>
            <a:lvl1pPr marL="0" indent="0">
              <a:buNone/>
              <a:defRPr sz="1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096013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8172" y="771535"/>
            <a:ext cx="4038600" cy="3394472"/>
          </a:xfrm>
        </p:spPr>
        <p:txBody>
          <a:bodyPr>
            <a:noAutofit/>
          </a:bodyPr>
          <a:lstStyle>
            <a:lvl1pPr>
              <a:defRPr sz="23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3"/>
          </p:nvPr>
        </p:nvSpPr>
        <p:spPr>
          <a:xfrm>
            <a:off x="4778833" y="771535"/>
            <a:ext cx="4038600" cy="3394472"/>
          </a:xfrm>
        </p:spPr>
        <p:txBody>
          <a:bodyPr>
            <a:noAutofit/>
          </a:bodyPr>
          <a:lstStyle>
            <a:lvl1pPr>
              <a:defRPr sz="23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5511684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8181" y="779878"/>
            <a:ext cx="4040188" cy="534590"/>
          </a:xfrm>
        </p:spPr>
        <p:txBody>
          <a:bodyPr anchor="b">
            <a:noAutofit/>
          </a:bodyPr>
          <a:lstStyle>
            <a:lvl1pPr marL="0" indent="0">
              <a:buNone/>
              <a:defRPr sz="2400" b="1"/>
            </a:lvl1pPr>
            <a:lvl2pPr marL="456011" indent="0">
              <a:buNone/>
              <a:defRPr sz="2000" b="1"/>
            </a:lvl2pPr>
            <a:lvl3pPr marL="912023" indent="0">
              <a:buNone/>
              <a:defRPr sz="1900" b="1"/>
            </a:lvl3pPr>
            <a:lvl4pPr marL="1368039" indent="0">
              <a:buNone/>
              <a:defRPr sz="1600" b="1"/>
            </a:lvl4pPr>
            <a:lvl5pPr marL="1824039" indent="0">
              <a:buNone/>
              <a:defRPr sz="1600" b="1"/>
            </a:lvl5pPr>
            <a:lvl6pPr marL="2280049" indent="0">
              <a:buNone/>
              <a:defRPr sz="1600" b="1"/>
            </a:lvl6pPr>
            <a:lvl7pPr marL="2736062" indent="0">
              <a:buNone/>
              <a:defRPr sz="1600" b="1"/>
            </a:lvl7pPr>
            <a:lvl8pPr marL="3192076" indent="0">
              <a:buNone/>
              <a:defRPr sz="1600" b="1"/>
            </a:lvl8pPr>
            <a:lvl9pPr marL="3648081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28181" y="1326357"/>
            <a:ext cx="4040188" cy="2963466"/>
          </a:xfrm>
        </p:spPr>
        <p:txBody>
          <a:bodyPr>
            <a:noAutofit/>
          </a:bodyPr>
          <a:lstStyle>
            <a:lvl1pPr>
              <a:defRPr sz="23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61210" y="779878"/>
            <a:ext cx="4041775" cy="534590"/>
          </a:xfrm>
        </p:spPr>
        <p:txBody>
          <a:bodyPr anchor="b">
            <a:noAutofit/>
          </a:bodyPr>
          <a:lstStyle>
            <a:lvl1pPr marL="0" indent="0">
              <a:buNone/>
              <a:defRPr sz="2400" b="1"/>
            </a:lvl1pPr>
            <a:lvl2pPr marL="456011" indent="0">
              <a:buNone/>
              <a:defRPr sz="2000" b="1"/>
            </a:lvl2pPr>
            <a:lvl3pPr marL="912023" indent="0">
              <a:buNone/>
              <a:defRPr sz="1900" b="1"/>
            </a:lvl3pPr>
            <a:lvl4pPr marL="1368039" indent="0">
              <a:buNone/>
              <a:defRPr sz="1600" b="1"/>
            </a:lvl4pPr>
            <a:lvl5pPr marL="1824039" indent="0">
              <a:buNone/>
              <a:defRPr sz="1600" b="1"/>
            </a:lvl5pPr>
            <a:lvl6pPr marL="2280049" indent="0">
              <a:buNone/>
              <a:defRPr sz="1600" b="1"/>
            </a:lvl6pPr>
            <a:lvl7pPr marL="2736062" indent="0">
              <a:buNone/>
              <a:defRPr sz="1600" b="1"/>
            </a:lvl7pPr>
            <a:lvl8pPr marL="3192076" indent="0">
              <a:buNone/>
              <a:defRPr sz="1600" b="1"/>
            </a:lvl8pPr>
            <a:lvl9pPr marL="3648081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61210" y="1326357"/>
            <a:ext cx="4041775" cy="2963466"/>
          </a:xfrm>
        </p:spPr>
        <p:txBody>
          <a:bodyPr>
            <a:noAutofit/>
          </a:bodyPr>
          <a:lstStyle>
            <a:lvl1pPr>
              <a:defRPr sz="23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4990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10549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703106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211" y="695337"/>
            <a:ext cx="3008313" cy="590550"/>
          </a:xfrm>
        </p:spPr>
        <p:txBody>
          <a:bodyPr anchor="b">
            <a:noAutofit/>
          </a:bodyPr>
          <a:lstStyle>
            <a:lvl1pPr algn="l">
              <a:defRPr sz="2300" b="1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04081" y="695339"/>
            <a:ext cx="5111750" cy="3899297"/>
          </a:xfrm>
        </p:spPr>
        <p:txBody>
          <a:bodyPr>
            <a:noAutofit/>
          </a:bodyPr>
          <a:lstStyle>
            <a:lvl1pPr>
              <a:defRPr sz="23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28211" y="1314467"/>
            <a:ext cx="3008313" cy="3280172"/>
          </a:xfrm>
        </p:spPr>
        <p:txBody>
          <a:bodyPr>
            <a:noAutofit/>
          </a:bodyPr>
          <a:lstStyle>
            <a:lvl1pPr marL="0" indent="0">
              <a:buNone/>
              <a:defRPr sz="2300"/>
            </a:lvl1pPr>
            <a:lvl2pPr marL="456011" indent="0">
              <a:buNone/>
              <a:defRPr sz="1200"/>
            </a:lvl2pPr>
            <a:lvl3pPr marL="912023" indent="0">
              <a:buNone/>
              <a:defRPr sz="1100"/>
            </a:lvl3pPr>
            <a:lvl4pPr marL="1368039" indent="0">
              <a:buNone/>
              <a:defRPr sz="900"/>
            </a:lvl4pPr>
            <a:lvl5pPr marL="1824039" indent="0">
              <a:buNone/>
              <a:defRPr sz="900"/>
            </a:lvl5pPr>
            <a:lvl6pPr marL="2280049" indent="0">
              <a:buNone/>
              <a:defRPr sz="900"/>
            </a:lvl6pPr>
            <a:lvl7pPr marL="2736062" indent="0">
              <a:buNone/>
              <a:defRPr sz="900"/>
            </a:lvl7pPr>
            <a:lvl8pPr marL="3192076" indent="0">
              <a:buNone/>
              <a:defRPr sz="900"/>
            </a:lvl8pPr>
            <a:lvl9pPr marL="3648081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38954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9" y="3600516"/>
            <a:ext cx="5486400" cy="425054"/>
          </a:xfrm>
        </p:spPr>
        <p:txBody>
          <a:bodyPr anchor="b">
            <a:noAutofit/>
          </a:bodyPr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9" y="800114"/>
            <a:ext cx="5486400" cy="2745581"/>
          </a:xfrm>
        </p:spPr>
        <p:txBody>
          <a:bodyPr rtlCol="0">
            <a:noAutofit/>
          </a:bodyPr>
          <a:lstStyle>
            <a:lvl1pPr marL="0" indent="0">
              <a:buNone/>
              <a:defRPr sz="3200"/>
            </a:lvl1pPr>
            <a:lvl2pPr marL="456011" indent="0">
              <a:buNone/>
              <a:defRPr sz="2800"/>
            </a:lvl2pPr>
            <a:lvl3pPr marL="912023" indent="0">
              <a:buNone/>
              <a:defRPr sz="2400"/>
            </a:lvl3pPr>
            <a:lvl4pPr marL="1368039" indent="0">
              <a:buNone/>
              <a:defRPr sz="2000"/>
            </a:lvl4pPr>
            <a:lvl5pPr marL="1824039" indent="0">
              <a:buNone/>
              <a:defRPr sz="2000"/>
            </a:lvl5pPr>
            <a:lvl6pPr marL="2280049" indent="0">
              <a:buNone/>
              <a:defRPr sz="2000"/>
            </a:lvl6pPr>
            <a:lvl7pPr marL="2736062" indent="0">
              <a:buNone/>
              <a:defRPr sz="2000"/>
            </a:lvl7pPr>
            <a:lvl8pPr marL="3192076" indent="0">
              <a:buNone/>
              <a:defRPr sz="2000"/>
            </a:lvl8pPr>
            <a:lvl9pPr marL="3648081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9" y="4025645"/>
            <a:ext cx="5486400" cy="603648"/>
          </a:xfrm>
        </p:spPr>
        <p:txBody>
          <a:bodyPr>
            <a:noAutofit/>
          </a:bodyPr>
          <a:lstStyle>
            <a:lvl1pPr marL="0" indent="0">
              <a:buNone/>
              <a:defRPr sz="1500"/>
            </a:lvl1pPr>
            <a:lvl2pPr marL="456011" indent="0">
              <a:buNone/>
              <a:defRPr sz="1200"/>
            </a:lvl2pPr>
            <a:lvl3pPr marL="912023" indent="0">
              <a:buNone/>
              <a:defRPr sz="1100"/>
            </a:lvl3pPr>
            <a:lvl4pPr marL="1368039" indent="0">
              <a:buNone/>
              <a:defRPr sz="900"/>
            </a:lvl4pPr>
            <a:lvl5pPr marL="1824039" indent="0">
              <a:buNone/>
              <a:defRPr sz="900"/>
            </a:lvl5pPr>
            <a:lvl6pPr marL="2280049" indent="0">
              <a:buNone/>
              <a:defRPr sz="900"/>
            </a:lvl6pPr>
            <a:lvl7pPr marL="2736062" indent="0">
              <a:buNone/>
              <a:defRPr sz="900"/>
            </a:lvl7pPr>
            <a:lvl8pPr marL="3192076" indent="0">
              <a:buNone/>
              <a:defRPr sz="900"/>
            </a:lvl8pPr>
            <a:lvl9pPr marL="3648081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89313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13306" y="647229"/>
            <a:ext cx="8370888" cy="992981"/>
          </a:xfrm>
          <a:ln>
            <a:solidFill>
              <a:schemeClr val="bg1"/>
            </a:solidFill>
          </a:ln>
        </p:spPr>
        <p:txBody>
          <a:bodyPr rtlCol="0">
            <a:normAutofit/>
          </a:bodyPr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icon to add tab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7845002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11144" y="742950"/>
            <a:ext cx="8428056" cy="3867150"/>
          </a:xfrm>
        </p:spPr>
        <p:txBody>
          <a:bodyPr vert="eaVert">
            <a:noAutofit/>
          </a:bodyPr>
          <a:lstStyle>
            <a:lvl3pPr>
              <a:defRPr/>
            </a:lvl3pPr>
            <a:lvl4pPr>
              <a:defRPr sz="1600"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5468603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03568" y="742958"/>
            <a:ext cx="2057400" cy="3851672"/>
          </a:xfrm>
        </p:spPr>
        <p:txBody>
          <a:bodyPr vert="eaVer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13670" y="742958"/>
            <a:ext cx="6190342" cy="3851672"/>
          </a:xfrm>
        </p:spPr>
        <p:txBody>
          <a:bodyPr vert="eaVert">
            <a:noAutofit/>
          </a:bodyPr>
          <a:lstStyle>
            <a:lvl3pPr>
              <a:defRPr/>
            </a:lvl3pPr>
            <a:lvl4pPr>
              <a:defRPr sz="1600"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34094211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400" y="77399"/>
            <a:ext cx="7543800" cy="36552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11216" y="685808"/>
            <a:ext cx="8428037" cy="3394472"/>
          </a:xfrm>
        </p:spPr>
        <p:txBody>
          <a:bodyPr/>
          <a:lstStyle/>
          <a:p>
            <a:pPr lvl="0"/>
            <a:r>
              <a:rPr lang="en-US" noProof="0" smtClean="0"/>
              <a:t>Click icon to add tab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166338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>
            <a:lvl3pPr>
              <a:defRPr/>
            </a:lvl3pPr>
            <a:lvl4pPr>
              <a:defRPr sz="1600"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3791092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48" y="120254"/>
            <a:ext cx="8442325" cy="44648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42962" y="716764"/>
            <a:ext cx="4144963" cy="339447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hart Placeholder 3"/>
          <p:cNvSpPr>
            <a:spLocks noGrp="1"/>
          </p:cNvSpPr>
          <p:nvPr>
            <p:ph type="chart" sz="half" idx="2"/>
          </p:nvPr>
        </p:nvSpPr>
        <p:spPr>
          <a:xfrm>
            <a:off x="4640267" y="716764"/>
            <a:ext cx="4144962" cy="3394472"/>
          </a:xfrm>
        </p:spPr>
        <p:txBody>
          <a:bodyPr/>
          <a:lstStyle/>
          <a:p>
            <a:pPr lvl="0"/>
            <a:r>
              <a:rPr lang="en-US" noProof="0" smtClean="0"/>
              <a:t>Click icon to add chart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705189269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8" y="841775"/>
            <a:ext cx="6858001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8" y="2701529"/>
            <a:ext cx="6858001" cy="124182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6960" indent="0" algn="ctr">
              <a:buNone/>
              <a:defRPr sz="2000"/>
            </a:lvl2pPr>
            <a:lvl3pPr marL="913920" indent="0" algn="ctr">
              <a:buNone/>
              <a:defRPr sz="1900"/>
            </a:lvl3pPr>
            <a:lvl4pPr marL="1370880" indent="0" algn="ctr">
              <a:buNone/>
              <a:defRPr sz="1600"/>
            </a:lvl4pPr>
            <a:lvl5pPr marL="1827840" indent="0" algn="ctr">
              <a:buNone/>
              <a:defRPr sz="1600"/>
            </a:lvl5pPr>
            <a:lvl6pPr marL="2284800" indent="0" algn="ctr">
              <a:buNone/>
              <a:defRPr sz="1600"/>
            </a:lvl6pPr>
            <a:lvl7pPr marL="2741760" indent="0" algn="ctr">
              <a:buNone/>
              <a:defRPr sz="1600"/>
            </a:lvl7pPr>
            <a:lvl8pPr marL="3198720" indent="0" algn="ctr">
              <a:buNone/>
              <a:defRPr sz="1600"/>
            </a:lvl8pPr>
            <a:lvl9pPr marL="365568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44B46F-C50C-472C-ABA0-C7ABA9413D04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0/201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4FA0C-746F-4F62-85E6-E4F9991900E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783865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889B96-EB9D-4B68-95C9-2276F624A34C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0/201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4FA0C-746F-4F62-85E6-E4F9991900E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6186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1282314"/>
            <a:ext cx="7886700" cy="2139553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7" y="3442111"/>
            <a:ext cx="7886700" cy="1125141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696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392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08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7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7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6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E82C58-19D4-43D0-B7DC-15431193E31C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0/201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4FA0C-746F-4F62-85E6-E4F9991900E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122383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4" y="1369219"/>
            <a:ext cx="3886200" cy="326350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1" y="1369219"/>
            <a:ext cx="3886200" cy="326350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00FCD4-9C64-4489-8264-E200CA549EF2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0/201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4FA0C-746F-4F62-85E6-E4F9991900E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769816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2" y="273851"/>
            <a:ext cx="7886700" cy="99417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8" y="1260872"/>
            <a:ext cx="3868340" cy="6179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960" indent="0">
              <a:buNone/>
              <a:defRPr sz="2000" b="1"/>
            </a:lvl2pPr>
            <a:lvl3pPr marL="913920" indent="0">
              <a:buNone/>
              <a:defRPr sz="1900" b="1"/>
            </a:lvl3pPr>
            <a:lvl4pPr marL="1370880" indent="0">
              <a:buNone/>
              <a:defRPr sz="1600" b="1"/>
            </a:lvl4pPr>
            <a:lvl5pPr marL="1827840" indent="0">
              <a:buNone/>
              <a:defRPr sz="1600" b="1"/>
            </a:lvl5pPr>
            <a:lvl6pPr marL="2284800" indent="0">
              <a:buNone/>
              <a:defRPr sz="1600" b="1"/>
            </a:lvl6pPr>
            <a:lvl7pPr marL="2741760" indent="0">
              <a:buNone/>
              <a:defRPr sz="1600" b="1"/>
            </a:lvl7pPr>
            <a:lvl8pPr marL="3198720" indent="0">
              <a:buNone/>
              <a:defRPr sz="1600" b="1"/>
            </a:lvl8pPr>
            <a:lvl9pPr marL="365568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8" y="1878806"/>
            <a:ext cx="3868340" cy="276344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6" y="1260872"/>
            <a:ext cx="3887391" cy="6179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960" indent="0">
              <a:buNone/>
              <a:defRPr sz="2000" b="1"/>
            </a:lvl2pPr>
            <a:lvl3pPr marL="913920" indent="0">
              <a:buNone/>
              <a:defRPr sz="1900" b="1"/>
            </a:lvl3pPr>
            <a:lvl4pPr marL="1370880" indent="0">
              <a:buNone/>
              <a:defRPr sz="1600" b="1"/>
            </a:lvl4pPr>
            <a:lvl5pPr marL="1827840" indent="0">
              <a:buNone/>
              <a:defRPr sz="1600" b="1"/>
            </a:lvl5pPr>
            <a:lvl6pPr marL="2284800" indent="0">
              <a:buNone/>
              <a:defRPr sz="1600" b="1"/>
            </a:lvl6pPr>
            <a:lvl7pPr marL="2741760" indent="0">
              <a:buNone/>
              <a:defRPr sz="1600" b="1"/>
            </a:lvl7pPr>
            <a:lvl8pPr marL="3198720" indent="0">
              <a:buNone/>
              <a:defRPr sz="1600" b="1"/>
            </a:lvl8pPr>
            <a:lvl9pPr marL="365568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6" y="1878806"/>
            <a:ext cx="3887391" cy="276344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4D62D5-A762-452E-BBEC-012F24ABC79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0/201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4FA0C-746F-4F62-85E6-E4F9991900E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301642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D5679D-B939-4F65-A7FA-2202581DC7F4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0/201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4FA0C-746F-4F62-85E6-E4F9991900E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323578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3B9AD-FF05-4C4E-8635-573D6CED93A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0/201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4FA0C-746F-4F62-85E6-E4F9991900E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305825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7" y="342909"/>
            <a:ext cx="2949178" cy="1200151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80"/>
            <a:ext cx="4629150" cy="365521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7" y="1543051"/>
            <a:ext cx="2949178" cy="2858692"/>
          </a:xfrm>
        </p:spPr>
        <p:txBody>
          <a:bodyPr/>
          <a:lstStyle>
            <a:lvl1pPr marL="0" indent="0">
              <a:buNone/>
              <a:defRPr sz="1600"/>
            </a:lvl1pPr>
            <a:lvl2pPr marL="456960" indent="0">
              <a:buNone/>
              <a:defRPr sz="1500"/>
            </a:lvl2pPr>
            <a:lvl3pPr marL="913920" indent="0">
              <a:buNone/>
              <a:defRPr sz="1200"/>
            </a:lvl3pPr>
            <a:lvl4pPr marL="1370880" indent="0">
              <a:buNone/>
              <a:defRPr sz="1100"/>
            </a:lvl4pPr>
            <a:lvl5pPr marL="1827840" indent="0">
              <a:buNone/>
              <a:defRPr sz="1100"/>
            </a:lvl5pPr>
            <a:lvl6pPr marL="2284800" indent="0">
              <a:buNone/>
              <a:defRPr sz="1100"/>
            </a:lvl6pPr>
            <a:lvl7pPr marL="2741760" indent="0">
              <a:buNone/>
              <a:defRPr sz="1100"/>
            </a:lvl7pPr>
            <a:lvl8pPr marL="3198720" indent="0">
              <a:buNone/>
              <a:defRPr sz="1100"/>
            </a:lvl8pPr>
            <a:lvl9pPr marL="3655680" indent="0">
              <a:buNone/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5C5F96-8EB3-4A76-9157-2A3266F0269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0/201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4FA0C-746F-4F62-85E6-E4F9991900E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64129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7" y="342909"/>
            <a:ext cx="2949178" cy="1200151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740580"/>
            <a:ext cx="4629150" cy="3655219"/>
          </a:xfrm>
        </p:spPr>
        <p:txBody>
          <a:bodyPr/>
          <a:lstStyle>
            <a:lvl1pPr marL="0" indent="0">
              <a:buNone/>
              <a:defRPr sz="3200"/>
            </a:lvl1pPr>
            <a:lvl2pPr marL="456960" indent="0">
              <a:buNone/>
              <a:defRPr sz="2800"/>
            </a:lvl2pPr>
            <a:lvl3pPr marL="913920" indent="0">
              <a:buNone/>
              <a:defRPr sz="2400"/>
            </a:lvl3pPr>
            <a:lvl4pPr marL="1370880" indent="0">
              <a:buNone/>
              <a:defRPr sz="2000"/>
            </a:lvl4pPr>
            <a:lvl5pPr marL="1827840" indent="0">
              <a:buNone/>
              <a:defRPr sz="2000"/>
            </a:lvl5pPr>
            <a:lvl6pPr marL="2284800" indent="0">
              <a:buNone/>
              <a:defRPr sz="2000"/>
            </a:lvl6pPr>
            <a:lvl7pPr marL="2741760" indent="0">
              <a:buNone/>
              <a:defRPr sz="2000"/>
            </a:lvl7pPr>
            <a:lvl8pPr marL="3198720" indent="0">
              <a:buNone/>
              <a:defRPr sz="2000"/>
            </a:lvl8pPr>
            <a:lvl9pPr marL="365568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7" y="1543051"/>
            <a:ext cx="2949178" cy="2858692"/>
          </a:xfrm>
        </p:spPr>
        <p:txBody>
          <a:bodyPr/>
          <a:lstStyle>
            <a:lvl1pPr marL="0" indent="0">
              <a:buNone/>
              <a:defRPr sz="1600"/>
            </a:lvl1pPr>
            <a:lvl2pPr marL="456960" indent="0">
              <a:buNone/>
              <a:defRPr sz="1500"/>
            </a:lvl2pPr>
            <a:lvl3pPr marL="913920" indent="0">
              <a:buNone/>
              <a:defRPr sz="1200"/>
            </a:lvl3pPr>
            <a:lvl4pPr marL="1370880" indent="0">
              <a:buNone/>
              <a:defRPr sz="1100"/>
            </a:lvl4pPr>
            <a:lvl5pPr marL="1827840" indent="0">
              <a:buNone/>
              <a:defRPr sz="1100"/>
            </a:lvl5pPr>
            <a:lvl6pPr marL="2284800" indent="0">
              <a:buNone/>
              <a:defRPr sz="1100"/>
            </a:lvl6pPr>
            <a:lvl7pPr marL="2741760" indent="0">
              <a:buNone/>
              <a:defRPr sz="1100"/>
            </a:lvl7pPr>
            <a:lvl8pPr marL="3198720" indent="0">
              <a:buNone/>
              <a:defRPr sz="1100"/>
            </a:lvl8pPr>
            <a:lvl9pPr marL="3655680" indent="0">
              <a:buNone/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D06948-7ADC-43CE-B128-BA21BC95AE1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0/201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4FA0C-746F-4F62-85E6-E4F9991900E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27638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76795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DE24DF-EA81-41B8-975D-FBF2C317CB7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0/201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4FA0C-746F-4F62-85E6-E4F9991900E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937469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273843"/>
            <a:ext cx="1971675" cy="4358879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3" y="273843"/>
            <a:ext cx="5800725" cy="435887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7F0B58-06BE-491B-B984-62F2C1D58632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0/201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4FA0C-746F-4F62-85E6-E4F9991900E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548499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19" y="841775"/>
            <a:ext cx="6858001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19" y="2701529"/>
            <a:ext cx="6858001" cy="124182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6960" indent="0" algn="ctr">
              <a:buNone/>
              <a:defRPr sz="2000"/>
            </a:lvl2pPr>
            <a:lvl3pPr marL="913920" indent="0" algn="ctr">
              <a:buNone/>
              <a:defRPr sz="1900"/>
            </a:lvl3pPr>
            <a:lvl4pPr marL="1370880" indent="0" algn="ctr">
              <a:buNone/>
              <a:defRPr sz="1600"/>
            </a:lvl4pPr>
            <a:lvl5pPr marL="1827840" indent="0" algn="ctr">
              <a:buNone/>
              <a:defRPr sz="1600"/>
            </a:lvl5pPr>
            <a:lvl6pPr marL="2284800" indent="0" algn="ctr">
              <a:buNone/>
              <a:defRPr sz="1600"/>
            </a:lvl6pPr>
            <a:lvl7pPr marL="2741760" indent="0" algn="ctr">
              <a:buNone/>
              <a:defRPr sz="1600"/>
            </a:lvl7pPr>
            <a:lvl8pPr marL="3198720" indent="0" algn="ctr">
              <a:buNone/>
              <a:defRPr sz="1600"/>
            </a:lvl8pPr>
            <a:lvl9pPr marL="365568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44B46F-C50C-472C-ABA0-C7ABA9413D04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0/201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4FA0C-746F-4F62-85E6-E4F9991900E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520987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889B96-EB9D-4B68-95C9-2276F624A34C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0/201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4FA0C-746F-4F62-85E6-E4F9991900E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424674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1282315"/>
            <a:ext cx="7886700" cy="2139553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7" y="3442133"/>
            <a:ext cx="7886700" cy="1125141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696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392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08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7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7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6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E82C58-19D4-43D0-B7DC-15431193E31C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0/201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4FA0C-746F-4F62-85E6-E4F9991900E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972520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4" y="1369219"/>
            <a:ext cx="3886200" cy="326350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1" y="1369219"/>
            <a:ext cx="3886200" cy="326350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00FCD4-9C64-4489-8264-E200CA549EF2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0/201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4FA0C-746F-4F62-85E6-E4F9991900E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425472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2" y="273851"/>
            <a:ext cx="7886700" cy="99417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57" y="1260872"/>
            <a:ext cx="3868340" cy="6179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960" indent="0">
              <a:buNone/>
              <a:defRPr sz="2000" b="1"/>
            </a:lvl2pPr>
            <a:lvl3pPr marL="913920" indent="0">
              <a:buNone/>
              <a:defRPr sz="1900" b="1"/>
            </a:lvl3pPr>
            <a:lvl4pPr marL="1370880" indent="0">
              <a:buNone/>
              <a:defRPr sz="1600" b="1"/>
            </a:lvl4pPr>
            <a:lvl5pPr marL="1827840" indent="0">
              <a:buNone/>
              <a:defRPr sz="1600" b="1"/>
            </a:lvl5pPr>
            <a:lvl6pPr marL="2284800" indent="0">
              <a:buNone/>
              <a:defRPr sz="1600" b="1"/>
            </a:lvl6pPr>
            <a:lvl7pPr marL="2741760" indent="0">
              <a:buNone/>
              <a:defRPr sz="1600" b="1"/>
            </a:lvl7pPr>
            <a:lvl8pPr marL="3198720" indent="0">
              <a:buNone/>
              <a:defRPr sz="1600" b="1"/>
            </a:lvl8pPr>
            <a:lvl9pPr marL="365568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57" y="1878806"/>
            <a:ext cx="3868340" cy="276344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6" y="1260872"/>
            <a:ext cx="3887391" cy="6179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960" indent="0">
              <a:buNone/>
              <a:defRPr sz="2000" b="1"/>
            </a:lvl2pPr>
            <a:lvl3pPr marL="913920" indent="0">
              <a:buNone/>
              <a:defRPr sz="1900" b="1"/>
            </a:lvl3pPr>
            <a:lvl4pPr marL="1370880" indent="0">
              <a:buNone/>
              <a:defRPr sz="1600" b="1"/>
            </a:lvl4pPr>
            <a:lvl5pPr marL="1827840" indent="0">
              <a:buNone/>
              <a:defRPr sz="1600" b="1"/>
            </a:lvl5pPr>
            <a:lvl6pPr marL="2284800" indent="0">
              <a:buNone/>
              <a:defRPr sz="1600" b="1"/>
            </a:lvl6pPr>
            <a:lvl7pPr marL="2741760" indent="0">
              <a:buNone/>
              <a:defRPr sz="1600" b="1"/>
            </a:lvl7pPr>
            <a:lvl8pPr marL="3198720" indent="0">
              <a:buNone/>
              <a:defRPr sz="1600" b="1"/>
            </a:lvl8pPr>
            <a:lvl9pPr marL="365568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6" y="1878806"/>
            <a:ext cx="3887391" cy="276344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4D62D5-A762-452E-BBEC-012F24ABC79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0/201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4FA0C-746F-4F62-85E6-E4F9991900E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503535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D5679D-B939-4F65-A7FA-2202581DC7F4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0/201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4FA0C-746F-4F62-85E6-E4F9991900E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694318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3B9AD-FF05-4C4E-8635-573D6CED93A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0/201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4FA0C-746F-4F62-85E6-E4F9991900E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336760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56" y="342911"/>
            <a:ext cx="2949178" cy="1200151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8" y="740581"/>
            <a:ext cx="4629150" cy="365521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56" y="1543051"/>
            <a:ext cx="2949178" cy="2858692"/>
          </a:xfrm>
        </p:spPr>
        <p:txBody>
          <a:bodyPr/>
          <a:lstStyle>
            <a:lvl1pPr marL="0" indent="0">
              <a:buNone/>
              <a:defRPr sz="1600"/>
            </a:lvl1pPr>
            <a:lvl2pPr marL="456960" indent="0">
              <a:buNone/>
              <a:defRPr sz="1500"/>
            </a:lvl2pPr>
            <a:lvl3pPr marL="913920" indent="0">
              <a:buNone/>
              <a:defRPr sz="1200"/>
            </a:lvl3pPr>
            <a:lvl4pPr marL="1370880" indent="0">
              <a:buNone/>
              <a:defRPr sz="1100"/>
            </a:lvl4pPr>
            <a:lvl5pPr marL="1827840" indent="0">
              <a:buNone/>
              <a:defRPr sz="1100"/>
            </a:lvl5pPr>
            <a:lvl6pPr marL="2284800" indent="0">
              <a:buNone/>
              <a:defRPr sz="1100"/>
            </a:lvl6pPr>
            <a:lvl7pPr marL="2741760" indent="0">
              <a:buNone/>
              <a:defRPr sz="1100"/>
            </a:lvl7pPr>
            <a:lvl8pPr marL="3198720" indent="0">
              <a:buNone/>
              <a:defRPr sz="1100"/>
            </a:lvl8pPr>
            <a:lvl9pPr marL="3655680" indent="0">
              <a:buNone/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5C5F96-8EB3-4A76-9157-2A3266F0269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0/201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4FA0C-746F-4F62-85E6-E4F9991900E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41162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4"/>
          <p:cNvGrpSpPr>
            <a:grpSpLocks/>
          </p:cNvGrpSpPr>
          <p:nvPr/>
        </p:nvGrpSpPr>
        <p:grpSpPr bwMode="auto">
          <a:xfrm>
            <a:off x="127008" y="1"/>
            <a:ext cx="7937500" cy="4658499"/>
            <a:chOff x="127000" y="0"/>
            <a:chExt cx="7937500" cy="6212118"/>
          </a:xfrm>
        </p:grpSpPr>
        <p:grpSp>
          <p:nvGrpSpPr>
            <p:cNvPr id="5" name="Group 53"/>
            <p:cNvGrpSpPr>
              <a:grpSpLocks/>
            </p:cNvGrpSpPr>
            <p:nvPr/>
          </p:nvGrpSpPr>
          <p:grpSpPr bwMode="auto">
            <a:xfrm>
              <a:off x="952500" y="508064"/>
              <a:ext cx="7112000" cy="5704054"/>
              <a:chOff x="952500" y="508064"/>
              <a:chExt cx="7112000" cy="5704054"/>
            </a:xfrm>
          </p:grpSpPr>
          <p:sp>
            <p:nvSpPr>
              <p:cNvPr id="7" name="Rounded Rectangle 8"/>
              <p:cNvSpPr/>
              <p:nvPr>
                <p:custDataLst>
                  <p:tags r:id="rId1"/>
                </p:custDataLst>
              </p:nvPr>
            </p:nvSpPr>
            <p:spPr>
              <a:xfrm>
                <a:off x="1143000" y="508064"/>
                <a:ext cx="1016000" cy="1016129"/>
              </a:xfrm>
              <a:prstGeom prst="roundRect">
                <a:avLst/>
              </a:prstGeom>
              <a:solidFill>
                <a:srgbClr val="6DCFF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109</a:t>
                </a:r>
              </a:p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207</a:t>
                </a:r>
              </a:p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246</a:t>
                </a:r>
              </a:p>
            </p:txBody>
          </p:sp>
          <p:sp>
            <p:nvSpPr>
              <p:cNvPr id="8" name="TextBox 9"/>
              <p:cNvSpPr txBox="1"/>
              <p:nvPr>
                <p:custDataLst>
                  <p:tags r:id="rId2"/>
                </p:custDataLst>
              </p:nvPr>
            </p:nvSpPr>
            <p:spPr>
              <a:xfrm>
                <a:off x="952500" y="1524194"/>
                <a:ext cx="1397000" cy="369379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en-US" sz="1200" dirty="0">
                    <a:solidFill>
                      <a:prstClr val="black"/>
                    </a:solidFill>
                    <a:cs typeface="Arial" pitchFamily="34" charset="0"/>
                  </a:rPr>
                  <a:t>Dark 1</a:t>
                </a:r>
              </a:p>
            </p:txBody>
          </p:sp>
          <p:sp>
            <p:nvSpPr>
              <p:cNvPr id="9" name="Rounded Rectangle 10"/>
              <p:cNvSpPr/>
              <p:nvPr>
                <p:custDataLst>
                  <p:tags r:id="rId3"/>
                </p:custDataLst>
              </p:nvPr>
            </p:nvSpPr>
            <p:spPr>
              <a:xfrm>
                <a:off x="2286000" y="508064"/>
                <a:ext cx="1016000" cy="1016129"/>
              </a:xfrm>
              <a:prstGeom prst="roundRect">
                <a:avLst/>
              </a:prstGeom>
              <a:solidFill>
                <a:srgbClr val="FFFFFF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r>
                  <a:rPr lang="en-US" sz="1200" dirty="0">
                    <a:solidFill>
                      <a:srgbClr val="1F497D"/>
                    </a:solidFill>
                  </a:rPr>
                  <a:t>255</a:t>
                </a:r>
              </a:p>
              <a:p>
                <a:pPr>
                  <a:defRPr/>
                </a:pPr>
                <a:r>
                  <a:rPr lang="en-US" sz="1200" dirty="0">
                    <a:solidFill>
                      <a:srgbClr val="1F497D"/>
                    </a:solidFill>
                  </a:rPr>
                  <a:t>255</a:t>
                </a:r>
              </a:p>
              <a:p>
                <a:pPr>
                  <a:defRPr/>
                </a:pPr>
                <a:r>
                  <a:rPr lang="en-US" sz="1200" dirty="0">
                    <a:solidFill>
                      <a:srgbClr val="1F497D"/>
                    </a:solidFill>
                  </a:rPr>
                  <a:t>255</a:t>
                </a:r>
              </a:p>
            </p:txBody>
          </p:sp>
          <p:sp>
            <p:nvSpPr>
              <p:cNvPr id="10" name="TextBox 11"/>
              <p:cNvSpPr txBox="1"/>
              <p:nvPr>
                <p:custDataLst>
                  <p:tags r:id="rId4"/>
                </p:custDataLst>
              </p:nvPr>
            </p:nvSpPr>
            <p:spPr>
              <a:xfrm>
                <a:off x="2095500" y="1524194"/>
                <a:ext cx="1397000" cy="369379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en-US" sz="1200" dirty="0">
                    <a:solidFill>
                      <a:prstClr val="black"/>
                    </a:solidFill>
                    <a:cs typeface="Arial" pitchFamily="34" charset="0"/>
                  </a:rPr>
                  <a:t>Light 1</a:t>
                </a:r>
              </a:p>
            </p:txBody>
          </p:sp>
          <p:sp>
            <p:nvSpPr>
              <p:cNvPr id="11" name="Rounded Rectangle 12"/>
              <p:cNvSpPr/>
              <p:nvPr>
                <p:custDataLst>
                  <p:tags r:id="rId5"/>
                </p:custDataLst>
              </p:nvPr>
            </p:nvSpPr>
            <p:spPr>
              <a:xfrm>
                <a:off x="3429000" y="508064"/>
                <a:ext cx="1016000" cy="1016129"/>
              </a:xfrm>
              <a:prstGeom prst="roundRect">
                <a:avLst/>
              </a:prstGeom>
              <a:solidFill>
                <a:srgbClr val="83389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131</a:t>
                </a:r>
              </a:p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56</a:t>
                </a:r>
              </a:p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155</a:t>
                </a:r>
              </a:p>
            </p:txBody>
          </p:sp>
          <p:sp>
            <p:nvSpPr>
              <p:cNvPr id="12" name="TextBox 13"/>
              <p:cNvSpPr txBox="1"/>
              <p:nvPr>
                <p:custDataLst>
                  <p:tags r:id="rId6"/>
                </p:custDataLst>
              </p:nvPr>
            </p:nvSpPr>
            <p:spPr>
              <a:xfrm>
                <a:off x="3238500" y="1524194"/>
                <a:ext cx="1397000" cy="369379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en-US" sz="1200" dirty="0">
                    <a:solidFill>
                      <a:prstClr val="black"/>
                    </a:solidFill>
                    <a:cs typeface="Arial" pitchFamily="34" charset="0"/>
                  </a:rPr>
                  <a:t>Dark 2</a:t>
                </a:r>
              </a:p>
            </p:txBody>
          </p:sp>
          <p:sp>
            <p:nvSpPr>
              <p:cNvPr id="13" name="Rounded Rectangle 14"/>
              <p:cNvSpPr/>
              <p:nvPr>
                <p:custDataLst>
                  <p:tags r:id="rId7"/>
                </p:custDataLst>
              </p:nvPr>
            </p:nvSpPr>
            <p:spPr>
              <a:xfrm>
                <a:off x="4572000" y="508064"/>
                <a:ext cx="1016000" cy="1016129"/>
              </a:xfrm>
              <a:prstGeom prst="roundRect">
                <a:avLst/>
              </a:prstGeom>
              <a:solidFill>
                <a:srgbClr val="0063B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0</a:t>
                </a:r>
              </a:p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99</a:t>
                </a:r>
              </a:p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190</a:t>
                </a:r>
              </a:p>
            </p:txBody>
          </p:sp>
          <p:sp>
            <p:nvSpPr>
              <p:cNvPr id="14" name="TextBox 15"/>
              <p:cNvSpPr txBox="1"/>
              <p:nvPr>
                <p:custDataLst>
                  <p:tags r:id="rId8"/>
                </p:custDataLst>
              </p:nvPr>
            </p:nvSpPr>
            <p:spPr>
              <a:xfrm>
                <a:off x="4381500" y="1524194"/>
                <a:ext cx="1397000" cy="369379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en-US" sz="1200" dirty="0">
                    <a:solidFill>
                      <a:prstClr val="black"/>
                    </a:solidFill>
                    <a:cs typeface="Arial" pitchFamily="34" charset="0"/>
                  </a:rPr>
                  <a:t>Light 2</a:t>
                </a:r>
              </a:p>
            </p:txBody>
          </p:sp>
          <p:sp>
            <p:nvSpPr>
              <p:cNvPr id="15" name="Rounded Rectangle 16"/>
              <p:cNvSpPr/>
              <p:nvPr>
                <p:custDataLst>
                  <p:tags r:id="rId9"/>
                </p:custDataLst>
              </p:nvPr>
            </p:nvSpPr>
            <p:spPr>
              <a:xfrm>
                <a:off x="5715000" y="508064"/>
                <a:ext cx="1016000" cy="1016129"/>
              </a:xfrm>
              <a:prstGeom prst="roundRect">
                <a:avLst/>
              </a:prstGeom>
              <a:solidFill>
                <a:srgbClr val="55A51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85</a:t>
                </a:r>
              </a:p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165</a:t>
                </a:r>
              </a:p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28</a:t>
                </a:r>
              </a:p>
            </p:txBody>
          </p:sp>
          <p:sp>
            <p:nvSpPr>
              <p:cNvPr id="16" name="TextBox 17"/>
              <p:cNvSpPr txBox="1"/>
              <p:nvPr>
                <p:custDataLst>
                  <p:tags r:id="rId10"/>
                </p:custDataLst>
              </p:nvPr>
            </p:nvSpPr>
            <p:spPr>
              <a:xfrm>
                <a:off x="5524500" y="1524194"/>
                <a:ext cx="1397000" cy="369379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en-US" sz="1200" dirty="0">
                    <a:solidFill>
                      <a:prstClr val="black"/>
                    </a:solidFill>
                    <a:cs typeface="Arial" pitchFamily="34" charset="0"/>
                  </a:rPr>
                  <a:t>Accent 1</a:t>
                </a:r>
              </a:p>
            </p:txBody>
          </p:sp>
          <p:sp>
            <p:nvSpPr>
              <p:cNvPr id="17" name="Rounded Rectangle 18"/>
              <p:cNvSpPr/>
              <p:nvPr>
                <p:custDataLst>
                  <p:tags r:id="rId11"/>
                </p:custDataLst>
              </p:nvPr>
            </p:nvSpPr>
            <p:spPr>
              <a:xfrm>
                <a:off x="6858000" y="508064"/>
                <a:ext cx="1016000" cy="1016129"/>
              </a:xfrm>
              <a:prstGeom prst="roundRect">
                <a:avLst/>
              </a:prstGeom>
              <a:solidFill>
                <a:srgbClr val="D6492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214</a:t>
                </a:r>
              </a:p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73</a:t>
                </a:r>
              </a:p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42</a:t>
                </a:r>
              </a:p>
            </p:txBody>
          </p:sp>
          <p:sp>
            <p:nvSpPr>
              <p:cNvPr id="18" name="TextBox 19"/>
              <p:cNvSpPr txBox="1"/>
              <p:nvPr>
                <p:custDataLst>
                  <p:tags r:id="rId12"/>
                </p:custDataLst>
              </p:nvPr>
            </p:nvSpPr>
            <p:spPr>
              <a:xfrm>
                <a:off x="6667500" y="1524194"/>
                <a:ext cx="1397000" cy="369379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en-US" sz="1200" dirty="0">
                    <a:solidFill>
                      <a:prstClr val="black"/>
                    </a:solidFill>
                    <a:cs typeface="Arial" pitchFamily="34" charset="0"/>
                  </a:rPr>
                  <a:t>Accent 2</a:t>
                </a:r>
              </a:p>
            </p:txBody>
          </p:sp>
          <p:sp>
            <p:nvSpPr>
              <p:cNvPr id="19" name="Rounded Rectangle 20"/>
              <p:cNvSpPr/>
              <p:nvPr>
                <p:custDataLst>
                  <p:tags r:id="rId13"/>
                </p:custDataLst>
              </p:nvPr>
            </p:nvSpPr>
            <p:spPr>
              <a:xfrm>
                <a:off x="1143000" y="1905241"/>
                <a:ext cx="1016000" cy="1016129"/>
              </a:xfrm>
              <a:prstGeom prst="roundRect">
                <a:avLst/>
              </a:prstGeom>
              <a:solidFill>
                <a:srgbClr val="B9AFA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185</a:t>
                </a:r>
              </a:p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175</a:t>
                </a:r>
              </a:p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164</a:t>
                </a:r>
              </a:p>
            </p:txBody>
          </p:sp>
          <p:sp>
            <p:nvSpPr>
              <p:cNvPr id="20" name="TextBox 21"/>
              <p:cNvSpPr txBox="1"/>
              <p:nvPr>
                <p:custDataLst>
                  <p:tags r:id="rId14"/>
                </p:custDataLst>
              </p:nvPr>
            </p:nvSpPr>
            <p:spPr>
              <a:xfrm>
                <a:off x="952500" y="2921369"/>
                <a:ext cx="1397000" cy="369379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en-US" sz="1200" dirty="0">
                    <a:solidFill>
                      <a:prstClr val="black"/>
                    </a:solidFill>
                    <a:cs typeface="Arial" pitchFamily="34" charset="0"/>
                  </a:rPr>
                  <a:t>Accent 3</a:t>
                </a:r>
              </a:p>
            </p:txBody>
          </p:sp>
          <p:sp>
            <p:nvSpPr>
              <p:cNvPr id="21" name="Rounded Rectangle 22"/>
              <p:cNvSpPr/>
              <p:nvPr>
                <p:custDataLst>
                  <p:tags r:id="rId15"/>
                </p:custDataLst>
              </p:nvPr>
            </p:nvSpPr>
            <p:spPr>
              <a:xfrm>
                <a:off x="2286000" y="1905241"/>
                <a:ext cx="1016000" cy="1016129"/>
              </a:xfrm>
              <a:prstGeom prst="roundRect">
                <a:avLst/>
              </a:prstGeom>
              <a:solidFill>
                <a:srgbClr val="974B0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151</a:t>
                </a:r>
              </a:p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75</a:t>
                </a:r>
              </a:p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7</a:t>
                </a:r>
              </a:p>
            </p:txBody>
          </p:sp>
          <p:sp>
            <p:nvSpPr>
              <p:cNvPr id="22" name="TextBox 23"/>
              <p:cNvSpPr txBox="1"/>
              <p:nvPr>
                <p:custDataLst>
                  <p:tags r:id="rId16"/>
                </p:custDataLst>
              </p:nvPr>
            </p:nvSpPr>
            <p:spPr>
              <a:xfrm>
                <a:off x="2095500" y="2921369"/>
                <a:ext cx="1397000" cy="369379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en-US" sz="1200" dirty="0">
                    <a:solidFill>
                      <a:prstClr val="black"/>
                    </a:solidFill>
                    <a:cs typeface="Arial" pitchFamily="34" charset="0"/>
                  </a:rPr>
                  <a:t>Accent 4</a:t>
                </a:r>
              </a:p>
            </p:txBody>
          </p:sp>
          <p:sp>
            <p:nvSpPr>
              <p:cNvPr id="23" name="Rounded Rectangle 24"/>
              <p:cNvSpPr/>
              <p:nvPr>
                <p:custDataLst>
                  <p:tags r:id="rId17"/>
                </p:custDataLst>
              </p:nvPr>
            </p:nvSpPr>
            <p:spPr>
              <a:xfrm>
                <a:off x="3429000" y="1905241"/>
                <a:ext cx="1016000" cy="1016129"/>
              </a:xfrm>
              <a:prstGeom prst="roundRect">
                <a:avLst/>
              </a:prstGeom>
              <a:solidFill>
                <a:srgbClr val="C1BB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193</a:t>
                </a:r>
              </a:p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187</a:t>
                </a:r>
              </a:p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0</a:t>
                </a:r>
              </a:p>
            </p:txBody>
          </p:sp>
          <p:sp>
            <p:nvSpPr>
              <p:cNvPr id="24" name="TextBox 25"/>
              <p:cNvSpPr txBox="1"/>
              <p:nvPr>
                <p:custDataLst>
                  <p:tags r:id="rId18"/>
                </p:custDataLst>
              </p:nvPr>
            </p:nvSpPr>
            <p:spPr>
              <a:xfrm>
                <a:off x="3238500" y="2921369"/>
                <a:ext cx="1397000" cy="369379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en-US" sz="1200" dirty="0">
                    <a:solidFill>
                      <a:prstClr val="black"/>
                    </a:solidFill>
                    <a:cs typeface="Arial" pitchFamily="34" charset="0"/>
                  </a:rPr>
                  <a:t>Accent 5</a:t>
                </a:r>
              </a:p>
            </p:txBody>
          </p:sp>
          <p:sp>
            <p:nvSpPr>
              <p:cNvPr id="25" name="Rounded Rectangle 26"/>
              <p:cNvSpPr/>
              <p:nvPr>
                <p:custDataLst>
                  <p:tags r:id="rId19"/>
                </p:custDataLst>
              </p:nvPr>
            </p:nvSpPr>
            <p:spPr>
              <a:xfrm>
                <a:off x="4572000" y="1905241"/>
                <a:ext cx="1016000" cy="1016129"/>
              </a:xfrm>
              <a:prstGeom prst="roundRect">
                <a:avLst/>
              </a:prstGeom>
              <a:solidFill>
                <a:srgbClr val="FFDD3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255</a:t>
                </a:r>
              </a:p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221</a:t>
                </a:r>
              </a:p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62</a:t>
                </a:r>
              </a:p>
            </p:txBody>
          </p:sp>
          <p:sp>
            <p:nvSpPr>
              <p:cNvPr id="26" name="TextBox 27"/>
              <p:cNvSpPr txBox="1"/>
              <p:nvPr>
                <p:custDataLst>
                  <p:tags r:id="rId20"/>
                </p:custDataLst>
              </p:nvPr>
            </p:nvSpPr>
            <p:spPr>
              <a:xfrm>
                <a:off x="4381500" y="2921369"/>
                <a:ext cx="1397000" cy="369379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en-US" sz="1200" dirty="0">
                    <a:solidFill>
                      <a:prstClr val="black"/>
                    </a:solidFill>
                    <a:cs typeface="Arial" pitchFamily="34" charset="0"/>
                  </a:rPr>
                  <a:t>Accent 6</a:t>
                </a:r>
              </a:p>
            </p:txBody>
          </p:sp>
          <p:sp>
            <p:nvSpPr>
              <p:cNvPr id="27" name="Rounded Rectangle 28"/>
              <p:cNvSpPr/>
              <p:nvPr>
                <p:custDataLst>
                  <p:tags r:id="rId21"/>
                </p:custDataLst>
              </p:nvPr>
            </p:nvSpPr>
            <p:spPr>
              <a:xfrm>
                <a:off x="5715000" y="1905241"/>
                <a:ext cx="1016000" cy="1016129"/>
              </a:xfrm>
              <a:prstGeom prst="roundRect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255</a:t>
                </a:r>
              </a:p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255</a:t>
                </a:r>
              </a:p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255</a:t>
                </a:r>
              </a:p>
            </p:txBody>
          </p:sp>
          <p:sp>
            <p:nvSpPr>
              <p:cNvPr id="28" name="TextBox 29"/>
              <p:cNvSpPr txBox="1"/>
              <p:nvPr>
                <p:custDataLst>
                  <p:tags r:id="rId22"/>
                </p:custDataLst>
              </p:nvPr>
            </p:nvSpPr>
            <p:spPr>
              <a:xfrm>
                <a:off x="5524500" y="2921369"/>
                <a:ext cx="1397000" cy="369379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en-US" sz="1200" dirty="0">
                    <a:solidFill>
                      <a:prstClr val="black"/>
                    </a:solidFill>
                    <a:cs typeface="Arial" pitchFamily="34" charset="0"/>
                  </a:rPr>
                  <a:t>Hyperlink</a:t>
                </a:r>
              </a:p>
            </p:txBody>
          </p:sp>
          <p:sp>
            <p:nvSpPr>
              <p:cNvPr id="29" name="Rounded Rectangle 30"/>
              <p:cNvSpPr/>
              <p:nvPr>
                <p:custDataLst>
                  <p:tags r:id="rId23"/>
                </p:custDataLst>
              </p:nvPr>
            </p:nvSpPr>
            <p:spPr>
              <a:xfrm>
                <a:off x="6858000" y="1905241"/>
                <a:ext cx="1016000" cy="1016129"/>
              </a:xfrm>
              <a:prstGeom prst="roundRect">
                <a:avLst/>
              </a:prstGeom>
              <a:solidFill>
                <a:srgbClr val="EC891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236</a:t>
                </a:r>
              </a:p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137</a:t>
                </a:r>
              </a:p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29</a:t>
                </a:r>
              </a:p>
            </p:txBody>
          </p:sp>
          <p:sp>
            <p:nvSpPr>
              <p:cNvPr id="30" name="TextBox 31"/>
              <p:cNvSpPr txBox="1"/>
              <p:nvPr>
                <p:custDataLst>
                  <p:tags r:id="rId24"/>
                </p:custDataLst>
              </p:nvPr>
            </p:nvSpPr>
            <p:spPr>
              <a:xfrm>
                <a:off x="6667500" y="2921369"/>
                <a:ext cx="1397000" cy="615631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en-US" sz="1200" dirty="0">
                    <a:solidFill>
                      <a:prstClr val="black"/>
                    </a:solidFill>
                    <a:cs typeface="Arial" pitchFamily="34" charset="0"/>
                  </a:rPr>
                  <a:t>Followed Hyperlink</a:t>
                </a:r>
              </a:p>
            </p:txBody>
          </p:sp>
          <p:sp>
            <p:nvSpPr>
              <p:cNvPr id="31" name="Rounded Rectangle 32"/>
              <p:cNvSpPr/>
              <p:nvPr>
                <p:custDataLst>
                  <p:tags r:id="rId25"/>
                </p:custDataLst>
              </p:nvPr>
            </p:nvSpPr>
            <p:spPr>
              <a:xfrm>
                <a:off x="1143000" y="3429434"/>
                <a:ext cx="1016000" cy="1016129"/>
              </a:xfrm>
              <a:prstGeom prst="roundRect">
                <a:avLst/>
              </a:prstGeom>
              <a:solidFill>
                <a:srgbClr val="7FAFDD"/>
              </a:solidFill>
              <a:ln>
                <a:solidFill>
                  <a:prstClr val="black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127</a:t>
                </a:r>
              </a:p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175</a:t>
                </a:r>
              </a:p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221</a:t>
                </a:r>
              </a:p>
            </p:txBody>
          </p:sp>
          <p:sp>
            <p:nvSpPr>
              <p:cNvPr id="32" name="TextBox 33"/>
              <p:cNvSpPr txBox="1"/>
              <p:nvPr>
                <p:custDataLst>
                  <p:tags r:id="rId26"/>
                </p:custDataLst>
              </p:nvPr>
            </p:nvSpPr>
            <p:spPr>
              <a:xfrm>
                <a:off x="952500" y="4445562"/>
                <a:ext cx="1397000" cy="369379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en-US" sz="1200" dirty="0">
                    <a:solidFill>
                      <a:prstClr val="black"/>
                    </a:solidFill>
                    <a:cs typeface="Arial" pitchFamily="34" charset="0"/>
                  </a:rPr>
                  <a:t>Tata Blue 50%</a:t>
                </a:r>
              </a:p>
            </p:txBody>
          </p:sp>
          <p:sp>
            <p:nvSpPr>
              <p:cNvPr id="33" name="Rounded Rectangle 34"/>
              <p:cNvSpPr/>
              <p:nvPr>
                <p:custDataLst>
                  <p:tags r:id="rId27"/>
                </p:custDataLst>
              </p:nvPr>
            </p:nvSpPr>
            <p:spPr>
              <a:xfrm>
                <a:off x="2286000" y="3429434"/>
                <a:ext cx="1016000" cy="1016129"/>
              </a:xfrm>
              <a:prstGeom prst="roundRect">
                <a:avLst/>
              </a:prstGeom>
              <a:solidFill>
                <a:srgbClr val="CBD7EE"/>
              </a:solidFill>
              <a:ln>
                <a:solidFill>
                  <a:prstClr val="black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203</a:t>
                </a:r>
              </a:p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215</a:t>
                </a:r>
              </a:p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238</a:t>
                </a:r>
              </a:p>
            </p:txBody>
          </p:sp>
          <p:sp>
            <p:nvSpPr>
              <p:cNvPr id="34" name="TextBox 35"/>
              <p:cNvSpPr txBox="1"/>
              <p:nvPr>
                <p:custDataLst>
                  <p:tags r:id="rId28"/>
                </p:custDataLst>
              </p:nvPr>
            </p:nvSpPr>
            <p:spPr>
              <a:xfrm>
                <a:off x="2095500" y="4445562"/>
                <a:ext cx="1397000" cy="369379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en-US" sz="1200" dirty="0">
                    <a:solidFill>
                      <a:prstClr val="black"/>
                    </a:solidFill>
                    <a:cs typeface="Arial" pitchFamily="34" charset="0"/>
                  </a:rPr>
                  <a:t>Tata Blue 25%</a:t>
                </a:r>
              </a:p>
            </p:txBody>
          </p:sp>
          <p:sp>
            <p:nvSpPr>
              <p:cNvPr id="35" name="Rounded Rectangle 36"/>
              <p:cNvSpPr/>
              <p:nvPr>
                <p:custDataLst>
                  <p:tags r:id="rId29"/>
                </p:custDataLst>
              </p:nvPr>
            </p:nvSpPr>
            <p:spPr>
              <a:xfrm>
                <a:off x="3429000" y="3429434"/>
                <a:ext cx="1016000" cy="1016129"/>
              </a:xfrm>
              <a:prstGeom prst="roundRect">
                <a:avLst/>
              </a:prstGeom>
              <a:solidFill>
                <a:srgbClr val="B395C5"/>
              </a:solidFill>
              <a:ln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r>
                  <a:rPr lang="en-US" sz="1200" dirty="0">
                    <a:solidFill>
                      <a:srgbClr val="1F497D"/>
                    </a:solidFill>
                  </a:rPr>
                  <a:t>179</a:t>
                </a:r>
              </a:p>
              <a:p>
                <a:pPr>
                  <a:defRPr/>
                </a:pPr>
                <a:r>
                  <a:rPr lang="en-US" sz="1200" dirty="0">
                    <a:solidFill>
                      <a:srgbClr val="1F497D"/>
                    </a:solidFill>
                  </a:rPr>
                  <a:t>149</a:t>
                </a:r>
              </a:p>
              <a:p>
                <a:pPr>
                  <a:defRPr/>
                </a:pPr>
                <a:r>
                  <a:rPr lang="en-US" sz="1200" dirty="0">
                    <a:solidFill>
                      <a:srgbClr val="1F497D"/>
                    </a:solidFill>
                  </a:rPr>
                  <a:t>197</a:t>
                </a:r>
              </a:p>
            </p:txBody>
          </p:sp>
          <p:sp>
            <p:nvSpPr>
              <p:cNvPr id="36" name="TextBox 37"/>
              <p:cNvSpPr txBox="1"/>
              <p:nvPr>
                <p:custDataLst>
                  <p:tags r:id="rId30"/>
                </p:custDataLst>
              </p:nvPr>
            </p:nvSpPr>
            <p:spPr>
              <a:xfrm>
                <a:off x="3238500" y="4445562"/>
                <a:ext cx="1397000" cy="369379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en-US" sz="1200" dirty="0">
                    <a:solidFill>
                      <a:prstClr val="black"/>
                    </a:solidFill>
                    <a:cs typeface="Arial" pitchFamily="34" charset="0"/>
                  </a:rPr>
                  <a:t>Purple 50 %</a:t>
                </a:r>
              </a:p>
            </p:txBody>
          </p:sp>
          <p:sp>
            <p:nvSpPr>
              <p:cNvPr id="37" name="Rounded Rectangle 38"/>
              <p:cNvSpPr/>
              <p:nvPr>
                <p:custDataLst>
                  <p:tags r:id="rId31"/>
                </p:custDataLst>
              </p:nvPr>
            </p:nvSpPr>
            <p:spPr>
              <a:xfrm>
                <a:off x="4572000" y="3429434"/>
                <a:ext cx="1016000" cy="1016129"/>
              </a:xfrm>
              <a:prstGeom prst="roundRect">
                <a:avLst/>
              </a:prstGeom>
              <a:solidFill>
                <a:srgbClr val="D4C3DF"/>
              </a:solidFill>
              <a:ln>
                <a:solidFill>
                  <a:prstClr val="black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212</a:t>
                </a:r>
              </a:p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195</a:t>
                </a:r>
              </a:p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223</a:t>
                </a:r>
              </a:p>
            </p:txBody>
          </p:sp>
          <p:sp>
            <p:nvSpPr>
              <p:cNvPr id="38" name="TextBox 39"/>
              <p:cNvSpPr txBox="1"/>
              <p:nvPr>
                <p:custDataLst>
                  <p:tags r:id="rId32"/>
                </p:custDataLst>
              </p:nvPr>
            </p:nvSpPr>
            <p:spPr>
              <a:xfrm>
                <a:off x="4381500" y="4445562"/>
                <a:ext cx="1397000" cy="369379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en-US" sz="1200" dirty="0">
                    <a:solidFill>
                      <a:prstClr val="black"/>
                    </a:solidFill>
                    <a:cs typeface="Arial" pitchFamily="34" charset="0"/>
                  </a:rPr>
                  <a:t>Purple 25 %</a:t>
                </a:r>
              </a:p>
            </p:txBody>
          </p:sp>
          <p:sp>
            <p:nvSpPr>
              <p:cNvPr id="39" name="Rounded Rectangle 40"/>
              <p:cNvSpPr/>
              <p:nvPr>
                <p:custDataLst>
                  <p:tags r:id="rId33"/>
                </p:custDataLst>
              </p:nvPr>
            </p:nvSpPr>
            <p:spPr>
              <a:xfrm>
                <a:off x="5715000" y="3429434"/>
                <a:ext cx="1016000" cy="1016129"/>
              </a:xfrm>
              <a:prstGeom prst="roundRect">
                <a:avLst/>
              </a:prstGeom>
              <a:solidFill>
                <a:srgbClr val="FFF2AB"/>
              </a:solidFill>
              <a:ln>
                <a:solidFill>
                  <a:prstClr val="black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255</a:t>
                </a:r>
              </a:p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242</a:t>
                </a:r>
              </a:p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171</a:t>
                </a:r>
              </a:p>
            </p:txBody>
          </p:sp>
          <p:sp>
            <p:nvSpPr>
              <p:cNvPr id="40" name="TextBox 41"/>
              <p:cNvSpPr txBox="1"/>
              <p:nvPr>
                <p:custDataLst>
                  <p:tags r:id="rId34"/>
                </p:custDataLst>
              </p:nvPr>
            </p:nvSpPr>
            <p:spPr>
              <a:xfrm>
                <a:off x="5524500" y="4445562"/>
                <a:ext cx="1397000" cy="369379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en-US" sz="1200" dirty="0">
                    <a:solidFill>
                      <a:prstClr val="black"/>
                    </a:solidFill>
                    <a:cs typeface="Arial" pitchFamily="34" charset="0"/>
                  </a:rPr>
                  <a:t>Yellow 50 %</a:t>
                </a:r>
              </a:p>
            </p:txBody>
          </p:sp>
          <p:sp>
            <p:nvSpPr>
              <p:cNvPr id="41" name="Rounded Rectangle 42"/>
              <p:cNvSpPr/>
              <p:nvPr>
                <p:custDataLst>
                  <p:tags r:id="rId35"/>
                </p:custDataLst>
              </p:nvPr>
            </p:nvSpPr>
            <p:spPr>
              <a:xfrm>
                <a:off x="6858000" y="3429434"/>
                <a:ext cx="1016000" cy="1016129"/>
              </a:xfrm>
              <a:prstGeom prst="roundRect">
                <a:avLst/>
              </a:prstGeom>
              <a:solidFill>
                <a:srgbClr val="FFF9D5"/>
              </a:solidFill>
              <a:ln>
                <a:solidFill>
                  <a:prstClr val="black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255</a:t>
                </a:r>
              </a:p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249</a:t>
                </a:r>
              </a:p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213</a:t>
                </a:r>
              </a:p>
            </p:txBody>
          </p:sp>
          <p:sp>
            <p:nvSpPr>
              <p:cNvPr id="42" name="TextBox 43"/>
              <p:cNvSpPr txBox="1"/>
              <p:nvPr>
                <p:custDataLst>
                  <p:tags r:id="rId36"/>
                </p:custDataLst>
              </p:nvPr>
            </p:nvSpPr>
            <p:spPr>
              <a:xfrm>
                <a:off x="6667500" y="4445562"/>
                <a:ext cx="1397000" cy="369379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en-US" sz="1200" dirty="0">
                    <a:solidFill>
                      <a:prstClr val="black"/>
                    </a:solidFill>
                    <a:cs typeface="Arial" pitchFamily="34" charset="0"/>
                  </a:rPr>
                  <a:t>Yellow 25 %</a:t>
                </a:r>
              </a:p>
            </p:txBody>
          </p:sp>
          <p:sp>
            <p:nvSpPr>
              <p:cNvPr id="43" name="Rounded Rectangle 44"/>
              <p:cNvSpPr/>
              <p:nvPr>
                <p:custDataLst>
                  <p:tags r:id="rId37"/>
                </p:custDataLst>
              </p:nvPr>
            </p:nvSpPr>
            <p:spPr>
              <a:xfrm>
                <a:off x="1143000" y="4826610"/>
                <a:ext cx="1016000" cy="1016129"/>
              </a:xfrm>
              <a:prstGeom prst="roundRect">
                <a:avLst/>
              </a:prstGeom>
              <a:solidFill>
                <a:srgbClr val="E5CDBA"/>
              </a:solidFill>
              <a:ln>
                <a:solidFill>
                  <a:prstClr val="black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229</a:t>
                </a:r>
              </a:p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205</a:t>
                </a:r>
              </a:p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186</a:t>
                </a:r>
              </a:p>
            </p:txBody>
          </p:sp>
          <p:sp>
            <p:nvSpPr>
              <p:cNvPr id="44" name="TextBox 45"/>
              <p:cNvSpPr txBox="1"/>
              <p:nvPr>
                <p:custDataLst>
                  <p:tags r:id="rId38"/>
                </p:custDataLst>
              </p:nvPr>
            </p:nvSpPr>
            <p:spPr>
              <a:xfrm>
                <a:off x="952500" y="5842739"/>
                <a:ext cx="1397000" cy="369379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en-US" sz="1200" dirty="0">
                    <a:solidFill>
                      <a:prstClr val="black"/>
                    </a:solidFill>
                    <a:cs typeface="Arial" pitchFamily="34" charset="0"/>
                  </a:rPr>
                  <a:t>Brown 50 %</a:t>
                </a:r>
              </a:p>
            </p:txBody>
          </p:sp>
          <p:sp>
            <p:nvSpPr>
              <p:cNvPr id="45" name="Rounded Rectangle 46"/>
              <p:cNvSpPr/>
              <p:nvPr>
                <p:custDataLst>
                  <p:tags r:id="rId39"/>
                </p:custDataLst>
              </p:nvPr>
            </p:nvSpPr>
            <p:spPr>
              <a:xfrm>
                <a:off x="2286000" y="4826610"/>
                <a:ext cx="1016000" cy="1016129"/>
              </a:xfrm>
              <a:prstGeom prst="roundRect">
                <a:avLst/>
              </a:prstGeom>
              <a:solidFill>
                <a:srgbClr val="F8F1EB"/>
              </a:solidFill>
              <a:ln>
                <a:solidFill>
                  <a:prstClr val="black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248</a:t>
                </a:r>
              </a:p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241</a:t>
                </a:r>
              </a:p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235</a:t>
                </a:r>
              </a:p>
            </p:txBody>
          </p:sp>
          <p:sp>
            <p:nvSpPr>
              <p:cNvPr id="46" name="TextBox 47"/>
              <p:cNvSpPr txBox="1"/>
              <p:nvPr>
                <p:custDataLst>
                  <p:tags r:id="rId40"/>
                </p:custDataLst>
              </p:nvPr>
            </p:nvSpPr>
            <p:spPr>
              <a:xfrm>
                <a:off x="2095500" y="5842739"/>
                <a:ext cx="1397000" cy="369379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en-US" sz="1200" dirty="0">
                    <a:solidFill>
                      <a:prstClr val="black"/>
                    </a:solidFill>
                    <a:cs typeface="Arial" pitchFamily="34" charset="0"/>
                  </a:rPr>
                  <a:t>Brown 25 %</a:t>
                </a:r>
              </a:p>
            </p:txBody>
          </p:sp>
          <p:sp>
            <p:nvSpPr>
              <p:cNvPr id="47" name="Rounded Rectangle 48"/>
              <p:cNvSpPr/>
              <p:nvPr>
                <p:custDataLst>
                  <p:tags r:id="rId41"/>
                </p:custDataLst>
              </p:nvPr>
            </p:nvSpPr>
            <p:spPr>
              <a:xfrm>
                <a:off x="3429000" y="4826610"/>
                <a:ext cx="1016000" cy="1016129"/>
              </a:xfrm>
              <a:prstGeom prst="roundRect">
                <a:avLst/>
              </a:prstGeom>
              <a:solidFill>
                <a:srgbClr val="B4D59A"/>
              </a:solidFill>
              <a:ln>
                <a:solidFill>
                  <a:prstClr val="black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r>
                  <a:rPr lang="en-US" sz="1200" dirty="0">
                    <a:solidFill>
                      <a:srgbClr val="7FAFDD"/>
                    </a:solidFill>
                  </a:rPr>
                  <a:t>180</a:t>
                </a:r>
              </a:p>
              <a:p>
                <a:pPr>
                  <a:defRPr/>
                </a:pPr>
                <a:r>
                  <a:rPr lang="en-US" sz="1200" dirty="0">
                    <a:solidFill>
                      <a:srgbClr val="7FAFDD"/>
                    </a:solidFill>
                  </a:rPr>
                  <a:t>213</a:t>
                </a:r>
              </a:p>
              <a:p>
                <a:pPr>
                  <a:defRPr/>
                </a:pPr>
                <a:r>
                  <a:rPr lang="en-US" sz="1200" dirty="0">
                    <a:solidFill>
                      <a:srgbClr val="7FAFDD"/>
                    </a:solidFill>
                  </a:rPr>
                  <a:t>154</a:t>
                </a:r>
              </a:p>
            </p:txBody>
          </p:sp>
          <p:sp>
            <p:nvSpPr>
              <p:cNvPr id="48" name="TextBox 49"/>
              <p:cNvSpPr txBox="1"/>
              <p:nvPr>
                <p:custDataLst>
                  <p:tags r:id="rId42"/>
                </p:custDataLst>
              </p:nvPr>
            </p:nvSpPr>
            <p:spPr>
              <a:xfrm>
                <a:off x="3238500" y="5842739"/>
                <a:ext cx="1397000" cy="369379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en-US" sz="1200" dirty="0">
                    <a:solidFill>
                      <a:prstClr val="black"/>
                    </a:solidFill>
                    <a:cs typeface="Arial" pitchFamily="34" charset="0"/>
                  </a:rPr>
                  <a:t>Green 50 %</a:t>
                </a:r>
              </a:p>
            </p:txBody>
          </p:sp>
          <p:sp>
            <p:nvSpPr>
              <p:cNvPr id="49" name="Rounded Rectangle 50"/>
              <p:cNvSpPr/>
              <p:nvPr>
                <p:custDataLst>
                  <p:tags r:id="rId43"/>
                </p:custDataLst>
              </p:nvPr>
            </p:nvSpPr>
            <p:spPr>
              <a:xfrm>
                <a:off x="4572000" y="4826610"/>
                <a:ext cx="1016000" cy="1016129"/>
              </a:xfrm>
              <a:prstGeom prst="roundRect">
                <a:avLst/>
              </a:prstGeom>
              <a:solidFill>
                <a:srgbClr val="D6E7C8"/>
              </a:solidFill>
              <a:ln>
                <a:solidFill>
                  <a:prstClr val="black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214</a:t>
                </a:r>
              </a:p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231</a:t>
                </a:r>
              </a:p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200</a:t>
                </a:r>
              </a:p>
            </p:txBody>
          </p:sp>
          <p:sp>
            <p:nvSpPr>
              <p:cNvPr id="50" name="TextBox 51"/>
              <p:cNvSpPr txBox="1"/>
              <p:nvPr>
                <p:custDataLst>
                  <p:tags r:id="rId44"/>
                </p:custDataLst>
              </p:nvPr>
            </p:nvSpPr>
            <p:spPr>
              <a:xfrm>
                <a:off x="4381500" y="5842739"/>
                <a:ext cx="1397000" cy="369379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en-US" sz="1200" dirty="0">
                    <a:solidFill>
                      <a:prstClr val="black"/>
                    </a:solidFill>
                    <a:cs typeface="Arial" pitchFamily="34" charset="0"/>
                  </a:rPr>
                  <a:t>Green 25 %</a:t>
                </a:r>
              </a:p>
            </p:txBody>
          </p:sp>
          <p:sp>
            <p:nvSpPr>
              <p:cNvPr id="51" name="Rounded Rectangle 52"/>
              <p:cNvSpPr/>
              <p:nvPr>
                <p:custDataLst>
                  <p:tags r:id="rId45"/>
                </p:custDataLst>
              </p:nvPr>
            </p:nvSpPr>
            <p:spPr>
              <a:xfrm>
                <a:off x="5715000" y="4826610"/>
                <a:ext cx="1016000" cy="1016129"/>
              </a:xfrm>
              <a:prstGeom prst="roundRect">
                <a:avLst/>
              </a:prstGeom>
              <a:solidFill>
                <a:srgbClr val="F1F0CA"/>
              </a:solidFill>
              <a:ln>
                <a:solidFill>
                  <a:prstClr val="black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241</a:t>
                </a:r>
              </a:p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240</a:t>
                </a:r>
              </a:p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202</a:t>
                </a:r>
              </a:p>
            </p:txBody>
          </p:sp>
          <p:sp>
            <p:nvSpPr>
              <p:cNvPr id="52" name="TextBox 53"/>
              <p:cNvSpPr txBox="1"/>
              <p:nvPr>
                <p:custDataLst>
                  <p:tags r:id="rId46"/>
                </p:custDataLst>
              </p:nvPr>
            </p:nvSpPr>
            <p:spPr>
              <a:xfrm>
                <a:off x="5524500" y="5842739"/>
                <a:ext cx="1397000" cy="369379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en-US" sz="1200" dirty="0">
                    <a:solidFill>
                      <a:prstClr val="black"/>
                    </a:solidFill>
                    <a:cs typeface="Arial" pitchFamily="34" charset="0"/>
                  </a:rPr>
                  <a:t>Light Green 50%</a:t>
                </a:r>
              </a:p>
            </p:txBody>
          </p:sp>
          <p:sp>
            <p:nvSpPr>
              <p:cNvPr id="53" name="Rounded Rectangle 54"/>
              <p:cNvSpPr/>
              <p:nvPr>
                <p:custDataLst>
                  <p:tags r:id="rId47"/>
                </p:custDataLst>
              </p:nvPr>
            </p:nvSpPr>
            <p:spPr>
              <a:xfrm>
                <a:off x="6858000" y="4826610"/>
                <a:ext cx="1016000" cy="1016129"/>
              </a:xfrm>
              <a:prstGeom prst="roundRect">
                <a:avLst/>
              </a:prstGeom>
              <a:solidFill>
                <a:srgbClr val="FBFBF1"/>
              </a:solidFill>
              <a:ln>
                <a:solidFill>
                  <a:prstClr val="black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251</a:t>
                </a:r>
              </a:p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251</a:t>
                </a:r>
              </a:p>
              <a:p>
                <a:pPr>
                  <a:defRPr/>
                </a:pPr>
                <a:r>
                  <a:rPr lang="en-US" sz="1200" dirty="0">
                    <a:solidFill>
                      <a:prstClr val="white"/>
                    </a:solidFill>
                  </a:rPr>
                  <a:t>241</a:t>
                </a:r>
              </a:p>
            </p:txBody>
          </p:sp>
          <p:sp>
            <p:nvSpPr>
              <p:cNvPr id="54" name="TextBox 55"/>
              <p:cNvSpPr txBox="1"/>
              <p:nvPr>
                <p:custDataLst>
                  <p:tags r:id="rId48"/>
                </p:custDataLst>
              </p:nvPr>
            </p:nvSpPr>
            <p:spPr>
              <a:xfrm>
                <a:off x="6667500" y="5842739"/>
                <a:ext cx="1397000" cy="369379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en-US" sz="1200" dirty="0">
                    <a:solidFill>
                      <a:prstClr val="black"/>
                    </a:solidFill>
                    <a:cs typeface="Arial" pitchFamily="34" charset="0"/>
                  </a:rPr>
                  <a:t>Light Green 25%</a:t>
                </a:r>
              </a:p>
            </p:txBody>
          </p:sp>
        </p:grpSp>
        <p:sp>
          <p:nvSpPr>
            <p:cNvPr id="6" name="TextBox 7"/>
            <p:cNvSpPr txBox="1"/>
            <p:nvPr/>
          </p:nvSpPr>
          <p:spPr>
            <a:xfrm>
              <a:off x="127000" y="0"/>
              <a:ext cx="2540000" cy="49250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US" dirty="0">
                  <a:solidFill>
                    <a:prstClr val="black"/>
                  </a:solidFill>
                  <a:cs typeface="Arial" pitchFamily="34" charset="0"/>
                </a:rPr>
                <a:t>Title and Content</a:t>
              </a:r>
            </a:p>
          </p:txBody>
        </p:sp>
      </p:grpSp>
      <p:pic>
        <p:nvPicPr>
          <p:cNvPr id="55" name="Picture 4"/>
          <p:cNvPicPr>
            <a:picLocks noChangeAspect="1" noChangeArrowheads="1"/>
          </p:cNvPicPr>
          <p:nvPr/>
        </p:nvPicPr>
        <p:blipFill>
          <a:blip r:embed="rId50" cstate="print"/>
          <a:srcRect l="19609" t="20313" r="5391" b="9277"/>
          <a:stretch>
            <a:fillRect/>
          </a:stretch>
        </p:blipFill>
        <p:spPr bwMode="auto">
          <a:xfrm>
            <a:off x="0" y="-7144"/>
            <a:ext cx="9144000" cy="5150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3380" y="2583181"/>
            <a:ext cx="8420100" cy="514350"/>
          </a:xfrm>
        </p:spPr>
        <p:txBody>
          <a:bodyPr>
            <a:normAutofit/>
          </a:bodyPr>
          <a:lstStyle>
            <a:lvl1pPr algn="l">
              <a:defRPr kumimoji="0" lang="en-US" sz="3900" b="0" i="0" u="none" strike="noStrike" kern="1200" cap="none" normalizeH="0" baseline="0" dirty="0">
                <a:ln>
                  <a:noFill/>
                </a:ln>
                <a:solidFill>
                  <a:srgbClr val="FFFFFF"/>
                </a:solidFill>
                <a:effectLst/>
                <a:latin typeface="Myriad Pro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1950" y="3100389"/>
            <a:ext cx="8439150" cy="4572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kumimoji="0" lang="en-US" sz="3500" b="0" i="0" u="none" strike="noStrike" kern="1200" cap="none" normalizeH="0" baseline="0" dirty="0">
                <a:ln>
                  <a:noFill/>
                </a:ln>
                <a:solidFill>
                  <a:srgbClr val="FFFFFF"/>
                </a:solidFill>
                <a:effectLst/>
                <a:latin typeface="Myriad Pro Light" pitchFamily="34" charset="0"/>
                <a:ea typeface="+mn-ea"/>
                <a:cs typeface="+mn-cs"/>
              </a:defRPr>
            </a:lvl1pPr>
            <a:lvl2pPr marL="456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7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6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273117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56" y="342911"/>
            <a:ext cx="2949178" cy="1200151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8" y="740581"/>
            <a:ext cx="4629150" cy="3655219"/>
          </a:xfrm>
        </p:spPr>
        <p:txBody>
          <a:bodyPr/>
          <a:lstStyle>
            <a:lvl1pPr marL="0" indent="0">
              <a:buNone/>
              <a:defRPr sz="3200"/>
            </a:lvl1pPr>
            <a:lvl2pPr marL="456960" indent="0">
              <a:buNone/>
              <a:defRPr sz="2800"/>
            </a:lvl2pPr>
            <a:lvl3pPr marL="913920" indent="0">
              <a:buNone/>
              <a:defRPr sz="2400"/>
            </a:lvl3pPr>
            <a:lvl4pPr marL="1370880" indent="0">
              <a:buNone/>
              <a:defRPr sz="2000"/>
            </a:lvl4pPr>
            <a:lvl5pPr marL="1827840" indent="0">
              <a:buNone/>
              <a:defRPr sz="2000"/>
            </a:lvl5pPr>
            <a:lvl6pPr marL="2284800" indent="0">
              <a:buNone/>
              <a:defRPr sz="2000"/>
            </a:lvl6pPr>
            <a:lvl7pPr marL="2741760" indent="0">
              <a:buNone/>
              <a:defRPr sz="2000"/>
            </a:lvl7pPr>
            <a:lvl8pPr marL="3198720" indent="0">
              <a:buNone/>
              <a:defRPr sz="2000"/>
            </a:lvl8pPr>
            <a:lvl9pPr marL="365568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56" y="1543051"/>
            <a:ext cx="2949178" cy="2858692"/>
          </a:xfrm>
        </p:spPr>
        <p:txBody>
          <a:bodyPr/>
          <a:lstStyle>
            <a:lvl1pPr marL="0" indent="0">
              <a:buNone/>
              <a:defRPr sz="1600"/>
            </a:lvl1pPr>
            <a:lvl2pPr marL="456960" indent="0">
              <a:buNone/>
              <a:defRPr sz="1500"/>
            </a:lvl2pPr>
            <a:lvl3pPr marL="913920" indent="0">
              <a:buNone/>
              <a:defRPr sz="1200"/>
            </a:lvl3pPr>
            <a:lvl4pPr marL="1370880" indent="0">
              <a:buNone/>
              <a:defRPr sz="1100"/>
            </a:lvl4pPr>
            <a:lvl5pPr marL="1827840" indent="0">
              <a:buNone/>
              <a:defRPr sz="1100"/>
            </a:lvl5pPr>
            <a:lvl6pPr marL="2284800" indent="0">
              <a:buNone/>
              <a:defRPr sz="1100"/>
            </a:lvl6pPr>
            <a:lvl7pPr marL="2741760" indent="0">
              <a:buNone/>
              <a:defRPr sz="1100"/>
            </a:lvl7pPr>
            <a:lvl8pPr marL="3198720" indent="0">
              <a:buNone/>
              <a:defRPr sz="1100"/>
            </a:lvl8pPr>
            <a:lvl9pPr marL="3655680" indent="0">
              <a:buNone/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D06948-7ADC-43CE-B128-BA21BC95AE1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0/201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4FA0C-746F-4F62-85E6-E4F9991900E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701091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DE24DF-EA81-41B8-975D-FBF2C317CB7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0/201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4FA0C-746F-4F62-85E6-E4F9991900E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955352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273843"/>
            <a:ext cx="1971675" cy="4358879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62" y="273843"/>
            <a:ext cx="5800725" cy="435887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7F0B58-06BE-491B-B984-62F2C1D58632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0/201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4FA0C-746F-4F62-85E6-E4F9991900E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630877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4"/>
          <p:cNvGrpSpPr/>
          <p:nvPr/>
        </p:nvGrpSpPr>
        <p:grpSpPr>
          <a:xfrm>
            <a:off x="127002" y="10"/>
            <a:ext cx="7937500" cy="4673889"/>
            <a:chOff x="127000" y="0"/>
            <a:chExt cx="7937500" cy="6231851"/>
          </a:xfrm>
        </p:grpSpPr>
        <p:grpSp>
          <p:nvGrpSpPr>
            <p:cNvPr id="5" name="Group 53"/>
            <p:cNvGrpSpPr/>
            <p:nvPr/>
          </p:nvGrpSpPr>
          <p:grpSpPr>
            <a:xfrm>
              <a:off x="952500" y="508000"/>
              <a:ext cx="7112000" cy="5723851"/>
              <a:chOff x="952500" y="508000"/>
              <a:chExt cx="7112000" cy="5723851"/>
            </a:xfrm>
          </p:grpSpPr>
          <p:sp>
            <p:nvSpPr>
              <p:cNvPr id="9" name="Rounded Rectangle 8"/>
              <p:cNvSpPr/>
              <p:nvPr>
                <p:custDataLst>
                  <p:tags r:id="rId1"/>
                </p:custDataLst>
              </p:nvPr>
            </p:nvSpPr>
            <p:spPr>
              <a:xfrm>
                <a:off x="1143000" y="508000"/>
                <a:ext cx="1016000" cy="1016000"/>
              </a:xfrm>
              <a:prstGeom prst="roundRect">
                <a:avLst/>
              </a:prstGeom>
              <a:solidFill>
                <a:srgbClr val="6DCFF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109</a:t>
                </a:r>
              </a:p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207</a:t>
                </a:r>
              </a:p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246</a:t>
                </a:r>
              </a:p>
            </p:txBody>
          </p:sp>
          <p:sp>
            <p:nvSpPr>
              <p:cNvPr id="10" name="TextBox 9"/>
              <p:cNvSpPr txBox="1"/>
              <p:nvPr>
                <p:custDataLst>
                  <p:tags r:id="rId2"/>
                </p:custDataLst>
              </p:nvPr>
            </p:nvSpPr>
            <p:spPr>
              <a:xfrm>
                <a:off x="952500" y="1524000"/>
                <a:ext cx="1397000" cy="389851"/>
              </a:xfrm>
              <a:prstGeom prst="rect">
                <a:avLst/>
              </a:prstGeom>
              <a:noFill/>
            </p:spPr>
            <p:txBody>
              <a:bodyPr vert="horz" rtlCol="0">
                <a:spAutoFit/>
              </a:bodyPr>
              <a:lstStyle/>
              <a:p>
                <a:pPr algn="ctr" defTabSz="1219004"/>
                <a:r>
                  <a:rPr lang="en-US" sz="1300">
                    <a:solidFill>
                      <a:prstClr val="black"/>
                    </a:solidFill>
                  </a:rPr>
                  <a:t>Dark 1</a:t>
                </a:r>
              </a:p>
            </p:txBody>
          </p:sp>
          <p:sp>
            <p:nvSpPr>
              <p:cNvPr id="11" name="Rounded Rectangle 10"/>
              <p:cNvSpPr/>
              <p:nvPr>
                <p:custDataLst>
                  <p:tags r:id="rId3"/>
                </p:custDataLst>
              </p:nvPr>
            </p:nvSpPr>
            <p:spPr>
              <a:xfrm>
                <a:off x="2286000" y="508000"/>
                <a:ext cx="1016000" cy="1016000"/>
              </a:xfrm>
              <a:prstGeom prst="roundRect">
                <a:avLst/>
              </a:prstGeom>
              <a:solidFill>
                <a:srgbClr val="FFFFFF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1219004"/>
                <a:r>
                  <a:rPr lang="en-US" sz="1300">
                    <a:solidFill>
                      <a:srgbClr val="1F497D"/>
                    </a:solidFill>
                  </a:rPr>
                  <a:t>255</a:t>
                </a:r>
              </a:p>
              <a:p>
                <a:pPr defTabSz="1219004"/>
                <a:r>
                  <a:rPr lang="en-US" sz="1300">
                    <a:solidFill>
                      <a:srgbClr val="1F497D"/>
                    </a:solidFill>
                  </a:rPr>
                  <a:t>255</a:t>
                </a:r>
              </a:p>
              <a:p>
                <a:pPr defTabSz="1219004"/>
                <a:r>
                  <a:rPr lang="en-US" sz="1300">
                    <a:solidFill>
                      <a:srgbClr val="1F497D"/>
                    </a:solidFill>
                  </a:rPr>
                  <a:t>255</a:t>
                </a:r>
              </a:p>
            </p:txBody>
          </p:sp>
          <p:sp>
            <p:nvSpPr>
              <p:cNvPr id="12" name="TextBox 11"/>
              <p:cNvSpPr txBox="1"/>
              <p:nvPr>
                <p:custDataLst>
                  <p:tags r:id="rId4"/>
                </p:custDataLst>
              </p:nvPr>
            </p:nvSpPr>
            <p:spPr>
              <a:xfrm>
                <a:off x="2095500" y="1524000"/>
                <a:ext cx="1397000" cy="389851"/>
              </a:xfrm>
              <a:prstGeom prst="rect">
                <a:avLst/>
              </a:prstGeom>
              <a:noFill/>
            </p:spPr>
            <p:txBody>
              <a:bodyPr vert="horz" rtlCol="0">
                <a:spAutoFit/>
              </a:bodyPr>
              <a:lstStyle/>
              <a:p>
                <a:pPr algn="ctr" defTabSz="1219004"/>
                <a:r>
                  <a:rPr lang="en-US" sz="1300">
                    <a:solidFill>
                      <a:prstClr val="black"/>
                    </a:solidFill>
                  </a:rPr>
                  <a:t>Light 1</a:t>
                </a:r>
              </a:p>
            </p:txBody>
          </p:sp>
          <p:sp>
            <p:nvSpPr>
              <p:cNvPr id="13" name="Rounded Rectangle 12"/>
              <p:cNvSpPr/>
              <p:nvPr>
                <p:custDataLst>
                  <p:tags r:id="rId5"/>
                </p:custDataLst>
              </p:nvPr>
            </p:nvSpPr>
            <p:spPr>
              <a:xfrm>
                <a:off x="3429000" y="508000"/>
                <a:ext cx="1016000" cy="1016000"/>
              </a:xfrm>
              <a:prstGeom prst="roundRect">
                <a:avLst/>
              </a:prstGeom>
              <a:solidFill>
                <a:srgbClr val="83389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131</a:t>
                </a:r>
              </a:p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56</a:t>
                </a:r>
              </a:p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155</a:t>
                </a:r>
              </a:p>
            </p:txBody>
          </p:sp>
          <p:sp>
            <p:nvSpPr>
              <p:cNvPr id="14" name="TextBox 13"/>
              <p:cNvSpPr txBox="1"/>
              <p:nvPr>
                <p:custDataLst>
                  <p:tags r:id="rId6"/>
                </p:custDataLst>
              </p:nvPr>
            </p:nvSpPr>
            <p:spPr>
              <a:xfrm>
                <a:off x="3238500" y="1524000"/>
                <a:ext cx="1397000" cy="389851"/>
              </a:xfrm>
              <a:prstGeom prst="rect">
                <a:avLst/>
              </a:prstGeom>
              <a:noFill/>
            </p:spPr>
            <p:txBody>
              <a:bodyPr vert="horz" rtlCol="0">
                <a:spAutoFit/>
              </a:bodyPr>
              <a:lstStyle/>
              <a:p>
                <a:pPr algn="ctr" defTabSz="1219004"/>
                <a:r>
                  <a:rPr lang="en-US" sz="1300">
                    <a:solidFill>
                      <a:prstClr val="black"/>
                    </a:solidFill>
                  </a:rPr>
                  <a:t>Dark 2</a:t>
                </a:r>
              </a:p>
            </p:txBody>
          </p:sp>
          <p:sp>
            <p:nvSpPr>
              <p:cNvPr id="15" name="Rounded Rectangle 14"/>
              <p:cNvSpPr/>
              <p:nvPr>
                <p:custDataLst>
                  <p:tags r:id="rId7"/>
                </p:custDataLst>
              </p:nvPr>
            </p:nvSpPr>
            <p:spPr>
              <a:xfrm>
                <a:off x="4572000" y="508000"/>
                <a:ext cx="1016000" cy="1016000"/>
              </a:xfrm>
              <a:prstGeom prst="roundRect">
                <a:avLst/>
              </a:prstGeom>
              <a:solidFill>
                <a:srgbClr val="0063B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0</a:t>
                </a:r>
              </a:p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99</a:t>
                </a:r>
              </a:p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190</a:t>
                </a:r>
              </a:p>
            </p:txBody>
          </p:sp>
          <p:sp>
            <p:nvSpPr>
              <p:cNvPr id="16" name="TextBox 15"/>
              <p:cNvSpPr txBox="1"/>
              <p:nvPr>
                <p:custDataLst>
                  <p:tags r:id="rId8"/>
                </p:custDataLst>
              </p:nvPr>
            </p:nvSpPr>
            <p:spPr>
              <a:xfrm>
                <a:off x="4381500" y="1524000"/>
                <a:ext cx="1397000" cy="389851"/>
              </a:xfrm>
              <a:prstGeom prst="rect">
                <a:avLst/>
              </a:prstGeom>
              <a:noFill/>
            </p:spPr>
            <p:txBody>
              <a:bodyPr vert="horz" rtlCol="0">
                <a:spAutoFit/>
              </a:bodyPr>
              <a:lstStyle/>
              <a:p>
                <a:pPr algn="ctr" defTabSz="1219004"/>
                <a:r>
                  <a:rPr lang="en-US" sz="1300">
                    <a:solidFill>
                      <a:prstClr val="black"/>
                    </a:solidFill>
                  </a:rPr>
                  <a:t>Light 2</a:t>
                </a:r>
              </a:p>
            </p:txBody>
          </p:sp>
          <p:sp>
            <p:nvSpPr>
              <p:cNvPr id="17" name="Rounded Rectangle 16"/>
              <p:cNvSpPr/>
              <p:nvPr>
                <p:custDataLst>
                  <p:tags r:id="rId9"/>
                </p:custDataLst>
              </p:nvPr>
            </p:nvSpPr>
            <p:spPr>
              <a:xfrm>
                <a:off x="5715000" y="508000"/>
                <a:ext cx="1016000" cy="1016000"/>
              </a:xfrm>
              <a:prstGeom prst="roundRect">
                <a:avLst/>
              </a:prstGeom>
              <a:solidFill>
                <a:srgbClr val="55A51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85</a:t>
                </a:r>
              </a:p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165</a:t>
                </a:r>
              </a:p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28</a:t>
                </a:r>
              </a:p>
            </p:txBody>
          </p:sp>
          <p:sp>
            <p:nvSpPr>
              <p:cNvPr id="18" name="TextBox 17"/>
              <p:cNvSpPr txBox="1"/>
              <p:nvPr>
                <p:custDataLst>
                  <p:tags r:id="rId10"/>
                </p:custDataLst>
              </p:nvPr>
            </p:nvSpPr>
            <p:spPr>
              <a:xfrm>
                <a:off x="5524500" y="1524000"/>
                <a:ext cx="1397000" cy="389851"/>
              </a:xfrm>
              <a:prstGeom prst="rect">
                <a:avLst/>
              </a:prstGeom>
              <a:noFill/>
            </p:spPr>
            <p:txBody>
              <a:bodyPr vert="horz" rtlCol="0">
                <a:spAutoFit/>
              </a:bodyPr>
              <a:lstStyle/>
              <a:p>
                <a:pPr algn="ctr" defTabSz="1219004"/>
                <a:r>
                  <a:rPr lang="en-US" sz="1300">
                    <a:solidFill>
                      <a:prstClr val="black"/>
                    </a:solidFill>
                  </a:rPr>
                  <a:t>Accent 1</a:t>
                </a:r>
              </a:p>
            </p:txBody>
          </p:sp>
          <p:sp>
            <p:nvSpPr>
              <p:cNvPr id="19" name="Rounded Rectangle 18"/>
              <p:cNvSpPr/>
              <p:nvPr>
                <p:custDataLst>
                  <p:tags r:id="rId11"/>
                </p:custDataLst>
              </p:nvPr>
            </p:nvSpPr>
            <p:spPr>
              <a:xfrm>
                <a:off x="6858000" y="508000"/>
                <a:ext cx="1016000" cy="1016000"/>
              </a:xfrm>
              <a:prstGeom prst="roundRect">
                <a:avLst/>
              </a:prstGeom>
              <a:solidFill>
                <a:srgbClr val="D6492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214</a:t>
                </a:r>
              </a:p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73</a:t>
                </a:r>
              </a:p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42</a:t>
                </a:r>
              </a:p>
            </p:txBody>
          </p:sp>
          <p:sp>
            <p:nvSpPr>
              <p:cNvPr id="20" name="TextBox 19"/>
              <p:cNvSpPr txBox="1"/>
              <p:nvPr>
                <p:custDataLst>
                  <p:tags r:id="rId12"/>
                </p:custDataLst>
              </p:nvPr>
            </p:nvSpPr>
            <p:spPr>
              <a:xfrm>
                <a:off x="6667500" y="1524000"/>
                <a:ext cx="1397000" cy="389851"/>
              </a:xfrm>
              <a:prstGeom prst="rect">
                <a:avLst/>
              </a:prstGeom>
              <a:noFill/>
            </p:spPr>
            <p:txBody>
              <a:bodyPr vert="horz" rtlCol="0">
                <a:spAutoFit/>
              </a:bodyPr>
              <a:lstStyle/>
              <a:p>
                <a:pPr algn="ctr" defTabSz="1219004"/>
                <a:r>
                  <a:rPr lang="en-US" sz="1300">
                    <a:solidFill>
                      <a:prstClr val="black"/>
                    </a:solidFill>
                  </a:rPr>
                  <a:t>Accent 2</a:t>
                </a:r>
              </a:p>
            </p:txBody>
          </p:sp>
          <p:sp>
            <p:nvSpPr>
              <p:cNvPr id="21" name="Rounded Rectangle 20"/>
              <p:cNvSpPr/>
              <p:nvPr>
                <p:custDataLst>
                  <p:tags r:id="rId13"/>
                </p:custDataLst>
              </p:nvPr>
            </p:nvSpPr>
            <p:spPr>
              <a:xfrm>
                <a:off x="1143000" y="1905000"/>
                <a:ext cx="1016000" cy="1016000"/>
              </a:xfrm>
              <a:prstGeom prst="roundRect">
                <a:avLst/>
              </a:prstGeom>
              <a:solidFill>
                <a:srgbClr val="B9AFA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185</a:t>
                </a:r>
              </a:p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175</a:t>
                </a:r>
              </a:p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164</a:t>
                </a:r>
              </a:p>
            </p:txBody>
          </p:sp>
          <p:sp>
            <p:nvSpPr>
              <p:cNvPr id="22" name="TextBox 21"/>
              <p:cNvSpPr txBox="1"/>
              <p:nvPr>
                <p:custDataLst>
                  <p:tags r:id="rId14"/>
                </p:custDataLst>
              </p:nvPr>
            </p:nvSpPr>
            <p:spPr>
              <a:xfrm>
                <a:off x="952500" y="2920999"/>
                <a:ext cx="1397000" cy="389851"/>
              </a:xfrm>
              <a:prstGeom prst="rect">
                <a:avLst/>
              </a:prstGeom>
              <a:noFill/>
            </p:spPr>
            <p:txBody>
              <a:bodyPr vert="horz" rtlCol="0">
                <a:spAutoFit/>
              </a:bodyPr>
              <a:lstStyle/>
              <a:p>
                <a:pPr algn="ctr" defTabSz="1219004"/>
                <a:r>
                  <a:rPr lang="en-US" sz="1300">
                    <a:solidFill>
                      <a:prstClr val="black"/>
                    </a:solidFill>
                  </a:rPr>
                  <a:t>Accent 3</a:t>
                </a:r>
              </a:p>
            </p:txBody>
          </p:sp>
          <p:sp>
            <p:nvSpPr>
              <p:cNvPr id="23" name="Rounded Rectangle 22"/>
              <p:cNvSpPr/>
              <p:nvPr>
                <p:custDataLst>
                  <p:tags r:id="rId15"/>
                </p:custDataLst>
              </p:nvPr>
            </p:nvSpPr>
            <p:spPr>
              <a:xfrm>
                <a:off x="2286000" y="1905000"/>
                <a:ext cx="1016000" cy="1016000"/>
              </a:xfrm>
              <a:prstGeom prst="roundRect">
                <a:avLst/>
              </a:prstGeom>
              <a:solidFill>
                <a:srgbClr val="974B0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151</a:t>
                </a:r>
              </a:p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75</a:t>
                </a:r>
              </a:p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7</a:t>
                </a:r>
              </a:p>
            </p:txBody>
          </p:sp>
          <p:sp>
            <p:nvSpPr>
              <p:cNvPr id="24" name="TextBox 23"/>
              <p:cNvSpPr txBox="1"/>
              <p:nvPr>
                <p:custDataLst>
                  <p:tags r:id="rId16"/>
                </p:custDataLst>
              </p:nvPr>
            </p:nvSpPr>
            <p:spPr>
              <a:xfrm>
                <a:off x="2095500" y="2920999"/>
                <a:ext cx="1397000" cy="389851"/>
              </a:xfrm>
              <a:prstGeom prst="rect">
                <a:avLst/>
              </a:prstGeom>
              <a:noFill/>
            </p:spPr>
            <p:txBody>
              <a:bodyPr vert="horz" rtlCol="0">
                <a:spAutoFit/>
              </a:bodyPr>
              <a:lstStyle/>
              <a:p>
                <a:pPr algn="ctr" defTabSz="1219004"/>
                <a:r>
                  <a:rPr lang="en-US" sz="1300">
                    <a:solidFill>
                      <a:prstClr val="black"/>
                    </a:solidFill>
                  </a:rPr>
                  <a:t>Accent 4</a:t>
                </a:r>
              </a:p>
            </p:txBody>
          </p:sp>
          <p:sp>
            <p:nvSpPr>
              <p:cNvPr id="25" name="Rounded Rectangle 24"/>
              <p:cNvSpPr/>
              <p:nvPr>
                <p:custDataLst>
                  <p:tags r:id="rId17"/>
                </p:custDataLst>
              </p:nvPr>
            </p:nvSpPr>
            <p:spPr>
              <a:xfrm>
                <a:off x="3429000" y="1905000"/>
                <a:ext cx="1016000" cy="1016000"/>
              </a:xfrm>
              <a:prstGeom prst="roundRect">
                <a:avLst/>
              </a:prstGeom>
              <a:solidFill>
                <a:srgbClr val="C1BB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193</a:t>
                </a:r>
              </a:p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187</a:t>
                </a:r>
              </a:p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0</a:t>
                </a:r>
              </a:p>
            </p:txBody>
          </p:sp>
          <p:sp>
            <p:nvSpPr>
              <p:cNvPr id="26" name="TextBox 25"/>
              <p:cNvSpPr txBox="1"/>
              <p:nvPr>
                <p:custDataLst>
                  <p:tags r:id="rId18"/>
                </p:custDataLst>
              </p:nvPr>
            </p:nvSpPr>
            <p:spPr>
              <a:xfrm>
                <a:off x="3238500" y="2920999"/>
                <a:ext cx="1397000" cy="389851"/>
              </a:xfrm>
              <a:prstGeom prst="rect">
                <a:avLst/>
              </a:prstGeom>
              <a:noFill/>
            </p:spPr>
            <p:txBody>
              <a:bodyPr vert="horz" rtlCol="0">
                <a:spAutoFit/>
              </a:bodyPr>
              <a:lstStyle/>
              <a:p>
                <a:pPr algn="ctr" defTabSz="1219004"/>
                <a:r>
                  <a:rPr lang="en-US" sz="1300">
                    <a:solidFill>
                      <a:prstClr val="black"/>
                    </a:solidFill>
                  </a:rPr>
                  <a:t>Accent 5</a:t>
                </a:r>
              </a:p>
            </p:txBody>
          </p:sp>
          <p:sp>
            <p:nvSpPr>
              <p:cNvPr id="27" name="Rounded Rectangle 26"/>
              <p:cNvSpPr/>
              <p:nvPr>
                <p:custDataLst>
                  <p:tags r:id="rId19"/>
                </p:custDataLst>
              </p:nvPr>
            </p:nvSpPr>
            <p:spPr>
              <a:xfrm>
                <a:off x="4572000" y="1905000"/>
                <a:ext cx="1016000" cy="1016000"/>
              </a:xfrm>
              <a:prstGeom prst="roundRect">
                <a:avLst/>
              </a:prstGeom>
              <a:solidFill>
                <a:srgbClr val="FFDD3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255</a:t>
                </a:r>
              </a:p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221</a:t>
                </a:r>
              </a:p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62</a:t>
                </a:r>
              </a:p>
            </p:txBody>
          </p:sp>
          <p:sp>
            <p:nvSpPr>
              <p:cNvPr id="28" name="TextBox 27"/>
              <p:cNvSpPr txBox="1"/>
              <p:nvPr>
                <p:custDataLst>
                  <p:tags r:id="rId20"/>
                </p:custDataLst>
              </p:nvPr>
            </p:nvSpPr>
            <p:spPr>
              <a:xfrm>
                <a:off x="4381500" y="2920999"/>
                <a:ext cx="1397000" cy="389851"/>
              </a:xfrm>
              <a:prstGeom prst="rect">
                <a:avLst/>
              </a:prstGeom>
              <a:noFill/>
            </p:spPr>
            <p:txBody>
              <a:bodyPr vert="horz" rtlCol="0">
                <a:spAutoFit/>
              </a:bodyPr>
              <a:lstStyle/>
              <a:p>
                <a:pPr algn="ctr" defTabSz="1219004"/>
                <a:r>
                  <a:rPr lang="en-US" sz="1300">
                    <a:solidFill>
                      <a:prstClr val="black"/>
                    </a:solidFill>
                  </a:rPr>
                  <a:t>Accent 6</a:t>
                </a:r>
              </a:p>
            </p:txBody>
          </p:sp>
          <p:sp>
            <p:nvSpPr>
              <p:cNvPr id="29" name="Rounded Rectangle 28"/>
              <p:cNvSpPr/>
              <p:nvPr>
                <p:custDataLst>
                  <p:tags r:id="rId21"/>
                </p:custDataLst>
              </p:nvPr>
            </p:nvSpPr>
            <p:spPr>
              <a:xfrm>
                <a:off x="5715000" y="1905000"/>
                <a:ext cx="1016000" cy="1016000"/>
              </a:xfrm>
              <a:prstGeom prst="roundRect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255</a:t>
                </a:r>
              </a:p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255</a:t>
                </a:r>
              </a:p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255</a:t>
                </a:r>
              </a:p>
            </p:txBody>
          </p:sp>
          <p:sp>
            <p:nvSpPr>
              <p:cNvPr id="30" name="TextBox 29"/>
              <p:cNvSpPr txBox="1"/>
              <p:nvPr>
                <p:custDataLst>
                  <p:tags r:id="rId22"/>
                </p:custDataLst>
              </p:nvPr>
            </p:nvSpPr>
            <p:spPr>
              <a:xfrm>
                <a:off x="5524500" y="2920999"/>
                <a:ext cx="1397000" cy="389851"/>
              </a:xfrm>
              <a:prstGeom prst="rect">
                <a:avLst/>
              </a:prstGeom>
              <a:noFill/>
            </p:spPr>
            <p:txBody>
              <a:bodyPr vert="horz" rtlCol="0">
                <a:spAutoFit/>
              </a:bodyPr>
              <a:lstStyle/>
              <a:p>
                <a:pPr algn="ctr" defTabSz="1219004"/>
                <a:r>
                  <a:rPr lang="en-US" sz="1300">
                    <a:solidFill>
                      <a:prstClr val="black"/>
                    </a:solidFill>
                  </a:rPr>
                  <a:t>Hyperlink</a:t>
                </a:r>
              </a:p>
            </p:txBody>
          </p:sp>
          <p:sp>
            <p:nvSpPr>
              <p:cNvPr id="31" name="Rounded Rectangle 30"/>
              <p:cNvSpPr/>
              <p:nvPr>
                <p:custDataLst>
                  <p:tags r:id="rId23"/>
                </p:custDataLst>
              </p:nvPr>
            </p:nvSpPr>
            <p:spPr>
              <a:xfrm>
                <a:off x="6858000" y="1905000"/>
                <a:ext cx="1016000" cy="1016000"/>
              </a:xfrm>
              <a:prstGeom prst="roundRect">
                <a:avLst/>
              </a:prstGeom>
              <a:solidFill>
                <a:srgbClr val="EC891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236</a:t>
                </a:r>
              </a:p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137</a:t>
                </a:r>
              </a:p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29</a:t>
                </a:r>
              </a:p>
            </p:txBody>
          </p:sp>
          <p:sp>
            <p:nvSpPr>
              <p:cNvPr id="32" name="TextBox 31"/>
              <p:cNvSpPr txBox="1"/>
              <p:nvPr>
                <p:custDataLst>
                  <p:tags r:id="rId24"/>
                </p:custDataLst>
              </p:nvPr>
            </p:nvSpPr>
            <p:spPr>
              <a:xfrm>
                <a:off x="6667500" y="2920999"/>
                <a:ext cx="1397000" cy="656591"/>
              </a:xfrm>
              <a:prstGeom prst="rect">
                <a:avLst/>
              </a:prstGeom>
              <a:noFill/>
            </p:spPr>
            <p:txBody>
              <a:bodyPr vert="horz" rtlCol="0">
                <a:spAutoFit/>
              </a:bodyPr>
              <a:lstStyle/>
              <a:p>
                <a:pPr algn="ctr" defTabSz="1219004"/>
                <a:r>
                  <a:rPr lang="en-US" sz="1300">
                    <a:solidFill>
                      <a:prstClr val="black"/>
                    </a:solidFill>
                  </a:rPr>
                  <a:t>Followed Hyperlink</a:t>
                </a:r>
              </a:p>
            </p:txBody>
          </p:sp>
          <p:sp>
            <p:nvSpPr>
              <p:cNvPr id="33" name="Rounded Rectangle 32"/>
              <p:cNvSpPr/>
              <p:nvPr>
                <p:custDataLst>
                  <p:tags r:id="rId25"/>
                </p:custDataLst>
              </p:nvPr>
            </p:nvSpPr>
            <p:spPr>
              <a:xfrm>
                <a:off x="1143000" y="3429000"/>
                <a:ext cx="1016000" cy="1016000"/>
              </a:xfrm>
              <a:prstGeom prst="roundRect">
                <a:avLst/>
              </a:prstGeom>
              <a:solidFill>
                <a:srgbClr val="7FAFDD"/>
              </a:solidFill>
              <a:ln>
                <a:solidFill>
                  <a:prstClr val="black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127</a:t>
                </a:r>
              </a:p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175</a:t>
                </a:r>
              </a:p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221</a:t>
                </a:r>
              </a:p>
            </p:txBody>
          </p:sp>
          <p:sp>
            <p:nvSpPr>
              <p:cNvPr id="34" name="TextBox 33"/>
              <p:cNvSpPr txBox="1"/>
              <p:nvPr>
                <p:custDataLst>
                  <p:tags r:id="rId26"/>
                </p:custDataLst>
              </p:nvPr>
            </p:nvSpPr>
            <p:spPr>
              <a:xfrm>
                <a:off x="952500" y="4445000"/>
                <a:ext cx="1397000" cy="389851"/>
              </a:xfrm>
              <a:prstGeom prst="rect">
                <a:avLst/>
              </a:prstGeom>
              <a:noFill/>
            </p:spPr>
            <p:txBody>
              <a:bodyPr vert="horz" rtlCol="0">
                <a:spAutoFit/>
              </a:bodyPr>
              <a:lstStyle/>
              <a:p>
                <a:pPr algn="ctr" defTabSz="1219004"/>
                <a:r>
                  <a:rPr lang="en-US" sz="1300" dirty="0">
                    <a:solidFill>
                      <a:prstClr val="black"/>
                    </a:solidFill>
                  </a:rPr>
                  <a:t>Tata Blue 50%</a:t>
                </a:r>
              </a:p>
            </p:txBody>
          </p:sp>
          <p:sp>
            <p:nvSpPr>
              <p:cNvPr id="35" name="Rounded Rectangle 34"/>
              <p:cNvSpPr/>
              <p:nvPr>
                <p:custDataLst>
                  <p:tags r:id="rId27"/>
                </p:custDataLst>
              </p:nvPr>
            </p:nvSpPr>
            <p:spPr>
              <a:xfrm>
                <a:off x="2286000" y="3429000"/>
                <a:ext cx="1016000" cy="1016000"/>
              </a:xfrm>
              <a:prstGeom prst="roundRect">
                <a:avLst/>
              </a:prstGeom>
              <a:solidFill>
                <a:srgbClr val="CBD7EE"/>
              </a:solidFill>
              <a:ln>
                <a:solidFill>
                  <a:prstClr val="black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203</a:t>
                </a:r>
              </a:p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215</a:t>
                </a:r>
              </a:p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238</a:t>
                </a:r>
              </a:p>
            </p:txBody>
          </p:sp>
          <p:sp>
            <p:nvSpPr>
              <p:cNvPr id="36" name="TextBox 35"/>
              <p:cNvSpPr txBox="1"/>
              <p:nvPr>
                <p:custDataLst>
                  <p:tags r:id="rId28"/>
                </p:custDataLst>
              </p:nvPr>
            </p:nvSpPr>
            <p:spPr>
              <a:xfrm>
                <a:off x="2095500" y="4445000"/>
                <a:ext cx="1397000" cy="389851"/>
              </a:xfrm>
              <a:prstGeom prst="rect">
                <a:avLst/>
              </a:prstGeom>
              <a:noFill/>
            </p:spPr>
            <p:txBody>
              <a:bodyPr vert="horz" rtlCol="0">
                <a:spAutoFit/>
              </a:bodyPr>
              <a:lstStyle/>
              <a:p>
                <a:pPr algn="ctr" defTabSz="1219004"/>
                <a:r>
                  <a:rPr lang="en-US" sz="1300" dirty="0">
                    <a:solidFill>
                      <a:prstClr val="black"/>
                    </a:solidFill>
                  </a:rPr>
                  <a:t>Tata Blue 25%</a:t>
                </a:r>
              </a:p>
            </p:txBody>
          </p:sp>
          <p:sp>
            <p:nvSpPr>
              <p:cNvPr id="37" name="Rounded Rectangle 36"/>
              <p:cNvSpPr/>
              <p:nvPr>
                <p:custDataLst>
                  <p:tags r:id="rId29"/>
                </p:custDataLst>
              </p:nvPr>
            </p:nvSpPr>
            <p:spPr>
              <a:xfrm>
                <a:off x="3429000" y="3429000"/>
                <a:ext cx="1016000" cy="1016000"/>
              </a:xfrm>
              <a:prstGeom prst="roundRect">
                <a:avLst/>
              </a:prstGeom>
              <a:solidFill>
                <a:srgbClr val="B395C5"/>
              </a:solidFill>
              <a:ln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1219004"/>
                <a:r>
                  <a:rPr lang="en-US" sz="1300">
                    <a:solidFill>
                      <a:srgbClr val="1F497D"/>
                    </a:solidFill>
                  </a:rPr>
                  <a:t>179</a:t>
                </a:r>
              </a:p>
              <a:p>
                <a:pPr defTabSz="1219004"/>
                <a:r>
                  <a:rPr lang="en-US" sz="1300">
                    <a:solidFill>
                      <a:srgbClr val="1F497D"/>
                    </a:solidFill>
                  </a:rPr>
                  <a:t>149</a:t>
                </a:r>
              </a:p>
              <a:p>
                <a:pPr defTabSz="1219004"/>
                <a:r>
                  <a:rPr lang="en-US" sz="1300">
                    <a:solidFill>
                      <a:srgbClr val="1F497D"/>
                    </a:solidFill>
                  </a:rPr>
                  <a:t>197</a:t>
                </a:r>
              </a:p>
            </p:txBody>
          </p:sp>
          <p:sp>
            <p:nvSpPr>
              <p:cNvPr id="38" name="TextBox 37"/>
              <p:cNvSpPr txBox="1"/>
              <p:nvPr>
                <p:custDataLst>
                  <p:tags r:id="rId30"/>
                </p:custDataLst>
              </p:nvPr>
            </p:nvSpPr>
            <p:spPr>
              <a:xfrm>
                <a:off x="3238500" y="4445000"/>
                <a:ext cx="1397000" cy="389851"/>
              </a:xfrm>
              <a:prstGeom prst="rect">
                <a:avLst/>
              </a:prstGeom>
              <a:noFill/>
            </p:spPr>
            <p:txBody>
              <a:bodyPr vert="horz" rtlCol="0">
                <a:spAutoFit/>
              </a:bodyPr>
              <a:lstStyle/>
              <a:p>
                <a:pPr algn="ctr" defTabSz="1219004"/>
                <a:r>
                  <a:rPr lang="en-US" sz="1300" dirty="0">
                    <a:solidFill>
                      <a:prstClr val="black"/>
                    </a:solidFill>
                  </a:rPr>
                  <a:t>Purple 50 %</a:t>
                </a:r>
              </a:p>
            </p:txBody>
          </p:sp>
          <p:sp>
            <p:nvSpPr>
              <p:cNvPr id="39" name="Rounded Rectangle 38"/>
              <p:cNvSpPr/>
              <p:nvPr>
                <p:custDataLst>
                  <p:tags r:id="rId31"/>
                </p:custDataLst>
              </p:nvPr>
            </p:nvSpPr>
            <p:spPr>
              <a:xfrm>
                <a:off x="4572000" y="3429000"/>
                <a:ext cx="1016000" cy="1016000"/>
              </a:xfrm>
              <a:prstGeom prst="roundRect">
                <a:avLst/>
              </a:prstGeom>
              <a:solidFill>
                <a:srgbClr val="D4C3DF"/>
              </a:solidFill>
              <a:ln>
                <a:solidFill>
                  <a:prstClr val="black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212</a:t>
                </a:r>
              </a:p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195</a:t>
                </a:r>
              </a:p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223</a:t>
                </a:r>
              </a:p>
            </p:txBody>
          </p:sp>
          <p:sp>
            <p:nvSpPr>
              <p:cNvPr id="40" name="TextBox 39"/>
              <p:cNvSpPr txBox="1"/>
              <p:nvPr>
                <p:custDataLst>
                  <p:tags r:id="rId32"/>
                </p:custDataLst>
              </p:nvPr>
            </p:nvSpPr>
            <p:spPr>
              <a:xfrm>
                <a:off x="4381500" y="4445000"/>
                <a:ext cx="1397000" cy="389851"/>
              </a:xfrm>
              <a:prstGeom prst="rect">
                <a:avLst/>
              </a:prstGeom>
              <a:noFill/>
            </p:spPr>
            <p:txBody>
              <a:bodyPr vert="horz" rtlCol="0">
                <a:spAutoFit/>
              </a:bodyPr>
              <a:lstStyle/>
              <a:p>
                <a:pPr algn="ctr" defTabSz="1219004"/>
                <a:r>
                  <a:rPr lang="en-US" sz="1300" dirty="0">
                    <a:solidFill>
                      <a:prstClr val="black"/>
                    </a:solidFill>
                  </a:rPr>
                  <a:t>Purple 25 %</a:t>
                </a:r>
              </a:p>
            </p:txBody>
          </p:sp>
          <p:sp>
            <p:nvSpPr>
              <p:cNvPr id="41" name="Rounded Rectangle 40"/>
              <p:cNvSpPr/>
              <p:nvPr>
                <p:custDataLst>
                  <p:tags r:id="rId33"/>
                </p:custDataLst>
              </p:nvPr>
            </p:nvSpPr>
            <p:spPr>
              <a:xfrm>
                <a:off x="5715000" y="3429000"/>
                <a:ext cx="1016000" cy="1016000"/>
              </a:xfrm>
              <a:prstGeom prst="roundRect">
                <a:avLst/>
              </a:prstGeom>
              <a:solidFill>
                <a:srgbClr val="FFF2AB"/>
              </a:solidFill>
              <a:ln>
                <a:solidFill>
                  <a:prstClr val="black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255</a:t>
                </a:r>
              </a:p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242</a:t>
                </a:r>
              </a:p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171</a:t>
                </a:r>
              </a:p>
            </p:txBody>
          </p:sp>
          <p:sp>
            <p:nvSpPr>
              <p:cNvPr id="42" name="TextBox 41"/>
              <p:cNvSpPr txBox="1"/>
              <p:nvPr>
                <p:custDataLst>
                  <p:tags r:id="rId34"/>
                </p:custDataLst>
              </p:nvPr>
            </p:nvSpPr>
            <p:spPr>
              <a:xfrm>
                <a:off x="5524500" y="4445000"/>
                <a:ext cx="1397000" cy="389851"/>
              </a:xfrm>
              <a:prstGeom prst="rect">
                <a:avLst/>
              </a:prstGeom>
              <a:noFill/>
            </p:spPr>
            <p:txBody>
              <a:bodyPr vert="horz" rtlCol="0">
                <a:spAutoFit/>
              </a:bodyPr>
              <a:lstStyle/>
              <a:p>
                <a:pPr algn="ctr" defTabSz="1219004"/>
                <a:r>
                  <a:rPr lang="en-US" sz="1300" dirty="0">
                    <a:solidFill>
                      <a:prstClr val="black"/>
                    </a:solidFill>
                  </a:rPr>
                  <a:t>Yellow 50 %</a:t>
                </a:r>
              </a:p>
            </p:txBody>
          </p:sp>
          <p:sp>
            <p:nvSpPr>
              <p:cNvPr id="43" name="Rounded Rectangle 42"/>
              <p:cNvSpPr/>
              <p:nvPr>
                <p:custDataLst>
                  <p:tags r:id="rId35"/>
                </p:custDataLst>
              </p:nvPr>
            </p:nvSpPr>
            <p:spPr>
              <a:xfrm>
                <a:off x="6858000" y="3429000"/>
                <a:ext cx="1016000" cy="1016000"/>
              </a:xfrm>
              <a:prstGeom prst="roundRect">
                <a:avLst/>
              </a:prstGeom>
              <a:solidFill>
                <a:srgbClr val="FFF9D5"/>
              </a:solidFill>
              <a:ln>
                <a:solidFill>
                  <a:prstClr val="black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255</a:t>
                </a:r>
              </a:p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249</a:t>
                </a:r>
              </a:p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213</a:t>
                </a:r>
                <a:endParaRPr lang="en-US" sz="13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4" name="TextBox 43"/>
              <p:cNvSpPr txBox="1"/>
              <p:nvPr>
                <p:custDataLst>
                  <p:tags r:id="rId36"/>
                </p:custDataLst>
              </p:nvPr>
            </p:nvSpPr>
            <p:spPr>
              <a:xfrm>
                <a:off x="6667500" y="4445000"/>
                <a:ext cx="1397000" cy="389851"/>
              </a:xfrm>
              <a:prstGeom prst="rect">
                <a:avLst/>
              </a:prstGeom>
              <a:noFill/>
            </p:spPr>
            <p:txBody>
              <a:bodyPr vert="horz" rtlCol="0">
                <a:spAutoFit/>
              </a:bodyPr>
              <a:lstStyle/>
              <a:p>
                <a:pPr algn="ctr" defTabSz="1219004"/>
                <a:r>
                  <a:rPr lang="en-US" sz="1300" dirty="0">
                    <a:solidFill>
                      <a:prstClr val="black"/>
                    </a:solidFill>
                  </a:rPr>
                  <a:t>Yellow 25 %</a:t>
                </a:r>
              </a:p>
            </p:txBody>
          </p:sp>
          <p:sp>
            <p:nvSpPr>
              <p:cNvPr id="45" name="Rounded Rectangle 44"/>
              <p:cNvSpPr/>
              <p:nvPr>
                <p:custDataLst>
                  <p:tags r:id="rId37"/>
                </p:custDataLst>
              </p:nvPr>
            </p:nvSpPr>
            <p:spPr>
              <a:xfrm>
                <a:off x="1143000" y="4826000"/>
                <a:ext cx="1016000" cy="1016000"/>
              </a:xfrm>
              <a:prstGeom prst="roundRect">
                <a:avLst/>
              </a:prstGeom>
              <a:solidFill>
                <a:srgbClr val="E5CDBA"/>
              </a:solidFill>
              <a:ln>
                <a:solidFill>
                  <a:prstClr val="black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229</a:t>
                </a:r>
              </a:p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205</a:t>
                </a:r>
              </a:p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186</a:t>
                </a:r>
                <a:endParaRPr lang="en-US" sz="13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6" name="TextBox 45"/>
              <p:cNvSpPr txBox="1"/>
              <p:nvPr>
                <p:custDataLst>
                  <p:tags r:id="rId38"/>
                </p:custDataLst>
              </p:nvPr>
            </p:nvSpPr>
            <p:spPr>
              <a:xfrm>
                <a:off x="952500" y="5842000"/>
                <a:ext cx="1397000" cy="389851"/>
              </a:xfrm>
              <a:prstGeom prst="rect">
                <a:avLst/>
              </a:prstGeom>
              <a:noFill/>
            </p:spPr>
            <p:txBody>
              <a:bodyPr vert="horz" rtlCol="0">
                <a:spAutoFit/>
              </a:bodyPr>
              <a:lstStyle/>
              <a:p>
                <a:pPr algn="ctr" defTabSz="1219004"/>
                <a:r>
                  <a:rPr lang="en-US" sz="1300" dirty="0">
                    <a:solidFill>
                      <a:prstClr val="black"/>
                    </a:solidFill>
                  </a:rPr>
                  <a:t>Brown 50 %</a:t>
                </a:r>
              </a:p>
            </p:txBody>
          </p:sp>
          <p:sp>
            <p:nvSpPr>
              <p:cNvPr id="47" name="Rounded Rectangle 46"/>
              <p:cNvSpPr/>
              <p:nvPr>
                <p:custDataLst>
                  <p:tags r:id="rId39"/>
                </p:custDataLst>
              </p:nvPr>
            </p:nvSpPr>
            <p:spPr>
              <a:xfrm>
                <a:off x="2286000" y="4826000"/>
                <a:ext cx="1016000" cy="1016000"/>
              </a:xfrm>
              <a:prstGeom prst="roundRect">
                <a:avLst/>
              </a:prstGeom>
              <a:solidFill>
                <a:srgbClr val="F8F1EB"/>
              </a:solidFill>
              <a:ln>
                <a:solidFill>
                  <a:prstClr val="black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248</a:t>
                </a:r>
              </a:p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241</a:t>
                </a:r>
              </a:p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235</a:t>
                </a:r>
              </a:p>
            </p:txBody>
          </p:sp>
          <p:sp>
            <p:nvSpPr>
              <p:cNvPr id="48" name="TextBox 47"/>
              <p:cNvSpPr txBox="1"/>
              <p:nvPr>
                <p:custDataLst>
                  <p:tags r:id="rId40"/>
                </p:custDataLst>
              </p:nvPr>
            </p:nvSpPr>
            <p:spPr>
              <a:xfrm>
                <a:off x="2095500" y="5842000"/>
                <a:ext cx="1397000" cy="389851"/>
              </a:xfrm>
              <a:prstGeom prst="rect">
                <a:avLst/>
              </a:prstGeom>
              <a:noFill/>
            </p:spPr>
            <p:txBody>
              <a:bodyPr vert="horz" rtlCol="0">
                <a:spAutoFit/>
              </a:bodyPr>
              <a:lstStyle/>
              <a:p>
                <a:pPr algn="ctr" defTabSz="1219004"/>
                <a:r>
                  <a:rPr lang="en-US" sz="1300" dirty="0">
                    <a:solidFill>
                      <a:prstClr val="black"/>
                    </a:solidFill>
                  </a:rPr>
                  <a:t>Brown 25 %</a:t>
                </a:r>
              </a:p>
            </p:txBody>
          </p:sp>
          <p:sp>
            <p:nvSpPr>
              <p:cNvPr id="49" name="Rounded Rectangle 48"/>
              <p:cNvSpPr/>
              <p:nvPr>
                <p:custDataLst>
                  <p:tags r:id="rId41"/>
                </p:custDataLst>
              </p:nvPr>
            </p:nvSpPr>
            <p:spPr>
              <a:xfrm>
                <a:off x="3429000" y="4826000"/>
                <a:ext cx="1016000" cy="1016000"/>
              </a:xfrm>
              <a:prstGeom prst="roundRect">
                <a:avLst/>
              </a:prstGeom>
              <a:solidFill>
                <a:srgbClr val="B4D59A"/>
              </a:solidFill>
              <a:ln>
                <a:solidFill>
                  <a:prstClr val="black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1219004"/>
                <a:r>
                  <a:rPr lang="en-US" sz="1300">
                    <a:solidFill>
                      <a:srgbClr val="7FAFDD"/>
                    </a:solidFill>
                  </a:rPr>
                  <a:t>180</a:t>
                </a:r>
              </a:p>
              <a:p>
                <a:pPr defTabSz="1219004"/>
                <a:r>
                  <a:rPr lang="en-US" sz="1300">
                    <a:solidFill>
                      <a:srgbClr val="7FAFDD"/>
                    </a:solidFill>
                  </a:rPr>
                  <a:t>213</a:t>
                </a:r>
              </a:p>
              <a:p>
                <a:pPr defTabSz="1219004"/>
                <a:r>
                  <a:rPr lang="en-US" sz="1300">
                    <a:solidFill>
                      <a:srgbClr val="7FAFDD"/>
                    </a:solidFill>
                  </a:rPr>
                  <a:t>154</a:t>
                </a:r>
                <a:endParaRPr lang="en-US" sz="1300" dirty="0">
                  <a:solidFill>
                    <a:srgbClr val="7FAFDD"/>
                  </a:solidFill>
                </a:endParaRPr>
              </a:p>
            </p:txBody>
          </p:sp>
          <p:sp>
            <p:nvSpPr>
              <p:cNvPr id="50" name="TextBox 49"/>
              <p:cNvSpPr txBox="1"/>
              <p:nvPr>
                <p:custDataLst>
                  <p:tags r:id="rId42"/>
                </p:custDataLst>
              </p:nvPr>
            </p:nvSpPr>
            <p:spPr>
              <a:xfrm>
                <a:off x="3238500" y="5842000"/>
                <a:ext cx="1397000" cy="389851"/>
              </a:xfrm>
              <a:prstGeom prst="rect">
                <a:avLst/>
              </a:prstGeom>
              <a:noFill/>
            </p:spPr>
            <p:txBody>
              <a:bodyPr vert="horz" rtlCol="0">
                <a:spAutoFit/>
              </a:bodyPr>
              <a:lstStyle/>
              <a:p>
                <a:pPr algn="ctr" defTabSz="1219004"/>
                <a:r>
                  <a:rPr lang="en-US" sz="1300" dirty="0">
                    <a:solidFill>
                      <a:prstClr val="black"/>
                    </a:solidFill>
                  </a:rPr>
                  <a:t>Green 50 %</a:t>
                </a:r>
              </a:p>
            </p:txBody>
          </p:sp>
          <p:sp>
            <p:nvSpPr>
              <p:cNvPr id="51" name="Rounded Rectangle 50"/>
              <p:cNvSpPr/>
              <p:nvPr>
                <p:custDataLst>
                  <p:tags r:id="rId43"/>
                </p:custDataLst>
              </p:nvPr>
            </p:nvSpPr>
            <p:spPr>
              <a:xfrm>
                <a:off x="4572000" y="4826000"/>
                <a:ext cx="1016000" cy="1016000"/>
              </a:xfrm>
              <a:prstGeom prst="roundRect">
                <a:avLst/>
              </a:prstGeom>
              <a:solidFill>
                <a:srgbClr val="D6E7C8"/>
              </a:solidFill>
              <a:ln>
                <a:solidFill>
                  <a:prstClr val="black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214</a:t>
                </a:r>
              </a:p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231</a:t>
                </a:r>
              </a:p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200</a:t>
                </a:r>
                <a:endParaRPr lang="en-US" sz="13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2" name="TextBox 51"/>
              <p:cNvSpPr txBox="1"/>
              <p:nvPr>
                <p:custDataLst>
                  <p:tags r:id="rId44"/>
                </p:custDataLst>
              </p:nvPr>
            </p:nvSpPr>
            <p:spPr>
              <a:xfrm>
                <a:off x="4381500" y="5842000"/>
                <a:ext cx="1397000" cy="389851"/>
              </a:xfrm>
              <a:prstGeom prst="rect">
                <a:avLst/>
              </a:prstGeom>
              <a:noFill/>
            </p:spPr>
            <p:txBody>
              <a:bodyPr vert="horz" rtlCol="0">
                <a:spAutoFit/>
              </a:bodyPr>
              <a:lstStyle/>
              <a:p>
                <a:pPr algn="ctr" defTabSz="1219004"/>
                <a:r>
                  <a:rPr lang="en-US" sz="1300" dirty="0">
                    <a:solidFill>
                      <a:prstClr val="black"/>
                    </a:solidFill>
                  </a:rPr>
                  <a:t>Green 25 %</a:t>
                </a:r>
              </a:p>
            </p:txBody>
          </p:sp>
          <p:sp>
            <p:nvSpPr>
              <p:cNvPr id="53" name="Rounded Rectangle 52"/>
              <p:cNvSpPr/>
              <p:nvPr>
                <p:custDataLst>
                  <p:tags r:id="rId45"/>
                </p:custDataLst>
              </p:nvPr>
            </p:nvSpPr>
            <p:spPr>
              <a:xfrm>
                <a:off x="5715000" y="4826000"/>
                <a:ext cx="1016000" cy="1016000"/>
              </a:xfrm>
              <a:prstGeom prst="roundRect">
                <a:avLst/>
              </a:prstGeom>
              <a:solidFill>
                <a:srgbClr val="F1F0CA"/>
              </a:solidFill>
              <a:ln>
                <a:solidFill>
                  <a:prstClr val="black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241</a:t>
                </a:r>
              </a:p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240</a:t>
                </a:r>
              </a:p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202</a:t>
                </a:r>
                <a:endParaRPr lang="en-US" sz="13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4" name="TextBox 53"/>
              <p:cNvSpPr txBox="1"/>
              <p:nvPr>
                <p:custDataLst>
                  <p:tags r:id="rId46"/>
                </p:custDataLst>
              </p:nvPr>
            </p:nvSpPr>
            <p:spPr>
              <a:xfrm>
                <a:off x="5524500" y="5842000"/>
                <a:ext cx="1397000" cy="389851"/>
              </a:xfrm>
              <a:prstGeom prst="rect">
                <a:avLst/>
              </a:prstGeom>
              <a:noFill/>
            </p:spPr>
            <p:txBody>
              <a:bodyPr vert="horz" rtlCol="0">
                <a:spAutoFit/>
              </a:bodyPr>
              <a:lstStyle/>
              <a:p>
                <a:pPr algn="ctr" defTabSz="1219004"/>
                <a:r>
                  <a:rPr lang="en-US" sz="1300" dirty="0">
                    <a:solidFill>
                      <a:prstClr val="black"/>
                    </a:solidFill>
                  </a:rPr>
                  <a:t>Light Green 50%</a:t>
                </a:r>
              </a:p>
            </p:txBody>
          </p:sp>
          <p:sp>
            <p:nvSpPr>
              <p:cNvPr id="55" name="Rounded Rectangle 54"/>
              <p:cNvSpPr/>
              <p:nvPr>
                <p:custDataLst>
                  <p:tags r:id="rId47"/>
                </p:custDataLst>
              </p:nvPr>
            </p:nvSpPr>
            <p:spPr>
              <a:xfrm>
                <a:off x="6858000" y="4826000"/>
                <a:ext cx="1016000" cy="1016000"/>
              </a:xfrm>
              <a:prstGeom prst="roundRect">
                <a:avLst/>
              </a:prstGeom>
              <a:solidFill>
                <a:srgbClr val="FBFBF1"/>
              </a:solidFill>
              <a:ln>
                <a:solidFill>
                  <a:prstClr val="black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251</a:t>
                </a:r>
              </a:p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251</a:t>
                </a:r>
              </a:p>
              <a:p>
                <a:pPr defTabSz="1219004"/>
                <a:r>
                  <a:rPr lang="en-US" sz="1300">
                    <a:solidFill>
                      <a:prstClr val="white"/>
                    </a:solidFill>
                  </a:rPr>
                  <a:t>241</a:t>
                </a:r>
                <a:endParaRPr lang="en-US" sz="13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6" name="TextBox 55"/>
              <p:cNvSpPr txBox="1"/>
              <p:nvPr>
                <p:custDataLst>
                  <p:tags r:id="rId48"/>
                </p:custDataLst>
              </p:nvPr>
            </p:nvSpPr>
            <p:spPr>
              <a:xfrm>
                <a:off x="6667500" y="5842000"/>
                <a:ext cx="1397000" cy="389851"/>
              </a:xfrm>
              <a:prstGeom prst="rect">
                <a:avLst/>
              </a:prstGeom>
              <a:noFill/>
            </p:spPr>
            <p:txBody>
              <a:bodyPr vert="horz" rtlCol="0">
                <a:spAutoFit/>
              </a:bodyPr>
              <a:lstStyle/>
              <a:p>
                <a:pPr algn="ctr" defTabSz="1219004"/>
                <a:r>
                  <a:rPr lang="en-US" sz="1300" dirty="0">
                    <a:solidFill>
                      <a:prstClr val="black"/>
                    </a:solidFill>
                  </a:rPr>
                  <a:t>Light Green 25%</a:t>
                </a:r>
              </a:p>
            </p:txBody>
          </p:sp>
        </p:grpSp>
        <p:sp>
          <p:nvSpPr>
            <p:cNvPr id="8" name="TextBox 7"/>
            <p:cNvSpPr txBox="1"/>
            <p:nvPr/>
          </p:nvSpPr>
          <p:spPr>
            <a:xfrm>
              <a:off x="127000" y="0"/>
              <a:ext cx="2540000" cy="451405"/>
            </a:xfrm>
            <a:prstGeom prst="rect">
              <a:avLst/>
            </a:prstGeom>
            <a:noFill/>
          </p:spPr>
          <p:txBody>
            <a:bodyPr vert="horz" rtlCol="0">
              <a:spAutoFit/>
            </a:bodyPr>
            <a:lstStyle/>
            <a:p>
              <a:pPr defTabSz="1219004"/>
              <a:r>
                <a:rPr lang="en-US" sz="1600" dirty="0">
                  <a:solidFill>
                    <a:prstClr val="black"/>
                  </a:solidFill>
                </a:rPr>
                <a:t>Title and Content</a:t>
              </a:r>
            </a:p>
          </p:txBody>
        </p:sp>
      </p:grp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50" cstate="print"/>
          <a:srcRect l="19609" t="20313" r="5391" b="9277"/>
          <a:stretch>
            <a:fillRect/>
          </a:stretch>
        </p:blipFill>
        <p:spPr bwMode="auto">
          <a:xfrm>
            <a:off x="0" y="-7144"/>
            <a:ext cx="9144000" cy="5150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3380" y="2583181"/>
            <a:ext cx="8420100" cy="514350"/>
          </a:xfrm>
        </p:spPr>
        <p:txBody>
          <a:bodyPr>
            <a:normAutofit/>
          </a:bodyPr>
          <a:lstStyle>
            <a:lvl1pPr algn="l">
              <a:defRPr kumimoji="0" lang="en-US" sz="3700" b="0" i="0" u="none" strike="noStrike" kern="1200" cap="small" spc="133" normalizeH="0" baseline="0" dirty="0">
                <a:ln>
                  <a:noFill/>
                </a:ln>
                <a:solidFill>
                  <a:srgbClr val="FFFFFF"/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12190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1950" y="3100388"/>
            <a:ext cx="8439150" cy="4572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kumimoji="0" lang="en-US" sz="3200" b="0" i="1" u="none" strike="noStrike" kern="1200" cap="none" normalizeH="0" baseline="0" dirty="0">
                <a:ln>
                  <a:noFill/>
                </a:ln>
                <a:solidFill>
                  <a:srgbClr val="FFFFFF"/>
                </a:solidFill>
                <a:effectLst/>
                <a:latin typeface="+mj-lt"/>
                <a:ea typeface="+mn-ea"/>
                <a:cs typeface="+mn-cs"/>
              </a:defRPr>
            </a:lvl1pPr>
            <a:lvl2pPr marL="60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12190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mtClean="0"/>
              <a:t>Click to edit Master subtitle style</a:t>
            </a:r>
            <a:endParaRPr lang="en-US" dirty="0"/>
          </a:p>
        </p:txBody>
      </p:sp>
      <p:cxnSp>
        <p:nvCxnSpPr>
          <p:cNvPr id="58" name="Straight Connector 57"/>
          <p:cNvCxnSpPr/>
          <p:nvPr userDrawn="1"/>
        </p:nvCxnSpPr>
        <p:spPr>
          <a:xfrm>
            <a:off x="381000" y="3086100"/>
            <a:ext cx="48768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05985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Tod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51"/>
          <p:cNvSpPr>
            <a:spLocks noChangeArrowheads="1"/>
          </p:cNvSpPr>
          <p:nvPr userDrawn="1"/>
        </p:nvSpPr>
        <p:spPr bwMode="auto">
          <a:xfrm>
            <a:off x="244960" y="742962"/>
            <a:ext cx="4175125" cy="814427"/>
          </a:xfrm>
          <a:prstGeom prst="roundRect">
            <a:avLst/>
          </a:prstGeom>
          <a:solidFill>
            <a:srgbClr val="4E84C4"/>
          </a:solidFill>
          <a:ln w="12700" algn="ctr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121901" tIns="60949" rIns="121901" bIns="60949"/>
          <a:lstStyle/>
          <a:p>
            <a:pPr marL="148143" indent="-148143" algn="ctr" defTabSz="1219004">
              <a:defRPr/>
            </a:pPr>
            <a:r>
              <a:rPr lang="en-US" dirty="0">
                <a:solidFill>
                  <a:prstClr val="white"/>
                </a:solidFill>
                <a:cs typeface="Arial" pitchFamily="34" charset="0"/>
              </a:rPr>
              <a:t>Leadership &amp; Relationship Team</a:t>
            </a:r>
          </a:p>
        </p:txBody>
      </p:sp>
      <p:sp>
        <p:nvSpPr>
          <p:cNvPr id="7" name="Rounded Rectangle 7"/>
          <p:cNvSpPr>
            <a:spLocks noChangeArrowheads="1"/>
          </p:cNvSpPr>
          <p:nvPr userDrawn="1"/>
        </p:nvSpPr>
        <p:spPr bwMode="auto">
          <a:xfrm>
            <a:off x="230837" y="1081094"/>
            <a:ext cx="4175125" cy="2125980"/>
          </a:xfrm>
          <a:prstGeom prst="roundRect">
            <a:avLst>
              <a:gd name="adj" fmla="val 3791"/>
            </a:avLst>
          </a:prstGeom>
          <a:solidFill>
            <a:srgbClr val="FFFFFF"/>
          </a:solidFill>
          <a:ln w="12700" algn="ctr">
            <a:solidFill>
              <a:srgbClr val="969696"/>
            </a:solidFill>
            <a:round/>
            <a:headEnd/>
            <a:tailEnd/>
          </a:ln>
        </p:spPr>
        <p:txBody>
          <a:bodyPr lIns="121901" tIns="243801" rIns="121901" bIns="243801" anchor="ctr"/>
          <a:lstStyle/>
          <a:p>
            <a:pPr marL="148143" indent="-148143" defTabSz="1219004">
              <a:spcBef>
                <a:spcPts val="1600"/>
              </a:spcBef>
              <a:buClr>
                <a:srgbClr val="4E84C4"/>
              </a:buClr>
              <a:buFont typeface="Arial" charset="0"/>
              <a:buNone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74"/>
            <a:ext cx="2133600" cy="273844"/>
          </a:xfrm>
          <a:prstGeom prst="rect">
            <a:avLst/>
          </a:prstGeom>
        </p:spPr>
        <p:txBody>
          <a:bodyPr vert="horz" lIns="121901" tIns="60949" rIns="121901" bIns="60949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fld id="{92FB1339-D7F6-4131-9674-1CEA3F017B2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151"/>
          <p:cNvSpPr>
            <a:spLocks noChangeArrowheads="1"/>
          </p:cNvSpPr>
          <p:nvPr userDrawn="1"/>
        </p:nvSpPr>
        <p:spPr bwMode="auto">
          <a:xfrm>
            <a:off x="4800601" y="2343154"/>
            <a:ext cx="4114800" cy="814427"/>
          </a:xfrm>
          <a:prstGeom prst="roundRect">
            <a:avLst/>
          </a:prstGeom>
          <a:solidFill>
            <a:srgbClr val="4E84C4"/>
          </a:solidFill>
          <a:ln w="12700" algn="ctr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121901" tIns="60949" rIns="121901" bIns="60949"/>
          <a:lstStyle/>
          <a:p>
            <a:pPr marL="148143" indent="-148143" algn="ctr" defTabSz="1219004">
              <a:defRPr/>
            </a:pPr>
            <a:r>
              <a:rPr lang="en-US" dirty="0">
                <a:solidFill>
                  <a:prstClr val="white"/>
                </a:solidFill>
                <a:cs typeface="Arial" pitchFamily="34" charset="0"/>
              </a:rPr>
              <a:t>Proposed Team for &lt;&lt;Client&gt;&gt;</a:t>
            </a:r>
          </a:p>
        </p:txBody>
      </p:sp>
      <p:sp>
        <p:nvSpPr>
          <p:cNvPr id="10" name="Rounded Rectangle 9"/>
          <p:cNvSpPr/>
          <p:nvPr userDrawn="1"/>
        </p:nvSpPr>
        <p:spPr bwMode="auto">
          <a:xfrm>
            <a:off x="4786953" y="2643226"/>
            <a:ext cx="4114800" cy="1645920"/>
          </a:xfrm>
          <a:prstGeom prst="roundRect">
            <a:avLst>
              <a:gd name="adj" fmla="val 6534"/>
            </a:avLst>
          </a:prstGeom>
          <a:solidFill>
            <a:srgbClr val="FFFFFF"/>
          </a:solidFill>
          <a:ln w="12700" algn="ctr">
            <a:solidFill>
              <a:srgbClr val="969696"/>
            </a:solidFill>
            <a:round/>
            <a:headEnd/>
            <a:tailEnd/>
          </a:ln>
        </p:spPr>
        <p:txBody>
          <a:bodyPr lIns="121901" tIns="243801" rIns="121901" bIns="243801" anchor="ctr"/>
          <a:lstStyle/>
          <a:p>
            <a:pPr marL="148143" indent="-148143" defTabSz="1219004">
              <a:spcBef>
                <a:spcPts val="1600"/>
              </a:spcBef>
              <a:buClr>
                <a:srgbClr val="4E84C4"/>
              </a:buClr>
              <a:buFont typeface="Arial" charset="0"/>
              <a:buNone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Rectangle 151"/>
          <p:cNvSpPr>
            <a:spLocks noChangeArrowheads="1"/>
          </p:cNvSpPr>
          <p:nvPr userDrawn="1"/>
        </p:nvSpPr>
        <p:spPr bwMode="auto">
          <a:xfrm>
            <a:off x="4800601" y="758447"/>
            <a:ext cx="4114800" cy="814427"/>
          </a:xfrm>
          <a:prstGeom prst="roundRect">
            <a:avLst/>
          </a:prstGeom>
          <a:solidFill>
            <a:srgbClr val="4E84C4"/>
          </a:solidFill>
          <a:ln w="12700" algn="ctr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121901" tIns="60949" rIns="121901" bIns="60949"/>
          <a:lstStyle/>
          <a:p>
            <a:pPr marL="148143" indent="-148143" algn="ctr" defTabSz="1219004">
              <a:defRPr/>
            </a:pPr>
            <a:r>
              <a:rPr lang="en-US" dirty="0">
                <a:solidFill>
                  <a:prstClr val="white"/>
                </a:solidFill>
                <a:cs typeface="Arial" pitchFamily="34" charset="0"/>
              </a:rPr>
              <a:t>Solution Team</a:t>
            </a:r>
          </a:p>
        </p:txBody>
      </p:sp>
      <p:sp>
        <p:nvSpPr>
          <p:cNvPr id="12" name="Rounded Rectangle 11"/>
          <p:cNvSpPr>
            <a:spLocks noChangeArrowheads="1"/>
          </p:cNvSpPr>
          <p:nvPr userDrawn="1"/>
        </p:nvSpPr>
        <p:spPr bwMode="auto">
          <a:xfrm>
            <a:off x="4786953" y="1044185"/>
            <a:ext cx="4114800" cy="1165860"/>
          </a:xfrm>
          <a:prstGeom prst="roundRect">
            <a:avLst>
              <a:gd name="adj" fmla="val 8437"/>
            </a:avLst>
          </a:prstGeom>
          <a:solidFill>
            <a:srgbClr val="FFFFFF"/>
          </a:solidFill>
          <a:ln w="12700" algn="ctr">
            <a:solidFill>
              <a:srgbClr val="969696"/>
            </a:solidFill>
            <a:round/>
            <a:headEnd/>
            <a:tailEnd/>
          </a:ln>
        </p:spPr>
        <p:txBody>
          <a:bodyPr lIns="121901" tIns="243801" rIns="121901" bIns="243801" anchor="ctr"/>
          <a:lstStyle/>
          <a:p>
            <a:pPr marL="148143" indent="-148143" defTabSz="1219004">
              <a:spcBef>
                <a:spcPts val="1600"/>
              </a:spcBef>
              <a:buClr>
                <a:srgbClr val="4E84C4"/>
              </a:buClr>
              <a:buFont typeface="Arial" charset="0"/>
              <a:buNone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200150"/>
            <a:ext cx="3733800" cy="228600"/>
          </a:xfrm>
        </p:spPr>
        <p:txBody>
          <a:bodyPr>
            <a:normAutofit/>
          </a:bodyPr>
          <a:lstStyle>
            <a:lvl1pPr>
              <a:buNone/>
              <a:defRPr sz="1900" baseline="0">
                <a:solidFill>
                  <a:schemeClr val="tx1"/>
                </a:solidFill>
              </a:defRPr>
            </a:lvl1pPr>
            <a:lvl2pPr>
              <a:buNone/>
              <a:defRPr i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 smtClean="0"/>
              <a:t>Click to edit Name | Ro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657350"/>
            <a:ext cx="3733800" cy="228600"/>
          </a:xfrm>
        </p:spPr>
        <p:txBody>
          <a:bodyPr>
            <a:normAutofit/>
          </a:bodyPr>
          <a:lstStyle>
            <a:lvl1pPr>
              <a:buNone/>
              <a:defRPr sz="1900" baseline="0">
                <a:solidFill>
                  <a:schemeClr val="tx1"/>
                </a:solidFill>
              </a:defRPr>
            </a:lvl1pPr>
            <a:lvl2pPr>
              <a:buNone/>
              <a:defRPr i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 smtClean="0"/>
              <a:t>Click to edit Name | Ro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114550"/>
            <a:ext cx="3733800" cy="228600"/>
          </a:xfrm>
        </p:spPr>
        <p:txBody>
          <a:bodyPr>
            <a:normAutofit/>
          </a:bodyPr>
          <a:lstStyle>
            <a:lvl1pPr>
              <a:buNone/>
              <a:defRPr sz="1900" baseline="0">
                <a:solidFill>
                  <a:schemeClr val="tx1"/>
                </a:solidFill>
              </a:defRPr>
            </a:lvl1pPr>
            <a:lvl2pPr>
              <a:buNone/>
              <a:defRPr i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 smtClean="0"/>
              <a:t>Click to edit Name | Role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2571750"/>
            <a:ext cx="3733800" cy="228600"/>
          </a:xfrm>
        </p:spPr>
        <p:txBody>
          <a:bodyPr>
            <a:normAutofit/>
          </a:bodyPr>
          <a:lstStyle>
            <a:lvl1pPr>
              <a:buNone/>
              <a:defRPr sz="1900" baseline="0">
                <a:solidFill>
                  <a:schemeClr val="tx1"/>
                </a:solidFill>
              </a:defRPr>
            </a:lvl1pPr>
            <a:lvl2pPr>
              <a:buNone/>
              <a:defRPr i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 smtClean="0"/>
              <a:t>Click to edit Name | Ro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5029200" y="2800350"/>
            <a:ext cx="3733800" cy="228600"/>
          </a:xfrm>
        </p:spPr>
        <p:txBody>
          <a:bodyPr>
            <a:normAutofit/>
          </a:bodyPr>
          <a:lstStyle>
            <a:lvl1pPr>
              <a:buNone/>
              <a:defRPr sz="1900" baseline="0">
                <a:solidFill>
                  <a:schemeClr val="tx1"/>
                </a:solidFill>
              </a:defRPr>
            </a:lvl1pPr>
            <a:lvl2pPr>
              <a:buNone/>
              <a:defRPr i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 smtClean="0"/>
              <a:t>Click to edit Name | Role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5029200" y="3257550"/>
            <a:ext cx="3733800" cy="228600"/>
          </a:xfrm>
        </p:spPr>
        <p:txBody>
          <a:bodyPr>
            <a:normAutofit/>
          </a:bodyPr>
          <a:lstStyle>
            <a:lvl1pPr>
              <a:buNone/>
              <a:defRPr sz="1900" baseline="0">
                <a:solidFill>
                  <a:schemeClr val="tx1"/>
                </a:solidFill>
              </a:defRPr>
            </a:lvl1pPr>
            <a:lvl2pPr>
              <a:buNone/>
              <a:defRPr i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 smtClean="0"/>
              <a:t>Click to edit Name | Role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5029200" y="3714750"/>
            <a:ext cx="3733800" cy="228600"/>
          </a:xfrm>
        </p:spPr>
        <p:txBody>
          <a:bodyPr>
            <a:normAutofit/>
          </a:bodyPr>
          <a:lstStyle>
            <a:lvl1pPr>
              <a:buNone/>
              <a:defRPr sz="1900" baseline="0">
                <a:solidFill>
                  <a:schemeClr val="tx1"/>
                </a:solidFill>
              </a:defRPr>
            </a:lvl1pPr>
            <a:lvl2pPr>
              <a:buNone/>
              <a:defRPr i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 smtClean="0"/>
              <a:t>Click to edit Name | Ro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17" hasCustomPrompt="1"/>
          </p:nvPr>
        </p:nvSpPr>
        <p:spPr>
          <a:xfrm>
            <a:off x="5029200" y="1152395"/>
            <a:ext cx="3733800" cy="228600"/>
          </a:xfrm>
        </p:spPr>
        <p:txBody>
          <a:bodyPr>
            <a:normAutofit/>
          </a:bodyPr>
          <a:lstStyle>
            <a:lvl1pPr>
              <a:buNone/>
              <a:defRPr sz="1900" baseline="0">
                <a:solidFill>
                  <a:schemeClr val="tx1"/>
                </a:solidFill>
              </a:defRPr>
            </a:lvl1pPr>
            <a:lvl2pPr>
              <a:buNone/>
              <a:defRPr i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 smtClean="0"/>
              <a:t>Click to edit Name | Role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5029200" y="1609594"/>
            <a:ext cx="3733800" cy="228600"/>
          </a:xfrm>
        </p:spPr>
        <p:txBody>
          <a:bodyPr>
            <a:normAutofit/>
          </a:bodyPr>
          <a:lstStyle>
            <a:lvl1pPr>
              <a:buNone/>
              <a:defRPr sz="1900" baseline="0">
                <a:solidFill>
                  <a:schemeClr val="tx1"/>
                </a:solidFill>
              </a:defRPr>
            </a:lvl1pPr>
            <a:lvl2pPr>
              <a:buNone/>
              <a:defRPr i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 smtClean="0"/>
              <a:t>Click to edit Name | Role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1260406" y="123838"/>
            <a:ext cx="2713781" cy="538587"/>
          </a:xfrm>
          <a:prstGeom prst="rect">
            <a:avLst/>
          </a:prstGeom>
          <a:noFill/>
        </p:spPr>
        <p:txBody>
          <a:bodyPr wrap="none" lIns="121901" tIns="60949" rIns="121901" bIns="60949" rtlCol="0">
            <a:spAutoFit/>
          </a:bodyPr>
          <a:lstStyle/>
          <a:p>
            <a:pPr defTabSz="1219004"/>
            <a:r>
              <a:rPr lang="en-US" sz="2700" dirty="0">
                <a:solidFill>
                  <a:prstClr val="white"/>
                </a:solidFill>
              </a:rPr>
              <a:t>With you today …</a:t>
            </a:r>
          </a:p>
        </p:txBody>
      </p:sp>
    </p:spTree>
    <p:extLst>
      <p:ext uri="{BB962C8B-B14F-4D97-AF65-F5344CB8AC3E}">
        <p14:creationId xmlns:p14="http://schemas.microsoft.com/office/powerpoint/2010/main" val="19075403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74"/>
            <a:ext cx="2133600" cy="273844"/>
          </a:xfrm>
          <a:prstGeom prst="rect">
            <a:avLst/>
          </a:prstGeom>
        </p:spPr>
        <p:txBody>
          <a:bodyPr vert="horz" lIns="121901" tIns="60949" rIns="121901" bIns="60949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fld id="{92FB1339-D7F6-4131-9674-1CEA3F017B2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11"/>
          </p:nvPr>
        </p:nvSpPr>
        <p:spPr>
          <a:xfrm>
            <a:off x="1" y="3067311"/>
            <a:ext cx="7988474" cy="285750"/>
          </a:xfrm>
          <a:solidFill>
            <a:schemeClr val="tx2">
              <a:lumMod val="60000"/>
              <a:lumOff val="40000"/>
            </a:schemeClr>
          </a:solidFill>
        </p:spPr>
        <p:txBody>
          <a:bodyPr>
            <a:noAutofit/>
          </a:bodyPr>
          <a:lstStyle>
            <a:lvl1pPr marL="457126" indent="-156608">
              <a:buNone/>
              <a:defRPr sz="240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2" name="Text Placeholder 29"/>
          <p:cNvSpPr>
            <a:spLocks noGrp="1"/>
          </p:cNvSpPr>
          <p:nvPr>
            <p:ph type="body" sz="quarter" idx="12"/>
          </p:nvPr>
        </p:nvSpPr>
        <p:spPr>
          <a:xfrm>
            <a:off x="1" y="2686050"/>
            <a:ext cx="7988474" cy="285750"/>
          </a:xfrm>
          <a:solidFill>
            <a:schemeClr val="tx2">
              <a:lumMod val="60000"/>
              <a:lumOff val="40000"/>
            </a:schemeClr>
          </a:solidFill>
        </p:spPr>
        <p:txBody>
          <a:bodyPr>
            <a:noAutofit/>
          </a:bodyPr>
          <a:lstStyle>
            <a:lvl1pPr marL="457126" indent="-156608">
              <a:buNone/>
              <a:defRPr sz="240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3" name="Text Placeholder 29"/>
          <p:cNvSpPr>
            <a:spLocks noGrp="1"/>
          </p:cNvSpPr>
          <p:nvPr>
            <p:ph type="body" sz="quarter" idx="13"/>
          </p:nvPr>
        </p:nvSpPr>
        <p:spPr>
          <a:xfrm>
            <a:off x="1" y="2276606"/>
            <a:ext cx="7988474" cy="285750"/>
          </a:xfrm>
          <a:solidFill>
            <a:schemeClr val="tx2">
              <a:lumMod val="60000"/>
              <a:lumOff val="40000"/>
            </a:schemeClr>
          </a:solidFill>
        </p:spPr>
        <p:txBody>
          <a:bodyPr>
            <a:noAutofit/>
          </a:bodyPr>
          <a:lstStyle>
            <a:lvl1pPr marL="457126" indent="-156608">
              <a:buNone/>
              <a:defRPr sz="240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4" name="Text Placeholder 29"/>
          <p:cNvSpPr>
            <a:spLocks noGrp="1"/>
          </p:cNvSpPr>
          <p:nvPr>
            <p:ph type="body" sz="quarter" idx="14"/>
          </p:nvPr>
        </p:nvSpPr>
        <p:spPr>
          <a:xfrm>
            <a:off x="1" y="1895345"/>
            <a:ext cx="7988474" cy="285750"/>
          </a:xfrm>
          <a:solidFill>
            <a:schemeClr val="tx2">
              <a:lumMod val="60000"/>
              <a:lumOff val="40000"/>
            </a:schemeClr>
          </a:solidFill>
        </p:spPr>
        <p:txBody>
          <a:bodyPr>
            <a:noAutofit/>
          </a:bodyPr>
          <a:lstStyle>
            <a:lvl1pPr marL="457126" indent="-156608">
              <a:buNone/>
              <a:defRPr sz="240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5" name="Text Placeholder 29"/>
          <p:cNvSpPr>
            <a:spLocks noGrp="1"/>
          </p:cNvSpPr>
          <p:nvPr>
            <p:ph type="body" sz="quarter" idx="15"/>
          </p:nvPr>
        </p:nvSpPr>
        <p:spPr>
          <a:xfrm>
            <a:off x="1" y="1524261"/>
            <a:ext cx="7988474" cy="285750"/>
          </a:xfrm>
          <a:solidFill>
            <a:schemeClr val="tx2">
              <a:lumMod val="60000"/>
              <a:lumOff val="40000"/>
            </a:schemeClr>
          </a:solidFill>
        </p:spPr>
        <p:txBody>
          <a:bodyPr>
            <a:noAutofit/>
          </a:bodyPr>
          <a:lstStyle>
            <a:lvl1pPr marL="457126" indent="-156608">
              <a:buNone/>
              <a:defRPr sz="240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6" name="Text Placeholder 29"/>
          <p:cNvSpPr>
            <a:spLocks noGrp="1"/>
          </p:cNvSpPr>
          <p:nvPr>
            <p:ph type="body" sz="quarter" idx="16"/>
          </p:nvPr>
        </p:nvSpPr>
        <p:spPr>
          <a:xfrm>
            <a:off x="1" y="1143000"/>
            <a:ext cx="7988474" cy="285750"/>
          </a:xfrm>
          <a:solidFill>
            <a:schemeClr val="tx2">
              <a:lumMod val="60000"/>
              <a:lumOff val="40000"/>
            </a:schemeClr>
          </a:solidFill>
        </p:spPr>
        <p:txBody>
          <a:bodyPr>
            <a:noAutofit/>
          </a:bodyPr>
          <a:lstStyle>
            <a:lvl1pPr marL="457126" indent="-156608">
              <a:buNone/>
              <a:defRPr sz="240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60405" y="123838"/>
            <a:ext cx="1306088" cy="538587"/>
          </a:xfrm>
          <a:prstGeom prst="rect">
            <a:avLst/>
          </a:prstGeom>
          <a:noFill/>
        </p:spPr>
        <p:txBody>
          <a:bodyPr wrap="none" lIns="121901" tIns="60949" rIns="121901" bIns="60949" rtlCol="0">
            <a:spAutoFit/>
          </a:bodyPr>
          <a:lstStyle/>
          <a:p>
            <a:pPr defTabSz="1219004"/>
            <a:r>
              <a:rPr lang="en-US" sz="2700" dirty="0">
                <a:solidFill>
                  <a:prstClr val="white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2015029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Your Objectives and Our Enabl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74"/>
            <a:ext cx="2133600" cy="273844"/>
          </a:xfrm>
          <a:prstGeom prst="rect">
            <a:avLst/>
          </a:prstGeom>
        </p:spPr>
        <p:txBody>
          <a:bodyPr vert="horz" lIns="121901" tIns="60949" rIns="121901" bIns="60949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fld id="{92FB1339-D7F6-4131-9674-1CEA3F017B2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1219207" y="123697"/>
            <a:ext cx="6661081" cy="538587"/>
          </a:xfrm>
          <a:prstGeom prst="rect">
            <a:avLst/>
          </a:prstGeom>
          <a:noFill/>
        </p:spPr>
        <p:txBody>
          <a:bodyPr wrap="none" lIns="121901" tIns="60949" rIns="121901" bIns="60949" rtlCol="0">
            <a:spAutoFit/>
          </a:bodyPr>
          <a:lstStyle/>
          <a:p>
            <a:pPr defTabSz="1219004"/>
            <a:r>
              <a:rPr lang="en-US" sz="2700" dirty="0">
                <a:solidFill>
                  <a:prstClr val="white"/>
                </a:solidFill>
              </a:rPr>
              <a:t>Your key objectives and Our value proposition</a:t>
            </a: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82554" y="4135041"/>
            <a:ext cx="8933859" cy="617934"/>
          </a:xfrm>
          <a:prstGeom prst="rect">
            <a:avLst/>
          </a:prstGeom>
          <a:solidFill>
            <a:schemeClr val="bg1"/>
          </a:solidFill>
          <a:ln w="6350" algn="ctr">
            <a:solidFill>
              <a:srgbClr val="4E84C4"/>
            </a:solidFill>
            <a:round/>
            <a:headEnd/>
            <a:tailEnd/>
          </a:ln>
        </p:spPr>
        <p:txBody>
          <a:bodyPr wrap="none" lIns="121901" tIns="60949" rIns="121901" bIns="60949" anchor="ctr"/>
          <a:lstStyle/>
          <a:p>
            <a:pPr algn="ctr" defTabSz="1219004"/>
            <a:endParaRPr lang="en-US" sz="2400">
              <a:solidFill>
                <a:prstClr val="black"/>
              </a:solidFill>
            </a:endParaRPr>
          </a:p>
        </p:txBody>
      </p:sp>
      <p:sp>
        <p:nvSpPr>
          <p:cNvPr id="9" name="Rectangle 55"/>
          <p:cNvSpPr>
            <a:spLocks noChangeArrowheads="1"/>
          </p:cNvSpPr>
          <p:nvPr userDrawn="1"/>
        </p:nvSpPr>
        <p:spPr bwMode="auto">
          <a:xfrm>
            <a:off x="109548" y="913212"/>
            <a:ext cx="8961437" cy="745469"/>
          </a:xfrm>
          <a:prstGeom prst="rect">
            <a:avLst/>
          </a:prstGeom>
          <a:solidFill>
            <a:schemeClr val="bg1"/>
          </a:solidFill>
          <a:ln w="6350" algn="ctr">
            <a:solidFill>
              <a:srgbClr val="ACC3EC"/>
            </a:solidFill>
            <a:round/>
            <a:headEnd/>
            <a:tailEnd/>
          </a:ln>
        </p:spPr>
        <p:txBody>
          <a:bodyPr wrap="none" lIns="121901" tIns="60949" rIns="121901" bIns="60949" anchor="ctr"/>
          <a:lstStyle/>
          <a:p>
            <a:pPr algn="ctr" defTabSz="1219004"/>
            <a:endParaRPr lang="en-US" sz="2400">
              <a:solidFill>
                <a:prstClr val="black"/>
              </a:solidFill>
            </a:endParaRPr>
          </a:p>
        </p:txBody>
      </p:sp>
      <p:sp>
        <p:nvSpPr>
          <p:cNvPr id="10" name="Rounded Rectangle 23"/>
          <p:cNvSpPr>
            <a:spLocks noChangeArrowheads="1"/>
          </p:cNvSpPr>
          <p:nvPr userDrawn="1"/>
        </p:nvSpPr>
        <p:spPr bwMode="auto">
          <a:xfrm>
            <a:off x="1586568" y="4202789"/>
            <a:ext cx="1160463" cy="476250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12700" algn="ctr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121901" tIns="60949" rIns="121901" bIns="60949" anchor="ctr"/>
          <a:lstStyle/>
          <a:p>
            <a:pPr algn="ctr" defTabSz="1219004">
              <a:defRPr/>
            </a:pPr>
            <a:endParaRPr lang="en-US" b="1" kern="0" dirty="0">
              <a:solidFill>
                <a:srgbClr val="000000"/>
              </a:solidFill>
            </a:endParaRPr>
          </a:p>
        </p:txBody>
      </p:sp>
      <p:sp>
        <p:nvSpPr>
          <p:cNvPr id="11" name="Rounded Rectangle 23"/>
          <p:cNvSpPr>
            <a:spLocks noChangeArrowheads="1"/>
          </p:cNvSpPr>
          <p:nvPr userDrawn="1"/>
        </p:nvSpPr>
        <p:spPr bwMode="auto">
          <a:xfrm>
            <a:off x="7558665" y="4202789"/>
            <a:ext cx="1160463" cy="476250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12700" algn="ctr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121901" tIns="60949" rIns="121901" bIns="60949" anchor="ctr"/>
          <a:lstStyle/>
          <a:p>
            <a:pPr algn="ctr" defTabSz="1219004">
              <a:defRPr/>
            </a:pPr>
            <a:endParaRPr lang="en-US" b="1" kern="0" dirty="0">
              <a:solidFill>
                <a:srgbClr val="000000"/>
              </a:solidFill>
            </a:endParaRPr>
          </a:p>
        </p:txBody>
      </p:sp>
      <p:sp>
        <p:nvSpPr>
          <p:cNvPr id="12" name="Rounded Rectangle 23"/>
          <p:cNvSpPr>
            <a:spLocks noChangeArrowheads="1"/>
          </p:cNvSpPr>
          <p:nvPr userDrawn="1"/>
        </p:nvSpPr>
        <p:spPr bwMode="auto">
          <a:xfrm>
            <a:off x="3056859" y="4202789"/>
            <a:ext cx="1160463" cy="476250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12700" algn="ctr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121901" tIns="60949" rIns="121901" bIns="60949" anchor="ctr"/>
          <a:lstStyle/>
          <a:p>
            <a:pPr algn="ctr" defTabSz="1219004">
              <a:defRPr/>
            </a:pPr>
            <a:endParaRPr lang="en-US" b="1" kern="0" dirty="0">
              <a:solidFill>
                <a:srgbClr val="000000"/>
              </a:solidFill>
            </a:endParaRPr>
          </a:p>
        </p:txBody>
      </p:sp>
      <p:sp>
        <p:nvSpPr>
          <p:cNvPr id="13" name="Rounded Rectangle 23"/>
          <p:cNvSpPr>
            <a:spLocks noChangeArrowheads="1"/>
          </p:cNvSpPr>
          <p:nvPr userDrawn="1"/>
        </p:nvSpPr>
        <p:spPr bwMode="auto">
          <a:xfrm>
            <a:off x="4542801" y="4202789"/>
            <a:ext cx="1256069" cy="476250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12700" algn="ctr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121901" tIns="60949" rIns="121901" bIns="60949" anchor="ctr"/>
          <a:lstStyle/>
          <a:p>
            <a:pPr algn="ctr" defTabSz="1219004">
              <a:defRPr/>
            </a:pPr>
            <a:endParaRPr lang="en-US" b="1" kern="0" dirty="0">
              <a:solidFill>
                <a:srgbClr val="000000"/>
              </a:solidFill>
            </a:endParaRPr>
          </a:p>
        </p:txBody>
      </p:sp>
      <p:sp>
        <p:nvSpPr>
          <p:cNvPr id="14" name="Rounded Rectangle 23"/>
          <p:cNvSpPr>
            <a:spLocks noChangeArrowheads="1"/>
          </p:cNvSpPr>
          <p:nvPr userDrawn="1"/>
        </p:nvSpPr>
        <p:spPr bwMode="auto">
          <a:xfrm>
            <a:off x="6099005" y="4202789"/>
            <a:ext cx="1160463" cy="476250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12700" algn="ctr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121901" tIns="60949" rIns="121901" bIns="60949" anchor="ctr"/>
          <a:lstStyle/>
          <a:p>
            <a:pPr algn="ctr" defTabSz="1219004">
              <a:defRPr/>
            </a:pPr>
            <a:endParaRPr lang="en-US" b="1" kern="0" dirty="0">
              <a:solidFill>
                <a:srgbClr val="000000"/>
              </a:solidFill>
            </a:endParaRPr>
          </a:p>
        </p:txBody>
      </p:sp>
      <p:sp>
        <p:nvSpPr>
          <p:cNvPr id="15" name="Rectangle 75"/>
          <p:cNvSpPr>
            <a:spLocks noChangeArrowheads="1"/>
          </p:cNvSpPr>
          <p:nvPr userDrawn="1"/>
        </p:nvSpPr>
        <p:spPr bwMode="auto">
          <a:xfrm>
            <a:off x="1228438" y="1855382"/>
            <a:ext cx="1646963" cy="2036772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headEnd/>
            <a:tailEnd/>
          </a:ln>
          <a:effectLst/>
        </p:spPr>
        <p:txBody>
          <a:bodyPr lIns="121901" tIns="60949" rIns="121901" bIns="60949" anchor="ctr"/>
          <a:lstStyle/>
          <a:p>
            <a:pPr marL="146027" indent="-146027" defTabSz="1219004">
              <a:spcBef>
                <a:spcPts val="800"/>
              </a:spcBef>
              <a:buFont typeface="Arial" pitchFamily="34" charset="0"/>
              <a:buChar char="•"/>
              <a:defRPr/>
            </a:pPr>
            <a:endParaRPr lang="en-IN" sz="1600" dirty="0">
              <a:solidFill>
                <a:prstClr val="black"/>
              </a:solidFill>
            </a:endParaRPr>
          </a:p>
        </p:txBody>
      </p:sp>
      <p:sp>
        <p:nvSpPr>
          <p:cNvPr id="16" name="Pentagon 15"/>
          <p:cNvSpPr/>
          <p:nvPr userDrawn="1"/>
        </p:nvSpPr>
        <p:spPr bwMode="auto">
          <a:xfrm>
            <a:off x="141915" y="951074"/>
            <a:ext cx="1102103" cy="675709"/>
          </a:xfrm>
          <a:prstGeom prst="homePlate">
            <a:avLst/>
          </a:prstGeom>
          <a:solidFill>
            <a:srgbClr val="D6492A"/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121901" tIns="60949" rIns="121901" bIns="60949" anchor="ctr"/>
          <a:lstStyle/>
          <a:p>
            <a:pPr algn="ctr" defTabSz="1219004">
              <a:defRPr/>
            </a:pPr>
            <a:r>
              <a:rPr lang="en-US" sz="1600" dirty="0">
                <a:solidFill>
                  <a:prstClr val="white"/>
                </a:solidFill>
              </a:rPr>
              <a:t>Key Objectives</a:t>
            </a:r>
          </a:p>
        </p:txBody>
      </p:sp>
      <p:sp>
        <p:nvSpPr>
          <p:cNvPr id="17" name="Pentagon 16"/>
          <p:cNvSpPr/>
          <p:nvPr userDrawn="1"/>
        </p:nvSpPr>
        <p:spPr bwMode="auto">
          <a:xfrm>
            <a:off x="124779" y="2456122"/>
            <a:ext cx="1034175" cy="813390"/>
          </a:xfrm>
          <a:prstGeom prst="homePlate">
            <a:avLst/>
          </a:prstGeom>
          <a:solidFill>
            <a:srgbClr val="4E84C4"/>
          </a:solidFill>
          <a:ln w="12700" algn="ctr">
            <a:noFill/>
            <a:miter lim="800000"/>
            <a:headEnd/>
            <a:tailEnd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lIns="121901" tIns="60949" rIns="121901" bIns="60949" anchor="ctr"/>
          <a:lstStyle/>
          <a:p>
            <a:pPr algn="ctr" defTabSz="1219004">
              <a:defRPr/>
            </a:pPr>
            <a:r>
              <a:rPr lang="en-US" sz="1600" b="1" kern="0" dirty="0">
                <a:solidFill>
                  <a:srgbClr val="FFFFFF"/>
                </a:solidFill>
              </a:rPr>
              <a:t>TCS  </a:t>
            </a:r>
          </a:p>
          <a:p>
            <a:pPr algn="ctr" defTabSz="1219004">
              <a:defRPr/>
            </a:pPr>
            <a:r>
              <a:rPr lang="en-US" sz="1600" b="1" kern="0" dirty="0">
                <a:solidFill>
                  <a:srgbClr val="FFFFFF"/>
                </a:solidFill>
              </a:rPr>
              <a:t>Solution Elements</a:t>
            </a:r>
          </a:p>
        </p:txBody>
      </p:sp>
      <p:sp>
        <p:nvSpPr>
          <p:cNvPr id="18" name="Pentagon 17"/>
          <p:cNvSpPr/>
          <p:nvPr userDrawn="1"/>
        </p:nvSpPr>
        <p:spPr bwMode="auto">
          <a:xfrm>
            <a:off x="176196" y="4186580"/>
            <a:ext cx="1034175" cy="528188"/>
          </a:xfrm>
          <a:prstGeom prst="homePlate">
            <a:avLst/>
          </a:prstGeom>
          <a:solidFill>
            <a:srgbClr val="4E84C4"/>
          </a:solidFill>
          <a:ln w="12700" algn="ctr">
            <a:noFill/>
            <a:miter lim="800000"/>
            <a:headEnd/>
            <a:tailEnd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lIns="121901" tIns="60949" rIns="121901" bIns="60949" anchor="ctr"/>
          <a:lstStyle/>
          <a:p>
            <a:pPr algn="ctr" defTabSz="1219004">
              <a:defRPr/>
            </a:pPr>
            <a:r>
              <a:rPr lang="en-US" sz="1600" b="1" kern="0" dirty="0">
                <a:solidFill>
                  <a:srgbClr val="FFFFFF"/>
                </a:solidFill>
              </a:rPr>
              <a:t>TCS Strategic Levers</a:t>
            </a:r>
          </a:p>
        </p:txBody>
      </p:sp>
      <p:sp>
        <p:nvSpPr>
          <p:cNvPr id="19" name="Rectangle 18"/>
          <p:cNvSpPr/>
          <p:nvPr userDrawn="1"/>
        </p:nvSpPr>
        <p:spPr bwMode="auto">
          <a:xfrm>
            <a:off x="1274925" y="1004788"/>
            <a:ext cx="1638396" cy="54299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rgbClr val="ACC3EC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21901" tIns="60949" rIns="121901" bIns="60949" anchor="ctr"/>
          <a:lstStyle/>
          <a:p>
            <a:pPr algn="ctr" defTabSz="1219004">
              <a:defRPr/>
            </a:pPr>
            <a:endParaRPr lang="en-US" sz="1600" kern="0" dirty="0">
              <a:solidFill>
                <a:sysClr val="windowText" lastClr="000000"/>
              </a:solidFill>
            </a:endParaRPr>
          </a:p>
        </p:txBody>
      </p:sp>
      <p:sp>
        <p:nvSpPr>
          <p:cNvPr id="20" name="Rectangle 75"/>
          <p:cNvSpPr>
            <a:spLocks noChangeArrowheads="1"/>
          </p:cNvSpPr>
          <p:nvPr userDrawn="1"/>
        </p:nvSpPr>
        <p:spPr bwMode="auto">
          <a:xfrm>
            <a:off x="2931009" y="1855382"/>
            <a:ext cx="1477218" cy="2036772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headEnd/>
            <a:tailEnd/>
          </a:ln>
          <a:effectLst/>
        </p:spPr>
        <p:txBody>
          <a:bodyPr lIns="121901" tIns="60949" rIns="121901" bIns="60949" anchor="ctr"/>
          <a:lstStyle/>
          <a:p>
            <a:pPr marL="146027" indent="-146027" defTabSz="1219004">
              <a:spcBef>
                <a:spcPts val="800"/>
              </a:spcBef>
              <a:buFont typeface="Arial" pitchFamily="34" charset="0"/>
              <a:buChar char="•"/>
              <a:defRPr/>
            </a:pPr>
            <a:endParaRPr lang="en-US" sz="1600" kern="0" dirty="0">
              <a:solidFill>
                <a:srgbClr val="000000"/>
              </a:solidFill>
            </a:endParaRPr>
          </a:p>
        </p:txBody>
      </p:sp>
      <p:sp>
        <p:nvSpPr>
          <p:cNvPr id="21" name="Rectangle 75"/>
          <p:cNvSpPr>
            <a:spLocks noChangeArrowheads="1"/>
          </p:cNvSpPr>
          <p:nvPr userDrawn="1"/>
        </p:nvSpPr>
        <p:spPr bwMode="auto">
          <a:xfrm>
            <a:off x="4453699" y="1855382"/>
            <a:ext cx="1537679" cy="2036772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headEnd/>
            <a:tailEnd/>
          </a:ln>
          <a:effectLst/>
        </p:spPr>
        <p:txBody>
          <a:bodyPr lIns="121901" tIns="60949" rIns="121901" bIns="60949" anchor="ctr"/>
          <a:lstStyle/>
          <a:p>
            <a:pPr marL="146027" indent="-146027" defTabSz="1219004">
              <a:spcBef>
                <a:spcPts val="800"/>
              </a:spcBef>
              <a:buFont typeface="Arial" pitchFamily="34" charset="0"/>
              <a:buChar char="•"/>
              <a:defRPr/>
            </a:pPr>
            <a:endParaRPr lang="en-US" sz="1600" kern="0" dirty="0">
              <a:solidFill>
                <a:srgbClr val="000000"/>
              </a:solidFill>
            </a:endParaRPr>
          </a:p>
        </p:txBody>
      </p:sp>
      <p:sp>
        <p:nvSpPr>
          <p:cNvPr id="22" name="Rectangle 75"/>
          <p:cNvSpPr>
            <a:spLocks noChangeArrowheads="1"/>
          </p:cNvSpPr>
          <p:nvPr userDrawn="1"/>
        </p:nvSpPr>
        <p:spPr bwMode="auto">
          <a:xfrm>
            <a:off x="6046314" y="1863357"/>
            <a:ext cx="1534715" cy="2036772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headEnd/>
            <a:tailEnd/>
          </a:ln>
          <a:effectLst/>
        </p:spPr>
        <p:txBody>
          <a:bodyPr lIns="121901" tIns="60949" rIns="121901" bIns="60949" anchor="ctr"/>
          <a:lstStyle/>
          <a:p>
            <a:pPr marL="146027" indent="-146027" defTabSz="1219004">
              <a:spcBef>
                <a:spcPts val="800"/>
              </a:spcBef>
              <a:buFont typeface="Arial" pitchFamily="34" charset="0"/>
              <a:buChar char="•"/>
              <a:defRPr/>
            </a:pPr>
            <a:endParaRPr lang="en-US" sz="1600" b="1" kern="0" dirty="0">
              <a:solidFill>
                <a:srgbClr val="000000"/>
              </a:solidFill>
            </a:endParaRPr>
          </a:p>
        </p:txBody>
      </p:sp>
      <p:sp>
        <p:nvSpPr>
          <p:cNvPr id="23" name="Rectangle 22"/>
          <p:cNvSpPr/>
          <p:nvPr userDrawn="1"/>
        </p:nvSpPr>
        <p:spPr bwMode="auto">
          <a:xfrm>
            <a:off x="2966484" y="1025952"/>
            <a:ext cx="1456660" cy="54299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rgbClr val="ACC3EC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21901" tIns="60949" rIns="121901" bIns="60949" anchor="ctr"/>
          <a:lstStyle/>
          <a:p>
            <a:pPr algn="ctr" defTabSz="1219004">
              <a:defRPr/>
            </a:pPr>
            <a:endParaRPr lang="en-US" sz="1600" kern="0" dirty="0">
              <a:solidFill>
                <a:sysClr val="windowText" lastClr="000000"/>
              </a:solidFill>
            </a:endParaRPr>
          </a:p>
        </p:txBody>
      </p:sp>
      <p:sp>
        <p:nvSpPr>
          <p:cNvPr id="24" name="Rectangle 23"/>
          <p:cNvSpPr/>
          <p:nvPr userDrawn="1"/>
        </p:nvSpPr>
        <p:spPr bwMode="auto">
          <a:xfrm>
            <a:off x="4466263" y="1016687"/>
            <a:ext cx="1607174" cy="54299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rgbClr val="ACC3EC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21901" tIns="60949" rIns="121901" bIns="60949" anchor="ctr"/>
          <a:lstStyle/>
          <a:p>
            <a:pPr algn="ctr" defTabSz="1219004">
              <a:defRPr/>
            </a:pPr>
            <a:endParaRPr lang="en-US" sz="1600" kern="0" dirty="0">
              <a:solidFill>
                <a:sysClr val="windowText" lastClr="000000"/>
              </a:solidFill>
            </a:endParaRPr>
          </a:p>
        </p:txBody>
      </p:sp>
      <p:sp>
        <p:nvSpPr>
          <p:cNvPr id="25" name="Rectangle 24"/>
          <p:cNvSpPr/>
          <p:nvPr userDrawn="1"/>
        </p:nvSpPr>
        <p:spPr bwMode="auto">
          <a:xfrm>
            <a:off x="6126522" y="1015753"/>
            <a:ext cx="1369438" cy="54299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rgbClr val="ACC3EC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21901" tIns="60949" rIns="121901" bIns="60949" anchor="ctr"/>
          <a:lstStyle/>
          <a:p>
            <a:pPr algn="ctr" defTabSz="1219004">
              <a:defRPr/>
            </a:pPr>
            <a:endParaRPr lang="en-US" sz="1600" kern="0" dirty="0">
              <a:solidFill>
                <a:sysClr val="windowText" lastClr="000000"/>
              </a:solidFill>
            </a:endParaRPr>
          </a:p>
        </p:txBody>
      </p:sp>
      <p:sp>
        <p:nvSpPr>
          <p:cNvPr id="26" name="Rectangle 25"/>
          <p:cNvSpPr>
            <a:spLocks noChangeArrowheads="1"/>
          </p:cNvSpPr>
          <p:nvPr userDrawn="1"/>
        </p:nvSpPr>
        <p:spPr bwMode="auto">
          <a:xfrm>
            <a:off x="68267" y="1834120"/>
            <a:ext cx="9051925" cy="2096138"/>
          </a:xfrm>
          <a:prstGeom prst="rect">
            <a:avLst/>
          </a:prstGeom>
          <a:noFill/>
          <a:ln w="12700" algn="ctr">
            <a:solidFill>
              <a:srgbClr val="4E84C4"/>
            </a:solidFill>
            <a:round/>
            <a:headEnd/>
            <a:tailEnd/>
          </a:ln>
        </p:spPr>
        <p:txBody>
          <a:bodyPr wrap="none" lIns="121901" tIns="60949" rIns="121901" bIns="60949" anchor="ctr"/>
          <a:lstStyle/>
          <a:p>
            <a:pPr algn="ctr" defTabSz="1219004"/>
            <a:endParaRPr lang="en-US" sz="2400">
              <a:solidFill>
                <a:prstClr val="black"/>
              </a:solidFill>
            </a:endParaRPr>
          </a:p>
        </p:txBody>
      </p:sp>
      <p:sp>
        <p:nvSpPr>
          <p:cNvPr id="27" name="Isosceles Triangle 26"/>
          <p:cNvSpPr/>
          <p:nvPr userDrawn="1"/>
        </p:nvSpPr>
        <p:spPr bwMode="auto">
          <a:xfrm>
            <a:off x="1746260" y="1711483"/>
            <a:ext cx="6373813" cy="91678"/>
          </a:xfrm>
          <a:prstGeom prst="triangle">
            <a:avLst/>
          </a:prstGeom>
          <a:solidFill>
            <a:schemeClr val="bg1">
              <a:lumMod val="50000"/>
            </a:schemeClr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21901" tIns="60949" rIns="121901" bIns="60949" anchor="ctr"/>
          <a:lstStyle/>
          <a:p>
            <a:pPr algn="ctr" defTabSz="1219004">
              <a:defRPr/>
            </a:pPr>
            <a:endParaRPr lang="en-US" sz="2400">
              <a:solidFill>
                <a:prstClr val="black"/>
              </a:solidFill>
            </a:endParaRPr>
          </a:p>
        </p:txBody>
      </p:sp>
      <p:sp>
        <p:nvSpPr>
          <p:cNvPr id="28" name="Isosceles Triangle 27"/>
          <p:cNvSpPr/>
          <p:nvPr userDrawn="1"/>
        </p:nvSpPr>
        <p:spPr bwMode="auto">
          <a:xfrm>
            <a:off x="1762133" y="3993369"/>
            <a:ext cx="6373813" cy="92869"/>
          </a:xfrm>
          <a:prstGeom prst="triangle">
            <a:avLst/>
          </a:prstGeom>
          <a:solidFill>
            <a:schemeClr val="bg1">
              <a:lumMod val="50000"/>
            </a:schemeClr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21901" tIns="60949" rIns="121901" bIns="60949" anchor="ctr"/>
          <a:lstStyle/>
          <a:p>
            <a:pPr algn="ctr" defTabSz="1219004">
              <a:defRPr/>
            </a:pPr>
            <a:endParaRPr lang="en-US" sz="2400">
              <a:solidFill>
                <a:prstClr val="black"/>
              </a:solidFill>
            </a:endParaRPr>
          </a:p>
        </p:txBody>
      </p:sp>
      <p:sp>
        <p:nvSpPr>
          <p:cNvPr id="29" name="Rectangle 28"/>
          <p:cNvSpPr/>
          <p:nvPr userDrawn="1"/>
        </p:nvSpPr>
        <p:spPr bwMode="auto">
          <a:xfrm>
            <a:off x="7549125" y="1021660"/>
            <a:ext cx="1446029" cy="53428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rgbClr val="ACC3EC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21901" tIns="60949" rIns="121901" bIns="60949" anchor="ctr"/>
          <a:lstStyle/>
          <a:p>
            <a:pPr algn="ctr" defTabSz="1219004">
              <a:defRPr/>
            </a:pPr>
            <a:endParaRPr lang="en-US" sz="1600" kern="0" dirty="0">
              <a:solidFill>
                <a:sysClr val="windowText" lastClr="000000"/>
              </a:solidFill>
            </a:endParaRPr>
          </a:p>
        </p:txBody>
      </p:sp>
      <p:sp>
        <p:nvSpPr>
          <p:cNvPr id="30" name="Rectangle 75"/>
          <p:cNvSpPr>
            <a:spLocks noChangeArrowheads="1"/>
          </p:cNvSpPr>
          <p:nvPr userDrawn="1"/>
        </p:nvSpPr>
        <p:spPr bwMode="auto">
          <a:xfrm>
            <a:off x="7623552" y="1866015"/>
            <a:ext cx="1382233" cy="2036772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headEnd/>
            <a:tailEnd/>
          </a:ln>
          <a:effectLst/>
        </p:spPr>
        <p:txBody>
          <a:bodyPr lIns="121901" tIns="60949" rIns="121901" bIns="60949" anchor="ctr"/>
          <a:lstStyle/>
          <a:p>
            <a:pPr marL="146027" indent="-146027" defTabSz="1219004">
              <a:spcBef>
                <a:spcPts val="800"/>
              </a:spcBef>
              <a:buFont typeface="Arial" pitchFamily="34" charset="0"/>
              <a:buChar char="•"/>
              <a:defRPr/>
            </a:pPr>
            <a:endParaRPr lang="en-US" sz="1600" b="1" kern="0" dirty="0">
              <a:solidFill>
                <a:srgbClr val="000000"/>
              </a:solidFill>
            </a:endParaRPr>
          </a:p>
        </p:txBody>
      </p:sp>
      <p:sp>
        <p:nvSpPr>
          <p:cNvPr id="3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562108"/>
            <a:ext cx="8458200" cy="295145"/>
          </a:xfrm>
        </p:spPr>
        <p:txBody>
          <a:bodyPr/>
          <a:lstStyle>
            <a:lvl1pPr>
              <a:buNone/>
              <a:defRPr i="1"/>
            </a:lvl1pPr>
          </a:lstStyle>
          <a:p>
            <a:pPr lvl="0"/>
            <a:r>
              <a:rPr lang="en-US" dirty="0" smtClean="0"/>
              <a:t>Click to key message</a:t>
            </a:r>
          </a:p>
        </p:txBody>
      </p:sp>
      <p:sp>
        <p:nvSpPr>
          <p:cNvPr id="33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1371600" y="1047489"/>
            <a:ext cx="1447800" cy="457200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34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2971800" y="1028700"/>
            <a:ext cx="1447800" cy="457200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3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0" y="1047489"/>
            <a:ext cx="1447800" cy="457200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36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6172202" y="1038095"/>
            <a:ext cx="1280160" cy="457200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37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7620000" y="1047489"/>
            <a:ext cx="1280160" cy="457200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38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1270348" y="1885950"/>
            <a:ext cx="1554480" cy="1943100"/>
          </a:xfrm>
        </p:spPr>
        <p:txBody>
          <a:bodyPr>
            <a:normAutofit/>
          </a:bodyPr>
          <a:lstStyle>
            <a:lvl1pPr marL="150260" indent="-150260" algn="l"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39" name="Text Placeholder 14"/>
          <p:cNvSpPr>
            <a:spLocks noGrp="1"/>
          </p:cNvSpPr>
          <p:nvPr>
            <p:ph type="body" sz="quarter" idx="17" hasCustomPrompt="1"/>
          </p:nvPr>
        </p:nvSpPr>
        <p:spPr>
          <a:xfrm>
            <a:off x="2979942" y="1895345"/>
            <a:ext cx="1371600" cy="1943100"/>
          </a:xfrm>
        </p:spPr>
        <p:txBody>
          <a:bodyPr>
            <a:normAutofit/>
          </a:bodyPr>
          <a:lstStyle>
            <a:lvl1pPr marL="150260" indent="-150260" algn="l"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40" name="Text Placeholder 14"/>
          <p:cNvSpPr>
            <a:spLocks noGrp="1"/>
          </p:cNvSpPr>
          <p:nvPr>
            <p:ph type="body" sz="quarter" idx="18" hasCustomPrompt="1"/>
          </p:nvPr>
        </p:nvSpPr>
        <p:spPr>
          <a:xfrm>
            <a:off x="4533378" y="1904739"/>
            <a:ext cx="1371600" cy="1943100"/>
          </a:xfrm>
        </p:spPr>
        <p:txBody>
          <a:bodyPr>
            <a:normAutofit/>
          </a:bodyPr>
          <a:lstStyle>
            <a:lvl1pPr marL="150260" indent="-150260" algn="l"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41" name="Text Placeholder 14"/>
          <p:cNvSpPr>
            <a:spLocks noGrp="1"/>
          </p:cNvSpPr>
          <p:nvPr>
            <p:ph type="body" sz="quarter" idx="19" hasCustomPrompt="1"/>
          </p:nvPr>
        </p:nvSpPr>
        <p:spPr>
          <a:xfrm>
            <a:off x="6121052" y="1904739"/>
            <a:ext cx="1371600" cy="1943100"/>
          </a:xfrm>
        </p:spPr>
        <p:txBody>
          <a:bodyPr>
            <a:normAutofit/>
          </a:bodyPr>
          <a:lstStyle>
            <a:lvl1pPr marL="150260" indent="-150260" algn="l"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42" name="Text Placeholder 14"/>
          <p:cNvSpPr>
            <a:spLocks noGrp="1"/>
          </p:cNvSpPr>
          <p:nvPr>
            <p:ph type="body" sz="quarter" idx="20" hasCustomPrompt="1"/>
          </p:nvPr>
        </p:nvSpPr>
        <p:spPr>
          <a:xfrm>
            <a:off x="7632526" y="1914134"/>
            <a:ext cx="1371600" cy="1943100"/>
          </a:xfrm>
        </p:spPr>
        <p:txBody>
          <a:bodyPr>
            <a:normAutofit/>
          </a:bodyPr>
          <a:lstStyle>
            <a:lvl1pPr marL="150260" indent="-150260" algn="l"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43" name="Text Placeholder 14"/>
          <p:cNvSpPr>
            <a:spLocks noGrp="1"/>
          </p:cNvSpPr>
          <p:nvPr>
            <p:ph type="body" sz="quarter" idx="21" hasCustomPrompt="1"/>
          </p:nvPr>
        </p:nvSpPr>
        <p:spPr>
          <a:xfrm>
            <a:off x="1663874" y="4229100"/>
            <a:ext cx="1005840" cy="457200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44" name="Text Placeholder 14"/>
          <p:cNvSpPr>
            <a:spLocks noGrp="1"/>
          </p:cNvSpPr>
          <p:nvPr>
            <p:ph type="body" sz="quarter" idx="22" hasCustomPrompt="1"/>
          </p:nvPr>
        </p:nvSpPr>
        <p:spPr>
          <a:xfrm>
            <a:off x="3108960" y="4229100"/>
            <a:ext cx="1005840" cy="457200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45" name="Text Placeholder 14"/>
          <p:cNvSpPr>
            <a:spLocks noGrp="1"/>
          </p:cNvSpPr>
          <p:nvPr>
            <p:ph type="body" sz="quarter" idx="23" hasCustomPrompt="1"/>
          </p:nvPr>
        </p:nvSpPr>
        <p:spPr>
          <a:xfrm>
            <a:off x="4645486" y="4229100"/>
            <a:ext cx="1005840" cy="457200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46" name="Text Placeholder 14"/>
          <p:cNvSpPr>
            <a:spLocks noGrp="1"/>
          </p:cNvSpPr>
          <p:nvPr>
            <p:ph type="body" sz="quarter" idx="24" hasCustomPrompt="1"/>
          </p:nvPr>
        </p:nvSpPr>
        <p:spPr>
          <a:xfrm>
            <a:off x="6156960" y="4229100"/>
            <a:ext cx="1005840" cy="457200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47" name="Text Placeholder 14"/>
          <p:cNvSpPr>
            <a:spLocks noGrp="1"/>
          </p:cNvSpPr>
          <p:nvPr>
            <p:ph type="body" sz="quarter" idx="25" hasCustomPrompt="1"/>
          </p:nvPr>
        </p:nvSpPr>
        <p:spPr>
          <a:xfrm>
            <a:off x="7617286" y="4229100"/>
            <a:ext cx="1005840" cy="457200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5106842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7" grpId="0" animBg="1"/>
      <p:bldP spid="18" grpId="0" animBg="1"/>
      <p:bldP spid="20" grpId="0" animBg="1"/>
      <p:bldP spid="21" grpId="0" animBg="1"/>
      <p:bldP spid="22" grpId="0" animBg="1"/>
      <p:bldP spid="26" grpId="0" animBg="1"/>
      <p:bldP spid="27" grpId="0" animBg="1"/>
      <p:bldP spid="28" grpId="0" animBg="1"/>
      <p:bldP spid="30" grpId="0" animBg="1"/>
      <p:bldP spid="3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Driv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74"/>
            <a:ext cx="2133600" cy="273844"/>
          </a:xfrm>
          <a:prstGeom prst="rect">
            <a:avLst/>
          </a:prstGeom>
        </p:spPr>
        <p:txBody>
          <a:bodyPr vert="horz" lIns="121901" tIns="60949" rIns="121901" bIns="60949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fld id="{92FB1339-D7F6-4131-9674-1CEA3F017B2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9" name="Rectangle 18"/>
          <p:cNvSpPr/>
          <p:nvPr userDrawn="1"/>
        </p:nvSpPr>
        <p:spPr bwMode="auto">
          <a:xfrm>
            <a:off x="477530" y="1028700"/>
            <a:ext cx="2438400" cy="571500"/>
          </a:xfrm>
          <a:prstGeom prst="rect">
            <a:avLst/>
          </a:prstGeom>
          <a:solidFill>
            <a:srgbClr val="6D97D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1" tIns="60949" rIns="121901" bIns="60949" anchor="ctr"/>
          <a:lstStyle/>
          <a:p>
            <a:pPr algn="ctr" defTabSz="1219004">
              <a:defRPr/>
            </a:pPr>
            <a:r>
              <a:rPr lang="en-US" sz="2100" dirty="0">
                <a:solidFill>
                  <a:prstClr val="white"/>
                </a:solidFill>
              </a:rPr>
              <a:t>Key Drivers</a:t>
            </a:r>
          </a:p>
        </p:txBody>
      </p:sp>
      <p:sp>
        <p:nvSpPr>
          <p:cNvPr id="26" name="Rectangle 25"/>
          <p:cNvSpPr/>
          <p:nvPr userDrawn="1"/>
        </p:nvSpPr>
        <p:spPr bwMode="auto">
          <a:xfrm>
            <a:off x="477538" y="3508772"/>
            <a:ext cx="2441575" cy="76200"/>
          </a:xfrm>
          <a:prstGeom prst="rect">
            <a:avLst/>
          </a:prstGeom>
          <a:solidFill>
            <a:srgbClr val="0063B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1" tIns="60949" rIns="121901" bIns="60949" anchor="ctr"/>
          <a:lstStyle/>
          <a:p>
            <a:pPr algn="ctr" defTabSz="1219004"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 bwMode="auto">
          <a:xfrm>
            <a:off x="6221104" y="1028700"/>
            <a:ext cx="2590800" cy="571500"/>
          </a:xfrm>
          <a:prstGeom prst="rect">
            <a:avLst/>
          </a:prstGeom>
          <a:solidFill>
            <a:srgbClr val="6DCFF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1" tIns="60949" rIns="121901" bIns="60949" anchor="ctr"/>
          <a:lstStyle/>
          <a:p>
            <a:pPr algn="ctr" defTabSz="1219004">
              <a:defRPr/>
            </a:pPr>
            <a:r>
              <a:rPr lang="en-US" sz="2100" dirty="0">
                <a:solidFill>
                  <a:prstClr val="white"/>
                </a:solidFill>
              </a:rPr>
              <a:t>IT Objectives</a:t>
            </a:r>
          </a:p>
        </p:txBody>
      </p:sp>
      <p:sp>
        <p:nvSpPr>
          <p:cNvPr id="28" name="Rectangle 27"/>
          <p:cNvSpPr/>
          <p:nvPr userDrawn="1"/>
        </p:nvSpPr>
        <p:spPr bwMode="auto">
          <a:xfrm>
            <a:off x="6213177" y="3518310"/>
            <a:ext cx="2587625" cy="82153"/>
          </a:xfrm>
          <a:prstGeom prst="rect">
            <a:avLst/>
          </a:prstGeom>
          <a:solidFill>
            <a:srgbClr val="6DCFF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1" tIns="60949" rIns="121901" bIns="60949" anchor="ctr"/>
          <a:lstStyle/>
          <a:p>
            <a:pPr algn="ctr" defTabSz="1219004"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29" name="Rectangle 28"/>
          <p:cNvSpPr/>
          <p:nvPr userDrawn="1"/>
        </p:nvSpPr>
        <p:spPr bwMode="auto">
          <a:xfrm>
            <a:off x="3290579" y="1028700"/>
            <a:ext cx="2590800" cy="571500"/>
          </a:xfrm>
          <a:prstGeom prst="rect">
            <a:avLst/>
          </a:prstGeom>
          <a:solidFill>
            <a:srgbClr val="98B4E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1" tIns="60949" rIns="121901" bIns="60949" anchor="ctr"/>
          <a:lstStyle/>
          <a:p>
            <a:pPr algn="ctr" defTabSz="1219004">
              <a:defRPr/>
            </a:pPr>
            <a:r>
              <a:rPr lang="en-US" sz="2100" dirty="0">
                <a:solidFill>
                  <a:prstClr val="white"/>
                </a:solidFill>
              </a:rPr>
              <a:t>Business Objectives</a:t>
            </a:r>
          </a:p>
        </p:txBody>
      </p:sp>
      <p:sp>
        <p:nvSpPr>
          <p:cNvPr id="30" name="Rectangle 29"/>
          <p:cNvSpPr/>
          <p:nvPr userDrawn="1"/>
        </p:nvSpPr>
        <p:spPr bwMode="auto">
          <a:xfrm>
            <a:off x="3293759" y="3519488"/>
            <a:ext cx="2589213" cy="76200"/>
          </a:xfrm>
          <a:prstGeom prst="rect">
            <a:avLst/>
          </a:prstGeom>
          <a:solidFill>
            <a:srgbClr val="98B4E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1" tIns="60949" rIns="121901" bIns="60949" anchor="ctr"/>
          <a:lstStyle/>
          <a:p>
            <a:pPr algn="ctr" defTabSz="1219004"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33" name="Title 1"/>
          <p:cNvSpPr>
            <a:spLocks noGrp="1"/>
          </p:cNvSpPr>
          <p:nvPr>
            <p:ph type="title" hasCustomPrompt="1"/>
          </p:nvPr>
        </p:nvSpPr>
        <p:spPr>
          <a:xfrm>
            <a:off x="3276600" y="50302"/>
            <a:ext cx="5562600" cy="422672"/>
          </a:xfrm>
        </p:spPr>
        <p:txBody>
          <a:bodyPr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sz="2700" dirty="0" smtClean="0">
                <a:latin typeface="+mj-lt"/>
              </a:rPr>
              <a:t>&lt;&lt;state what client wants to achieve from this program&gt;&gt;</a:t>
            </a:r>
            <a:endParaRPr lang="en-US" dirty="0"/>
          </a:p>
        </p:txBody>
      </p:sp>
      <p:sp>
        <p:nvSpPr>
          <p:cNvPr id="34" name="TextBox 33"/>
          <p:cNvSpPr txBox="1"/>
          <p:nvPr userDrawn="1"/>
        </p:nvSpPr>
        <p:spPr>
          <a:xfrm>
            <a:off x="1219204" y="123697"/>
            <a:ext cx="2949872" cy="538587"/>
          </a:xfrm>
          <a:prstGeom prst="rect">
            <a:avLst/>
          </a:prstGeom>
          <a:noFill/>
        </p:spPr>
        <p:txBody>
          <a:bodyPr wrap="none" lIns="121901" tIns="60949" rIns="121901" bIns="60949" rtlCol="0">
            <a:spAutoFit/>
          </a:bodyPr>
          <a:lstStyle/>
          <a:p>
            <a:pPr defTabSz="1219004"/>
            <a:r>
              <a:rPr lang="en-US" sz="2700" dirty="0">
                <a:solidFill>
                  <a:prstClr val="white"/>
                </a:solidFill>
              </a:rPr>
              <a:t>Your Objective is to</a:t>
            </a: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0" hasCustomPrompt="1"/>
          </p:nvPr>
        </p:nvSpPr>
        <p:spPr>
          <a:xfrm>
            <a:off x="495822" y="1647956"/>
            <a:ext cx="2362200" cy="685800"/>
          </a:xfrm>
        </p:spPr>
        <p:txBody>
          <a:bodyPr>
            <a:normAutofit/>
          </a:bodyPr>
          <a:lstStyle>
            <a:lvl1pPr marL="150260" indent="-150260">
              <a:defRPr sz="1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37" name="Text Placeholder 35"/>
          <p:cNvSpPr>
            <a:spLocks noGrp="1"/>
          </p:cNvSpPr>
          <p:nvPr>
            <p:ph type="body" sz="quarter" idx="11" hasCustomPrompt="1"/>
          </p:nvPr>
        </p:nvSpPr>
        <p:spPr>
          <a:xfrm>
            <a:off x="3276600" y="1637778"/>
            <a:ext cx="2590800" cy="685800"/>
          </a:xfrm>
        </p:spPr>
        <p:txBody>
          <a:bodyPr>
            <a:normAutofit/>
          </a:bodyPr>
          <a:lstStyle>
            <a:lvl1pPr marL="150260" indent="-150260">
              <a:defRPr sz="1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38" name="Text Placeholder 35"/>
          <p:cNvSpPr>
            <a:spLocks noGrp="1"/>
          </p:cNvSpPr>
          <p:nvPr>
            <p:ph type="body" sz="quarter" idx="12" hasCustomPrompt="1"/>
          </p:nvPr>
        </p:nvSpPr>
        <p:spPr>
          <a:xfrm>
            <a:off x="6209778" y="1638561"/>
            <a:ext cx="2590800" cy="685800"/>
          </a:xfrm>
        </p:spPr>
        <p:txBody>
          <a:bodyPr>
            <a:normAutofit/>
          </a:bodyPr>
          <a:lstStyle>
            <a:lvl1pPr marL="150260" indent="-150260">
              <a:defRPr sz="1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9418666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e Heard You S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74"/>
            <a:ext cx="2133600" cy="273844"/>
          </a:xfrm>
          <a:prstGeom prst="rect">
            <a:avLst/>
          </a:prstGeom>
        </p:spPr>
        <p:txBody>
          <a:bodyPr vert="horz" lIns="121901" tIns="60949" rIns="121901" bIns="60949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fld id="{92FB1339-D7F6-4131-9674-1CEA3F017B2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2" name="Group 32"/>
          <p:cNvGrpSpPr/>
          <p:nvPr userDrawn="1"/>
        </p:nvGrpSpPr>
        <p:grpSpPr>
          <a:xfrm>
            <a:off x="201004" y="656446"/>
            <a:ext cx="1905000" cy="1371599"/>
            <a:chOff x="201004" y="875256"/>
            <a:chExt cx="1905000" cy="1828799"/>
          </a:xfrm>
        </p:grpSpPr>
        <p:pic>
          <p:nvPicPr>
            <p:cNvPr id="14" name="Picture 68" descr="postit1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 rot="773471">
              <a:off x="201004" y="875256"/>
              <a:ext cx="1905000" cy="1828799"/>
            </a:xfrm>
            <a:prstGeom prst="rect">
              <a:avLst/>
            </a:prstGeom>
            <a:noFill/>
          </p:spPr>
        </p:pic>
        <p:sp>
          <p:nvSpPr>
            <p:cNvPr id="15" name="TextBox 34"/>
            <p:cNvSpPr txBox="1">
              <a:spLocks noChangeArrowheads="1"/>
            </p:cNvSpPr>
            <p:nvPr/>
          </p:nvSpPr>
          <p:spPr bwMode="auto">
            <a:xfrm rot="558539" flipH="1">
              <a:off x="364914" y="995823"/>
              <a:ext cx="1571132" cy="13734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1219004"/>
              <a:endParaRPr lang="en-US" sz="1500" dirty="0">
                <a:solidFill>
                  <a:prstClr val="black"/>
                </a:solidFill>
              </a:endParaRPr>
            </a:p>
          </p:txBody>
        </p:sp>
      </p:grpSp>
      <p:sp>
        <p:nvSpPr>
          <p:cNvPr id="32" name="Text Placeholder 31"/>
          <p:cNvSpPr>
            <a:spLocks noGrp="1"/>
          </p:cNvSpPr>
          <p:nvPr userDrawn="1">
            <p:ph type="body" sz="quarter" idx="10"/>
          </p:nvPr>
        </p:nvSpPr>
        <p:spPr>
          <a:xfrm rot="783767">
            <a:off x="412131" y="746419"/>
            <a:ext cx="1546917" cy="1032203"/>
          </a:xfrm>
        </p:spPr>
        <p:txBody>
          <a:bodyPr>
            <a:noAutofit/>
          </a:bodyPr>
          <a:lstStyle>
            <a:lvl1pPr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3" name="Group 33"/>
          <p:cNvGrpSpPr/>
          <p:nvPr userDrawn="1"/>
        </p:nvGrpSpPr>
        <p:grpSpPr>
          <a:xfrm rot="20817188">
            <a:off x="2590800" y="857255"/>
            <a:ext cx="1905000" cy="1371599"/>
            <a:chOff x="201004" y="875256"/>
            <a:chExt cx="1905000" cy="1828799"/>
          </a:xfrm>
        </p:grpSpPr>
        <p:pic>
          <p:nvPicPr>
            <p:cNvPr id="35" name="Picture 68" descr="postit1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 rot="773471">
              <a:off x="201004" y="875256"/>
              <a:ext cx="1905000" cy="1828799"/>
            </a:xfrm>
            <a:prstGeom prst="rect">
              <a:avLst/>
            </a:prstGeom>
            <a:noFill/>
          </p:spPr>
        </p:pic>
        <p:sp>
          <p:nvSpPr>
            <p:cNvPr id="36" name="TextBox 34"/>
            <p:cNvSpPr txBox="1">
              <a:spLocks noChangeArrowheads="1"/>
            </p:cNvSpPr>
            <p:nvPr/>
          </p:nvSpPr>
          <p:spPr bwMode="auto">
            <a:xfrm rot="558539" flipH="1">
              <a:off x="364914" y="995823"/>
              <a:ext cx="1571132" cy="13734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1219004"/>
              <a:endParaRPr lang="en-US" sz="1500" dirty="0">
                <a:solidFill>
                  <a:prstClr val="black"/>
                </a:solidFill>
              </a:endParaRPr>
            </a:p>
          </p:txBody>
        </p:sp>
      </p:grpSp>
      <p:sp>
        <p:nvSpPr>
          <p:cNvPr id="37" name="Text Placeholder 31"/>
          <p:cNvSpPr>
            <a:spLocks noGrp="1"/>
          </p:cNvSpPr>
          <p:nvPr>
            <p:ph type="body" sz="quarter" idx="11"/>
          </p:nvPr>
        </p:nvSpPr>
        <p:spPr>
          <a:xfrm rot="955">
            <a:off x="2801925" y="947217"/>
            <a:ext cx="1546917" cy="1032203"/>
          </a:xfrm>
        </p:spPr>
        <p:txBody>
          <a:bodyPr>
            <a:noAutofit/>
          </a:bodyPr>
          <a:lstStyle>
            <a:lvl1pPr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4" name="Group 37"/>
          <p:cNvGrpSpPr/>
          <p:nvPr userDrawn="1"/>
        </p:nvGrpSpPr>
        <p:grpSpPr>
          <a:xfrm rot="19745946">
            <a:off x="334394" y="2498387"/>
            <a:ext cx="1905000" cy="1371599"/>
            <a:chOff x="201004" y="875256"/>
            <a:chExt cx="1905000" cy="1828799"/>
          </a:xfrm>
        </p:grpSpPr>
        <p:pic>
          <p:nvPicPr>
            <p:cNvPr id="39" name="Picture 68" descr="postit1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 rot="773471">
              <a:off x="201004" y="875256"/>
              <a:ext cx="1905000" cy="1828799"/>
            </a:xfrm>
            <a:prstGeom prst="rect">
              <a:avLst/>
            </a:prstGeom>
            <a:noFill/>
          </p:spPr>
        </p:pic>
        <p:sp>
          <p:nvSpPr>
            <p:cNvPr id="40" name="TextBox 34"/>
            <p:cNvSpPr txBox="1">
              <a:spLocks noChangeArrowheads="1"/>
            </p:cNvSpPr>
            <p:nvPr/>
          </p:nvSpPr>
          <p:spPr bwMode="auto">
            <a:xfrm rot="558539" flipH="1">
              <a:off x="364914" y="995823"/>
              <a:ext cx="1571132" cy="13734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1219004"/>
              <a:endParaRPr lang="en-US" sz="1500" dirty="0">
                <a:solidFill>
                  <a:prstClr val="black"/>
                </a:solidFill>
              </a:endParaRPr>
            </a:p>
          </p:txBody>
        </p:sp>
      </p:grpSp>
      <p:sp>
        <p:nvSpPr>
          <p:cNvPr id="41" name="Text Placeholder 31"/>
          <p:cNvSpPr>
            <a:spLocks noGrp="1"/>
          </p:cNvSpPr>
          <p:nvPr>
            <p:ph type="body" sz="quarter" idx="12"/>
          </p:nvPr>
        </p:nvSpPr>
        <p:spPr>
          <a:xfrm rot="20529713">
            <a:off x="545520" y="2588345"/>
            <a:ext cx="1546917" cy="1032203"/>
          </a:xfrm>
        </p:spPr>
        <p:txBody>
          <a:bodyPr>
            <a:noAutofit/>
          </a:bodyPr>
          <a:lstStyle>
            <a:lvl1pPr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5" name="Group 41"/>
          <p:cNvGrpSpPr/>
          <p:nvPr userDrawn="1"/>
        </p:nvGrpSpPr>
        <p:grpSpPr>
          <a:xfrm rot="19855427">
            <a:off x="4667733" y="1003702"/>
            <a:ext cx="1905000" cy="1371599"/>
            <a:chOff x="201004" y="875256"/>
            <a:chExt cx="1905000" cy="1828799"/>
          </a:xfrm>
        </p:grpSpPr>
        <p:pic>
          <p:nvPicPr>
            <p:cNvPr id="43" name="Picture 68" descr="postit1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 rot="773471">
              <a:off x="201004" y="875256"/>
              <a:ext cx="1905000" cy="1828799"/>
            </a:xfrm>
            <a:prstGeom prst="rect">
              <a:avLst/>
            </a:prstGeom>
            <a:noFill/>
          </p:spPr>
        </p:pic>
        <p:sp>
          <p:nvSpPr>
            <p:cNvPr id="44" name="TextBox 34"/>
            <p:cNvSpPr txBox="1">
              <a:spLocks noChangeArrowheads="1"/>
            </p:cNvSpPr>
            <p:nvPr/>
          </p:nvSpPr>
          <p:spPr bwMode="auto">
            <a:xfrm rot="558539" flipH="1">
              <a:off x="364914" y="995823"/>
              <a:ext cx="1571132" cy="13734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1219004"/>
              <a:endParaRPr lang="en-US" sz="1500" dirty="0">
                <a:solidFill>
                  <a:prstClr val="black"/>
                </a:solidFill>
              </a:endParaRPr>
            </a:p>
          </p:txBody>
        </p:sp>
      </p:grpSp>
      <p:sp>
        <p:nvSpPr>
          <p:cNvPr id="45" name="Text Placeholder 31"/>
          <p:cNvSpPr>
            <a:spLocks noGrp="1"/>
          </p:cNvSpPr>
          <p:nvPr>
            <p:ph type="body" sz="quarter" idx="13"/>
          </p:nvPr>
        </p:nvSpPr>
        <p:spPr>
          <a:xfrm rot="20639194">
            <a:off x="4878858" y="1093664"/>
            <a:ext cx="1546917" cy="1032203"/>
          </a:xfrm>
        </p:spPr>
        <p:txBody>
          <a:bodyPr>
            <a:noAutofit/>
          </a:bodyPr>
          <a:lstStyle>
            <a:lvl1pPr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6" name="Group 45"/>
          <p:cNvGrpSpPr/>
          <p:nvPr userDrawn="1"/>
        </p:nvGrpSpPr>
        <p:grpSpPr>
          <a:xfrm rot="960458">
            <a:off x="7023772" y="799060"/>
            <a:ext cx="1905000" cy="1371599"/>
            <a:chOff x="201004" y="875256"/>
            <a:chExt cx="1905000" cy="1828799"/>
          </a:xfrm>
        </p:grpSpPr>
        <p:pic>
          <p:nvPicPr>
            <p:cNvPr id="47" name="Picture 68" descr="postit1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 rot="773471">
              <a:off x="201004" y="875256"/>
              <a:ext cx="1905000" cy="1828799"/>
            </a:xfrm>
            <a:prstGeom prst="rect">
              <a:avLst/>
            </a:prstGeom>
            <a:noFill/>
          </p:spPr>
        </p:pic>
        <p:sp>
          <p:nvSpPr>
            <p:cNvPr id="48" name="TextBox 34"/>
            <p:cNvSpPr txBox="1">
              <a:spLocks noChangeArrowheads="1"/>
            </p:cNvSpPr>
            <p:nvPr/>
          </p:nvSpPr>
          <p:spPr bwMode="auto">
            <a:xfrm rot="558539" flipH="1">
              <a:off x="364914" y="995823"/>
              <a:ext cx="1571132" cy="13734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1219004"/>
              <a:endParaRPr lang="en-US" sz="1500" dirty="0">
                <a:solidFill>
                  <a:prstClr val="black"/>
                </a:solidFill>
              </a:endParaRPr>
            </a:p>
          </p:txBody>
        </p:sp>
      </p:grpSp>
      <p:sp>
        <p:nvSpPr>
          <p:cNvPr id="49" name="Text Placeholder 31"/>
          <p:cNvSpPr>
            <a:spLocks noGrp="1"/>
          </p:cNvSpPr>
          <p:nvPr>
            <p:ph type="body" sz="quarter" idx="14"/>
          </p:nvPr>
        </p:nvSpPr>
        <p:spPr>
          <a:xfrm rot="1744225">
            <a:off x="7234896" y="889025"/>
            <a:ext cx="1546917" cy="1032203"/>
          </a:xfrm>
        </p:spPr>
        <p:txBody>
          <a:bodyPr>
            <a:noAutofit/>
          </a:bodyPr>
          <a:lstStyle>
            <a:lvl1pPr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7" name="Group 49"/>
          <p:cNvGrpSpPr/>
          <p:nvPr userDrawn="1"/>
        </p:nvGrpSpPr>
        <p:grpSpPr>
          <a:xfrm rot="560604">
            <a:off x="2498016" y="3421594"/>
            <a:ext cx="1905000" cy="1371599"/>
            <a:chOff x="201004" y="875256"/>
            <a:chExt cx="1905000" cy="1828799"/>
          </a:xfrm>
        </p:grpSpPr>
        <p:pic>
          <p:nvPicPr>
            <p:cNvPr id="51" name="Picture 68" descr="postit1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 rot="773471">
              <a:off x="201004" y="875256"/>
              <a:ext cx="1905000" cy="1828799"/>
            </a:xfrm>
            <a:prstGeom prst="rect">
              <a:avLst/>
            </a:prstGeom>
            <a:noFill/>
          </p:spPr>
        </p:pic>
        <p:sp>
          <p:nvSpPr>
            <p:cNvPr id="52" name="TextBox 34"/>
            <p:cNvSpPr txBox="1">
              <a:spLocks noChangeArrowheads="1"/>
            </p:cNvSpPr>
            <p:nvPr/>
          </p:nvSpPr>
          <p:spPr bwMode="auto">
            <a:xfrm rot="558539" flipH="1">
              <a:off x="364914" y="995823"/>
              <a:ext cx="1571132" cy="13734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1219004"/>
              <a:endParaRPr lang="en-US" sz="1500" dirty="0">
                <a:solidFill>
                  <a:prstClr val="black"/>
                </a:solidFill>
              </a:endParaRPr>
            </a:p>
          </p:txBody>
        </p:sp>
      </p:grpSp>
      <p:sp>
        <p:nvSpPr>
          <p:cNvPr id="53" name="Text Placeholder 31"/>
          <p:cNvSpPr>
            <a:spLocks noGrp="1"/>
          </p:cNvSpPr>
          <p:nvPr>
            <p:ph type="body" sz="quarter" idx="15"/>
          </p:nvPr>
        </p:nvSpPr>
        <p:spPr>
          <a:xfrm rot="1344371">
            <a:off x="2709141" y="3511558"/>
            <a:ext cx="1546917" cy="1032203"/>
          </a:xfrm>
        </p:spPr>
        <p:txBody>
          <a:bodyPr>
            <a:noAutofit/>
          </a:bodyPr>
          <a:lstStyle>
            <a:lvl1pPr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9" name="Group 53"/>
          <p:cNvGrpSpPr/>
          <p:nvPr userDrawn="1"/>
        </p:nvGrpSpPr>
        <p:grpSpPr>
          <a:xfrm rot="20817188">
            <a:off x="4906236" y="2772478"/>
            <a:ext cx="1905000" cy="1371599"/>
            <a:chOff x="201004" y="875256"/>
            <a:chExt cx="1905000" cy="1828799"/>
          </a:xfrm>
        </p:grpSpPr>
        <p:pic>
          <p:nvPicPr>
            <p:cNvPr id="55" name="Picture 68" descr="postit1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 rot="773471">
              <a:off x="201004" y="875256"/>
              <a:ext cx="1905000" cy="1828799"/>
            </a:xfrm>
            <a:prstGeom prst="rect">
              <a:avLst/>
            </a:prstGeom>
            <a:noFill/>
          </p:spPr>
        </p:pic>
        <p:sp>
          <p:nvSpPr>
            <p:cNvPr id="56" name="TextBox 34"/>
            <p:cNvSpPr txBox="1">
              <a:spLocks noChangeArrowheads="1"/>
            </p:cNvSpPr>
            <p:nvPr/>
          </p:nvSpPr>
          <p:spPr bwMode="auto">
            <a:xfrm rot="558539" flipH="1">
              <a:off x="364914" y="995823"/>
              <a:ext cx="1571132" cy="13734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1219004"/>
              <a:endParaRPr lang="en-US" sz="1500" dirty="0">
                <a:solidFill>
                  <a:prstClr val="black"/>
                </a:solidFill>
              </a:endParaRPr>
            </a:p>
          </p:txBody>
        </p:sp>
      </p:grpSp>
      <p:sp>
        <p:nvSpPr>
          <p:cNvPr id="57" name="Text Placeholder 31"/>
          <p:cNvSpPr>
            <a:spLocks noGrp="1"/>
          </p:cNvSpPr>
          <p:nvPr>
            <p:ph type="body" sz="quarter" idx="16"/>
          </p:nvPr>
        </p:nvSpPr>
        <p:spPr>
          <a:xfrm rot="955">
            <a:off x="5117361" y="2862442"/>
            <a:ext cx="1546917" cy="1032203"/>
          </a:xfrm>
        </p:spPr>
        <p:txBody>
          <a:bodyPr>
            <a:noAutofit/>
          </a:bodyPr>
          <a:lstStyle>
            <a:lvl1pPr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8" name="TextBox 57"/>
          <p:cNvSpPr txBox="1"/>
          <p:nvPr userDrawn="1"/>
        </p:nvSpPr>
        <p:spPr>
          <a:xfrm>
            <a:off x="1260408" y="123838"/>
            <a:ext cx="2985074" cy="538587"/>
          </a:xfrm>
          <a:prstGeom prst="rect">
            <a:avLst/>
          </a:prstGeom>
          <a:noFill/>
        </p:spPr>
        <p:txBody>
          <a:bodyPr wrap="none" lIns="121901" tIns="60949" rIns="121901" bIns="60949" rtlCol="0">
            <a:spAutoFit/>
          </a:bodyPr>
          <a:lstStyle/>
          <a:p>
            <a:pPr defTabSz="1219004"/>
            <a:r>
              <a:rPr lang="en-US" sz="2700" dirty="0">
                <a:solidFill>
                  <a:prstClr val="white"/>
                </a:solidFill>
              </a:rPr>
              <a:t>We heard you say ..</a:t>
            </a:r>
          </a:p>
        </p:txBody>
      </p:sp>
    </p:spTree>
    <p:extLst>
      <p:ext uri="{BB962C8B-B14F-4D97-AF65-F5344CB8AC3E}">
        <p14:creationId xmlns:p14="http://schemas.microsoft.com/office/powerpoint/2010/main" val="25878500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500"/>
                            </p:stCondLst>
                            <p:childTnLst>
                              <p:par>
                                <p:cTn id="4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e Heard You S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74"/>
            <a:ext cx="2133600" cy="273844"/>
          </a:xfrm>
          <a:prstGeom prst="rect">
            <a:avLst/>
          </a:prstGeom>
        </p:spPr>
        <p:txBody>
          <a:bodyPr vert="horz" lIns="121901" tIns="60949" rIns="121901" bIns="60949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fld id="{92FB1339-D7F6-4131-9674-1CEA3F017B2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228603" y="550071"/>
            <a:ext cx="2881520" cy="492420"/>
          </a:xfrm>
          <a:prstGeom prst="rect">
            <a:avLst/>
          </a:prstGeom>
          <a:noFill/>
        </p:spPr>
        <p:txBody>
          <a:bodyPr wrap="none" lIns="121901" tIns="60949" rIns="121901" bIns="60949" rtlCol="0">
            <a:spAutoFit/>
          </a:bodyPr>
          <a:lstStyle/>
          <a:p>
            <a:pPr defTabSz="1219004">
              <a:defRPr/>
            </a:pPr>
            <a:r>
              <a:rPr lang="en-US" sz="2400" b="1" i="1" kern="0" dirty="0">
                <a:solidFill>
                  <a:srgbClr val="4E84C4"/>
                </a:solidFill>
              </a:rPr>
              <a:t>We Heard You Say …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28604" y="2857503"/>
            <a:ext cx="3120368" cy="492420"/>
          </a:xfrm>
          <a:prstGeom prst="rect">
            <a:avLst/>
          </a:prstGeom>
          <a:noFill/>
        </p:spPr>
        <p:txBody>
          <a:bodyPr wrap="none" lIns="121901" tIns="60949" rIns="121901" bIns="60949" rtlCol="0">
            <a:spAutoFit/>
          </a:bodyPr>
          <a:lstStyle/>
          <a:p>
            <a:pPr defTabSz="1219004">
              <a:defRPr/>
            </a:pPr>
            <a:r>
              <a:rPr lang="en-US" sz="2400" b="1" i="1" kern="0" dirty="0">
                <a:solidFill>
                  <a:srgbClr val="4E84C4"/>
                </a:solidFill>
              </a:rPr>
              <a:t>... and it means to us…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895611"/>
            <a:ext cx="7620000" cy="228600"/>
          </a:xfrm>
          <a:solidFill>
            <a:srgbClr val="E1ECF8"/>
          </a:solidFill>
        </p:spPr>
        <p:txBody>
          <a:bodyPr>
            <a:noAutofit/>
          </a:bodyPr>
          <a:lstStyle>
            <a:lvl1pPr>
              <a:buNone/>
              <a:defRPr sz="1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“Click to edit Master text styles”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1295400" y="1362206"/>
            <a:ext cx="7620000" cy="228600"/>
          </a:xfrm>
          <a:solidFill>
            <a:srgbClr val="ACC3EC"/>
          </a:solidFill>
        </p:spPr>
        <p:txBody>
          <a:bodyPr>
            <a:noAutofit/>
          </a:bodyPr>
          <a:lstStyle>
            <a:lvl1pPr>
              <a:buNone/>
              <a:defRPr sz="1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“Click to edit Master text styles”</a:t>
            </a:r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76202" y="1762256"/>
            <a:ext cx="7620000" cy="228600"/>
          </a:xfrm>
          <a:solidFill>
            <a:srgbClr val="E1ECF8"/>
          </a:solidFill>
        </p:spPr>
        <p:txBody>
          <a:bodyPr>
            <a:noAutofit/>
          </a:bodyPr>
          <a:lstStyle>
            <a:lvl1pPr>
              <a:buNone/>
              <a:defRPr sz="1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“Click to edit Master text styles”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1" y="2171700"/>
            <a:ext cx="7620000" cy="228600"/>
          </a:xfrm>
          <a:solidFill>
            <a:srgbClr val="ACC3EC"/>
          </a:solidFill>
        </p:spPr>
        <p:txBody>
          <a:bodyPr>
            <a:noAutofit/>
          </a:bodyPr>
          <a:lstStyle>
            <a:lvl1pPr>
              <a:buNone/>
              <a:defRPr sz="1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“Click to edit Master text styles”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260411" y="123838"/>
            <a:ext cx="5985959" cy="538587"/>
          </a:xfrm>
          <a:prstGeom prst="rect">
            <a:avLst/>
          </a:prstGeom>
          <a:noFill/>
        </p:spPr>
        <p:txBody>
          <a:bodyPr wrap="none" lIns="121901" tIns="60949" rIns="121901" bIns="60949" rtlCol="0">
            <a:spAutoFit/>
          </a:bodyPr>
          <a:lstStyle/>
          <a:p>
            <a:pPr defTabSz="1219004"/>
            <a:r>
              <a:rPr lang="en-US" sz="2700" dirty="0">
                <a:solidFill>
                  <a:prstClr val="white"/>
                </a:solidFill>
              </a:rPr>
              <a:t>Your Objectives and What It Means to Us</a:t>
            </a:r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1143002" y="2571750"/>
            <a:ext cx="7620000" cy="228600"/>
          </a:xfrm>
          <a:solidFill>
            <a:srgbClr val="E1ECF8"/>
          </a:solidFill>
        </p:spPr>
        <p:txBody>
          <a:bodyPr>
            <a:noAutofit/>
          </a:bodyPr>
          <a:lstStyle>
            <a:lvl1pPr>
              <a:buNone/>
              <a:defRPr sz="1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“Click to edit Master text styles”</a:t>
            </a:r>
          </a:p>
        </p:txBody>
      </p:sp>
    </p:spTree>
    <p:extLst>
      <p:ext uri="{BB962C8B-B14F-4D97-AF65-F5344CB8AC3E}">
        <p14:creationId xmlns:p14="http://schemas.microsoft.com/office/powerpoint/2010/main" val="1414497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9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00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2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50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0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18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 build="p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240227" y="4804172"/>
            <a:ext cx="663575" cy="270272"/>
          </a:xfrm>
          <a:prstGeom prst="rect">
            <a:avLst/>
          </a:prstGeom>
          <a:ln/>
        </p:spPr>
        <p:txBody>
          <a:bodyPr lIns="91392" tIns="45696" rIns="91392" bIns="45696"/>
          <a:lstStyle>
            <a:lvl1pPr>
              <a:defRPr/>
            </a:lvl1pPr>
          </a:lstStyle>
          <a:p>
            <a:fld id="{A78E8DF2-5B54-4DF5-B0D5-B368B9A80A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17026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CS Proposition/Solution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/>
          <p:cNvCxnSpPr/>
          <p:nvPr userDrawn="1"/>
        </p:nvCxnSpPr>
        <p:spPr>
          <a:xfrm>
            <a:off x="2336132" y="927938"/>
            <a:ext cx="3886200" cy="1191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Diagram 6"/>
          <p:cNvGraphicFramePr/>
          <p:nvPr userDrawn="1"/>
        </p:nvGraphicFramePr>
        <p:xfrm>
          <a:off x="812134" y="675284"/>
          <a:ext cx="7519736" cy="33568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74"/>
            <a:ext cx="2133600" cy="273844"/>
          </a:xfrm>
          <a:prstGeom prst="rect">
            <a:avLst/>
          </a:prstGeom>
        </p:spPr>
        <p:txBody>
          <a:bodyPr vert="horz" lIns="121901" tIns="60949" rIns="121901" bIns="60949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fld id="{92FB1339-D7F6-4131-9674-1CEA3F017B2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Pentagon 8"/>
          <p:cNvSpPr/>
          <p:nvPr userDrawn="1"/>
        </p:nvSpPr>
        <p:spPr>
          <a:xfrm rot="16200000">
            <a:off x="1418939" y="2617773"/>
            <a:ext cx="1440180" cy="2651760"/>
          </a:xfrm>
          <a:prstGeom prst="homePlate">
            <a:avLst>
              <a:gd name="adj" fmla="val 33648"/>
            </a:avLst>
          </a:prstGeom>
          <a:solidFill>
            <a:schemeClr val="bg1"/>
          </a:solidFill>
          <a:ln>
            <a:solidFill>
              <a:srgbClr val="4E84C4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vert="vert" lIns="121901" tIns="60949" rIns="121901" bIns="60949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04751" indent="-220098" defTabSz="1219004">
              <a:buClr>
                <a:srgbClr val="0070C0"/>
              </a:buClr>
              <a:buFont typeface="Wingdings" pitchFamily="2" charset="2"/>
              <a:buChar char="§"/>
            </a:pPr>
            <a:endParaRPr lang="en-US" dirty="0" smtClean="0">
              <a:solidFill>
                <a:prstClr val="black"/>
              </a:solidFill>
            </a:endParaRPr>
          </a:p>
        </p:txBody>
      </p:sp>
      <p:sp>
        <p:nvSpPr>
          <p:cNvPr id="10" name="Pentagon 9"/>
          <p:cNvSpPr/>
          <p:nvPr userDrawn="1"/>
        </p:nvSpPr>
        <p:spPr>
          <a:xfrm rot="16200000">
            <a:off x="6564630" y="2650860"/>
            <a:ext cx="1440180" cy="2651760"/>
          </a:xfrm>
          <a:prstGeom prst="homePlate">
            <a:avLst>
              <a:gd name="adj" fmla="val 33648"/>
            </a:avLst>
          </a:prstGeom>
          <a:solidFill>
            <a:schemeClr val="bg1"/>
          </a:solidFill>
          <a:ln>
            <a:solidFill>
              <a:srgbClr val="D6492A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vert="vert" lIns="0" tIns="0" rIns="0" bIns="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9405" indent="-304751" defTabSz="1219004">
              <a:buClr>
                <a:srgbClr val="4E84C4"/>
              </a:buClr>
              <a:buFont typeface="Wingdings" pitchFamily="2" charset="2"/>
              <a:buChar char="§"/>
            </a:pPr>
            <a:endParaRPr lang="en-US" dirty="0" smtClean="0">
              <a:solidFill>
                <a:prstClr val="black"/>
              </a:solidFill>
            </a:endParaRPr>
          </a:p>
        </p:txBody>
      </p:sp>
      <p:sp>
        <p:nvSpPr>
          <p:cNvPr id="11" name="TextBox 9"/>
          <p:cNvSpPr txBox="1"/>
          <p:nvPr userDrawn="1"/>
        </p:nvSpPr>
        <p:spPr>
          <a:xfrm>
            <a:off x="1329489" y="774533"/>
            <a:ext cx="1323474" cy="677086"/>
          </a:xfrm>
          <a:prstGeom prst="rect">
            <a:avLst/>
          </a:prstGeom>
          <a:noFill/>
        </p:spPr>
        <p:txBody>
          <a:bodyPr wrap="square" lIns="121901" tIns="60949" rIns="121901" bIns="60949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defTabSz="1219004"/>
            <a:r>
              <a:rPr lang="en-US" i="1" dirty="0" smtClean="0">
                <a:solidFill>
                  <a:prstClr val="black"/>
                </a:solidFill>
                <a:latin typeface="Calibri" pitchFamily="34" charset="0"/>
              </a:rPr>
              <a:t>Short term Perspective</a:t>
            </a:r>
            <a:endParaRPr lang="en-US" i="1" dirty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12" name="TextBox 10"/>
          <p:cNvSpPr txBox="1"/>
          <p:nvPr userDrawn="1"/>
        </p:nvSpPr>
        <p:spPr>
          <a:xfrm>
            <a:off x="6346657" y="762498"/>
            <a:ext cx="1323474" cy="677086"/>
          </a:xfrm>
          <a:prstGeom prst="rect">
            <a:avLst/>
          </a:prstGeom>
          <a:noFill/>
        </p:spPr>
        <p:txBody>
          <a:bodyPr wrap="square" lIns="121901" tIns="60949" rIns="121901" bIns="60949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defTabSz="1219004"/>
            <a:r>
              <a:rPr lang="en-US" i="1" dirty="0" smtClean="0">
                <a:solidFill>
                  <a:prstClr val="black"/>
                </a:solidFill>
                <a:latin typeface="Calibri" pitchFamily="34" charset="0"/>
              </a:rPr>
              <a:t>Long term Perspective</a:t>
            </a:r>
            <a:endParaRPr lang="en-US" i="1" dirty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 rot="16200000">
            <a:off x="-228570" y="3552039"/>
            <a:ext cx="1314450" cy="954085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121901" tIns="60949" rIns="121901" bIns="60949" rtlCol="0">
            <a:spAutoFit/>
          </a:bodyPr>
          <a:lstStyle/>
          <a:p>
            <a:pPr algn="ctr" defTabSz="1219004"/>
            <a:r>
              <a:rPr lang="en-US" sz="2700" dirty="0">
                <a:solidFill>
                  <a:prstClr val="white"/>
                </a:solidFill>
              </a:rPr>
              <a:t>TCS Lever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879324" y="3714750"/>
            <a:ext cx="2514600" cy="857250"/>
          </a:xfrm>
        </p:spPr>
        <p:txBody>
          <a:bodyPr>
            <a:normAutofit/>
          </a:bodyPr>
          <a:lstStyle>
            <a:lvl1pPr marL="150260" indent="-150260">
              <a:defRPr sz="1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6032300" y="3714750"/>
            <a:ext cx="2514600" cy="857250"/>
          </a:xfrm>
        </p:spPr>
        <p:txBody>
          <a:bodyPr>
            <a:normAutofit/>
          </a:bodyPr>
          <a:lstStyle>
            <a:lvl1pPr marL="150260" indent="-150260">
              <a:defRPr sz="1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875778" y="1943100"/>
            <a:ext cx="2133600" cy="971550"/>
          </a:xfrm>
        </p:spPr>
        <p:txBody>
          <a:bodyPr>
            <a:normAutofit/>
          </a:bodyPr>
          <a:lstStyle>
            <a:lvl1pPr marL="150260" indent="-150260">
              <a:defRPr sz="1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3505200" y="1952495"/>
            <a:ext cx="2133600" cy="971550"/>
          </a:xfrm>
        </p:spPr>
        <p:txBody>
          <a:bodyPr>
            <a:normAutofit/>
          </a:bodyPr>
          <a:lstStyle>
            <a:lvl1pPr marL="150260" indent="-150260">
              <a:defRPr sz="1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6134622" y="1943100"/>
            <a:ext cx="2133600" cy="971550"/>
          </a:xfrm>
        </p:spPr>
        <p:txBody>
          <a:bodyPr>
            <a:normAutofit/>
          </a:bodyPr>
          <a:lstStyle>
            <a:lvl1pPr marL="150260" indent="-150260">
              <a:defRPr sz="1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5247171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74"/>
            <a:ext cx="2133600" cy="273844"/>
          </a:xfrm>
          <a:prstGeom prst="rect">
            <a:avLst/>
          </a:prstGeom>
        </p:spPr>
        <p:txBody>
          <a:bodyPr vert="horz" lIns="121901" tIns="60949" rIns="121901" bIns="60949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fld id="{92FB1339-D7F6-4131-9674-1CEA3F017B2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14226749"/>
              </p:ext>
            </p:extLst>
          </p:nvPr>
        </p:nvGraphicFramePr>
        <p:xfrm>
          <a:off x="304800" y="1143006"/>
          <a:ext cx="7467600" cy="2900368"/>
        </p:xfrm>
        <a:graphic>
          <a:graphicData uri="http://schemas.openxmlformats.org/drawingml/2006/table">
            <a:tbl>
              <a:tblPr>
                <a:tableStyleId>{073A0DAA-6AF3-43AB-8588-CEC1D06C72B9}</a:tableStyleId>
              </a:tblPr>
              <a:tblGrid>
                <a:gridCol w="746760"/>
                <a:gridCol w="746760"/>
                <a:gridCol w="746760"/>
                <a:gridCol w="746760"/>
                <a:gridCol w="746760"/>
                <a:gridCol w="746760"/>
                <a:gridCol w="746760"/>
                <a:gridCol w="746760"/>
                <a:gridCol w="746760"/>
                <a:gridCol w="746760"/>
              </a:tblGrid>
              <a:tr h="414338">
                <a:tc>
                  <a:txBody>
                    <a:bodyPr/>
                    <a:lstStyle/>
                    <a:p>
                      <a:endParaRPr lang="en-IN" sz="1400" dirty="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14338"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14338">
                <a:tc>
                  <a:txBody>
                    <a:bodyPr/>
                    <a:lstStyle/>
                    <a:p>
                      <a:endParaRPr lang="en-IN" sz="1400" dirty="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14338"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14338"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14338"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4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14338">
                <a:tc>
                  <a:txBody>
                    <a:bodyPr/>
                    <a:lstStyle/>
                    <a:p>
                      <a:pPr algn="ctr"/>
                      <a:endParaRPr lang="en-IN" sz="1100" dirty="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N" sz="1100" dirty="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N" sz="1100" dirty="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N" sz="11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N" sz="11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N" sz="1100" dirty="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N" sz="110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N" sz="1100" dirty="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N" sz="1100" dirty="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N" sz="1100" dirty="0">
                        <a:ln>
                          <a:solidFill>
                            <a:srgbClr val="D4E1F7"/>
                          </a:solidFill>
                        </a:ln>
                      </a:endParaRPr>
                    </a:p>
                  </a:txBody>
                  <a:tcPr marT="34290" marB="34290">
                    <a:lnL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E1ECF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5" name="Oval 4"/>
          <p:cNvSpPr/>
          <p:nvPr userDrawn="1"/>
        </p:nvSpPr>
        <p:spPr>
          <a:xfrm>
            <a:off x="7620000" y="635374"/>
            <a:ext cx="274320" cy="20574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1" tIns="60949" rIns="121901" bIns="60949" rtlCol="0" anchor="ctr"/>
          <a:lstStyle/>
          <a:p>
            <a:pPr algn="ctr" defTabSz="1219004"/>
            <a:endParaRPr lang="en-IN" sz="2400">
              <a:solidFill>
                <a:prstClr val="white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7924804" y="628652"/>
            <a:ext cx="1353858" cy="400087"/>
          </a:xfrm>
          <a:prstGeom prst="rect">
            <a:avLst/>
          </a:prstGeom>
          <a:noFill/>
        </p:spPr>
        <p:txBody>
          <a:bodyPr wrap="none" lIns="121901" tIns="60949" rIns="121901" bIns="60949" rtlCol="0">
            <a:spAutoFit/>
          </a:bodyPr>
          <a:lstStyle/>
          <a:p>
            <a:pPr defTabSz="1219004"/>
            <a:r>
              <a:rPr lang="en-US" dirty="0">
                <a:solidFill>
                  <a:prstClr val="black"/>
                </a:solidFill>
              </a:rPr>
              <a:t>Activity End</a:t>
            </a:r>
            <a:endParaRPr lang="en-IN" dirty="0">
              <a:solidFill>
                <a:prstClr val="black"/>
              </a:solidFill>
            </a:endParaRPr>
          </a:p>
        </p:txBody>
      </p:sp>
      <p:sp>
        <p:nvSpPr>
          <p:cNvPr id="9" name="Oval 8"/>
          <p:cNvSpPr/>
          <p:nvPr userDrawn="1"/>
        </p:nvSpPr>
        <p:spPr>
          <a:xfrm>
            <a:off x="7620000" y="918891"/>
            <a:ext cx="274320" cy="205740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1" tIns="60949" rIns="121901" bIns="60949" rtlCol="0" anchor="ctr"/>
          <a:lstStyle/>
          <a:p>
            <a:pPr algn="ctr" defTabSz="1219004"/>
            <a:endParaRPr lang="en-IN" sz="2400">
              <a:solidFill>
                <a:prstClr val="white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7924808" y="912170"/>
            <a:ext cx="1572636" cy="400087"/>
          </a:xfrm>
          <a:prstGeom prst="rect">
            <a:avLst/>
          </a:prstGeom>
          <a:noFill/>
        </p:spPr>
        <p:txBody>
          <a:bodyPr wrap="none" lIns="121901" tIns="60949" rIns="121901" bIns="60949" rtlCol="0">
            <a:spAutoFit/>
          </a:bodyPr>
          <a:lstStyle/>
          <a:p>
            <a:pPr defTabSz="1219004"/>
            <a:r>
              <a:rPr lang="en-US" dirty="0">
                <a:solidFill>
                  <a:prstClr val="black"/>
                </a:solidFill>
              </a:rPr>
              <a:t>Key Milestone</a:t>
            </a:r>
            <a:endParaRPr lang="en-IN" dirty="0">
              <a:solidFill>
                <a:prstClr val="black"/>
              </a:solidFill>
            </a:endParaRPr>
          </a:p>
        </p:txBody>
      </p:sp>
      <p:sp>
        <p:nvSpPr>
          <p:cNvPr id="13" name="5-Point Star 12"/>
          <p:cNvSpPr/>
          <p:nvPr userDrawn="1"/>
        </p:nvSpPr>
        <p:spPr>
          <a:xfrm>
            <a:off x="7620000" y="1200150"/>
            <a:ext cx="274320" cy="205740"/>
          </a:xfrm>
          <a:prstGeom prst="star5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1" tIns="60949" rIns="121901" bIns="60949" rtlCol="0" anchor="ctr"/>
          <a:lstStyle/>
          <a:p>
            <a:pPr algn="ctr" defTabSz="1219004"/>
            <a:endParaRPr lang="en-IN" sz="2400">
              <a:solidFill>
                <a:prstClr val="white"/>
              </a:solidFill>
            </a:endParaRP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7924810" y="1200150"/>
            <a:ext cx="1320673" cy="285750"/>
          </a:xfrm>
        </p:spPr>
        <p:txBody>
          <a:bodyPr>
            <a:normAutofit/>
          </a:bodyPr>
          <a:lstStyle>
            <a:lvl1pPr marL="0" indent="0">
              <a:buNone/>
              <a:defRPr sz="1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277912" y="4067735"/>
            <a:ext cx="762001" cy="28575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MM YY</a:t>
            </a:r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1039912" y="4067735"/>
            <a:ext cx="762001" cy="28575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MM YY</a:t>
            </a:r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1815360" y="4067735"/>
            <a:ext cx="762001" cy="28575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MM YY</a:t>
            </a:r>
          </a:p>
        </p:txBody>
      </p:sp>
      <p:sp>
        <p:nvSpPr>
          <p:cNvPr id="20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2577360" y="4067735"/>
            <a:ext cx="762001" cy="28575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MM YY</a:t>
            </a:r>
          </a:p>
        </p:txBody>
      </p:sp>
      <p:sp>
        <p:nvSpPr>
          <p:cNvPr id="21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3312465" y="4067735"/>
            <a:ext cx="762001" cy="28575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MM YY</a:t>
            </a:r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4074465" y="4067735"/>
            <a:ext cx="762001" cy="28575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MM YY</a:t>
            </a:r>
          </a:p>
        </p:txBody>
      </p:sp>
      <p:sp>
        <p:nvSpPr>
          <p:cNvPr id="23" name="Text Placeholder 14"/>
          <p:cNvSpPr>
            <a:spLocks noGrp="1"/>
          </p:cNvSpPr>
          <p:nvPr>
            <p:ph type="body" sz="quarter" idx="17" hasCustomPrompt="1"/>
          </p:nvPr>
        </p:nvSpPr>
        <p:spPr>
          <a:xfrm>
            <a:off x="4849912" y="4067735"/>
            <a:ext cx="762001" cy="28575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MM YY</a:t>
            </a:r>
          </a:p>
        </p:txBody>
      </p:sp>
      <p:sp>
        <p:nvSpPr>
          <p:cNvPr id="24" name="Text Placeholder 14"/>
          <p:cNvSpPr>
            <a:spLocks noGrp="1"/>
          </p:cNvSpPr>
          <p:nvPr>
            <p:ph type="body" sz="quarter" idx="18" hasCustomPrompt="1"/>
          </p:nvPr>
        </p:nvSpPr>
        <p:spPr>
          <a:xfrm>
            <a:off x="5611912" y="4067735"/>
            <a:ext cx="762001" cy="28575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MM YY</a:t>
            </a:r>
          </a:p>
        </p:txBody>
      </p:sp>
      <p:sp>
        <p:nvSpPr>
          <p:cNvPr id="25" name="Text Placeholder 14"/>
          <p:cNvSpPr>
            <a:spLocks noGrp="1"/>
          </p:cNvSpPr>
          <p:nvPr>
            <p:ph type="body" sz="quarter" idx="19" hasCustomPrompt="1"/>
          </p:nvPr>
        </p:nvSpPr>
        <p:spPr>
          <a:xfrm>
            <a:off x="6324607" y="4067735"/>
            <a:ext cx="762001" cy="28575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MM YY</a:t>
            </a:r>
          </a:p>
        </p:txBody>
      </p:sp>
      <p:sp>
        <p:nvSpPr>
          <p:cNvPr id="26" name="Text Placeholder 14"/>
          <p:cNvSpPr>
            <a:spLocks noGrp="1"/>
          </p:cNvSpPr>
          <p:nvPr>
            <p:ph type="body" sz="quarter" idx="20" hasCustomPrompt="1"/>
          </p:nvPr>
        </p:nvSpPr>
        <p:spPr>
          <a:xfrm>
            <a:off x="7086606" y="4067735"/>
            <a:ext cx="762001" cy="28575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MM YY</a:t>
            </a:r>
          </a:p>
        </p:txBody>
      </p:sp>
    </p:spTree>
    <p:extLst>
      <p:ext uri="{BB962C8B-B14F-4D97-AF65-F5344CB8AC3E}">
        <p14:creationId xmlns:p14="http://schemas.microsoft.com/office/powerpoint/2010/main" val="7316603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e Options Highlev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74"/>
            <a:ext cx="2133600" cy="273844"/>
          </a:xfrm>
          <a:prstGeom prst="rect">
            <a:avLst/>
          </a:prstGeom>
        </p:spPr>
        <p:txBody>
          <a:bodyPr vert="horz" lIns="121901" tIns="60949" rIns="121901" bIns="60949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fld id="{92FB1339-D7F6-4131-9674-1CEA3F017B2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martArt Placeholder 4"/>
          <p:cNvSpPr>
            <a:spLocks noGrp="1"/>
          </p:cNvSpPr>
          <p:nvPr>
            <p:ph type="dgm" sz="quarter" idx="11"/>
          </p:nvPr>
        </p:nvSpPr>
        <p:spPr>
          <a:xfrm>
            <a:off x="533402" y="800100"/>
            <a:ext cx="4343400" cy="685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SmartArt graphic</a:t>
            </a:r>
            <a:endParaRPr lang="en-IN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280160" y="50302"/>
            <a:ext cx="7467600" cy="422672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50348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vernance Mod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AutoShape 19"/>
          <p:cNvSpPr>
            <a:spLocks noChangeArrowheads="1"/>
          </p:cNvSpPr>
          <p:nvPr userDrawn="1"/>
        </p:nvSpPr>
        <p:spPr bwMode="auto">
          <a:xfrm>
            <a:off x="6431281" y="3218021"/>
            <a:ext cx="2103120" cy="480060"/>
          </a:xfrm>
          <a:prstGeom prst="roundRect">
            <a:avLst>
              <a:gd name="adj" fmla="val 16667"/>
            </a:avLst>
          </a:prstGeom>
          <a:solidFill>
            <a:srgbClr val="D4E1F7"/>
          </a:solidFill>
          <a:ln w="12700">
            <a:noFill/>
            <a:round/>
            <a:headEnd/>
            <a:tailEnd/>
          </a:ln>
        </p:spPr>
        <p:txBody>
          <a:bodyPr wrap="none" lIns="121901" tIns="60949" rIns="121901" bIns="60949" anchor="ctr"/>
          <a:lstStyle/>
          <a:p>
            <a:pPr defTabSz="1219004">
              <a:buFont typeface="Wingdings" pitchFamily="2" charset="2"/>
              <a:buNone/>
            </a:pPr>
            <a:r>
              <a:rPr lang="en-US" dirty="0">
                <a:solidFill>
                  <a:prstClr val="black"/>
                </a:solidFill>
              </a:rPr>
              <a:t>CTO, Quality Technology </a:t>
            </a:r>
          </a:p>
          <a:p>
            <a:pPr defTabSz="1219004">
              <a:buFont typeface="Wingdings" pitchFamily="2" charset="2"/>
              <a:buNone/>
            </a:pPr>
            <a:r>
              <a:rPr lang="en-US" dirty="0">
                <a:solidFill>
                  <a:prstClr val="black"/>
                </a:solidFill>
              </a:rPr>
              <a:t>Practic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812517"/>
            <a:ext cx="2133600" cy="273844"/>
          </a:xfrm>
          <a:prstGeom prst="rect">
            <a:avLst/>
          </a:prstGeom>
        </p:spPr>
        <p:txBody>
          <a:bodyPr vert="horz" lIns="121901" tIns="60949" rIns="121901" bIns="60949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fld id="{92FB1339-D7F6-4131-9674-1CEA3F017B2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8" name="AutoShape 2"/>
          <p:cNvSpPr>
            <a:spLocks noChangeArrowheads="1"/>
          </p:cNvSpPr>
          <p:nvPr userDrawn="1"/>
        </p:nvSpPr>
        <p:spPr bwMode="auto">
          <a:xfrm>
            <a:off x="3287283" y="628663"/>
            <a:ext cx="2552700" cy="3412331"/>
          </a:xfrm>
          <a:prstGeom prst="upDownArrow">
            <a:avLst>
              <a:gd name="adj1" fmla="val 50000"/>
              <a:gd name="adj2" fmla="val 31798"/>
            </a:avLst>
          </a:prstGeom>
          <a:noFill/>
          <a:ln w="12700">
            <a:solidFill>
              <a:srgbClr val="D6492A"/>
            </a:solidFill>
            <a:miter lim="800000"/>
            <a:headEnd/>
            <a:tailEnd/>
          </a:ln>
        </p:spPr>
        <p:txBody>
          <a:bodyPr wrap="none" lIns="121901" tIns="60949" rIns="121901" bIns="60949" anchor="ctr"/>
          <a:lstStyle/>
          <a:p>
            <a:pPr defTabSz="1219004"/>
            <a:endParaRPr lang="en-US" sz="2100">
              <a:solidFill>
                <a:prstClr val="black"/>
              </a:solidFill>
            </a:endParaRPr>
          </a:p>
        </p:txBody>
      </p:sp>
      <p:sp>
        <p:nvSpPr>
          <p:cNvPr id="49" name="AutoShape 3"/>
          <p:cNvSpPr>
            <a:spLocks noChangeArrowheads="1"/>
          </p:cNvSpPr>
          <p:nvPr userDrawn="1"/>
        </p:nvSpPr>
        <p:spPr bwMode="auto">
          <a:xfrm>
            <a:off x="504714" y="1335007"/>
            <a:ext cx="2103120" cy="480060"/>
          </a:xfrm>
          <a:prstGeom prst="roundRect">
            <a:avLst>
              <a:gd name="adj" fmla="val 16667"/>
            </a:avLst>
          </a:prstGeom>
          <a:solidFill>
            <a:srgbClr val="F0EDC9"/>
          </a:solidFill>
          <a:ln w="12700">
            <a:noFill/>
            <a:round/>
            <a:headEnd/>
            <a:tailEnd/>
          </a:ln>
        </p:spPr>
        <p:txBody>
          <a:bodyPr wrap="none" lIns="121901" tIns="60949" rIns="121901" bIns="60949" anchor="ctr"/>
          <a:lstStyle/>
          <a:p>
            <a:pPr defTabSz="1219004">
              <a:buFont typeface="Wingdings" pitchFamily="2" charset="2"/>
              <a:buNone/>
            </a:pPr>
            <a:endParaRPr lang="en-US" dirty="0">
              <a:solidFill>
                <a:prstClr val="black"/>
              </a:solidFill>
            </a:endParaRPr>
          </a:p>
          <a:p>
            <a:pPr defTabSz="1219004">
              <a:buFont typeface="Wingdings" pitchFamily="2" charset="2"/>
              <a:buNone/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0" name="AutoShape 4"/>
          <p:cNvSpPr>
            <a:spLocks noChangeArrowheads="1"/>
          </p:cNvSpPr>
          <p:nvPr userDrawn="1"/>
        </p:nvSpPr>
        <p:spPr bwMode="auto">
          <a:xfrm>
            <a:off x="3093048" y="1230263"/>
            <a:ext cx="2926080" cy="1225843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 w="9525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121901" tIns="60949" rIns="121901" bIns="60949">
            <a:spAutoFit/>
          </a:bodyPr>
          <a:lstStyle/>
          <a:p>
            <a:pPr defTabSz="1219004">
              <a:buFont typeface="Wingdings" pitchFamily="2" charset="2"/>
              <a:buNone/>
              <a:defRPr/>
            </a:pPr>
            <a:r>
              <a:rPr lang="en-US" sz="1600" u="sng" dirty="0">
                <a:solidFill>
                  <a:srgbClr val="336699"/>
                </a:solidFill>
              </a:rPr>
              <a:t>Executive Governance</a:t>
            </a:r>
          </a:p>
          <a:p>
            <a:pPr defTabSz="1219004">
              <a:buFont typeface="Wingdings" pitchFamily="2" charset="2"/>
              <a:buNone/>
              <a:defRPr/>
            </a:pPr>
            <a:r>
              <a:rPr lang="en-US" sz="1600" dirty="0">
                <a:solidFill>
                  <a:prstClr val="black"/>
                </a:solidFill>
              </a:rPr>
              <a:t>Strategic Planning,</a:t>
            </a:r>
          </a:p>
          <a:p>
            <a:pPr defTabSz="1219004">
              <a:buFont typeface="Wingdings" pitchFamily="2" charset="2"/>
              <a:buNone/>
              <a:defRPr/>
            </a:pPr>
            <a:r>
              <a:rPr lang="en-US" sz="1600" dirty="0">
                <a:solidFill>
                  <a:prstClr val="black"/>
                </a:solidFill>
              </a:rPr>
              <a:t>Relationship Health-Check</a:t>
            </a:r>
          </a:p>
          <a:p>
            <a:pPr defTabSz="1219004">
              <a:buFont typeface="Wingdings" pitchFamily="2" charset="2"/>
              <a:buNone/>
              <a:defRPr/>
            </a:pPr>
            <a:r>
              <a:rPr lang="en-US" sz="1600" dirty="0">
                <a:solidFill>
                  <a:prstClr val="black"/>
                </a:solidFill>
              </a:rPr>
              <a:t>Quarterly &amp; Half-Yearly</a:t>
            </a:r>
          </a:p>
        </p:txBody>
      </p:sp>
      <p:sp>
        <p:nvSpPr>
          <p:cNvPr id="51" name="AutoShape 5"/>
          <p:cNvSpPr>
            <a:spLocks noChangeArrowheads="1"/>
          </p:cNvSpPr>
          <p:nvPr userDrawn="1"/>
        </p:nvSpPr>
        <p:spPr bwMode="auto">
          <a:xfrm>
            <a:off x="3094636" y="1993567"/>
            <a:ext cx="2926080" cy="1225843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121901" tIns="60949" rIns="121901" bIns="60949">
            <a:spAutoFit/>
          </a:bodyPr>
          <a:lstStyle/>
          <a:p>
            <a:pPr defTabSz="1219004">
              <a:buFont typeface="Wingdings" pitchFamily="2" charset="2"/>
              <a:buNone/>
              <a:defRPr/>
            </a:pPr>
            <a:r>
              <a:rPr lang="en-US" sz="1600" u="sng" dirty="0">
                <a:solidFill>
                  <a:srgbClr val="336699"/>
                </a:solidFill>
              </a:rPr>
              <a:t>Relationship Management  </a:t>
            </a:r>
          </a:p>
          <a:p>
            <a:pPr defTabSz="1219004">
              <a:buFont typeface="Wingdings" pitchFamily="2" charset="2"/>
              <a:buNone/>
              <a:defRPr/>
            </a:pPr>
            <a:r>
              <a:rPr lang="en-US" sz="1600" dirty="0">
                <a:solidFill>
                  <a:prstClr val="black"/>
                </a:solidFill>
              </a:rPr>
              <a:t>Program Management, Review &amp; Planning</a:t>
            </a:r>
          </a:p>
          <a:p>
            <a:pPr defTabSz="1219004">
              <a:buFont typeface="Wingdings" pitchFamily="2" charset="2"/>
              <a:buNone/>
              <a:defRPr/>
            </a:pPr>
            <a:r>
              <a:rPr lang="en-US" sz="1600" dirty="0">
                <a:solidFill>
                  <a:prstClr val="black"/>
                </a:solidFill>
              </a:rPr>
              <a:t>Monthly &amp; Quarterly</a:t>
            </a:r>
          </a:p>
        </p:txBody>
      </p:sp>
      <p:sp>
        <p:nvSpPr>
          <p:cNvPr id="52" name="AutoShape 6"/>
          <p:cNvSpPr>
            <a:spLocks noChangeArrowheads="1"/>
          </p:cNvSpPr>
          <p:nvPr userDrawn="1"/>
        </p:nvSpPr>
        <p:spPr bwMode="auto">
          <a:xfrm>
            <a:off x="3094636" y="2605615"/>
            <a:ext cx="2926080" cy="1225843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 w="9525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121901" tIns="60949" rIns="121901" bIns="60949">
            <a:spAutoFit/>
          </a:bodyPr>
          <a:lstStyle/>
          <a:p>
            <a:pPr defTabSz="1219004">
              <a:buFont typeface="Wingdings" pitchFamily="2" charset="2"/>
              <a:buNone/>
              <a:defRPr/>
            </a:pPr>
            <a:r>
              <a:rPr lang="en-US" sz="1600" u="sng" dirty="0">
                <a:solidFill>
                  <a:srgbClr val="336699"/>
                </a:solidFill>
              </a:rPr>
              <a:t>Delivery Management</a:t>
            </a:r>
          </a:p>
          <a:p>
            <a:pPr defTabSz="1219004">
              <a:buFont typeface="Wingdings" pitchFamily="2" charset="2"/>
              <a:buNone/>
              <a:defRPr/>
            </a:pPr>
            <a:r>
              <a:rPr lang="en-US" sz="1600" dirty="0">
                <a:solidFill>
                  <a:prstClr val="black"/>
                </a:solidFill>
              </a:rPr>
              <a:t>Project Planning &amp; Status Review</a:t>
            </a:r>
          </a:p>
          <a:p>
            <a:pPr defTabSz="1219004">
              <a:buFont typeface="Wingdings" pitchFamily="2" charset="2"/>
              <a:buNone/>
              <a:defRPr/>
            </a:pPr>
            <a:r>
              <a:rPr lang="en-US" sz="1600" dirty="0">
                <a:solidFill>
                  <a:prstClr val="black"/>
                </a:solidFill>
              </a:rPr>
              <a:t>Weekly</a:t>
            </a:r>
          </a:p>
        </p:txBody>
      </p:sp>
      <p:sp>
        <p:nvSpPr>
          <p:cNvPr id="53" name="AutoShape 7"/>
          <p:cNvSpPr>
            <a:spLocks noChangeArrowheads="1"/>
          </p:cNvSpPr>
          <p:nvPr userDrawn="1"/>
        </p:nvSpPr>
        <p:spPr bwMode="auto">
          <a:xfrm>
            <a:off x="491267" y="719663"/>
            <a:ext cx="2103120" cy="480060"/>
          </a:xfrm>
          <a:prstGeom prst="roundRect">
            <a:avLst>
              <a:gd name="adj" fmla="val 16667"/>
            </a:avLst>
          </a:prstGeom>
          <a:ln>
            <a:solidFill>
              <a:schemeClr val="bg1">
                <a:lumMod val="50000"/>
              </a:schemeClr>
            </a:solidFill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121901" tIns="60949" rIns="121901" bIns="60949"/>
          <a:lstStyle/>
          <a:p>
            <a:pPr algn="ctr" defTabSz="1219004"/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6" name="AutoShape 10"/>
          <p:cNvSpPr>
            <a:spLocks noChangeArrowheads="1"/>
          </p:cNvSpPr>
          <p:nvPr userDrawn="1"/>
        </p:nvSpPr>
        <p:spPr bwMode="auto">
          <a:xfrm>
            <a:off x="3222816" y="709586"/>
            <a:ext cx="2722563" cy="749117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121901" tIns="60949" rIns="121901" bIns="60949">
            <a:spAutoFit/>
          </a:bodyPr>
          <a:lstStyle/>
          <a:p>
            <a:pPr defTabSz="1219004">
              <a:spcBef>
                <a:spcPct val="50000"/>
              </a:spcBef>
              <a:defRPr/>
            </a:pPr>
            <a:r>
              <a:rPr lang="en-US" i="1" dirty="0">
                <a:solidFill>
                  <a:prstClr val="black"/>
                </a:solidFill>
              </a:rPr>
              <a:t>Synergies for a Win-Win Situation</a:t>
            </a:r>
          </a:p>
        </p:txBody>
      </p:sp>
      <p:sp>
        <p:nvSpPr>
          <p:cNvPr id="58" name="AutoShape 12"/>
          <p:cNvSpPr>
            <a:spLocks noChangeArrowheads="1"/>
          </p:cNvSpPr>
          <p:nvPr userDrawn="1"/>
        </p:nvSpPr>
        <p:spPr bwMode="auto">
          <a:xfrm>
            <a:off x="504714" y="2021690"/>
            <a:ext cx="2103120" cy="480060"/>
          </a:xfrm>
          <a:prstGeom prst="roundRect">
            <a:avLst>
              <a:gd name="adj" fmla="val 16667"/>
            </a:avLst>
          </a:prstGeom>
          <a:solidFill>
            <a:srgbClr val="F0EDC9"/>
          </a:solidFill>
          <a:ln w="12700">
            <a:noFill/>
            <a:round/>
            <a:headEnd/>
            <a:tailEnd/>
          </a:ln>
        </p:spPr>
        <p:txBody>
          <a:bodyPr wrap="none" lIns="121901" tIns="60949" rIns="121901" bIns="60949" anchor="ctr"/>
          <a:lstStyle/>
          <a:p>
            <a:pPr defTabSz="1219004">
              <a:buFont typeface="Wingdings" pitchFamily="2" charset="2"/>
              <a:buNone/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9" name="AutoShape 13"/>
          <p:cNvSpPr>
            <a:spLocks noChangeArrowheads="1"/>
          </p:cNvSpPr>
          <p:nvPr userDrawn="1"/>
        </p:nvSpPr>
        <p:spPr bwMode="auto">
          <a:xfrm>
            <a:off x="504714" y="2633741"/>
            <a:ext cx="2103120" cy="480060"/>
          </a:xfrm>
          <a:prstGeom prst="roundRect">
            <a:avLst>
              <a:gd name="adj" fmla="val 16667"/>
            </a:avLst>
          </a:prstGeom>
          <a:solidFill>
            <a:srgbClr val="F0EDC9"/>
          </a:solidFill>
          <a:ln w="12700">
            <a:noFill/>
            <a:round/>
            <a:headEnd/>
            <a:tailEnd/>
          </a:ln>
        </p:spPr>
        <p:txBody>
          <a:bodyPr wrap="none" lIns="121901" tIns="60949" rIns="121901" bIns="60949" anchor="ctr"/>
          <a:lstStyle/>
          <a:p>
            <a:pPr defTabSz="1219004">
              <a:buFont typeface="Wingdings" pitchFamily="2" charset="2"/>
              <a:buNone/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4" name="AutoShape 18"/>
          <p:cNvSpPr>
            <a:spLocks noChangeArrowheads="1"/>
          </p:cNvSpPr>
          <p:nvPr userDrawn="1"/>
        </p:nvSpPr>
        <p:spPr bwMode="auto">
          <a:xfrm>
            <a:off x="3078761" y="3266521"/>
            <a:ext cx="2926080" cy="1225843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 w="9525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121901" tIns="60949" rIns="121901" bIns="60949">
            <a:spAutoFit/>
          </a:bodyPr>
          <a:lstStyle/>
          <a:p>
            <a:pPr defTabSz="1219004">
              <a:buFont typeface="Wingdings" pitchFamily="2" charset="2"/>
              <a:buNone/>
              <a:defRPr/>
            </a:pPr>
            <a:r>
              <a:rPr lang="en-US" sz="1600" u="sng" dirty="0">
                <a:solidFill>
                  <a:srgbClr val="336699"/>
                </a:solidFill>
              </a:rPr>
              <a:t>Half-Yearly Thought Leadership Forums</a:t>
            </a:r>
          </a:p>
          <a:p>
            <a:pPr defTabSz="1219004">
              <a:buFont typeface="Wingdings" pitchFamily="2" charset="2"/>
              <a:buNone/>
              <a:defRPr/>
            </a:pPr>
            <a:r>
              <a:rPr lang="en-US" sz="1600" dirty="0">
                <a:solidFill>
                  <a:prstClr val="black"/>
                </a:solidFill>
              </a:rPr>
              <a:t>Business, Technology &amp; Process Innovation</a:t>
            </a:r>
          </a:p>
        </p:txBody>
      </p:sp>
      <p:sp>
        <p:nvSpPr>
          <p:cNvPr id="65" name="AutoShape 19"/>
          <p:cNvSpPr>
            <a:spLocks noChangeArrowheads="1"/>
          </p:cNvSpPr>
          <p:nvPr userDrawn="1"/>
        </p:nvSpPr>
        <p:spPr bwMode="auto">
          <a:xfrm>
            <a:off x="504714" y="3218021"/>
            <a:ext cx="2103120" cy="480060"/>
          </a:xfrm>
          <a:prstGeom prst="roundRect">
            <a:avLst>
              <a:gd name="adj" fmla="val 16667"/>
            </a:avLst>
          </a:prstGeom>
          <a:solidFill>
            <a:srgbClr val="F0EDC9"/>
          </a:solidFill>
          <a:ln w="12700">
            <a:noFill/>
            <a:round/>
            <a:headEnd/>
            <a:tailEnd/>
          </a:ln>
        </p:spPr>
        <p:txBody>
          <a:bodyPr wrap="none" lIns="121901" tIns="60949" rIns="121901" bIns="60949" anchor="ctr"/>
          <a:lstStyle/>
          <a:p>
            <a:pPr defTabSz="1219004">
              <a:buFont typeface="Wingdings" pitchFamily="2" charset="2"/>
              <a:buNone/>
            </a:pPr>
            <a:r>
              <a:rPr lang="en-US" dirty="0">
                <a:solidFill>
                  <a:prstClr val="black"/>
                </a:solidFill>
              </a:rPr>
              <a:t>Key Stakeholders</a:t>
            </a:r>
          </a:p>
        </p:txBody>
      </p:sp>
      <p:sp>
        <p:nvSpPr>
          <p:cNvPr id="67" name="AutoShape 22"/>
          <p:cNvSpPr>
            <a:spLocks noChangeArrowheads="1"/>
          </p:cNvSpPr>
          <p:nvPr userDrawn="1"/>
        </p:nvSpPr>
        <p:spPr bwMode="auto">
          <a:xfrm>
            <a:off x="2887233" y="3748621"/>
            <a:ext cx="3494088" cy="749117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121901" tIns="60949" rIns="121901" bIns="60949">
            <a:spAutoFit/>
          </a:bodyPr>
          <a:lstStyle/>
          <a:p>
            <a:pPr defTabSz="1219004">
              <a:spcBef>
                <a:spcPct val="50000"/>
              </a:spcBef>
            </a:pPr>
            <a:r>
              <a:rPr lang="en-US" i="1" dirty="0">
                <a:solidFill>
                  <a:prstClr val="black"/>
                </a:solidFill>
              </a:rPr>
              <a:t>“Lifeline” - Independent Executive Oversight</a:t>
            </a:r>
          </a:p>
        </p:txBody>
      </p:sp>
      <p:sp>
        <p:nvSpPr>
          <p:cNvPr id="77" name="AutoShape 3"/>
          <p:cNvSpPr>
            <a:spLocks noChangeArrowheads="1"/>
          </p:cNvSpPr>
          <p:nvPr userDrawn="1"/>
        </p:nvSpPr>
        <p:spPr bwMode="auto">
          <a:xfrm>
            <a:off x="6431281" y="1335007"/>
            <a:ext cx="2103120" cy="480060"/>
          </a:xfrm>
          <a:prstGeom prst="roundRect">
            <a:avLst>
              <a:gd name="adj" fmla="val 16667"/>
            </a:avLst>
          </a:prstGeom>
          <a:solidFill>
            <a:srgbClr val="D4E1F7"/>
          </a:solidFill>
          <a:ln w="12700">
            <a:noFill/>
            <a:round/>
            <a:headEnd/>
            <a:tailEnd/>
          </a:ln>
        </p:spPr>
        <p:txBody>
          <a:bodyPr wrap="none" lIns="121901" tIns="60949" rIns="121901" bIns="60949" anchor="ctr"/>
          <a:lstStyle/>
          <a:p>
            <a:pPr defTabSz="1219004">
              <a:buFont typeface="Wingdings" pitchFamily="2" charset="2"/>
              <a:buNone/>
            </a:pPr>
            <a:endParaRPr lang="en-US" dirty="0">
              <a:solidFill>
                <a:prstClr val="black"/>
              </a:solidFill>
            </a:endParaRPr>
          </a:p>
          <a:p>
            <a:pPr defTabSz="1219004">
              <a:buFont typeface="Wingdings" pitchFamily="2" charset="2"/>
              <a:buNone/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8" name="AutoShape 7"/>
          <p:cNvSpPr>
            <a:spLocks noChangeArrowheads="1"/>
          </p:cNvSpPr>
          <p:nvPr userDrawn="1"/>
        </p:nvSpPr>
        <p:spPr bwMode="auto">
          <a:xfrm>
            <a:off x="6417833" y="719663"/>
            <a:ext cx="2103120" cy="480060"/>
          </a:xfrm>
          <a:prstGeom prst="roundRect">
            <a:avLst>
              <a:gd name="adj" fmla="val 16667"/>
            </a:avLst>
          </a:prstGeom>
          <a:ln>
            <a:solidFill>
              <a:srgbClr val="4E84C4"/>
            </a:solidFill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121901" tIns="60949" rIns="121901" bIns="60949" anchor="ctr"/>
          <a:lstStyle/>
          <a:p>
            <a:pPr algn="ctr" defTabSz="1219004"/>
            <a:r>
              <a:rPr lang="en-US" sz="2400" dirty="0">
                <a:solidFill>
                  <a:prstClr val="black"/>
                </a:solidFill>
              </a:rPr>
              <a:t>TCS</a:t>
            </a:r>
          </a:p>
        </p:txBody>
      </p:sp>
      <p:sp>
        <p:nvSpPr>
          <p:cNvPr id="79" name="AutoShape 12"/>
          <p:cNvSpPr>
            <a:spLocks noChangeArrowheads="1"/>
          </p:cNvSpPr>
          <p:nvPr userDrawn="1"/>
        </p:nvSpPr>
        <p:spPr bwMode="auto">
          <a:xfrm>
            <a:off x="6431281" y="2021690"/>
            <a:ext cx="2103120" cy="480060"/>
          </a:xfrm>
          <a:prstGeom prst="roundRect">
            <a:avLst>
              <a:gd name="adj" fmla="val 16667"/>
            </a:avLst>
          </a:prstGeom>
          <a:solidFill>
            <a:srgbClr val="D4E1F7"/>
          </a:solidFill>
          <a:ln w="12700">
            <a:noFill/>
            <a:round/>
            <a:headEnd/>
            <a:tailEnd/>
          </a:ln>
        </p:spPr>
        <p:txBody>
          <a:bodyPr wrap="none" lIns="121901" tIns="60949" rIns="121901" bIns="60949" anchor="ctr"/>
          <a:lstStyle/>
          <a:p>
            <a:pPr defTabSz="1219004">
              <a:buFont typeface="Wingdings" pitchFamily="2" charset="2"/>
              <a:buNone/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0" name="AutoShape 13"/>
          <p:cNvSpPr>
            <a:spLocks noChangeArrowheads="1"/>
          </p:cNvSpPr>
          <p:nvPr userDrawn="1"/>
        </p:nvSpPr>
        <p:spPr bwMode="auto">
          <a:xfrm>
            <a:off x="6431281" y="2633741"/>
            <a:ext cx="2103120" cy="480060"/>
          </a:xfrm>
          <a:prstGeom prst="roundRect">
            <a:avLst>
              <a:gd name="adj" fmla="val 16667"/>
            </a:avLst>
          </a:prstGeom>
          <a:solidFill>
            <a:srgbClr val="D4E1F7"/>
          </a:solidFill>
          <a:ln w="12700">
            <a:noFill/>
            <a:round/>
            <a:headEnd/>
            <a:tailEnd/>
          </a:ln>
        </p:spPr>
        <p:txBody>
          <a:bodyPr wrap="none" lIns="121901" tIns="60949" rIns="121901" bIns="60949" anchor="ctr"/>
          <a:lstStyle/>
          <a:p>
            <a:pPr defTabSz="1219004">
              <a:buFont typeface="Wingdings" pitchFamily="2" charset="2"/>
              <a:buNone/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2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855243" y="813792"/>
            <a:ext cx="1320673" cy="28575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3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599740" y="1342561"/>
            <a:ext cx="1855694" cy="464974"/>
          </a:xfrm>
        </p:spPr>
        <p:txBody>
          <a:bodyPr>
            <a:normAutofit/>
          </a:bodyPr>
          <a:lstStyle>
            <a:lvl1pPr marL="0" indent="0">
              <a:buNone/>
              <a:defRPr sz="1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4" name="Text Placeholder 14"/>
          <p:cNvSpPr>
            <a:spLocks noGrp="1"/>
          </p:cNvSpPr>
          <p:nvPr>
            <p:ph type="body" sz="quarter" idx="12"/>
          </p:nvPr>
        </p:nvSpPr>
        <p:spPr>
          <a:xfrm>
            <a:off x="599740" y="2029243"/>
            <a:ext cx="1855694" cy="464974"/>
          </a:xfrm>
        </p:spPr>
        <p:txBody>
          <a:bodyPr>
            <a:normAutofit/>
          </a:bodyPr>
          <a:lstStyle>
            <a:lvl1pPr marL="0" indent="0">
              <a:buNone/>
              <a:defRPr sz="1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5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613189" y="2641290"/>
            <a:ext cx="1855694" cy="464974"/>
          </a:xfrm>
        </p:spPr>
        <p:txBody>
          <a:bodyPr>
            <a:normAutofit/>
          </a:bodyPr>
          <a:lstStyle>
            <a:lvl1pPr marL="0" indent="0">
              <a:buNone/>
              <a:defRPr sz="1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6" name="Text Placeholder 14"/>
          <p:cNvSpPr>
            <a:spLocks noGrp="1"/>
          </p:cNvSpPr>
          <p:nvPr>
            <p:ph type="body" sz="quarter" idx="14"/>
          </p:nvPr>
        </p:nvSpPr>
        <p:spPr>
          <a:xfrm>
            <a:off x="6525412" y="1342561"/>
            <a:ext cx="1855694" cy="464974"/>
          </a:xfrm>
        </p:spPr>
        <p:txBody>
          <a:bodyPr>
            <a:normAutofit/>
          </a:bodyPr>
          <a:lstStyle>
            <a:lvl1pPr marL="0" indent="0">
              <a:buNone/>
              <a:defRPr sz="1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7" name="Text Placeholder 14"/>
          <p:cNvSpPr>
            <a:spLocks noGrp="1"/>
          </p:cNvSpPr>
          <p:nvPr>
            <p:ph type="body" sz="quarter" idx="15"/>
          </p:nvPr>
        </p:nvSpPr>
        <p:spPr>
          <a:xfrm>
            <a:off x="6525412" y="2029243"/>
            <a:ext cx="1855694" cy="464974"/>
          </a:xfrm>
        </p:spPr>
        <p:txBody>
          <a:bodyPr>
            <a:normAutofit/>
          </a:bodyPr>
          <a:lstStyle>
            <a:lvl1pPr marL="0" indent="0">
              <a:buNone/>
              <a:defRPr sz="1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8" name="Text Placeholder 14"/>
          <p:cNvSpPr>
            <a:spLocks noGrp="1"/>
          </p:cNvSpPr>
          <p:nvPr>
            <p:ph type="body" sz="quarter" idx="16"/>
          </p:nvPr>
        </p:nvSpPr>
        <p:spPr>
          <a:xfrm>
            <a:off x="6538858" y="2641290"/>
            <a:ext cx="1855694" cy="464974"/>
          </a:xfrm>
        </p:spPr>
        <p:txBody>
          <a:bodyPr>
            <a:normAutofit/>
          </a:bodyPr>
          <a:lstStyle>
            <a:lvl1pPr marL="0" indent="0">
              <a:buNone/>
              <a:defRPr sz="1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2" name="Rectangle 91"/>
          <p:cNvSpPr/>
          <p:nvPr userDrawn="1"/>
        </p:nvSpPr>
        <p:spPr>
          <a:xfrm>
            <a:off x="911225" y="4109105"/>
            <a:ext cx="3733800" cy="548640"/>
          </a:xfrm>
          <a:prstGeom prst="rect">
            <a:avLst/>
          </a:prstGeom>
          <a:noFill/>
          <a:ln w="1270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1" tIns="60949" rIns="121901" bIns="60949"/>
          <a:lstStyle/>
          <a:p>
            <a:pPr algn="ctr" defTabSz="1219004">
              <a:defRPr/>
            </a:pPr>
            <a:r>
              <a:rPr lang="en-US" dirty="0">
                <a:solidFill>
                  <a:prstClr val="black"/>
                </a:solidFill>
              </a:rPr>
              <a:t>Transparency</a:t>
            </a:r>
            <a:endParaRPr lang="en-US" sz="2100" dirty="0">
              <a:solidFill>
                <a:prstClr val="black"/>
              </a:solidFill>
            </a:endParaRPr>
          </a:p>
        </p:txBody>
      </p:sp>
      <p:sp>
        <p:nvSpPr>
          <p:cNvPr id="93" name="Rectangle 92"/>
          <p:cNvSpPr/>
          <p:nvPr userDrawn="1"/>
        </p:nvSpPr>
        <p:spPr>
          <a:xfrm>
            <a:off x="985049" y="4318514"/>
            <a:ext cx="1737360" cy="2763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21901" tIns="60949" rIns="121901" bIns="60949" anchor="ctr"/>
          <a:lstStyle/>
          <a:p>
            <a:pPr algn="ctr" defTabSz="1219004">
              <a:defRPr/>
            </a:pPr>
            <a:r>
              <a:rPr lang="en-US" sz="1600" dirty="0">
                <a:solidFill>
                  <a:prstClr val="white"/>
                </a:solidFill>
              </a:rPr>
              <a:t>Relationship Portal</a:t>
            </a:r>
          </a:p>
        </p:txBody>
      </p:sp>
      <p:sp>
        <p:nvSpPr>
          <p:cNvPr id="94" name="Rectangle 93"/>
          <p:cNvSpPr/>
          <p:nvPr userDrawn="1"/>
        </p:nvSpPr>
        <p:spPr>
          <a:xfrm>
            <a:off x="2831465" y="4318514"/>
            <a:ext cx="1737360" cy="2763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21901" tIns="60949" rIns="121901" bIns="60949" anchor="ctr"/>
          <a:lstStyle/>
          <a:p>
            <a:pPr algn="ctr" defTabSz="1219004">
              <a:defRPr/>
            </a:pPr>
            <a:r>
              <a:rPr lang="en-US" sz="1600" dirty="0">
                <a:solidFill>
                  <a:prstClr val="white"/>
                </a:solidFill>
              </a:rPr>
              <a:t>Reporting and Metrics</a:t>
            </a:r>
          </a:p>
        </p:txBody>
      </p:sp>
      <p:sp>
        <p:nvSpPr>
          <p:cNvPr id="95" name="Rectangle 94"/>
          <p:cNvSpPr/>
          <p:nvPr userDrawn="1"/>
        </p:nvSpPr>
        <p:spPr>
          <a:xfrm>
            <a:off x="4721234" y="4101493"/>
            <a:ext cx="3736975" cy="548640"/>
          </a:xfrm>
          <a:prstGeom prst="rect">
            <a:avLst/>
          </a:prstGeom>
          <a:noFill/>
          <a:ln w="1270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1" tIns="60949" rIns="121901" bIns="60949"/>
          <a:lstStyle/>
          <a:p>
            <a:pPr algn="ctr" defTabSz="1219004">
              <a:defRPr/>
            </a:pPr>
            <a:r>
              <a:rPr lang="en-US" dirty="0">
                <a:solidFill>
                  <a:prstClr val="black"/>
                </a:solidFill>
              </a:rPr>
              <a:t>Tools</a:t>
            </a:r>
            <a:endParaRPr lang="en-US" sz="2100" dirty="0">
              <a:solidFill>
                <a:prstClr val="black"/>
              </a:solidFill>
            </a:endParaRPr>
          </a:p>
        </p:txBody>
      </p:sp>
      <p:sp>
        <p:nvSpPr>
          <p:cNvPr id="96" name="Rectangle 95"/>
          <p:cNvSpPr/>
          <p:nvPr userDrawn="1"/>
        </p:nvSpPr>
        <p:spPr>
          <a:xfrm>
            <a:off x="4794716" y="4310705"/>
            <a:ext cx="1737360" cy="2763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21901" tIns="60949" rIns="121901" bIns="60949" anchor="ctr"/>
          <a:lstStyle/>
          <a:p>
            <a:pPr algn="ctr" defTabSz="1219004">
              <a:defRPr/>
            </a:pPr>
            <a:r>
              <a:rPr lang="en-US" sz="1600" dirty="0">
                <a:solidFill>
                  <a:prstClr val="white"/>
                </a:solidFill>
              </a:rPr>
              <a:t>Ultimatix, IPMS</a:t>
            </a:r>
          </a:p>
        </p:txBody>
      </p:sp>
      <p:sp>
        <p:nvSpPr>
          <p:cNvPr id="97" name="Rectangle 96"/>
          <p:cNvSpPr/>
          <p:nvPr userDrawn="1"/>
        </p:nvSpPr>
        <p:spPr>
          <a:xfrm>
            <a:off x="6604952" y="4310705"/>
            <a:ext cx="1737360" cy="2763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21901" tIns="60949" rIns="121901" bIns="60949" anchor="ctr"/>
          <a:lstStyle/>
          <a:p>
            <a:pPr algn="ctr" defTabSz="1219004">
              <a:defRPr/>
            </a:pPr>
            <a:r>
              <a:rPr lang="en-US" sz="1600" dirty="0">
                <a:solidFill>
                  <a:prstClr val="white"/>
                </a:solidFill>
              </a:rPr>
              <a:t>Q-Portal, D25, RMG Tool</a:t>
            </a:r>
          </a:p>
        </p:txBody>
      </p:sp>
      <p:sp>
        <p:nvSpPr>
          <p:cNvPr id="98" name="Rectangle 97"/>
          <p:cNvSpPr/>
          <p:nvPr userDrawn="1"/>
        </p:nvSpPr>
        <p:spPr>
          <a:xfrm>
            <a:off x="421341" y="1270887"/>
            <a:ext cx="8229600" cy="1920240"/>
          </a:xfrm>
          <a:prstGeom prst="rect">
            <a:avLst/>
          </a:prstGeom>
          <a:noFill/>
          <a:ln w="1270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1" tIns="60949" rIns="121901" bIns="60949"/>
          <a:lstStyle/>
          <a:p>
            <a:pPr algn="ctr" defTabSz="1219004">
              <a:defRPr/>
            </a:pPr>
            <a:endParaRPr lang="en-US" sz="21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13273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count Mod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74"/>
            <a:ext cx="2133600" cy="273844"/>
          </a:xfrm>
          <a:prstGeom prst="rect">
            <a:avLst/>
          </a:prstGeom>
        </p:spPr>
        <p:txBody>
          <a:bodyPr vert="horz" lIns="121901" tIns="60949" rIns="121901" bIns="60949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fld id="{92FB1339-D7F6-4131-9674-1CEA3F017B2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martArt Placeholder 3"/>
          <p:cNvSpPr>
            <a:spLocks noGrp="1"/>
          </p:cNvSpPr>
          <p:nvPr>
            <p:ph type="dgm" sz="quarter" idx="10" hasCustomPrompt="1"/>
          </p:nvPr>
        </p:nvSpPr>
        <p:spPr>
          <a:xfrm>
            <a:off x="609601" y="685800"/>
            <a:ext cx="3352800" cy="68580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en-US" dirty="0" smtClean="0"/>
              <a:t>Use Smart Art for Account Structur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0407248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e Options Deta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74"/>
            <a:ext cx="2133600" cy="273844"/>
          </a:xfrm>
          <a:prstGeom prst="rect">
            <a:avLst/>
          </a:prstGeom>
        </p:spPr>
        <p:txBody>
          <a:bodyPr vert="horz" lIns="121901" tIns="60949" rIns="121901" bIns="60949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fld id="{92FB1339-D7F6-4131-9674-1CEA3F017B2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Table Placeholder 3"/>
          <p:cNvSpPr>
            <a:spLocks noGrp="1"/>
          </p:cNvSpPr>
          <p:nvPr>
            <p:ph type="tbl" sz="quarter" idx="11"/>
          </p:nvPr>
        </p:nvSpPr>
        <p:spPr>
          <a:xfrm>
            <a:off x="838200" y="857250"/>
            <a:ext cx="1752600" cy="685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table</a:t>
            </a:r>
            <a:endParaRPr lang="en-IN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1280160" y="50302"/>
            <a:ext cx="7467600" cy="422672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9572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74"/>
            <a:ext cx="2133600" cy="273844"/>
          </a:xfrm>
          <a:prstGeom prst="rect">
            <a:avLst/>
          </a:prstGeom>
        </p:spPr>
        <p:txBody>
          <a:bodyPr vert="horz" lIns="121901" tIns="60949" rIns="121901" bIns="60949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fld id="{92FB1339-D7F6-4131-9674-1CEA3F017B2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56616" y="683514"/>
            <a:ext cx="8439912" cy="685800"/>
          </a:xfrm>
        </p:spPr>
        <p:txBody>
          <a:bodyPr>
            <a:noAutofit/>
          </a:bodyPr>
          <a:lstStyle>
            <a:lvl1pPr>
              <a:defRPr lang="en-US" sz="2100" b="0" kern="1200" noProof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918486" indent="-918486">
              <a:defRPr lang="en-US" sz="19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</a:lstStyle>
          <a:p>
            <a:pPr marL="457126" marR="0" lvl="0" indent="-457126" algn="l" defTabSz="1219004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4E84C4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en-US" smtClean="0"/>
              <a:t>Click to edit Master text styles</a:t>
            </a:r>
          </a:p>
          <a:p>
            <a:pPr marL="457126" marR="0" lvl="1" indent="-457126" algn="l" defTabSz="1219004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4E84C4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010711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ld 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74"/>
            <a:ext cx="2133600" cy="273844"/>
          </a:xfrm>
          <a:prstGeom prst="rect">
            <a:avLst/>
          </a:prstGeom>
        </p:spPr>
        <p:txBody>
          <a:bodyPr vert="horz" lIns="121901" tIns="60949" rIns="121901" bIns="60949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fld id="{92FB1339-D7F6-4131-9674-1CEA3F017B2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reeform 4"/>
          <p:cNvSpPr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2590810" y="4233874"/>
            <a:ext cx="33337" cy="42863"/>
          </a:xfrm>
          <a:custGeom>
            <a:avLst/>
            <a:gdLst>
              <a:gd name="T0" fmla="*/ 0 w 73"/>
              <a:gd name="T1" fmla="*/ 0 h 20"/>
              <a:gd name="T2" fmla="*/ 208699 w 73"/>
              <a:gd name="T3" fmla="*/ 40827956 h 20"/>
              <a:gd name="T4" fmla="*/ 834338 w 73"/>
              <a:gd name="T5" fmla="*/ 81653054 h 20"/>
              <a:gd name="T6" fmla="*/ 1668220 w 73"/>
              <a:gd name="T7" fmla="*/ 114314289 h 20"/>
              <a:gd name="T8" fmla="*/ 2711257 w 73"/>
              <a:gd name="T9" fmla="*/ 163306107 h 20"/>
              <a:gd name="T10" fmla="*/ 3336896 w 73"/>
              <a:gd name="T11" fmla="*/ 138811627 h 20"/>
              <a:gd name="T12" fmla="*/ 3962536 w 73"/>
              <a:gd name="T13" fmla="*/ 106147557 h 20"/>
              <a:gd name="T14" fmla="*/ 4796418 w 73"/>
              <a:gd name="T15" fmla="*/ 89816928 h 20"/>
              <a:gd name="T16" fmla="*/ 5630756 w 73"/>
              <a:gd name="T17" fmla="*/ 81653054 h 20"/>
              <a:gd name="T18" fmla="*/ 7507675 w 73"/>
              <a:gd name="T19" fmla="*/ 65322447 h 20"/>
              <a:gd name="T20" fmla="*/ 9593292 w 73"/>
              <a:gd name="T21" fmla="*/ 57155716 h 20"/>
              <a:gd name="T22" fmla="*/ 11261511 w 73"/>
              <a:gd name="T23" fmla="*/ 57155716 h 20"/>
              <a:gd name="T24" fmla="*/ 13138429 w 73"/>
              <a:gd name="T25" fmla="*/ 48991841 h 20"/>
              <a:gd name="T26" fmla="*/ 13764069 w 73"/>
              <a:gd name="T27" fmla="*/ 40827956 h 20"/>
              <a:gd name="T28" fmla="*/ 14389708 w 73"/>
              <a:gd name="T29" fmla="*/ 32661224 h 20"/>
              <a:gd name="T30" fmla="*/ 14807105 w 73"/>
              <a:gd name="T31" fmla="*/ 16330612 h 20"/>
              <a:gd name="T32" fmla="*/ 15224050 w 73"/>
              <a:gd name="T33" fmla="*/ 0 h 20"/>
              <a:gd name="T34" fmla="*/ 0 w 73"/>
              <a:gd name="T35" fmla="*/ 0 h 20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73"/>
              <a:gd name="T55" fmla="*/ 0 h 20"/>
              <a:gd name="T56" fmla="*/ 73 w 73"/>
              <a:gd name="T57" fmla="*/ 20 h 20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73" h="20">
                <a:moveTo>
                  <a:pt x="0" y="0"/>
                </a:moveTo>
                <a:lnTo>
                  <a:pt x="1" y="5"/>
                </a:lnTo>
                <a:lnTo>
                  <a:pt x="4" y="10"/>
                </a:lnTo>
                <a:lnTo>
                  <a:pt x="8" y="14"/>
                </a:lnTo>
                <a:lnTo>
                  <a:pt x="13" y="20"/>
                </a:lnTo>
                <a:lnTo>
                  <a:pt x="16" y="17"/>
                </a:lnTo>
                <a:lnTo>
                  <a:pt x="19" y="13"/>
                </a:lnTo>
                <a:lnTo>
                  <a:pt x="23" y="11"/>
                </a:lnTo>
                <a:lnTo>
                  <a:pt x="27" y="10"/>
                </a:lnTo>
                <a:lnTo>
                  <a:pt x="36" y="8"/>
                </a:lnTo>
                <a:lnTo>
                  <a:pt x="46" y="7"/>
                </a:lnTo>
                <a:lnTo>
                  <a:pt x="54" y="7"/>
                </a:lnTo>
                <a:lnTo>
                  <a:pt x="63" y="6"/>
                </a:lnTo>
                <a:lnTo>
                  <a:pt x="66" y="5"/>
                </a:lnTo>
                <a:lnTo>
                  <a:pt x="69" y="4"/>
                </a:lnTo>
                <a:lnTo>
                  <a:pt x="71" y="2"/>
                </a:lnTo>
                <a:lnTo>
                  <a:pt x="73" y="0"/>
                </a:lnTo>
                <a:lnTo>
                  <a:pt x="0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7" name="Freeform 5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749310" y="1309687"/>
            <a:ext cx="784225" cy="334566"/>
          </a:xfrm>
          <a:custGeom>
            <a:avLst/>
            <a:gdLst>
              <a:gd name="T0" fmla="*/ 262457330 w 1808"/>
              <a:gd name="T1" fmla="*/ 222267809 h 850"/>
              <a:gd name="T2" fmla="*/ 262269081 w 1808"/>
              <a:gd name="T3" fmla="*/ 207395239 h 850"/>
              <a:gd name="T4" fmla="*/ 258318462 w 1808"/>
              <a:gd name="T5" fmla="*/ 178475625 h 850"/>
              <a:gd name="T6" fmla="*/ 248911234 w 1808"/>
              <a:gd name="T7" fmla="*/ 176547475 h 850"/>
              <a:gd name="T8" fmla="*/ 237811070 w 1808"/>
              <a:gd name="T9" fmla="*/ 175996426 h 850"/>
              <a:gd name="T10" fmla="*/ 213352572 w 1808"/>
              <a:gd name="T11" fmla="*/ 160297281 h 850"/>
              <a:gd name="T12" fmla="*/ 183061456 w 1808"/>
              <a:gd name="T13" fmla="*/ 147903386 h 850"/>
              <a:gd name="T14" fmla="*/ 177417466 w 1808"/>
              <a:gd name="T15" fmla="*/ 138814214 h 850"/>
              <a:gd name="T16" fmla="*/ 169515360 w 1808"/>
              <a:gd name="T17" fmla="*/ 142119463 h 850"/>
              <a:gd name="T18" fmla="*/ 159732069 w 1808"/>
              <a:gd name="T19" fmla="*/ 156992033 h 850"/>
              <a:gd name="T20" fmla="*/ 126995456 w 1808"/>
              <a:gd name="T21" fmla="*/ 170488028 h 850"/>
              <a:gd name="T22" fmla="*/ 127559768 w 1808"/>
              <a:gd name="T23" fmla="*/ 159195707 h 850"/>
              <a:gd name="T24" fmla="*/ 135650122 w 1808"/>
              <a:gd name="T25" fmla="*/ 150933110 h 850"/>
              <a:gd name="T26" fmla="*/ 147879345 w 1808"/>
              <a:gd name="T27" fmla="*/ 150106535 h 850"/>
              <a:gd name="T28" fmla="*/ 136214435 w 1808"/>
              <a:gd name="T29" fmla="*/ 145424187 h 850"/>
              <a:gd name="T30" fmla="*/ 108745720 w 1808"/>
              <a:gd name="T31" fmla="*/ 162225431 h 850"/>
              <a:gd name="T32" fmla="*/ 102913482 w 1808"/>
              <a:gd name="T33" fmla="*/ 172140652 h 850"/>
              <a:gd name="T34" fmla="*/ 98962429 w 1808"/>
              <a:gd name="T35" fmla="*/ 179026150 h 850"/>
              <a:gd name="T36" fmla="*/ 85039836 w 1808"/>
              <a:gd name="T37" fmla="*/ 180127724 h 850"/>
              <a:gd name="T38" fmla="*/ 72058053 w 1808"/>
              <a:gd name="T39" fmla="*/ 193348194 h 850"/>
              <a:gd name="T40" fmla="*/ 47411781 w 1808"/>
              <a:gd name="T41" fmla="*/ 206568664 h 850"/>
              <a:gd name="T42" fmla="*/ 19754837 w 1808"/>
              <a:gd name="T43" fmla="*/ 222267809 h 850"/>
              <a:gd name="T44" fmla="*/ 752561 w 1808"/>
              <a:gd name="T45" fmla="*/ 223920433 h 850"/>
              <a:gd name="T46" fmla="*/ 2634181 w 1808"/>
              <a:gd name="T47" fmla="*/ 217310460 h 850"/>
              <a:gd name="T48" fmla="*/ 23894139 w 1808"/>
              <a:gd name="T49" fmla="*/ 209598388 h 850"/>
              <a:gd name="T50" fmla="*/ 49857712 w 1808"/>
              <a:gd name="T51" fmla="*/ 191695570 h 850"/>
              <a:gd name="T52" fmla="*/ 56442511 w 1808"/>
              <a:gd name="T53" fmla="*/ 172416177 h 850"/>
              <a:gd name="T54" fmla="*/ 47599595 w 1808"/>
              <a:gd name="T55" fmla="*/ 180954299 h 850"/>
              <a:gd name="T56" fmla="*/ 28221255 w 1808"/>
              <a:gd name="T57" fmla="*/ 177098000 h 850"/>
              <a:gd name="T58" fmla="*/ 32360130 w 1808"/>
              <a:gd name="T59" fmla="*/ 168009354 h 850"/>
              <a:gd name="T60" fmla="*/ 45154098 w 1808"/>
              <a:gd name="T61" fmla="*/ 150657585 h 850"/>
              <a:gd name="T62" fmla="*/ 28597326 w 1808"/>
              <a:gd name="T63" fmla="*/ 158369132 h 850"/>
              <a:gd name="T64" fmla="*/ 26904382 w 1808"/>
              <a:gd name="T65" fmla="*/ 147627861 h 850"/>
              <a:gd name="T66" fmla="*/ 65096757 w 1808"/>
              <a:gd name="T67" fmla="*/ 104661694 h 850"/>
              <a:gd name="T68" fmla="*/ 83534715 w 1808"/>
              <a:gd name="T69" fmla="*/ 105212219 h 850"/>
              <a:gd name="T70" fmla="*/ 107052349 w 1808"/>
              <a:gd name="T71" fmla="*/ 96123047 h 850"/>
              <a:gd name="T72" fmla="*/ 111379900 w 1808"/>
              <a:gd name="T73" fmla="*/ 84280202 h 850"/>
              <a:gd name="T74" fmla="*/ 95199625 w 1808"/>
              <a:gd name="T75" fmla="*/ 91165699 h 850"/>
              <a:gd name="T76" fmla="*/ 82406090 w 1808"/>
              <a:gd name="T77" fmla="*/ 87584926 h 850"/>
              <a:gd name="T78" fmla="*/ 88802641 w 1808"/>
              <a:gd name="T79" fmla="*/ 79046804 h 850"/>
              <a:gd name="T80" fmla="*/ 133768503 w 1808"/>
              <a:gd name="T81" fmla="*/ 65551317 h 850"/>
              <a:gd name="T82" fmla="*/ 140918048 w 1808"/>
              <a:gd name="T83" fmla="*/ 57839245 h 850"/>
              <a:gd name="T84" fmla="*/ 128688826 w 1808"/>
              <a:gd name="T85" fmla="*/ 48474549 h 850"/>
              <a:gd name="T86" fmla="*/ 139036429 w 1808"/>
              <a:gd name="T87" fmla="*/ 30021197 h 850"/>
              <a:gd name="T88" fmla="*/ 185883884 w 1808"/>
              <a:gd name="T89" fmla="*/ 7436549 h 850"/>
              <a:gd name="T90" fmla="*/ 217679688 w 1808"/>
              <a:gd name="T91" fmla="*/ 2478675 h 850"/>
              <a:gd name="T92" fmla="*/ 240256568 w 1808"/>
              <a:gd name="T93" fmla="*/ 551050 h 850"/>
              <a:gd name="T94" fmla="*/ 254743473 w 1808"/>
              <a:gd name="T95" fmla="*/ 2754200 h 850"/>
              <a:gd name="T96" fmla="*/ 285222404 w 1808"/>
              <a:gd name="T97" fmla="*/ 9364701 h 850"/>
              <a:gd name="T98" fmla="*/ 331317298 w 1808"/>
              <a:gd name="T99" fmla="*/ 11292325 h 850"/>
              <a:gd name="T100" fmla="*/ 242138187 w 1808"/>
              <a:gd name="T101" fmla="*/ 148729436 h 850"/>
              <a:gd name="T102" fmla="*/ 248534737 w 1808"/>
              <a:gd name="T103" fmla="*/ 157267558 h 850"/>
              <a:gd name="T104" fmla="*/ 249663795 w 1808"/>
              <a:gd name="T105" fmla="*/ 165530155 h 850"/>
              <a:gd name="T106" fmla="*/ 260011398 w 1808"/>
              <a:gd name="T107" fmla="*/ 164979630 h 850"/>
              <a:gd name="T108" fmla="*/ 268854314 w 1808"/>
              <a:gd name="T109" fmla="*/ 158920182 h 850"/>
              <a:gd name="T110" fmla="*/ 277508547 w 1808"/>
              <a:gd name="T111" fmla="*/ 183708498 h 850"/>
              <a:gd name="T112" fmla="*/ 275063049 w 1808"/>
              <a:gd name="T113" fmla="*/ 194449769 h 850"/>
              <a:gd name="T114" fmla="*/ 272617118 w 1808"/>
              <a:gd name="T115" fmla="*/ 204365515 h 850"/>
              <a:gd name="T116" fmla="*/ 277885044 w 1808"/>
              <a:gd name="T117" fmla="*/ 215657836 h 850"/>
              <a:gd name="T118" fmla="*/ 277885044 w 1808"/>
              <a:gd name="T119" fmla="*/ 223369383 h 850"/>
              <a:gd name="T120" fmla="*/ 268289568 w 1808"/>
              <a:gd name="T121" fmla="*/ 233560130 h 85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1808"/>
              <a:gd name="T184" fmla="*/ 0 h 850"/>
              <a:gd name="T185" fmla="*/ 1808 w 1808"/>
              <a:gd name="T186" fmla="*/ 850 h 850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1808" h="850">
                <a:moveTo>
                  <a:pt x="1410" y="842"/>
                </a:moveTo>
                <a:lnTo>
                  <a:pt x="1405" y="841"/>
                </a:lnTo>
                <a:lnTo>
                  <a:pt x="1403" y="838"/>
                </a:lnTo>
                <a:lnTo>
                  <a:pt x="1401" y="834"/>
                </a:lnTo>
                <a:lnTo>
                  <a:pt x="1399" y="830"/>
                </a:lnTo>
                <a:lnTo>
                  <a:pt x="1396" y="819"/>
                </a:lnTo>
                <a:lnTo>
                  <a:pt x="1395" y="807"/>
                </a:lnTo>
                <a:lnTo>
                  <a:pt x="1396" y="795"/>
                </a:lnTo>
                <a:lnTo>
                  <a:pt x="1398" y="784"/>
                </a:lnTo>
                <a:lnTo>
                  <a:pt x="1400" y="775"/>
                </a:lnTo>
                <a:lnTo>
                  <a:pt x="1402" y="769"/>
                </a:lnTo>
                <a:lnTo>
                  <a:pt x="1399" y="764"/>
                </a:lnTo>
                <a:lnTo>
                  <a:pt x="1396" y="760"/>
                </a:lnTo>
                <a:lnTo>
                  <a:pt x="1394" y="753"/>
                </a:lnTo>
                <a:lnTo>
                  <a:pt x="1392" y="746"/>
                </a:lnTo>
                <a:lnTo>
                  <a:pt x="1390" y="729"/>
                </a:lnTo>
                <a:lnTo>
                  <a:pt x="1389" y="708"/>
                </a:lnTo>
                <a:lnTo>
                  <a:pt x="1389" y="670"/>
                </a:lnTo>
                <a:lnTo>
                  <a:pt x="1389" y="645"/>
                </a:lnTo>
                <a:lnTo>
                  <a:pt x="1382" y="647"/>
                </a:lnTo>
                <a:lnTo>
                  <a:pt x="1373" y="648"/>
                </a:lnTo>
                <a:lnTo>
                  <a:pt x="1362" y="648"/>
                </a:lnTo>
                <a:lnTo>
                  <a:pt x="1351" y="648"/>
                </a:lnTo>
                <a:lnTo>
                  <a:pt x="1340" y="647"/>
                </a:lnTo>
                <a:lnTo>
                  <a:pt x="1332" y="645"/>
                </a:lnTo>
                <a:lnTo>
                  <a:pt x="1327" y="644"/>
                </a:lnTo>
                <a:lnTo>
                  <a:pt x="1325" y="642"/>
                </a:lnTo>
                <a:lnTo>
                  <a:pt x="1323" y="641"/>
                </a:lnTo>
                <a:lnTo>
                  <a:pt x="1323" y="638"/>
                </a:lnTo>
                <a:lnTo>
                  <a:pt x="1290" y="682"/>
                </a:lnTo>
                <a:lnTo>
                  <a:pt x="1284" y="668"/>
                </a:lnTo>
                <a:lnTo>
                  <a:pt x="1279" y="659"/>
                </a:lnTo>
                <a:lnTo>
                  <a:pt x="1273" y="650"/>
                </a:lnTo>
                <a:lnTo>
                  <a:pt x="1268" y="645"/>
                </a:lnTo>
                <a:lnTo>
                  <a:pt x="1264" y="639"/>
                </a:lnTo>
                <a:lnTo>
                  <a:pt x="1259" y="631"/>
                </a:lnTo>
                <a:lnTo>
                  <a:pt x="1257" y="622"/>
                </a:lnTo>
                <a:lnTo>
                  <a:pt x="1256" y="608"/>
                </a:lnTo>
                <a:lnTo>
                  <a:pt x="1226" y="602"/>
                </a:lnTo>
                <a:lnTo>
                  <a:pt x="1195" y="595"/>
                </a:lnTo>
                <a:lnTo>
                  <a:pt x="1165" y="588"/>
                </a:lnTo>
                <a:lnTo>
                  <a:pt x="1134" y="582"/>
                </a:lnTo>
                <a:lnTo>
                  <a:pt x="1104" y="576"/>
                </a:lnTo>
                <a:lnTo>
                  <a:pt x="1074" y="569"/>
                </a:lnTo>
                <a:lnTo>
                  <a:pt x="1045" y="561"/>
                </a:lnTo>
                <a:lnTo>
                  <a:pt x="1018" y="553"/>
                </a:lnTo>
                <a:lnTo>
                  <a:pt x="984" y="553"/>
                </a:lnTo>
                <a:lnTo>
                  <a:pt x="977" y="546"/>
                </a:lnTo>
                <a:lnTo>
                  <a:pt x="973" y="537"/>
                </a:lnTo>
                <a:lnTo>
                  <a:pt x="969" y="528"/>
                </a:lnTo>
                <a:lnTo>
                  <a:pt x="966" y="521"/>
                </a:lnTo>
                <a:lnTo>
                  <a:pt x="962" y="514"/>
                </a:lnTo>
                <a:lnTo>
                  <a:pt x="956" y="508"/>
                </a:lnTo>
                <a:lnTo>
                  <a:pt x="952" y="506"/>
                </a:lnTo>
                <a:lnTo>
                  <a:pt x="948" y="505"/>
                </a:lnTo>
                <a:lnTo>
                  <a:pt x="943" y="504"/>
                </a:lnTo>
                <a:lnTo>
                  <a:pt x="937" y="503"/>
                </a:lnTo>
                <a:lnTo>
                  <a:pt x="929" y="504"/>
                </a:lnTo>
                <a:lnTo>
                  <a:pt x="922" y="505"/>
                </a:lnTo>
                <a:lnTo>
                  <a:pt x="916" y="507"/>
                </a:lnTo>
                <a:lnTo>
                  <a:pt x="910" y="509"/>
                </a:lnTo>
                <a:lnTo>
                  <a:pt x="906" y="512"/>
                </a:lnTo>
                <a:lnTo>
                  <a:pt x="901" y="516"/>
                </a:lnTo>
                <a:lnTo>
                  <a:pt x="898" y="519"/>
                </a:lnTo>
                <a:lnTo>
                  <a:pt x="895" y="523"/>
                </a:lnTo>
                <a:lnTo>
                  <a:pt x="886" y="539"/>
                </a:lnTo>
                <a:lnTo>
                  <a:pt x="877" y="553"/>
                </a:lnTo>
                <a:lnTo>
                  <a:pt x="870" y="559"/>
                </a:lnTo>
                <a:lnTo>
                  <a:pt x="861" y="564"/>
                </a:lnTo>
                <a:lnTo>
                  <a:pt x="849" y="570"/>
                </a:lnTo>
                <a:lnTo>
                  <a:pt x="835" y="576"/>
                </a:lnTo>
                <a:lnTo>
                  <a:pt x="806" y="587"/>
                </a:lnTo>
                <a:lnTo>
                  <a:pt x="772" y="597"/>
                </a:lnTo>
                <a:lnTo>
                  <a:pt x="738" y="607"/>
                </a:lnTo>
                <a:lnTo>
                  <a:pt x="705" y="614"/>
                </a:lnTo>
                <a:lnTo>
                  <a:pt x="689" y="617"/>
                </a:lnTo>
                <a:lnTo>
                  <a:pt x="675" y="619"/>
                </a:lnTo>
                <a:lnTo>
                  <a:pt x="663" y="620"/>
                </a:lnTo>
                <a:lnTo>
                  <a:pt x="652" y="620"/>
                </a:lnTo>
                <a:lnTo>
                  <a:pt x="656" y="614"/>
                </a:lnTo>
                <a:lnTo>
                  <a:pt x="667" y="597"/>
                </a:lnTo>
                <a:lnTo>
                  <a:pt x="673" y="589"/>
                </a:lnTo>
                <a:lnTo>
                  <a:pt x="677" y="581"/>
                </a:lnTo>
                <a:lnTo>
                  <a:pt x="678" y="578"/>
                </a:lnTo>
                <a:lnTo>
                  <a:pt x="679" y="575"/>
                </a:lnTo>
                <a:lnTo>
                  <a:pt x="679" y="572"/>
                </a:lnTo>
                <a:lnTo>
                  <a:pt x="678" y="571"/>
                </a:lnTo>
                <a:lnTo>
                  <a:pt x="689" y="562"/>
                </a:lnTo>
                <a:lnTo>
                  <a:pt x="700" y="555"/>
                </a:lnTo>
                <a:lnTo>
                  <a:pt x="711" y="551"/>
                </a:lnTo>
                <a:lnTo>
                  <a:pt x="721" y="548"/>
                </a:lnTo>
                <a:lnTo>
                  <a:pt x="732" y="546"/>
                </a:lnTo>
                <a:lnTo>
                  <a:pt x="742" y="546"/>
                </a:lnTo>
                <a:lnTo>
                  <a:pt x="751" y="546"/>
                </a:lnTo>
                <a:lnTo>
                  <a:pt x="761" y="546"/>
                </a:lnTo>
                <a:lnTo>
                  <a:pt x="769" y="546"/>
                </a:lnTo>
                <a:lnTo>
                  <a:pt x="778" y="546"/>
                </a:lnTo>
                <a:lnTo>
                  <a:pt x="786" y="545"/>
                </a:lnTo>
                <a:lnTo>
                  <a:pt x="794" y="543"/>
                </a:lnTo>
                <a:lnTo>
                  <a:pt x="800" y="538"/>
                </a:lnTo>
                <a:lnTo>
                  <a:pt x="807" y="533"/>
                </a:lnTo>
                <a:lnTo>
                  <a:pt x="812" y="525"/>
                </a:lnTo>
                <a:lnTo>
                  <a:pt x="818" y="515"/>
                </a:lnTo>
                <a:lnTo>
                  <a:pt x="744" y="515"/>
                </a:lnTo>
                <a:lnTo>
                  <a:pt x="724" y="528"/>
                </a:lnTo>
                <a:lnTo>
                  <a:pt x="705" y="540"/>
                </a:lnTo>
                <a:lnTo>
                  <a:pt x="685" y="551"/>
                </a:lnTo>
                <a:lnTo>
                  <a:pt x="664" y="560"/>
                </a:lnTo>
                <a:lnTo>
                  <a:pt x="643" y="568"/>
                </a:lnTo>
                <a:lnTo>
                  <a:pt x="622" y="575"/>
                </a:lnTo>
                <a:lnTo>
                  <a:pt x="600" y="582"/>
                </a:lnTo>
                <a:lnTo>
                  <a:pt x="578" y="589"/>
                </a:lnTo>
                <a:lnTo>
                  <a:pt x="573" y="592"/>
                </a:lnTo>
                <a:lnTo>
                  <a:pt x="567" y="594"/>
                </a:lnTo>
                <a:lnTo>
                  <a:pt x="564" y="599"/>
                </a:lnTo>
                <a:lnTo>
                  <a:pt x="560" y="602"/>
                </a:lnTo>
                <a:lnTo>
                  <a:pt x="554" y="609"/>
                </a:lnTo>
                <a:lnTo>
                  <a:pt x="550" y="617"/>
                </a:lnTo>
                <a:lnTo>
                  <a:pt x="547" y="625"/>
                </a:lnTo>
                <a:lnTo>
                  <a:pt x="543" y="633"/>
                </a:lnTo>
                <a:lnTo>
                  <a:pt x="541" y="636"/>
                </a:lnTo>
                <a:lnTo>
                  <a:pt x="539" y="639"/>
                </a:lnTo>
                <a:lnTo>
                  <a:pt x="536" y="642"/>
                </a:lnTo>
                <a:lnTo>
                  <a:pt x="532" y="645"/>
                </a:lnTo>
                <a:lnTo>
                  <a:pt x="529" y="648"/>
                </a:lnTo>
                <a:lnTo>
                  <a:pt x="526" y="650"/>
                </a:lnTo>
                <a:lnTo>
                  <a:pt x="521" y="652"/>
                </a:lnTo>
                <a:lnTo>
                  <a:pt x="517" y="654"/>
                </a:lnTo>
                <a:lnTo>
                  <a:pt x="507" y="655"/>
                </a:lnTo>
                <a:lnTo>
                  <a:pt x="496" y="655"/>
                </a:lnTo>
                <a:lnTo>
                  <a:pt x="474" y="652"/>
                </a:lnTo>
                <a:lnTo>
                  <a:pt x="459" y="651"/>
                </a:lnTo>
                <a:lnTo>
                  <a:pt x="452" y="654"/>
                </a:lnTo>
                <a:lnTo>
                  <a:pt x="444" y="657"/>
                </a:lnTo>
                <a:lnTo>
                  <a:pt x="438" y="661"/>
                </a:lnTo>
                <a:lnTo>
                  <a:pt x="430" y="665"/>
                </a:lnTo>
                <a:lnTo>
                  <a:pt x="417" y="674"/>
                </a:lnTo>
                <a:lnTo>
                  <a:pt x="405" y="684"/>
                </a:lnTo>
                <a:lnTo>
                  <a:pt x="394" y="694"/>
                </a:lnTo>
                <a:lnTo>
                  <a:pt x="383" y="702"/>
                </a:lnTo>
                <a:lnTo>
                  <a:pt x="374" y="708"/>
                </a:lnTo>
                <a:lnTo>
                  <a:pt x="367" y="713"/>
                </a:lnTo>
                <a:lnTo>
                  <a:pt x="335" y="722"/>
                </a:lnTo>
                <a:lnTo>
                  <a:pt x="309" y="729"/>
                </a:lnTo>
                <a:lnTo>
                  <a:pt x="287" y="737"/>
                </a:lnTo>
                <a:lnTo>
                  <a:pt x="270" y="743"/>
                </a:lnTo>
                <a:lnTo>
                  <a:pt x="252" y="750"/>
                </a:lnTo>
                <a:lnTo>
                  <a:pt x="235" y="757"/>
                </a:lnTo>
                <a:lnTo>
                  <a:pt x="216" y="766"/>
                </a:lnTo>
                <a:lnTo>
                  <a:pt x="193" y="775"/>
                </a:lnTo>
                <a:lnTo>
                  <a:pt x="168" y="786"/>
                </a:lnTo>
                <a:lnTo>
                  <a:pt x="145" y="795"/>
                </a:lnTo>
                <a:lnTo>
                  <a:pt x="124" y="802"/>
                </a:lnTo>
                <a:lnTo>
                  <a:pt x="105" y="807"/>
                </a:lnTo>
                <a:lnTo>
                  <a:pt x="87" y="812"/>
                </a:lnTo>
                <a:lnTo>
                  <a:pt x="68" y="818"/>
                </a:lnTo>
                <a:lnTo>
                  <a:pt x="48" y="826"/>
                </a:lnTo>
                <a:lnTo>
                  <a:pt x="27" y="836"/>
                </a:lnTo>
                <a:lnTo>
                  <a:pt x="1" y="824"/>
                </a:lnTo>
                <a:lnTo>
                  <a:pt x="4" y="817"/>
                </a:lnTo>
                <a:lnTo>
                  <a:pt x="4" y="813"/>
                </a:lnTo>
                <a:lnTo>
                  <a:pt x="3" y="810"/>
                </a:lnTo>
                <a:lnTo>
                  <a:pt x="2" y="808"/>
                </a:lnTo>
                <a:lnTo>
                  <a:pt x="0" y="806"/>
                </a:lnTo>
                <a:lnTo>
                  <a:pt x="0" y="803"/>
                </a:lnTo>
                <a:lnTo>
                  <a:pt x="2" y="799"/>
                </a:lnTo>
                <a:lnTo>
                  <a:pt x="7" y="793"/>
                </a:lnTo>
                <a:lnTo>
                  <a:pt x="14" y="789"/>
                </a:lnTo>
                <a:lnTo>
                  <a:pt x="21" y="785"/>
                </a:lnTo>
                <a:lnTo>
                  <a:pt x="28" y="782"/>
                </a:lnTo>
                <a:lnTo>
                  <a:pt x="36" y="779"/>
                </a:lnTo>
                <a:lnTo>
                  <a:pt x="52" y="774"/>
                </a:lnTo>
                <a:lnTo>
                  <a:pt x="70" y="771"/>
                </a:lnTo>
                <a:lnTo>
                  <a:pt x="102" y="766"/>
                </a:lnTo>
                <a:lnTo>
                  <a:pt x="127" y="761"/>
                </a:lnTo>
                <a:lnTo>
                  <a:pt x="143" y="757"/>
                </a:lnTo>
                <a:lnTo>
                  <a:pt x="158" y="751"/>
                </a:lnTo>
                <a:lnTo>
                  <a:pt x="173" y="746"/>
                </a:lnTo>
                <a:lnTo>
                  <a:pt x="188" y="739"/>
                </a:lnTo>
                <a:lnTo>
                  <a:pt x="215" y="726"/>
                </a:lnTo>
                <a:lnTo>
                  <a:pt x="240" y="712"/>
                </a:lnTo>
                <a:lnTo>
                  <a:pt x="265" y="696"/>
                </a:lnTo>
                <a:lnTo>
                  <a:pt x="291" y="681"/>
                </a:lnTo>
                <a:lnTo>
                  <a:pt x="315" y="666"/>
                </a:lnTo>
                <a:lnTo>
                  <a:pt x="339" y="651"/>
                </a:lnTo>
                <a:lnTo>
                  <a:pt x="327" y="643"/>
                </a:lnTo>
                <a:lnTo>
                  <a:pt x="317" y="636"/>
                </a:lnTo>
                <a:lnTo>
                  <a:pt x="308" y="631"/>
                </a:lnTo>
                <a:lnTo>
                  <a:pt x="300" y="626"/>
                </a:lnTo>
                <a:lnTo>
                  <a:pt x="292" y="629"/>
                </a:lnTo>
                <a:lnTo>
                  <a:pt x="285" y="634"/>
                </a:lnTo>
                <a:lnTo>
                  <a:pt x="280" y="639"/>
                </a:lnTo>
                <a:lnTo>
                  <a:pt x="273" y="644"/>
                </a:lnTo>
                <a:lnTo>
                  <a:pt x="267" y="649"/>
                </a:lnTo>
                <a:lnTo>
                  <a:pt x="260" y="654"/>
                </a:lnTo>
                <a:lnTo>
                  <a:pt x="253" y="657"/>
                </a:lnTo>
                <a:lnTo>
                  <a:pt x="247" y="658"/>
                </a:lnTo>
                <a:lnTo>
                  <a:pt x="225" y="657"/>
                </a:lnTo>
                <a:lnTo>
                  <a:pt x="192" y="652"/>
                </a:lnTo>
                <a:lnTo>
                  <a:pt x="174" y="650"/>
                </a:lnTo>
                <a:lnTo>
                  <a:pt x="160" y="646"/>
                </a:lnTo>
                <a:lnTo>
                  <a:pt x="155" y="645"/>
                </a:lnTo>
                <a:lnTo>
                  <a:pt x="150" y="643"/>
                </a:lnTo>
                <a:lnTo>
                  <a:pt x="148" y="641"/>
                </a:lnTo>
                <a:lnTo>
                  <a:pt x="147" y="638"/>
                </a:lnTo>
                <a:lnTo>
                  <a:pt x="148" y="635"/>
                </a:lnTo>
                <a:lnTo>
                  <a:pt x="150" y="631"/>
                </a:lnTo>
                <a:lnTo>
                  <a:pt x="155" y="626"/>
                </a:lnTo>
                <a:lnTo>
                  <a:pt x="159" y="621"/>
                </a:lnTo>
                <a:lnTo>
                  <a:pt x="172" y="610"/>
                </a:lnTo>
                <a:lnTo>
                  <a:pt x="189" y="597"/>
                </a:lnTo>
                <a:lnTo>
                  <a:pt x="204" y="584"/>
                </a:lnTo>
                <a:lnTo>
                  <a:pt x="219" y="571"/>
                </a:lnTo>
                <a:lnTo>
                  <a:pt x="226" y="565"/>
                </a:lnTo>
                <a:lnTo>
                  <a:pt x="231" y="559"/>
                </a:lnTo>
                <a:lnTo>
                  <a:pt x="237" y="553"/>
                </a:lnTo>
                <a:lnTo>
                  <a:pt x="240" y="547"/>
                </a:lnTo>
                <a:lnTo>
                  <a:pt x="223" y="550"/>
                </a:lnTo>
                <a:lnTo>
                  <a:pt x="207" y="556"/>
                </a:lnTo>
                <a:lnTo>
                  <a:pt x="191" y="562"/>
                </a:lnTo>
                <a:lnTo>
                  <a:pt x="175" y="568"/>
                </a:lnTo>
                <a:lnTo>
                  <a:pt x="168" y="571"/>
                </a:lnTo>
                <a:lnTo>
                  <a:pt x="160" y="573"/>
                </a:lnTo>
                <a:lnTo>
                  <a:pt x="152" y="575"/>
                </a:lnTo>
                <a:lnTo>
                  <a:pt x="144" y="576"/>
                </a:lnTo>
                <a:lnTo>
                  <a:pt x="135" y="576"/>
                </a:lnTo>
                <a:lnTo>
                  <a:pt x="126" y="575"/>
                </a:lnTo>
                <a:lnTo>
                  <a:pt x="116" y="574"/>
                </a:lnTo>
                <a:lnTo>
                  <a:pt x="107" y="571"/>
                </a:lnTo>
                <a:lnTo>
                  <a:pt x="107" y="565"/>
                </a:lnTo>
                <a:lnTo>
                  <a:pt x="143" y="536"/>
                </a:lnTo>
                <a:lnTo>
                  <a:pt x="182" y="508"/>
                </a:lnTo>
                <a:lnTo>
                  <a:pt x="223" y="476"/>
                </a:lnTo>
                <a:lnTo>
                  <a:pt x="267" y="442"/>
                </a:lnTo>
                <a:lnTo>
                  <a:pt x="286" y="426"/>
                </a:lnTo>
                <a:lnTo>
                  <a:pt x="306" y="411"/>
                </a:lnTo>
                <a:lnTo>
                  <a:pt x="326" y="395"/>
                </a:lnTo>
                <a:lnTo>
                  <a:pt x="346" y="380"/>
                </a:lnTo>
                <a:lnTo>
                  <a:pt x="386" y="411"/>
                </a:lnTo>
                <a:lnTo>
                  <a:pt x="393" y="405"/>
                </a:lnTo>
                <a:lnTo>
                  <a:pt x="399" y="400"/>
                </a:lnTo>
                <a:lnTo>
                  <a:pt x="406" y="396"/>
                </a:lnTo>
                <a:lnTo>
                  <a:pt x="414" y="393"/>
                </a:lnTo>
                <a:lnTo>
                  <a:pt x="428" y="386"/>
                </a:lnTo>
                <a:lnTo>
                  <a:pt x="444" y="382"/>
                </a:lnTo>
                <a:lnTo>
                  <a:pt x="476" y="374"/>
                </a:lnTo>
                <a:lnTo>
                  <a:pt x="509" y="370"/>
                </a:lnTo>
                <a:lnTo>
                  <a:pt x="524" y="367"/>
                </a:lnTo>
                <a:lnTo>
                  <a:pt x="539" y="363"/>
                </a:lnTo>
                <a:lnTo>
                  <a:pt x="552" y="359"/>
                </a:lnTo>
                <a:lnTo>
                  <a:pt x="563" y="353"/>
                </a:lnTo>
                <a:lnTo>
                  <a:pt x="569" y="349"/>
                </a:lnTo>
                <a:lnTo>
                  <a:pt x="574" y="345"/>
                </a:lnTo>
                <a:lnTo>
                  <a:pt x="578" y="340"/>
                </a:lnTo>
                <a:lnTo>
                  <a:pt x="582" y="335"/>
                </a:lnTo>
                <a:lnTo>
                  <a:pt x="585" y="329"/>
                </a:lnTo>
                <a:lnTo>
                  <a:pt x="588" y="322"/>
                </a:lnTo>
                <a:lnTo>
                  <a:pt x="590" y="314"/>
                </a:lnTo>
                <a:lnTo>
                  <a:pt x="592" y="306"/>
                </a:lnTo>
                <a:lnTo>
                  <a:pt x="559" y="306"/>
                </a:lnTo>
                <a:lnTo>
                  <a:pt x="548" y="312"/>
                </a:lnTo>
                <a:lnTo>
                  <a:pt x="535" y="321"/>
                </a:lnTo>
                <a:lnTo>
                  <a:pt x="528" y="325"/>
                </a:lnTo>
                <a:lnTo>
                  <a:pt x="520" y="328"/>
                </a:lnTo>
                <a:lnTo>
                  <a:pt x="513" y="330"/>
                </a:lnTo>
                <a:lnTo>
                  <a:pt x="506" y="331"/>
                </a:lnTo>
                <a:lnTo>
                  <a:pt x="495" y="330"/>
                </a:lnTo>
                <a:lnTo>
                  <a:pt x="485" y="327"/>
                </a:lnTo>
                <a:lnTo>
                  <a:pt x="474" y="324"/>
                </a:lnTo>
                <a:lnTo>
                  <a:pt x="463" y="321"/>
                </a:lnTo>
                <a:lnTo>
                  <a:pt x="453" y="318"/>
                </a:lnTo>
                <a:lnTo>
                  <a:pt x="443" y="317"/>
                </a:lnTo>
                <a:lnTo>
                  <a:pt x="438" y="318"/>
                </a:lnTo>
                <a:lnTo>
                  <a:pt x="433" y="319"/>
                </a:lnTo>
                <a:lnTo>
                  <a:pt x="430" y="322"/>
                </a:lnTo>
                <a:lnTo>
                  <a:pt x="426" y="325"/>
                </a:lnTo>
                <a:lnTo>
                  <a:pt x="432" y="316"/>
                </a:lnTo>
                <a:lnTo>
                  <a:pt x="443" y="307"/>
                </a:lnTo>
                <a:lnTo>
                  <a:pt x="457" y="297"/>
                </a:lnTo>
                <a:lnTo>
                  <a:pt x="472" y="287"/>
                </a:lnTo>
                <a:lnTo>
                  <a:pt x="506" y="265"/>
                </a:lnTo>
                <a:lnTo>
                  <a:pt x="539" y="244"/>
                </a:lnTo>
                <a:lnTo>
                  <a:pt x="698" y="250"/>
                </a:lnTo>
                <a:lnTo>
                  <a:pt x="701" y="246"/>
                </a:lnTo>
                <a:lnTo>
                  <a:pt x="704" y="243"/>
                </a:lnTo>
                <a:lnTo>
                  <a:pt x="708" y="240"/>
                </a:lnTo>
                <a:lnTo>
                  <a:pt x="711" y="238"/>
                </a:lnTo>
                <a:lnTo>
                  <a:pt x="719" y="236"/>
                </a:lnTo>
                <a:lnTo>
                  <a:pt x="728" y="234"/>
                </a:lnTo>
                <a:lnTo>
                  <a:pt x="745" y="234"/>
                </a:lnTo>
                <a:lnTo>
                  <a:pt x="758" y="232"/>
                </a:lnTo>
                <a:lnTo>
                  <a:pt x="756" y="224"/>
                </a:lnTo>
                <a:lnTo>
                  <a:pt x="753" y="216"/>
                </a:lnTo>
                <a:lnTo>
                  <a:pt x="749" y="210"/>
                </a:lnTo>
                <a:lnTo>
                  <a:pt x="742" y="204"/>
                </a:lnTo>
                <a:lnTo>
                  <a:pt x="737" y="199"/>
                </a:lnTo>
                <a:lnTo>
                  <a:pt x="729" y="195"/>
                </a:lnTo>
                <a:lnTo>
                  <a:pt x="721" y="191"/>
                </a:lnTo>
                <a:lnTo>
                  <a:pt x="713" y="188"/>
                </a:lnTo>
                <a:lnTo>
                  <a:pt x="698" y="182"/>
                </a:lnTo>
                <a:lnTo>
                  <a:pt x="684" y="176"/>
                </a:lnTo>
                <a:lnTo>
                  <a:pt x="678" y="172"/>
                </a:lnTo>
                <a:lnTo>
                  <a:pt x="673" y="168"/>
                </a:lnTo>
                <a:lnTo>
                  <a:pt x="668" y="164"/>
                </a:lnTo>
                <a:lnTo>
                  <a:pt x="665" y="159"/>
                </a:lnTo>
                <a:lnTo>
                  <a:pt x="687" y="143"/>
                </a:lnTo>
                <a:lnTo>
                  <a:pt x="712" y="127"/>
                </a:lnTo>
                <a:lnTo>
                  <a:pt x="739" y="109"/>
                </a:lnTo>
                <a:lnTo>
                  <a:pt x="765" y="90"/>
                </a:lnTo>
                <a:lnTo>
                  <a:pt x="812" y="78"/>
                </a:lnTo>
                <a:lnTo>
                  <a:pt x="858" y="65"/>
                </a:lnTo>
                <a:lnTo>
                  <a:pt x="902" y="52"/>
                </a:lnTo>
                <a:lnTo>
                  <a:pt x="945" y="38"/>
                </a:lnTo>
                <a:lnTo>
                  <a:pt x="966" y="33"/>
                </a:lnTo>
                <a:lnTo>
                  <a:pt x="988" y="27"/>
                </a:lnTo>
                <a:lnTo>
                  <a:pt x="1010" y="22"/>
                </a:lnTo>
                <a:lnTo>
                  <a:pt x="1033" y="18"/>
                </a:lnTo>
                <a:lnTo>
                  <a:pt x="1056" y="15"/>
                </a:lnTo>
                <a:lnTo>
                  <a:pt x="1080" y="12"/>
                </a:lnTo>
                <a:lnTo>
                  <a:pt x="1104" y="11"/>
                </a:lnTo>
                <a:lnTo>
                  <a:pt x="1130" y="10"/>
                </a:lnTo>
                <a:lnTo>
                  <a:pt x="1157" y="9"/>
                </a:lnTo>
                <a:lnTo>
                  <a:pt x="1176" y="7"/>
                </a:lnTo>
                <a:lnTo>
                  <a:pt x="1192" y="5"/>
                </a:lnTo>
                <a:lnTo>
                  <a:pt x="1216" y="4"/>
                </a:lnTo>
                <a:lnTo>
                  <a:pt x="1241" y="3"/>
                </a:lnTo>
                <a:lnTo>
                  <a:pt x="1262" y="0"/>
                </a:lnTo>
                <a:lnTo>
                  <a:pt x="1270" y="0"/>
                </a:lnTo>
                <a:lnTo>
                  <a:pt x="1277" y="2"/>
                </a:lnTo>
                <a:lnTo>
                  <a:pt x="1280" y="3"/>
                </a:lnTo>
                <a:lnTo>
                  <a:pt x="1281" y="5"/>
                </a:lnTo>
                <a:lnTo>
                  <a:pt x="1282" y="7"/>
                </a:lnTo>
                <a:lnTo>
                  <a:pt x="1283" y="10"/>
                </a:lnTo>
                <a:lnTo>
                  <a:pt x="1306" y="10"/>
                </a:lnTo>
                <a:lnTo>
                  <a:pt x="1333" y="10"/>
                </a:lnTo>
                <a:lnTo>
                  <a:pt x="1354" y="10"/>
                </a:lnTo>
                <a:lnTo>
                  <a:pt x="1362" y="10"/>
                </a:lnTo>
                <a:lnTo>
                  <a:pt x="1380" y="11"/>
                </a:lnTo>
                <a:lnTo>
                  <a:pt x="1399" y="12"/>
                </a:lnTo>
                <a:lnTo>
                  <a:pt x="1417" y="15"/>
                </a:lnTo>
                <a:lnTo>
                  <a:pt x="1437" y="18"/>
                </a:lnTo>
                <a:lnTo>
                  <a:pt x="1475" y="26"/>
                </a:lnTo>
                <a:lnTo>
                  <a:pt x="1516" y="34"/>
                </a:lnTo>
                <a:lnTo>
                  <a:pt x="1557" y="44"/>
                </a:lnTo>
                <a:lnTo>
                  <a:pt x="1597" y="52"/>
                </a:lnTo>
                <a:lnTo>
                  <a:pt x="1617" y="55"/>
                </a:lnTo>
                <a:lnTo>
                  <a:pt x="1637" y="58"/>
                </a:lnTo>
                <a:lnTo>
                  <a:pt x="1656" y="59"/>
                </a:lnTo>
                <a:lnTo>
                  <a:pt x="1675" y="60"/>
                </a:lnTo>
                <a:lnTo>
                  <a:pt x="1761" y="41"/>
                </a:lnTo>
                <a:lnTo>
                  <a:pt x="1772" y="46"/>
                </a:lnTo>
                <a:lnTo>
                  <a:pt x="1784" y="51"/>
                </a:lnTo>
                <a:lnTo>
                  <a:pt x="1797" y="55"/>
                </a:lnTo>
                <a:lnTo>
                  <a:pt x="1808" y="60"/>
                </a:lnTo>
                <a:lnTo>
                  <a:pt x="1223" y="540"/>
                </a:lnTo>
                <a:lnTo>
                  <a:pt x="1258" y="540"/>
                </a:lnTo>
                <a:lnTo>
                  <a:pt x="1287" y="540"/>
                </a:lnTo>
                <a:lnTo>
                  <a:pt x="1309" y="540"/>
                </a:lnTo>
                <a:lnTo>
                  <a:pt x="1329" y="540"/>
                </a:lnTo>
                <a:lnTo>
                  <a:pt x="1328" y="547"/>
                </a:lnTo>
                <a:lnTo>
                  <a:pt x="1327" y="553"/>
                </a:lnTo>
                <a:lnTo>
                  <a:pt x="1325" y="559"/>
                </a:lnTo>
                <a:lnTo>
                  <a:pt x="1323" y="565"/>
                </a:lnTo>
                <a:lnTo>
                  <a:pt x="1321" y="571"/>
                </a:lnTo>
                <a:lnTo>
                  <a:pt x="1318" y="576"/>
                </a:lnTo>
                <a:lnTo>
                  <a:pt x="1316" y="583"/>
                </a:lnTo>
                <a:lnTo>
                  <a:pt x="1316" y="589"/>
                </a:lnTo>
                <a:lnTo>
                  <a:pt x="1317" y="592"/>
                </a:lnTo>
                <a:lnTo>
                  <a:pt x="1320" y="595"/>
                </a:lnTo>
                <a:lnTo>
                  <a:pt x="1323" y="599"/>
                </a:lnTo>
                <a:lnTo>
                  <a:pt x="1327" y="601"/>
                </a:lnTo>
                <a:lnTo>
                  <a:pt x="1336" y="606"/>
                </a:lnTo>
                <a:lnTo>
                  <a:pt x="1343" y="608"/>
                </a:lnTo>
                <a:lnTo>
                  <a:pt x="1351" y="608"/>
                </a:lnTo>
                <a:lnTo>
                  <a:pt x="1358" y="607"/>
                </a:lnTo>
                <a:lnTo>
                  <a:pt x="1365" y="605"/>
                </a:lnTo>
                <a:lnTo>
                  <a:pt x="1371" y="604"/>
                </a:lnTo>
                <a:lnTo>
                  <a:pt x="1382" y="599"/>
                </a:lnTo>
                <a:lnTo>
                  <a:pt x="1391" y="592"/>
                </a:lnTo>
                <a:lnTo>
                  <a:pt x="1400" y="587"/>
                </a:lnTo>
                <a:lnTo>
                  <a:pt x="1409" y="582"/>
                </a:lnTo>
                <a:lnTo>
                  <a:pt x="1413" y="580"/>
                </a:lnTo>
                <a:lnTo>
                  <a:pt x="1417" y="578"/>
                </a:lnTo>
                <a:lnTo>
                  <a:pt x="1423" y="577"/>
                </a:lnTo>
                <a:lnTo>
                  <a:pt x="1429" y="577"/>
                </a:lnTo>
                <a:lnTo>
                  <a:pt x="1441" y="596"/>
                </a:lnTo>
                <a:lnTo>
                  <a:pt x="1457" y="617"/>
                </a:lnTo>
                <a:lnTo>
                  <a:pt x="1465" y="629"/>
                </a:lnTo>
                <a:lnTo>
                  <a:pt x="1470" y="643"/>
                </a:lnTo>
                <a:lnTo>
                  <a:pt x="1472" y="650"/>
                </a:lnTo>
                <a:lnTo>
                  <a:pt x="1474" y="659"/>
                </a:lnTo>
                <a:lnTo>
                  <a:pt x="1475" y="667"/>
                </a:lnTo>
                <a:lnTo>
                  <a:pt x="1475" y="676"/>
                </a:lnTo>
                <a:lnTo>
                  <a:pt x="1475" y="681"/>
                </a:lnTo>
                <a:lnTo>
                  <a:pt x="1474" y="686"/>
                </a:lnTo>
                <a:lnTo>
                  <a:pt x="1473" y="690"/>
                </a:lnTo>
                <a:lnTo>
                  <a:pt x="1471" y="694"/>
                </a:lnTo>
                <a:lnTo>
                  <a:pt x="1467" y="700"/>
                </a:lnTo>
                <a:lnTo>
                  <a:pt x="1462" y="706"/>
                </a:lnTo>
                <a:lnTo>
                  <a:pt x="1457" y="713"/>
                </a:lnTo>
                <a:lnTo>
                  <a:pt x="1454" y="719"/>
                </a:lnTo>
                <a:lnTo>
                  <a:pt x="1451" y="723"/>
                </a:lnTo>
                <a:lnTo>
                  <a:pt x="1450" y="727"/>
                </a:lnTo>
                <a:lnTo>
                  <a:pt x="1449" y="732"/>
                </a:lnTo>
                <a:lnTo>
                  <a:pt x="1449" y="737"/>
                </a:lnTo>
                <a:lnTo>
                  <a:pt x="1449" y="742"/>
                </a:lnTo>
                <a:lnTo>
                  <a:pt x="1450" y="746"/>
                </a:lnTo>
                <a:lnTo>
                  <a:pt x="1452" y="750"/>
                </a:lnTo>
                <a:lnTo>
                  <a:pt x="1455" y="754"/>
                </a:lnTo>
                <a:lnTo>
                  <a:pt x="1459" y="761"/>
                </a:lnTo>
                <a:lnTo>
                  <a:pt x="1466" y="769"/>
                </a:lnTo>
                <a:lnTo>
                  <a:pt x="1471" y="775"/>
                </a:lnTo>
                <a:lnTo>
                  <a:pt x="1477" y="783"/>
                </a:lnTo>
                <a:lnTo>
                  <a:pt x="1479" y="786"/>
                </a:lnTo>
                <a:lnTo>
                  <a:pt x="1481" y="790"/>
                </a:lnTo>
                <a:lnTo>
                  <a:pt x="1482" y="794"/>
                </a:lnTo>
                <a:lnTo>
                  <a:pt x="1482" y="799"/>
                </a:lnTo>
                <a:lnTo>
                  <a:pt x="1482" y="802"/>
                </a:lnTo>
                <a:lnTo>
                  <a:pt x="1480" y="807"/>
                </a:lnTo>
                <a:lnTo>
                  <a:pt x="1477" y="811"/>
                </a:lnTo>
                <a:lnTo>
                  <a:pt x="1473" y="816"/>
                </a:lnTo>
                <a:lnTo>
                  <a:pt x="1463" y="826"/>
                </a:lnTo>
                <a:lnTo>
                  <a:pt x="1452" y="835"/>
                </a:lnTo>
                <a:lnTo>
                  <a:pt x="1446" y="839"/>
                </a:lnTo>
                <a:lnTo>
                  <a:pt x="1439" y="843"/>
                </a:lnTo>
                <a:lnTo>
                  <a:pt x="1433" y="846"/>
                </a:lnTo>
                <a:lnTo>
                  <a:pt x="1426" y="848"/>
                </a:lnTo>
                <a:lnTo>
                  <a:pt x="1419" y="850"/>
                </a:lnTo>
                <a:lnTo>
                  <a:pt x="1414" y="850"/>
                </a:lnTo>
                <a:lnTo>
                  <a:pt x="1407" y="850"/>
                </a:lnTo>
                <a:lnTo>
                  <a:pt x="1402" y="848"/>
                </a:lnTo>
                <a:lnTo>
                  <a:pt x="1410" y="842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9" name="Freeform 6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1209678" y="1771661"/>
            <a:ext cx="1381125" cy="577454"/>
          </a:xfrm>
          <a:custGeom>
            <a:avLst/>
            <a:gdLst>
              <a:gd name="T0" fmla="*/ 554050847 w 3175"/>
              <a:gd name="T1" fmla="*/ 96576483 h 1472"/>
              <a:gd name="T2" fmla="*/ 547995649 w 3175"/>
              <a:gd name="T3" fmla="*/ 120378125 h 1472"/>
              <a:gd name="T4" fmla="*/ 537966727 w 3175"/>
              <a:gd name="T5" fmla="*/ 126397448 h 1472"/>
              <a:gd name="T6" fmla="*/ 504663137 w 3175"/>
              <a:gd name="T7" fmla="*/ 154850656 h 1472"/>
              <a:gd name="T8" fmla="*/ 491038941 w 3175"/>
              <a:gd name="T9" fmla="*/ 160048782 h 1472"/>
              <a:gd name="T10" fmla="*/ 486308318 w 3175"/>
              <a:gd name="T11" fmla="*/ 185218737 h 1472"/>
              <a:gd name="T12" fmla="*/ 475711721 w 3175"/>
              <a:gd name="T13" fmla="*/ 169897918 h 1472"/>
              <a:gd name="T14" fmla="*/ 472873347 w 3175"/>
              <a:gd name="T15" fmla="*/ 188774992 h 1472"/>
              <a:gd name="T16" fmla="*/ 466439699 w 3175"/>
              <a:gd name="T17" fmla="*/ 203548695 h 1472"/>
              <a:gd name="T18" fmla="*/ 467575049 w 3175"/>
              <a:gd name="T19" fmla="*/ 225162396 h 1472"/>
              <a:gd name="T20" fmla="*/ 441272673 w 3175"/>
              <a:gd name="T21" fmla="*/ 253889129 h 1472"/>
              <a:gd name="T22" fmla="*/ 409672108 w 3175"/>
              <a:gd name="T23" fmla="*/ 285898624 h 1472"/>
              <a:gd name="T24" fmla="*/ 399643186 w 3175"/>
              <a:gd name="T25" fmla="*/ 326937038 h 1472"/>
              <a:gd name="T26" fmla="*/ 397940161 w 3175"/>
              <a:gd name="T27" fmla="*/ 398616568 h 1472"/>
              <a:gd name="T28" fmla="*/ 383369841 w 3175"/>
              <a:gd name="T29" fmla="*/ 386852526 h 1472"/>
              <a:gd name="T30" fmla="*/ 377125418 w 3175"/>
              <a:gd name="T31" fmla="*/ 362776803 h 1472"/>
              <a:gd name="T32" fmla="*/ 370691770 w 3175"/>
              <a:gd name="T33" fmla="*/ 323927376 h 1472"/>
              <a:gd name="T34" fmla="*/ 346660202 w 3175"/>
              <a:gd name="T35" fmla="*/ 319549924 h 1472"/>
              <a:gd name="T36" fmla="*/ 312788938 w 3175"/>
              <a:gd name="T37" fmla="*/ 312710450 h 1472"/>
              <a:gd name="T38" fmla="*/ 305787615 w 3175"/>
              <a:gd name="T39" fmla="*/ 324474492 h 1472"/>
              <a:gd name="T40" fmla="*/ 292920319 w 3175"/>
              <a:gd name="T41" fmla="*/ 338701080 h 1472"/>
              <a:gd name="T42" fmla="*/ 271727125 w 3175"/>
              <a:gd name="T43" fmla="*/ 326115841 h 1472"/>
              <a:gd name="T44" fmla="*/ 232936012 w 3175"/>
              <a:gd name="T45" fmla="*/ 348003099 h 1472"/>
              <a:gd name="T46" fmla="*/ 219500987 w 3175"/>
              <a:gd name="T47" fmla="*/ 380833726 h 1472"/>
              <a:gd name="T48" fmla="*/ 204362992 w 3175"/>
              <a:gd name="T49" fmla="*/ 378097623 h 1472"/>
              <a:gd name="T50" fmla="*/ 196226319 w 3175"/>
              <a:gd name="T51" fmla="*/ 335691418 h 1472"/>
              <a:gd name="T52" fmla="*/ 177871500 w 3175"/>
              <a:gd name="T53" fmla="*/ 325568725 h 1472"/>
              <a:gd name="T54" fmla="*/ 164058079 w 3175"/>
              <a:gd name="T55" fmla="*/ 333502954 h 1472"/>
              <a:gd name="T56" fmla="*/ 147973959 w 3175"/>
              <a:gd name="T57" fmla="*/ 297389631 h 1472"/>
              <a:gd name="T58" fmla="*/ 126780765 w 3175"/>
              <a:gd name="T59" fmla="*/ 291370308 h 1472"/>
              <a:gd name="T60" fmla="*/ 87421950 w 3175"/>
              <a:gd name="T61" fmla="*/ 291370308 h 1472"/>
              <a:gd name="T62" fmla="*/ 41629501 w 3175"/>
              <a:gd name="T63" fmla="*/ 277964917 h 1472"/>
              <a:gd name="T64" fmla="*/ 16651802 w 3175"/>
              <a:gd name="T65" fmla="*/ 251700141 h 1472"/>
              <a:gd name="T66" fmla="*/ 7379776 w 3175"/>
              <a:gd name="T67" fmla="*/ 232001870 h 1472"/>
              <a:gd name="T68" fmla="*/ 5487525 w 3175"/>
              <a:gd name="T69" fmla="*/ 181114843 h 1472"/>
              <a:gd name="T70" fmla="*/ 0 w 3175"/>
              <a:gd name="T71" fmla="*/ 165246908 h 1472"/>
              <a:gd name="T72" fmla="*/ 26680724 w 3175"/>
              <a:gd name="T73" fmla="*/ 91925473 h 1472"/>
              <a:gd name="T74" fmla="*/ 46738574 w 3175"/>
              <a:gd name="T75" fmla="*/ 48151463 h 1472"/>
              <a:gd name="T76" fmla="*/ 67174882 w 3175"/>
              <a:gd name="T77" fmla="*/ 27906067 h 1472"/>
              <a:gd name="T78" fmla="*/ 71148605 w 3175"/>
              <a:gd name="T79" fmla="*/ 32830635 h 1472"/>
              <a:gd name="T80" fmla="*/ 345714077 w 3175"/>
              <a:gd name="T81" fmla="*/ 0 h 1472"/>
              <a:gd name="T82" fmla="*/ 364447347 w 3175"/>
              <a:gd name="T83" fmla="*/ 15047266 h 1472"/>
              <a:gd name="T84" fmla="*/ 381288366 w 3175"/>
              <a:gd name="T85" fmla="*/ 18877605 h 1472"/>
              <a:gd name="T86" fmla="*/ 365015021 w 3175"/>
              <a:gd name="T87" fmla="*/ 35019107 h 1472"/>
              <a:gd name="T88" fmla="*/ 374097819 w 3175"/>
              <a:gd name="T89" fmla="*/ 45415359 h 1472"/>
              <a:gd name="T90" fmla="*/ 396237137 w 3175"/>
              <a:gd name="T91" fmla="*/ 42406221 h 1472"/>
              <a:gd name="T92" fmla="*/ 432189876 w 3175"/>
              <a:gd name="T93" fmla="*/ 52802472 h 1472"/>
              <a:gd name="T94" fmla="*/ 419511805 w 3175"/>
              <a:gd name="T95" fmla="*/ 55811611 h 1472"/>
              <a:gd name="T96" fmla="*/ 394912562 w 3175"/>
              <a:gd name="T97" fmla="*/ 72227202 h 1472"/>
              <a:gd name="T98" fmla="*/ 382423716 w 3175"/>
              <a:gd name="T99" fmla="*/ 97123599 h 1472"/>
              <a:gd name="T100" fmla="*/ 380720692 w 3175"/>
              <a:gd name="T101" fmla="*/ 123387787 h 1472"/>
              <a:gd name="T102" fmla="*/ 392831088 w 3175"/>
              <a:gd name="T103" fmla="*/ 114085767 h 1472"/>
              <a:gd name="T104" fmla="*/ 417241105 w 3175"/>
              <a:gd name="T105" fmla="*/ 68943982 h 1472"/>
              <a:gd name="T106" fmla="*/ 428973052 w 3175"/>
              <a:gd name="T107" fmla="*/ 82897012 h 1472"/>
              <a:gd name="T108" fmla="*/ 435028250 w 3175"/>
              <a:gd name="T109" fmla="*/ 107793409 h 1472"/>
              <a:gd name="T110" fmla="*/ 417430330 w 3175"/>
              <a:gd name="T111" fmla="*/ 124208461 h 1472"/>
              <a:gd name="T112" fmla="*/ 438434299 w 3175"/>
              <a:gd name="T113" fmla="*/ 125029135 h 1472"/>
              <a:gd name="T114" fmla="*/ 486308318 w 3175"/>
              <a:gd name="T115" fmla="*/ 102048167 h 1472"/>
              <a:gd name="T116" fmla="*/ 516584309 w 3175"/>
              <a:gd name="T117" fmla="*/ 68943982 h 1472"/>
              <a:gd name="T118" fmla="*/ 570702642 w 3175"/>
              <a:gd name="T119" fmla="*/ 55538053 h 1472"/>
              <a:gd name="T120" fmla="*/ 593409635 w 3175"/>
              <a:gd name="T121" fmla="*/ 32283519 h 1472"/>
              <a:gd name="T122" fmla="*/ 595869559 w 3175"/>
              <a:gd name="T123" fmla="*/ 50339927 h 1472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3175"/>
              <a:gd name="T187" fmla="*/ 0 h 1472"/>
              <a:gd name="T188" fmla="*/ 3175 w 3175"/>
              <a:gd name="T189" fmla="*/ 1472 h 1472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3175" h="1472">
                <a:moveTo>
                  <a:pt x="3155" y="258"/>
                </a:moveTo>
                <a:lnTo>
                  <a:pt x="3129" y="270"/>
                </a:lnTo>
                <a:lnTo>
                  <a:pt x="3104" y="281"/>
                </a:lnTo>
                <a:lnTo>
                  <a:pt x="3079" y="291"/>
                </a:lnTo>
                <a:lnTo>
                  <a:pt x="3055" y="300"/>
                </a:lnTo>
                <a:lnTo>
                  <a:pt x="3032" y="309"/>
                </a:lnTo>
                <a:lnTo>
                  <a:pt x="3008" y="317"/>
                </a:lnTo>
                <a:lnTo>
                  <a:pt x="2983" y="326"/>
                </a:lnTo>
                <a:lnTo>
                  <a:pt x="2956" y="333"/>
                </a:lnTo>
                <a:lnTo>
                  <a:pt x="2948" y="337"/>
                </a:lnTo>
                <a:lnTo>
                  <a:pt x="2940" y="341"/>
                </a:lnTo>
                <a:lnTo>
                  <a:pt x="2933" y="347"/>
                </a:lnTo>
                <a:lnTo>
                  <a:pt x="2928" y="353"/>
                </a:lnTo>
                <a:lnTo>
                  <a:pt x="2917" y="366"/>
                </a:lnTo>
                <a:lnTo>
                  <a:pt x="2909" y="382"/>
                </a:lnTo>
                <a:lnTo>
                  <a:pt x="2900" y="397"/>
                </a:lnTo>
                <a:lnTo>
                  <a:pt x="2894" y="410"/>
                </a:lnTo>
                <a:lnTo>
                  <a:pt x="2889" y="416"/>
                </a:lnTo>
                <a:lnTo>
                  <a:pt x="2885" y="422"/>
                </a:lnTo>
                <a:lnTo>
                  <a:pt x="2881" y="427"/>
                </a:lnTo>
                <a:lnTo>
                  <a:pt x="2876" y="431"/>
                </a:lnTo>
                <a:lnTo>
                  <a:pt x="2876" y="436"/>
                </a:lnTo>
                <a:lnTo>
                  <a:pt x="2877" y="440"/>
                </a:lnTo>
                <a:lnTo>
                  <a:pt x="2880" y="445"/>
                </a:lnTo>
                <a:lnTo>
                  <a:pt x="2883" y="450"/>
                </a:lnTo>
                <a:lnTo>
                  <a:pt x="2896" y="440"/>
                </a:lnTo>
                <a:lnTo>
                  <a:pt x="2909" y="431"/>
                </a:lnTo>
                <a:lnTo>
                  <a:pt x="2910" y="438"/>
                </a:lnTo>
                <a:lnTo>
                  <a:pt x="2910" y="443"/>
                </a:lnTo>
                <a:lnTo>
                  <a:pt x="2909" y="448"/>
                </a:lnTo>
                <a:lnTo>
                  <a:pt x="2907" y="451"/>
                </a:lnTo>
                <a:lnTo>
                  <a:pt x="2905" y="455"/>
                </a:lnTo>
                <a:lnTo>
                  <a:pt x="2902" y="457"/>
                </a:lnTo>
                <a:lnTo>
                  <a:pt x="2898" y="459"/>
                </a:lnTo>
                <a:lnTo>
                  <a:pt x="2894" y="460"/>
                </a:lnTo>
                <a:lnTo>
                  <a:pt x="2883" y="462"/>
                </a:lnTo>
                <a:lnTo>
                  <a:pt x="2871" y="462"/>
                </a:lnTo>
                <a:lnTo>
                  <a:pt x="2858" y="462"/>
                </a:lnTo>
                <a:lnTo>
                  <a:pt x="2843" y="462"/>
                </a:lnTo>
                <a:lnTo>
                  <a:pt x="2820" y="463"/>
                </a:lnTo>
                <a:lnTo>
                  <a:pt x="2796" y="466"/>
                </a:lnTo>
                <a:lnTo>
                  <a:pt x="2773" y="470"/>
                </a:lnTo>
                <a:lnTo>
                  <a:pt x="2750" y="476"/>
                </a:lnTo>
                <a:lnTo>
                  <a:pt x="2728" y="483"/>
                </a:lnTo>
                <a:lnTo>
                  <a:pt x="2708" y="491"/>
                </a:lnTo>
                <a:lnTo>
                  <a:pt x="2691" y="498"/>
                </a:lnTo>
                <a:lnTo>
                  <a:pt x="2678" y="505"/>
                </a:lnTo>
                <a:lnTo>
                  <a:pt x="2678" y="542"/>
                </a:lnTo>
                <a:lnTo>
                  <a:pt x="2675" y="549"/>
                </a:lnTo>
                <a:lnTo>
                  <a:pt x="2673" y="555"/>
                </a:lnTo>
                <a:lnTo>
                  <a:pt x="2670" y="561"/>
                </a:lnTo>
                <a:lnTo>
                  <a:pt x="2667" y="566"/>
                </a:lnTo>
                <a:lnTo>
                  <a:pt x="2658" y="575"/>
                </a:lnTo>
                <a:lnTo>
                  <a:pt x="2649" y="584"/>
                </a:lnTo>
                <a:lnTo>
                  <a:pt x="2639" y="592"/>
                </a:lnTo>
                <a:lnTo>
                  <a:pt x="2628" y="602"/>
                </a:lnTo>
                <a:lnTo>
                  <a:pt x="2619" y="611"/>
                </a:lnTo>
                <a:lnTo>
                  <a:pt x="2611" y="622"/>
                </a:lnTo>
                <a:lnTo>
                  <a:pt x="2611" y="613"/>
                </a:lnTo>
                <a:lnTo>
                  <a:pt x="2611" y="604"/>
                </a:lnTo>
                <a:lnTo>
                  <a:pt x="2606" y="603"/>
                </a:lnTo>
                <a:lnTo>
                  <a:pt x="2602" y="600"/>
                </a:lnTo>
                <a:lnTo>
                  <a:pt x="2598" y="595"/>
                </a:lnTo>
                <a:lnTo>
                  <a:pt x="2596" y="590"/>
                </a:lnTo>
                <a:lnTo>
                  <a:pt x="2595" y="585"/>
                </a:lnTo>
                <a:lnTo>
                  <a:pt x="2595" y="580"/>
                </a:lnTo>
                <a:lnTo>
                  <a:pt x="2595" y="576"/>
                </a:lnTo>
                <a:lnTo>
                  <a:pt x="2597" y="573"/>
                </a:lnTo>
                <a:lnTo>
                  <a:pt x="2578" y="573"/>
                </a:lnTo>
                <a:lnTo>
                  <a:pt x="2575" y="587"/>
                </a:lnTo>
                <a:lnTo>
                  <a:pt x="2574" y="600"/>
                </a:lnTo>
                <a:lnTo>
                  <a:pt x="2574" y="610"/>
                </a:lnTo>
                <a:lnTo>
                  <a:pt x="2574" y="619"/>
                </a:lnTo>
                <a:lnTo>
                  <a:pt x="2577" y="633"/>
                </a:lnTo>
                <a:lnTo>
                  <a:pt x="2578" y="646"/>
                </a:lnTo>
                <a:lnTo>
                  <a:pt x="2577" y="658"/>
                </a:lnTo>
                <a:lnTo>
                  <a:pt x="2574" y="668"/>
                </a:lnTo>
                <a:lnTo>
                  <a:pt x="2570" y="677"/>
                </a:lnTo>
                <a:lnTo>
                  <a:pt x="2564" y="685"/>
                </a:lnTo>
                <a:lnTo>
                  <a:pt x="2559" y="693"/>
                </a:lnTo>
                <a:lnTo>
                  <a:pt x="2552" y="700"/>
                </a:lnTo>
                <a:lnTo>
                  <a:pt x="2545" y="707"/>
                </a:lnTo>
                <a:lnTo>
                  <a:pt x="2537" y="715"/>
                </a:lnTo>
                <a:lnTo>
                  <a:pt x="2538" y="684"/>
                </a:lnTo>
                <a:lnTo>
                  <a:pt x="2538" y="657"/>
                </a:lnTo>
                <a:lnTo>
                  <a:pt x="2540" y="630"/>
                </a:lnTo>
                <a:lnTo>
                  <a:pt x="2544" y="604"/>
                </a:lnTo>
                <a:lnTo>
                  <a:pt x="2535" y="607"/>
                </a:lnTo>
                <a:lnTo>
                  <a:pt x="2527" y="611"/>
                </a:lnTo>
                <a:lnTo>
                  <a:pt x="2519" y="615"/>
                </a:lnTo>
                <a:lnTo>
                  <a:pt x="2514" y="621"/>
                </a:lnTo>
                <a:lnTo>
                  <a:pt x="2510" y="628"/>
                </a:lnTo>
                <a:lnTo>
                  <a:pt x="2506" y="635"/>
                </a:lnTo>
                <a:lnTo>
                  <a:pt x="2505" y="643"/>
                </a:lnTo>
                <a:lnTo>
                  <a:pt x="2504" y="653"/>
                </a:lnTo>
                <a:lnTo>
                  <a:pt x="2491" y="653"/>
                </a:lnTo>
                <a:lnTo>
                  <a:pt x="2478" y="653"/>
                </a:lnTo>
                <a:lnTo>
                  <a:pt x="2478" y="658"/>
                </a:lnTo>
                <a:lnTo>
                  <a:pt x="2479" y="662"/>
                </a:lnTo>
                <a:lnTo>
                  <a:pt x="2480" y="666"/>
                </a:lnTo>
                <a:lnTo>
                  <a:pt x="2482" y="670"/>
                </a:lnTo>
                <a:lnTo>
                  <a:pt x="2486" y="678"/>
                </a:lnTo>
                <a:lnTo>
                  <a:pt x="2493" y="684"/>
                </a:lnTo>
                <a:lnTo>
                  <a:pt x="2499" y="690"/>
                </a:lnTo>
                <a:lnTo>
                  <a:pt x="2505" y="695"/>
                </a:lnTo>
                <a:lnTo>
                  <a:pt x="2512" y="699"/>
                </a:lnTo>
                <a:lnTo>
                  <a:pt x="2517" y="702"/>
                </a:lnTo>
                <a:lnTo>
                  <a:pt x="2517" y="727"/>
                </a:lnTo>
                <a:lnTo>
                  <a:pt x="2496" y="730"/>
                </a:lnTo>
                <a:lnTo>
                  <a:pt x="2479" y="730"/>
                </a:lnTo>
                <a:lnTo>
                  <a:pt x="2472" y="730"/>
                </a:lnTo>
                <a:lnTo>
                  <a:pt x="2466" y="730"/>
                </a:lnTo>
                <a:lnTo>
                  <a:pt x="2458" y="731"/>
                </a:lnTo>
                <a:lnTo>
                  <a:pt x="2451" y="733"/>
                </a:lnTo>
                <a:lnTo>
                  <a:pt x="2455" y="737"/>
                </a:lnTo>
                <a:lnTo>
                  <a:pt x="2459" y="741"/>
                </a:lnTo>
                <a:lnTo>
                  <a:pt x="2465" y="744"/>
                </a:lnTo>
                <a:lnTo>
                  <a:pt x="2471" y="747"/>
                </a:lnTo>
                <a:lnTo>
                  <a:pt x="2483" y="750"/>
                </a:lnTo>
                <a:lnTo>
                  <a:pt x="2491" y="751"/>
                </a:lnTo>
                <a:lnTo>
                  <a:pt x="2492" y="756"/>
                </a:lnTo>
                <a:lnTo>
                  <a:pt x="2493" y="760"/>
                </a:lnTo>
                <a:lnTo>
                  <a:pt x="2495" y="765"/>
                </a:lnTo>
                <a:lnTo>
                  <a:pt x="2499" y="769"/>
                </a:lnTo>
                <a:lnTo>
                  <a:pt x="2505" y="777"/>
                </a:lnTo>
                <a:lnTo>
                  <a:pt x="2511" y="782"/>
                </a:lnTo>
                <a:lnTo>
                  <a:pt x="2500" y="792"/>
                </a:lnTo>
                <a:lnTo>
                  <a:pt x="2489" y="802"/>
                </a:lnTo>
                <a:lnTo>
                  <a:pt x="2480" y="812"/>
                </a:lnTo>
                <a:lnTo>
                  <a:pt x="2471" y="823"/>
                </a:lnTo>
                <a:lnTo>
                  <a:pt x="2456" y="841"/>
                </a:lnTo>
                <a:lnTo>
                  <a:pt x="2441" y="859"/>
                </a:lnTo>
                <a:lnTo>
                  <a:pt x="2434" y="867"/>
                </a:lnTo>
                <a:lnTo>
                  <a:pt x="2425" y="876"/>
                </a:lnTo>
                <a:lnTo>
                  <a:pt x="2416" y="884"/>
                </a:lnTo>
                <a:lnTo>
                  <a:pt x="2406" y="892"/>
                </a:lnTo>
                <a:lnTo>
                  <a:pt x="2395" y="899"/>
                </a:lnTo>
                <a:lnTo>
                  <a:pt x="2382" y="905"/>
                </a:lnTo>
                <a:lnTo>
                  <a:pt x="2368" y="912"/>
                </a:lnTo>
                <a:lnTo>
                  <a:pt x="2351" y="917"/>
                </a:lnTo>
                <a:lnTo>
                  <a:pt x="2346" y="919"/>
                </a:lnTo>
                <a:lnTo>
                  <a:pt x="2339" y="923"/>
                </a:lnTo>
                <a:lnTo>
                  <a:pt x="2332" y="928"/>
                </a:lnTo>
                <a:lnTo>
                  <a:pt x="2324" y="935"/>
                </a:lnTo>
                <a:lnTo>
                  <a:pt x="2307" y="950"/>
                </a:lnTo>
                <a:lnTo>
                  <a:pt x="2289" y="967"/>
                </a:lnTo>
                <a:lnTo>
                  <a:pt x="2271" y="984"/>
                </a:lnTo>
                <a:lnTo>
                  <a:pt x="2255" y="999"/>
                </a:lnTo>
                <a:lnTo>
                  <a:pt x="2248" y="1006"/>
                </a:lnTo>
                <a:lnTo>
                  <a:pt x="2242" y="1011"/>
                </a:lnTo>
                <a:lnTo>
                  <a:pt x="2236" y="1014"/>
                </a:lnTo>
                <a:lnTo>
                  <a:pt x="2232" y="1016"/>
                </a:lnTo>
                <a:lnTo>
                  <a:pt x="2208" y="1025"/>
                </a:lnTo>
                <a:lnTo>
                  <a:pt x="2186" y="1034"/>
                </a:lnTo>
                <a:lnTo>
                  <a:pt x="2175" y="1039"/>
                </a:lnTo>
                <a:lnTo>
                  <a:pt x="2165" y="1045"/>
                </a:lnTo>
                <a:lnTo>
                  <a:pt x="2156" y="1051"/>
                </a:lnTo>
                <a:lnTo>
                  <a:pt x="2147" y="1057"/>
                </a:lnTo>
                <a:lnTo>
                  <a:pt x="2140" y="1064"/>
                </a:lnTo>
                <a:lnTo>
                  <a:pt x="2133" y="1072"/>
                </a:lnTo>
                <a:lnTo>
                  <a:pt x="2126" y="1080"/>
                </a:lnTo>
                <a:lnTo>
                  <a:pt x="2122" y="1090"/>
                </a:lnTo>
                <a:lnTo>
                  <a:pt x="2118" y="1101"/>
                </a:lnTo>
                <a:lnTo>
                  <a:pt x="2114" y="1113"/>
                </a:lnTo>
                <a:lnTo>
                  <a:pt x="2113" y="1125"/>
                </a:lnTo>
                <a:lnTo>
                  <a:pt x="2112" y="1139"/>
                </a:lnTo>
                <a:lnTo>
                  <a:pt x="2112" y="1151"/>
                </a:lnTo>
                <a:lnTo>
                  <a:pt x="2112" y="1174"/>
                </a:lnTo>
                <a:lnTo>
                  <a:pt x="2112" y="1195"/>
                </a:lnTo>
                <a:lnTo>
                  <a:pt x="2112" y="1207"/>
                </a:lnTo>
                <a:lnTo>
                  <a:pt x="2114" y="1223"/>
                </a:lnTo>
                <a:lnTo>
                  <a:pt x="2118" y="1240"/>
                </a:lnTo>
                <a:lnTo>
                  <a:pt x="2120" y="1249"/>
                </a:lnTo>
                <a:lnTo>
                  <a:pt x="2121" y="1259"/>
                </a:lnTo>
                <a:lnTo>
                  <a:pt x="2121" y="1270"/>
                </a:lnTo>
                <a:lnTo>
                  <a:pt x="2119" y="1281"/>
                </a:lnTo>
                <a:lnTo>
                  <a:pt x="2132" y="1343"/>
                </a:lnTo>
                <a:lnTo>
                  <a:pt x="2126" y="1379"/>
                </a:lnTo>
                <a:lnTo>
                  <a:pt x="2118" y="1417"/>
                </a:lnTo>
                <a:lnTo>
                  <a:pt x="2112" y="1435"/>
                </a:lnTo>
                <a:lnTo>
                  <a:pt x="2105" y="1450"/>
                </a:lnTo>
                <a:lnTo>
                  <a:pt x="2103" y="1457"/>
                </a:lnTo>
                <a:lnTo>
                  <a:pt x="2100" y="1463"/>
                </a:lnTo>
                <a:lnTo>
                  <a:pt x="2096" y="1468"/>
                </a:lnTo>
                <a:lnTo>
                  <a:pt x="2092" y="1472"/>
                </a:lnTo>
                <a:lnTo>
                  <a:pt x="2059" y="1472"/>
                </a:lnTo>
                <a:lnTo>
                  <a:pt x="2058" y="1464"/>
                </a:lnTo>
                <a:lnTo>
                  <a:pt x="2057" y="1456"/>
                </a:lnTo>
                <a:lnTo>
                  <a:pt x="2055" y="1450"/>
                </a:lnTo>
                <a:lnTo>
                  <a:pt x="2053" y="1445"/>
                </a:lnTo>
                <a:lnTo>
                  <a:pt x="2047" y="1437"/>
                </a:lnTo>
                <a:lnTo>
                  <a:pt x="2040" y="1430"/>
                </a:lnTo>
                <a:lnTo>
                  <a:pt x="2033" y="1425"/>
                </a:lnTo>
                <a:lnTo>
                  <a:pt x="2029" y="1418"/>
                </a:lnTo>
                <a:lnTo>
                  <a:pt x="2026" y="1414"/>
                </a:lnTo>
                <a:lnTo>
                  <a:pt x="2025" y="1410"/>
                </a:lnTo>
                <a:lnTo>
                  <a:pt x="2025" y="1405"/>
                </a:lnTo>
                <a:lnTo>
                  <a:pt x="2026" y="1398"/>
                </a:lnTo>
                <a:lnTo>
                  <a:pt x="2026" y="1373"/>
                </a:lnTo>
                <a:lnTo>
                  <a:pt x="2022" y="1373"/>
                </a:lnTo>
                <a:lnTo>
                  <a:pt x="2019" y="1372"/>
                </a:lnTo>
                <a:lnTo>
                  <a:pt x="2015" y="1370"/>
                </a:lnTo>
                <a:lnTo>
                  <a:pt x="2012" y="1367"/>
                </a:lnTo>
                <a:lnTo>
                  <a:pt x="2007" y="1361"/>
                </a:lnTo>
                <a:lnTo>
                  <a:pt x="2002" y="1353"/>
                </a:lnTo>
                <a:lnTo>
                  <a:pt x="1998" y="1344"/>
                </a:lnTo>
                <a:lnTo>
                  <a:pt x="1995" y="1335"/>
                </a:lnTo>
                <a:lnTo>
                  <a:pt x="1993" y="1326"/>
                </a:lnTo>
                <a:lnTo>
                  <a:pt x="1992" y="1318"/>
                </a:lnTo>
                <a:lnTo>
                  <a:pt x="1992" y="1298"/>
                </a:lnTo>
                <a:lnTo>
                  <a:pt x="1992" y="1281"/>
                </a:lnTo>
                <a:lnTo>
                  <a:pt x="1992" y="1265"/>
                </a:lnTo>
                <a:lnTo>
                  <a:pt x="1992" y="1244"/>
                </a:lnTo>
                <a:lnTo>
                  <a:pt x="1991" y="1234"/>
                </a:lnTo>
                <a:lnTo>
                  <a:pt x="1989" y="1224"/>
                </a:lnTo>
                <a:lnTo>
                  <a:pt x="1985" y="1212"/>
                </a:lnTo>
                <a:lnTo>
                  <a:pt x="1978" y="1201"/>
                </a:lnTo>
                <a:lnTo>
                  <a:pt x="1974" y="1196"/>
                </a:lnTo>
                <a:lnTo>
                  <a:pt x="1969" y="1191"/>
                </a:lnTo>
                <a:lnTo>
                  <a:pt x="1964" y="1187"/>
                </a:lnTo>
                <a:lnTo>
                  <a:pt x="1959" y="1184"/>
                </a:lnTo>
                <a:lnTo>
                  <a:pt x="1953" y="1181"/>
                </a:lnTo>
                <a:lnTo>
                  <a:pt x="1947" y="1178"/>
                </a:lnTo>
                <a:lnTo>
                  <a:pt x="1940" y="1177"/>
                </a:lnTo>
                <a:lnTo>
                  <a:pt x="1933" y="1177"/>
                </a:lnTo>
                <a:lnTo>
                  <a:pt x="1918" y="1177"/>
                </a:lnTo>
                <a:lnTo>
                  <a:pt x="1906" y="1177"/>
                </a:lnTo>
                <a:lnTo>
                  <a:pt x="1897" y="1177"/>
                </a:lnTo>
                <a:lnTo>
                  <a:pt x="1894" y="1177"/>
                </a:lnTo>
                <a:lnTo>
                  <a:pt x="1880" y="1176"/>
                </a:lnTo>
                <a:lnTo>
                  <a:pt x="1869" y="1175"/>
                </a:lnTo>
                <a:lnTo>
                  <a:pt x="1857" y="1173"/>
                </a:lnTo>
                <a:lnTo>
                  <a:pt x="1845" y="1171"/>
                </a:lnTo>
                <a:lnTo>
                  <a:pt x="1832" y="1168"/>
                </a:lnTo>
                <a:lnTo>
                  <a:pt x="1818" y="1166"/>
                </a:lnTo>
                <a:lnTo>
                  <a:pt x="1804" y="1165"/>
                </a:lnTo>
                <a:lnTo>
                  <a:pt x="1787" y="1164"/>
                </a:lnTo>
                <a:lnTo>
                  <a:pt x="1773" y="1164"/>
                </a:lnTo>
                <a:lnTo>
                  <a:pt x="1762" y="1162"/>
                </a:lnTo>
                <a:lnTo>
                  <a:pt x="1753" y="1159"/>
                </a:lnTo>
                <a:lnTo>
                  <a:pt x="1745" y="1155"/>
                </a:lnTo>
                <a:lnTo>
                  <a:pt x="1738" y="1151"/>
                </a:lnTo>
                <a:lnTo>
                  <a:pt x="1731" y="1148"/>
                </a:lnTo>
                <a:lnTo>
                  <a:pt x="1722" y="1146"/>
                </a:lnTo>
                <a:lnTo>
                  <a:pt x="1713" y="1145"/>
                </a:lnTo>
                <a:lnTo>
                  <a:pt x="1688" y="1144"/>
                </a:lnTo>
                <a:lnTo>
                  <a:pt x="1653" y="1143"/>
                </a:lnTo>
                <a:lnTo>
                  <a:pt x="1644" y="1144"/>
                </a:lnTo>
                <a:lnTo>
                  <a:pt x="1636" y="1144"/>
                </a:lnTo>
                <a:lnTo>
                  <a:pt x="1628" y="1146"/>
                </a:lnTo>
                <a:lnTo>
                  <a:pt x="1621" y="1148"/>
                </a:lnTo>
                <a:lnTo>
                  <a:pt x="1616" y="1151"/>
                </a:lnTo>
                <a:lnTo>
                  <a:pt x="1611" y="1155"/>
                </a:lnTo>
                <a:lnTo>
                  <a:pt x="1608" y="1159"/>
                </a:lnTo>
                <a:lnTo>
                  <a:pt x="1607" y="1164"/>
                </a:lnTo>
                <a:lnTo>
                  <a:pt x="1608" y="1169"/>
                </a:lnTo>
                <a:lnTo>
                  <a:pt x="1608" y="1173"/>
                </a:lnTo>
                <a:lnTo>
                  <a:pt x="1610" y="1176"/>
                </a:lnTo>
                <a:lnTo>
                  <a:pt x="1611" y="1180"/>
                </a:lnTo>
                <a:lnTo>
                  <a:pt x="1616" y="1186"/>
                </a:lnTo>
                <a:lnTo>
                  <a:pt x="1621" y="1192"/>
                </a:lnTo>
                <a:lnTo>
                  <a:pt x="1627" y="1197"/>
                </a:lnTo>
                <a:lnTo>
                  <a:pt x="1632" y="1204"/>
                </a:lnTo>
                <a:lnTo>
                  <a:pt x="1638" y="1212"/>
                </a:lnTo>
                <a:lnTo>
                  <a:pt x="1641" y="1220"/>
                </a:lnTo>
                <a:lnTo>
                  <a:pt x="1628" y="1221"/>
                </a:lnTo>
                <a:lnTo>
                  <a:pt x="1615" y="1223"/>
                </a:lnTo>
                <a:lnTo>
                  <a:pt x="1601" y="1226"/>
                </a:lnTo>
                <a:lnTo>
                  <a:pt x="1589" y="1229"/>
                </a:lnTo>
                <a:lnTo>
                  <a:pt x="1577" y="1232"/>
                </a:lnTo>
                <a:lnTo>
                  <a:pt x="1565" y="1235"/>
                </a:lnTo>
                <a:lnTo>
                  <a:pt x="1555" y="1237"/>
                </a:lnTo>
                <a:lnTo>
                  <a:pt x="1548" y="1238"/>
                </a:lnTo>
                <a:lnTo>
                  <a:pt x="1544" y="1237"/>
                </a:lnTo>
                <a:lnTo>
                  <a:pt x="1539" y="1233"/>
                </a:lnTo>
                <a:lnTo>
                  <a:pt x="1533" y="1228"/>
                </a:lnTo>
                <a:lnTo>
                  <a:pt x="1528" y="1222"/>
                </a:lnTo>
                <a:lnTo>
                  <a:pt x="1516" y="1210"/>
                </a:lnTo>
                <a:lnTo>
                  <a:pt x="1508" y="1201"/>
                </a:lnTo>
                <a:lnTo>
                  <a:pt x="1474" y="1214"/>
                </a:lnTo>
                <a:lnTo>
                  <a:pt x="1468" y="1213"/>
                </a:lnTo>
                <a:lnTo>
                  <a:pt x="1461" y="1210"/>
                </a:lnTo>
                <a:lnTo>
                  <a:pt x="1454" y="1205"/>
                </a:lnTo>
                <a:lnTo>
                  <a:pt x="1448" y="1201"/>
                </a:lnTo>
                <a:lnTo>
                  <a:pt x="1441" y="1196"/>
                </a:lnTo>
                <a:lnTo>
                  <a:pt x="1436" y="1192"/>
                </a:lnTo>
                <a:lnTo>
                  <a:pt x="1428" y="1190"/>
                </a:lnTo>
                <a:lnTo>
                  <a:pt x="1421" y="1189"/>
                </a:lnTo>
                <a:lnTo>
                  <a:pt x="1406" y="1190"/>
                </a:lnTo>
                <a:lnTo>
                  <a:pt x="1390" y="1192"/>
                </a:lnTo>
                <a:lnTo>
                  <a:pt x="1372" y="1197"/>
                </a:lnTo>
                <a:lnTo>
                  <a:pt x="1354" y="1203"/>
                </a:lnTo>
                <a:lnTo>
                  <a:pt x="1337" y="1211"/>
                </a:lnTo>
                <a:lnTo>
                  <a:pt x="1318" y="1219"/>
                </a:lnTo>
                <a:lnTo>
                  <a:pt x="1301" y="1228"/>
                </a:lnTo>
                <a:lnTo>
                  <a:pt x="1283" y="1238"/>
                </a:lnTo>
                <a:lnTo>
                  <a:pt x="1265" y="1249"/>
                </a:lnTo>
                <a:lnTo>
                  <a:pt x="1248" y="1259"/>
                </a:lnTo>
                <a:lnTo>
                  <a:pt x="1231" y="1272"/>
                </a:lnTo>
                <a:lnTo>
                  <a:pt x="1217" y="1283"/>
                </a:lnTo>
                <a:lnTo>
                  <a:pt x="1203" y="1294"/>
                </a:lnTo>
                <a:lnTo>
                  <a:pt x="1190" y="1304"/>
                </a:lnTo>
                <a:lnTo>
                  <a:pt x="1179" y="1314"/>
                </a:lnTo>
                <a:lnTo>
                  <a:pt x="1169" y="1325"/>
                </a:lnTo>
                <a:lnTo>
                  <a:pt x="1166" y="1328"/>
                </a:lnTo>
                <a:lnTo>
                  <a:pt x="1163" y="1333"/>
                </a:lnTo>
                <a:lnTo>
                  <a:pt x="1162" y="1337"/>
                </a:lnTo>
                <a:lnTo>
                  <a:pt x="1161" y="1342"/>
                </a:lnTo>
                <a:lnTo>
                  <a:pt x="1161" y="1354"/>
                </a:lnTo>
                <a:lnTo>
                  <a:pt x="1161" y="1366"/>
                </a:lnTo>
                <a:lnTo>
                  <a:pt x="1161" y="1379"/>
                </a:lnTo>
                <a:lnTo>
                  <a:pt x="1160" y="1392"/>
                </a:lnTo>
                <a:lnTo>
                  <a:pt x="1159" y="1399"/>
                </a:lnTo>
                <a:lnTo>
                  <a:pt x="1157" y="1405"/>
                </a:lnTo>
                <a:lnTo>
                  <a:pt x="1153" y="1411"/>
                </a:lnTo>
                <a:lnTo>
                  <a:pt x="1149" y="1417"/>
                </a:lnTo>
                <a:lnTo>
                  <a:pt x="1143" y="1416"/>
                </a:lnTo>
                <a:lnTo>
                  <a:pt x="1136" y="1415"/>
                </a:lnTo>
                <a:lnTo>
                  <a:pt x="1129" y="1414"/>
                </a:lnTo>
                <a:lnTo>
                  <a:pt x="1124" y="1412"/>
                </a:lnTo>
                <a:lnTo>
                  <a:pt x="1111" y="1408"/>
                </a:lnTo>
                <a:lnTo>
                  <a:pt x="1100" y="1401"/>
                </a:lnTo>
                <a:lnTo>
                  <a:pt x="1090" y="1394"/>
                </a:lnTo>
                <a:lnTo>
                  <a:pt x="1082" y="1386"/>
                </a:lnTo>
                <a:lnTo>
                  <a:pt x="1080" y="1382"/>
                </a:lnTo>
                <a:lnTo>
                  <a:pt x="1078" y="1377"/>
                </a:lnTo>
                <a:lnTo>
                  <a:pt x="1077" y="1372"/>
                </a:lnTo>
                <a:lnTo>
                  <a:pt x="1076" y="1367"/>
                </a:lnTo>
                <a:lnTo>
                  <a:pt x="1076" y="1356"/>
                </a:lnTo>
                <a:lnTo>
                  <a:pt x="1074" y="1344"/>
                </a:lnTo>
                <a:lnTo>
                  <a:pt x="1072" y="1330"/>
                </a:lnTo>
                <a:lnTo>
                  <a:pt x="1070" y="1315"/>
                </a:lnTo>
                <a:lnTo>
                  <a:pt x="1066" y="1300"/>
                </a:lnTo>
                <a:lnTo>
                  <a:pt x="1061" y="1285"/>
                </a:lnTo>
                <a:lnTo>
                  <a:pt x="1057" y="1270"/>
                </a:lnTo>
                <a:lnTo>
                  <a:pt x="1051" y="1254"/>
                </a:lnTo>
                <a:lnTo>
                  <a:pt x="1044" y="1240"/>
                </a:lnTo>
                <a:lnTo>
                  <a:pt x="1037" y="1227"/>
                </a:lnTo>
                <a:lnTo>
                  <a:pt x="1028" y="1215"/>
                </a:lnTo>
                <a:lnTo>
                  <a:pt x="1020" y="1203"/>
                </a:lnTo>
                <a:lnTo>
                  <a:pt x="1015" y="1199"/>
                </a:lnTo>
                <a:lnTo>
                  <a:pt x="1010" y="1195"/>
                </a:lnTo>
                <a:lnTo>
                  <a:pt x="1005" y="1191"/>
                </a:lnTo>
                <a:lnTo>
                  <a:pt x="1000" y="1188"/>
                </a:lnTo>
                <a:lnTo>
                  <a:pt x="994" y="1186"/>
                </a:lnTo>
                <a:lnTo>
                  <a:pt x="988" y="1184"/>
                </a:lnTo>
                <a:lnTo>
                  <a:pt x="982" y="1183"/>
                </a:lnTo>
                <a:lnTo>
                  <a:pt x="977" y="1183"/>
                </a:lnTo>
                <a:lnTo>
                  <a:pt x="964" y="1183"/>
                </a:lnTo>
                <a:lnTo>
                  <a:pt x="951" y="1186"/>
                </a:lnTo>
                <a:lnTo>
                  <a:pt x="940" y="1190"/>
                </a:lnTo>
                <a:lnTo>
                  <a:pt x="931" y="1195"/>
                </a:lnTo>
                <a:lnTo>
                  <a:pt x="926" y="1199"/>
                </a:lnTo>
                <a:lnTo>
                  <a:pt x="922" y="1202"/>
                </a:lnTo>
                <a:lnTo>
                  <a:pt x="919" y="1206"/>
                </a:lnTo>
                <a:lnTo>
                  <a:pt x="915" y="1212"/>
                </a:lnTo>
                <a:lnTo>
                  <a:pt x="913" y="1216"/>
                </a:lnTo>
                <a:lnTo>
                  <a:pt x="911" y="1221"/>
                </a:lnTo>
                <a:lnTo>
                  <a:pt x="910" y="1227"/>
                </a:lnTo>
                <a:lnTo>
                  <a:pt x="910" y="1232"/>
                </a:lnTo>
                <a:lnTo>
                  <a:pt x="883" y="1232"/>
                </a:lnTo>
                <a:lnTo>
                  <a:pt x="878" y="1229"/>
                </a:lnTo>
                <a:lnTo>
                  <a:pt x="872" y="1225"/>
                </a:lnTo>
                <a:lnTo>
                  <a:pt x="867" y="1219"/>
                </a:lnTo>
                <a:lnTo>
                  <a:pt x="861" y="1212"/>
                </a:lnTo>
                <a:lnTo>
                  <a:pt x="850" y="1196"/>
                </a:lnTo>
                <a:lnTo>
                  <a:pt x="839" y="1179"/>
                </a:lnTo>
                <a:lnTo>
                  <a:pt x="830" y="1161"/>
                </a:lnTo>
                <a:lnTo>
                  <a:pt x="821" y="1144"/>
                </a:lnTo>
                <a:lnTo>
                  <a:pt x="814" y="1131"/>
                </a:lnTo>
                <a:lnTo>
                  <a:pt x="810" y="1121"/>
                </a:lnTo>
                <a:lnTo>
                  <a:pt x="805" y="1120"/>
                </a:lnTo>
                <a:lnTo>
                  <a:pt x="801" y="1118"/>
                </a:lnTo>
                <a:lnTo>
                  <a:pt x="798" y="1115"/>
                </a:lnTo>
                <a:lnTo>
                  <a:pt x="794" y="1111"/>
                </a:lnTo>
                <a:lnTo>
                  <a:pt x="789" y="1100"/>
                </a:lnTo>
                <a:lnTo>
                  <a:pt x="782" y="1087"/>
                </a:lnTo>
                <a:lnTo>
                  <a:pt x="779" y="1081"/>
                </a:lnTo>
                <a:lnTo>
                  <a:pt x="775" y="1075"/>
                </a:lnTo>
                <a:lnTo>
                  <a:pt x="770" y="1069"/>
                </a:lnTo>
                <a:lnTo>
                  <a:pt x="765" y="1064"/>
                </a:lnTo>
                <a:lnTo>
                  <a:pt x="757" y="1060"/>
                </a:lnTo>
                <a:lnTo>
                  <a:pt x="749" y="1056"/>
                </a:lnTo>
                <a:lnTo>
                  <a:pt x="741" y="1054"/>
                </a:lnTo>
                <a:lnTo>
                  <a:pt x="731" y="1054"/>
                </a:lnTo>
                <a:lnTo>
                  <a:pt x="718" y="1054"/>
                </a:lnTo>
                <a:lnTo>
                  <a:pt x="706" y="1055"/>
                </a:lnTo>
                <a:lnTo>
                  <a:pt x="696" y="1057"/>
                </a:lnTo>
                <a:lnTo>
                  <a:pt x="687" y="1059"/>
                </a:lnTo>
                <a:lnTo>
                  <a:pt x="670" y="1065"/>
                </a:lnTo>
                <a:lnTo>
                  <a:pt x="656" y="1072"/>
                </a:lnTo>
                <a:lnTo>
                  <a:pt x="642" y="1078"/>
                </a:lnTo>
                <a:lnTo>
                  <a:pt x="624" y="1084"/>
                </a:lnTo>
                <a:lnTo>
                  <a:pt x="615" y="1087"/>
                </a:lnTo>
                <a:lnTo>
                  <a:pt x="604" y="1088"/>
                </a:lnTo>
                <a:lnTo>
                  <a:pt x="591" y="1089"/>
                </a:lnTo>
                <a:lnTo>
                  <a:pt x="577" y="1090"/>
                </a:lnTo>
                <a:lnTo>
                  <a:pt x="555" y="1089"/>
                </a:lnTo>
                <a:lnTo>
                  <a:pt x="533" y="1086"/>
                </a:lnTo>
                <a:lnTo>
                  <a:pt x="514" y="1083"/>
                </a:lnTo>
                <a:lnTo>
                  <a:pt x="496" y="1078"/>
                </a:lnTo>
                <a:lnTo>
                  <a:pt x="478" y="1072"/>
                </a:lnTo>
                <a:lnTo>
                  <a:pt x="462" y="1065"/>
                </a:lnTo>
                <a:lnTo>
                  <a:pt x="445" y="1058"/>
                </a:lnTo>
                <a:lnTo>
                  <a:pt x="430" y="1051"/>
                </a:lnTo>
                <a:lnTo>
                  <a:pt x="415" y="1043"/>
                </a:lnTo>
                <a:lnTo>
                  <a:pt x="398" y="1035"/>
                </a:lnTo>
                <a:lnTo>
                  <a:pt x="383" y="1028"/>
                </a:lnTo>
                <a:lnTo>
                  <a:pt x="366" y="1023"/>
                </a:lnTo>
                <a:lnTo>
                  <a:pt x="350" y="1017"/>
                </a:lnTo>
                <a:lnTo>
                  <a:pt x="331" y="1014"/>
                </a:lnTo>
                <a:lnTo>
                  <a:pt x="312" y="1011"/>
                </a:lnTo>
                <a:lnTo>
                  <a:pt x="292" y="1010"/>
                </a:lnTo>
                <a:lnTo>
                  <a:pt x="263" y="1012"/>
                </a:lnTo>
                <a:lnTo>
                  <a:pt x="234" y="1015"/>
                </a:lnTo>
                <a:lnTo>
                  <a:pt x="220" y="1016"/>
                </a:lnTo>
                <a:lnTo>
                  <a:pt x="205" y="1015"/>
                </a:lnTo>
                <a:lnTo>
                  <a:pt x="189" y="1014"/>
                </a:lnTo>
                <a:lnTo>
                  <a:pt x="172" y="1010"/>
                </a:lnTo>
                <a:lnTo>
                  <a:pt x="173" y="998"/>
                </a:lnTo>
                <a:lnTo>
                  <a:pt x="175" y="988"/>
                </a:lnTo>
                <a:lnTo>
                  <a:pt x="175" y="982"/>
                </a:lnTo>
                <a:lnTo>
                  <a:pt x="175" y="979"/>
                </a:lnTo>
                <a:lnTo>
                  <a:pt x="174" y="975"/>
                </a:lnTo>
                <a:lnTo>
                  <a:pt x="172" y="973"/>
                </a:lnTo>
                <a:lnTo>
                  <a:pt x="141" y="952"/>
                </a:lnTo>
                <a:lnTo>
                  <a:pt x="107" y="931"/>
                </a:lnTo>
                <a:lnTo>
                  <a:pt x="97" y="925"/>
                </a:lnTo>
                <a:lnTo>
                  <a:pt x="88" y="920"/>
                </a:lnTo>
                <a:lnTo>
                  <a:pt x="79" y="916"/>
                </a:lnTo>
                <a:lnTo>
                  <a:pt x="69" y="912"/>
                </a:lnTo>
                <a:lnTo>
                  <a:pt x="59" y="909"/>
                </a:lnTo>
                <a:lnTo>
                  <a:pt x="48" y="907"/>
                </a:lnTo>
                <a:lnTo>
                  <a:pt x="37" y="906"/>
                </a:lnTo>
                <a:lnTo>
                  <a:pt x="26" y="905"/>
                </a:lnTo>
                <a:lnTo>
                  <a:pt x="27" y="899"/>
                </a:lnTo>
                <a:lnTo>
                  <a:pt x="28" y="893"/>
                </a:lnTo>
                <a:lnTo>
                  <a:pt x="30" y="888"/>
                </a:lnTo>
                <a:lnTo>
                  <a:pt x="32" y="883"/>
                </a:lnTo>
                <a:lnTo>
                  <a:pt x="37" y="874"/>
                </a:lnTo>
                <a:lnTo>
                  <a:pt x="39" y="868"/>
                </a:lnTo>
                <a:lnTo>
                  <a:pt x="39" y="848"/>
                </a:lnTo>
                <a:lnTo>
                  <a:pt x="36" y="826"/>
                </a:lnTo>
                <a:lnTo>
                  <a:pt x="32" y="801"/>
                </a:lnTo>
                <a:lnTo>
                  <a:pt x="29" y="777"/>
                </a:lnTo>
                <a:lnTo>
                  <a:pt x="24" y="752"/>
                </a:lnTo>
                <a:lnTo>
                  <a:pt x="19" y="729"/>
                </a:lnTo>
                <a:lnTo>
                  <a:pt x="16" y="707"/>
                </a:lnTo>
                <a:lnTo>
                  <a:pt x="13" y="690"/>
                </a:lnTo>
                <a:lnTo>
                  <a:pt x="17" y="687"/>
                </a:lnTo>
                <a:lnTo>
                  <a:pt x="25" y="680"/>
                </a:lnTo>
                <a:lnTo>
                  <a:pt x="28" y="675"/>
                </a:lnTo>
                <a:lnTo>
                  <a:pt x="29" y="669"/>
                </a:lnTo>
                <a:lnTo>
                  <a:pt x="30" y="666"/>
                </a:lnTo>
                <a:lnTo>
                  <a:pt x="29" y="662"/>
                </a:lnTo>
                <a:lnTo>
                  <a:pt x="28" y="658"/>
                </a:lnTo>
                <a:lnTo>
                  <a:pt x="26" y="653"/>
                </a:lnTo>
                <a:lnTo>
                  <a:pt x="21" y="658"/>
                </a:lnTo>
                <a:lnTo>
                  <a:pt x="16" y="663"/>
                </a:lnTo>
                <a:lnTo>
                  <a:pt x="12" y="669"/>
                </a:lnTo>
                <a:lnTo>
                  <a:pt x="6" y="677"/>
                </a:lnTo>
                <a:lnTo>
                  <a:pt x="4" y="672"/>
                </a:lnTo>
                <a:lnTo>
                  <a:pt x="3" y="667"/>
                </a:lnTo>
                <a:lnTo>
                  <a:pt x="2" y="660"/>
                </a:lnTo>
                <a:lnTo>
                  <a:pt x="1" y="653"/>
                </a:lnTo>
                <a:lnTo>
                  <a:pt x="0" y="639"/>
                </a:lnTo>
                <a:lnTo>
                  <a:pt x="0" y="628"/>
                </a:lnTo>
                <a:lnTo>
                  <a:pt x="0" y="604"/>
                </a:lnTo>
                <a:lnTo>
                  <a:pt x="2" y="581"/>
                </a:lnTo>
                <a:lnTo>
                  <a:pt x="3" y="570"/>
                </a:lnTo>
                <a:lnTo>
                  <a:pt x="5" y="558"/>
                </a:lnTo>
                <a:lnTo>
                  <a:pt x="8" y="545"/>
                </a:lnTo>
                <a:lnTo>
                  <a:pt x="13" y="529"/>
                </a:lnTo>
                <a:lnTo>
                  <a:pt x="26" y="514"/>
                </a:lnTo>
                <a:lnTo>
                  <a:pt x="38" y="499"/>
                </a:lnTo>
                <a:lnTo>
                  <a:pt x="50" y="482"/>
                </a:lnTo>
                <a:lnTo>
                  <a:pt x="61" y="467"/>
                </a:lnTo>
                <a:lnTo>
                  <a:pt x="81" y="434"/>
                </a:lnTo>
                <a:lnTo>
                  <a:pt x="101" y="401"/>
                </a:lnTo>
                <a:lnTo>
                  <a:pt x="119" y="368"/>
                </a:lnTo>
                <a:lnTo>
                  <a:pt x="141" y="336"/>
                </a:lnTo>
                <a:lnTo>
                  <a:pt x="152" y="321"/>
                </a:lnTo>
                <a:lnTo>
                  <a:pt x="164" y="305"/>
                </a:lnTo>
                <a:lnTo>
                  <a:pt x="177" y="291"/>
                </a:lnTo>
                <a:lnTo>
                  <a:pt x="193" y="277"/>
                </a:lnTo>
                <a:lnTo>
                  <a:pt x="198" y="271"/>
                </a:lnTo>
                <a:lnTo>
                  <a:pt x="204" y="265"/>
                </a:lnTo>
                <a:lnTo>
                  <a:pt x="208" y="257"/>
                </a:lnTo>
                <a:lnTo>
                  <a:pt x="213" y="250"/>
                </a:lnTo>
                <a:lnTo>
                  <a:pt x="219" y="234"/>
                </a:lnTo>
                <a:lnTo>
                  <a:pt x="227" y="218"/>
                </a:lnTo>
                <a:lnTo>
                  <a:pt x="233" y="200"/>
                </a:lnTo>
                <a:lnTo>
                  <a:pt x="242" y="184"/>
                </a:lnTo>
                <a:lnTo>
                  <a:pt x="247" y="176"/>
                </a:lnTo>
                <a:lnTo>
                  <a:pt x="252" y="169"/>
                </a:lnTo>
                <a:lnTo>
                  <a:pt x="259" y="161"/>
                </a:lnTo>
                <a:lnTo>
                  <a:pt x="265" y="154"/>
                </a:lnTo>
                <a:lnTo>
                  <a:pt x="266" y="131"/>
                </a:lnTo>
                <a:lnTo>
                  <a:pt x="270" y="109"/>
                </a:lnTo>
                <a:lnTo>
                  <a:pt x="274" y="89"/>
                </a:lnTo>
                <a:lnTo>
                  <a:pt x="278" y="73"/>
                </a:lnTo>
                <a:lnTo>
                  <a:pt x="299" y="74"/>
                </a:lnTo>
                <a:lnTo>
                  <a:pt x="326" y="77"/>
                </a:lnTo>
                <a:lnTo>
                  <a:pt x="349" y="79"/>
                </a:lnTo>
                <a:lnTo>
                  <a:pt x="359" y="80"/>
                </a:lnTo>
                <a:lnTo>
                  <a:pt x="357" y="91"/>
                </a:lnTo>
                <a:lnTo>
                  <a:pt x="355" y="102"/>
                </a:lnTo>
                <a:lnTo>
                  <a:pt x="352" y="112"/>
                </a:lnTo>
                <a:lnTo>
                  <a:pt x="349" y="121"/>
                </a:lnTo>
                <a:lnTo>
                  <a:pt x="344" y="130"/>
                </a:lnTo>
                <a:lnTo>
                  <a:pt x="341" y="138"/>
                </a:lnTo>
                <a:lnTo>
                  <a:pt x="339" y="146"/>
                </a:lnTo>
                <a:lnTo>
                  <a:pt x="339" y="154"/>
                </a:lnTo>
                <a:lnTo>
                  <a:pt x="343" y="153"/>
                </a:lnTo>
                <a:lnTo>
                  <a:pt x="348" y="150"/>
                </a:lnTo>
                <a:lnTo>
                  <a:pt x="352" y="147"/>
                </a:lnTo>
                <a:lnTo>
                  <a:pt x="356" y="144"/>
                </a:lnTo>
                <a:lnTo>
                  <a:pt x="364" y="137"/>
                </a:lnTo>
                <a:lnTo>
                  <a:pt x="371" y="129"/>
                </a:lnTo>
                <a:lnTo>
                  <a:pt x="376" y="120"/>
                </a:lnTo>
                <a:lnTo>
                  <a:pt x="381" y="110"/>
                </a:lnTo>
                <a:lnTo>
                  <a:pt x="385" y="99"/>
                </a:lnTo>
                <a:lnTo>
                  <a:pt x="388" y="87"/>
                </a:lnTo>
                <a:lnTo>
                  <a:pt x="394" y="66"/>
                </a:lnTo>
                <a:lnTo>
                  <a:pt x="396" y="48"/>
                </a:lnTo>
                <a:lnTo>
                  <a:pt x="398" y="35"/>
                </a:lnTo>
                <a:lnTo>
                  <a:pt x="398" y="30"/>
                </a:lnTo>
                <a:lnTo>
                  <a:pt x="1827" y="30"/>
                </a:lnTo>
                <a:lnTo>
                  <a:pt x="1825" y="21"/>
                </a:lnTo>
                <a:lnTo>
                  <a:pt x="1823" y="13"/>
                </a:lnTo>
                <a:lnTo>
                  <a:pt x="1821" y="5"/>
                </a:lnTo>
                <a:lnTo>
                  <a:pt x="1820" y="0"/>
                </a:lnTo>
                <a:lnTo>
                  <a:pt x="1827" y="0"/>
                </a:lnTo>
                <a:lnTo>
                  <a:pt x="1853" y="0"/>
                </a:lnTo>
                <a:lnTo>
                  <a:pt x="1854" y="11"/>
                </a:lnTo>
                <a:lnTo>
                  <a:pt x="1856" y="21"/>
                </a:lnTo>
                <a:lnTo>
                  <a:pt x="1861" y="30"/>
                </a:lnTo>
                <a:lnTo>
                  <a:pt x="1866" y="38"/>
                </a:lnTo>
                <a:lnTo>
                  <a:pt x="1873" y="46"/>
                </a:lnTo>
                <a:lnTo>
                  <a:pt x="1881" y="51"/>
                </a:lnTo>
                <a:lnTo>
                  <a:pt x="1886" y="53"/>
                </a:lnTo>
                <a:lnTo>
                  <a:pt x="1890" y="54"/>
                </a:lnTo>
                <a:lnTo>
                  <a:pt x="1895" y="55"/>
                </a:lnTo>
                <a:lnTo>
                  <a:pt x="1900" y="55"/>
                </a:lnTo>
                <a:lnTo>
                  <a:pt x="1910" y="55"/>
                </a:lnTo>
                <a:lnTo>
                  <a:pt x="1926" y="55"/>
                </a:lnTo>
                <a:lnTo>
                  <a:pt x="1935" y="56"/>
                </a:lnTo>
                <a:lnTo>
                  <a:pt x="1944" y="58"/>
                </a:lnTo>
                <a:lnTo>
                  <a:pt x="1952" y="61"/>
                </a:lnTo>
                <a:lnTo>
                  <a:pt x="1958" y="64"/>
                </a:lnTo>
                <a:lnTo>
                  <a:pt x="1965" y="68"/>
                </a:lnTo>
                <a:lnTo>
                  <a:pt x="1972" y="71"/>
                </a:lnTo>
                <a:lnTo>
                  <a:pt x="1979" y="73"/>
                </a:lnTo>
                <a:lnTo>
                  <a:pt x="1986" y="73"/>
                </a:lnTo>
                <a:lnTo>
                  <a:pt x="1992" y="72"/>
                </a:lnTo>
                <a:lnTo>
                  <a:pt x="1999" y="67"/>
                </a:lnTo>
                <a:lnTo>
                  <a:pt x="2003" y="63"/>
                </a:lnTo>
                <a:lnTo>
                  <a:pt x="2006" y="61"/>
                </a:lnTo>
                <a:lnTo>
                  <a:pt x="2015" y="69"/>
                </a:lnTo>
                <a:lnTo>
                  <a:pt x="2024" y="75"/>
                </a:lnTo>
                <a:lnTo>
                  <a:pt x="2035" y="81"/>
                </a:lnTo>
                <a:lnTo>
                  <a:pt x="2046" y="86"/>
                </a:lnTo>
                <a:lnTo>
                  <a:pt x="2038" y="93"/>
                </a:lnTo>
                <a:lnTo>
                  <a:pt x="2031" y="100"/>
                </a:lnTo>
                <a:lnTo>
                  <a:pt x="2021" y="104"/>
                </a:lnTo>
                <a:lnTo>
                  <a:pt x="2011" y="108"/>
                </a:lnTo>
                <a:lnTo>
                  <a:pt x="1989" y="114"/>
                </a:lnTo>
                <a:lnTo>
                  <a:pt x="1967" y="118"/>
                </a:lnTo>
                <a:lnTo>
                  <a:pt x="1956" y="120"/>
                </a:lnTo>
                <a:lnTo>
                  <a:pt x="1946" y="122"/>
                </a:lnTo>
                <a:lnTo>
                  <a:pt x="1937" y="125"/>
                </a:lnTo>
                <a:lnTo>
                  <a:pt x="1929" y="128"/>
                </a:lnTo>
                <a:lnTo>
                  <a:pt x="1922" y="133"/>
                </a:lnTo>
                <a:lnTo>
                  <a:pt x="1918" y="138"/>
                </a:lnTo>
                <a:lnTo>
                  <a:pt x="1916" y="141"/>
                </a:lnTo>
                <a:lnTo>
                  <a:pt x="1914" y="145"/>
                </a:lnTo>
                <a:lnTo>
                  <a:pt x="1913" y="149"/>
                </a:lnTo>
                <a:lnTo>
                  <a:pt x="1913" y="154"/>
                </a:lnTo>
                <a:lnTo>
                  <a:pt x="1926" y="155"/>
                </a:lnTo>
                <a:lnTo>
                  <a:pt x="1937" y="156"/>
                </a:lnTo>
                <a:lnTo>
                  <a:pt x="1946" y="158"/>
                </a:lnTo>
                <a:lnTo>
                  <a:pt x="1954" y="160"/>
                </a:lnTo>
                <a:lnTo>
                  <a:pt x="1962" y="162"/>
                </a:lnTo>
                <a:lnTo>
                  <a:pt x="1969" y="164"/>
                </a:lnTo>
                <a:lnTo>
                  <a:pt x="1977" y="166"/>
                </a:lnTo>
                <a:lnTo>
                  <a:pt x="1986" y="166"/>
                </a:lnTo>
                <a:lnTo>
                  <a:pt x="1996" y="165"/>
                </a:lnTo>
                <a:lnTo>
                  <a:pt x="2011" y="161"/>
                </a:lnTo>
                <a:lnTo>
                  <a:pt x="2028" y="155"/>
                </a:lnTo>
                <a:lnTo>
                  <a:pt x="2047" y="147"/>
                </a:lnTo>
                <a:lnTo>
                  <a:pt x="2067" y="140"/>
                </a:lnTo>
                <a:lnTo>
                  <a:pt x="2087" y="135"/>
                </a:lnTo>
                <a:lnTo>
                  <a:pt x="2104" y="130"/>
                </a:lnTo>
                <a:lnTo>
                  <a:pt x="2119" y="129"/>
                </a:lnTo>
                <a:lnTo>
                  <a:pt x="2109" y="140"/>
                </a:lnTo>
                <a:lnTo>
                  <a:pt x="2101" y="147"/>
                </a:lnTo>
                <a:lnTo>
                  <a:pt x="2097" y="151"/>
                </a:lnTo>
                <a:lnTo>
                  <a:pt x="2094" y="155"/>
                </a:lnTo>
                <a:lnTo>
                  <a:pt x="2093" y="160"/>
                </a:lnTo>
                <a:lnTo>
                  <a:pt x="2092" y="166"/>
                </a:lnTo>
                <a:lnTo>
                  <a:pt x="2102" y="166"/>
                </a:lnTo>
                <a:lnTo>
                  <a:pt x="2112" y="166"/>
                </a:lnTo>
                <a:lnTo>
                  <a:pt x="2121" y="167"/>
                </a:lnTo>
                <a:lnTo>
                  <a:pt x="2138" y="169"/>
                </a:lnTo>
                <a:lnTo>
                  <a:pt x="2163" y="172"/>
                </a:lnTo>
                <a:lnTo>
                  <a:pt x="2191" y="175"/>
                </a:lnTo>
                <a:lnTo>
                  <a:pt x="2221" y="179"/>
                </a:lnTo>
                <a:lnTo>
                  <a:pt x="2248" y="182"/>
                </a:lnTo>
                <a:lnTo>
                  <a:pt x="2270" y="184"/>
                </a:lnTo>
                <a:lnTo>
                  <a:pt x="2286" y="184"/>
                </a:lnTo>
                <a:lnTo>
                  <a:pt x="2284" y="193"/>
                </a:lnTo>
                <a:lnTo>
                  <a:pt x="2282" y="199"/>
                </a:lnTo>
                <a:lnTo>
                  <a:pt x="2279" y="205"/>
                </a:lnTo>
                <a:lnTo>
                  <a:pt x="2275" y="210"/>
                </a:lnTo>
                <a:lnTo>
                  <a:pt x="2269" y="212"/>
                </a:lnTo>
                <a:lnTo>
                  <a:pt x="2262" y="214"/>
                </a:lnTo>
                <a:lnTo>
                  <a:pt x="2255" y="215"/>
                </a:lnTo>
                <a:lnTo>
                  <a:pt x="2245" y="216"/>
                </a:lnTo>
                <a:lnTo>
                  <a:pt x="2238" y="215"/>
                </a:lnTo>
                <a:lnTo>
                  <a:pt x="2233" y="214"/>
                </a:lnTo>
                <a:lnTo>
                  <a:pt x="2228" y="212"/>
                </a:lnTo>
                <a:lnTo>
                  <a:pt x="2225" y="210"/>
                </a:lnTo>
                <a:lnTo>
                  <a:pt x="2222" y="206"/>
                </a:lnTo>
                <a:lnTo>
                  <a:pt x="2217" y="204"/>
                </a:lnTo>
                <a:lnTo>
                  <a:pt x="2212" y="203"/>
                </a:lnTo>
                <a:lnTo>
                  <a:pt x="2205" y="203"/>
                </a:lnTo>
                <a:lnTo>
                  <a:pt x="2194" y="203"/>
                </a:lnTo>
                <a:lnTo>
                  <a:pt x="2185" y="205"/>
                </a:lnTo>
                <a:lnTo>
                  <a:pt x="2175" y="209"/>
                </a:lnTo>
                <a:lnTo>
                  <a:pt x="2166" y="213"/>
                </a:lnTo>
                <a:lnTo>
                  <a:pt x="2149" y="223"/>
                </a:lnTo>
                <a:lnTo>
                  <a:pt x="2135" y="234"/>
                </a:lnTo>
                <a:lnTo>
                  <a:pt x="2121" y="245"/>
                </a:lnTo>
                <a:lnTo>
                  <a:pt x="2108" y="255"/>
                </a:lnTo>
                <a:lnTo>
                  <a:pt x="2100" y="258"/>
                </a:lnTo>
                <a:lnTo>
                  <a:pt x="2093" y="261"/>
                </a:lnTo>
                <a:lnTo>
                  <a:pt x="2087" y="264"/>
                </a:lnTo>
                <a:lnTo>
                  <a:pt x="2079" y="265"/>
                </a:lnTo>
                <a:lnTo>
                  <a:pt x="2073" y="266"/>
                </a:lnTo>
                <a:lnTo>
                  <a:pt x="2068" y="268"/>
                </a:lnTo>
                <a:lnTo>
                  <a:pt x="2066" y="271"/>
                </a:lnTo>
                <a:lnTo>
                  <a:pt x="2064" y="276"/>
                </a:lnTo>
                <a:lnTo>
                  <a:pt x="2063" y="285"/>
                </a:lnTo>
                <a:lnTo>
                  <a:pt x="2059" y="295"/>
                </a:lnTo>
                <a:lnTo>
                  <a:pt x="2056" y="304"/>
                </a:lnTo>
                <a:lnTo>
                  <a:pt x="2053" y="312"/>
                </a:lnTo>
                <a:lnTo>
                  <a:pt x="2048" y="321"/>
                </a:lnTo>
                <a:lnTo>
                  <a:pt x="2043" y="328"/>
                </a:lnTo>
                <a:lnTo>
                  <a:pt x="2032" y="342"/>
                </a:lnTo>
                <a:lnTo>
                  <a:pt x="2021" y="355"/>
                </a:lnTo>
                <a:lnTo>
                  <a:pt x="2015" y="362"/>
                </a:lnTo>
                <a:lnTo>
                  <a:pt x="2010" y="369"/>
                </a:lnTo>
                <a:lnTo>
                  <a:pt x="2006" y="378"/>
                </a:lnTo>
                <a:lnTo>
                  <a:pt x="2001" y="386"/>
                </a:lnTo>
                <a:lnTo>
                  <a:pt x="1998" y="394"/>
                </a:lnTo>
                <a:lnTo>
                  <a:pt x="1995" y="404"/>
                </a:lnTo>
                <a:lnTo>
                  <a:pt x="1993" y="414"/>
                </a:lnTo>
                <a:lnTo>
                  <a:pt x="1992" y="424"/>
                </a:lnTo>
                <a:lnTo>
                  <a:pt x="1993" y="432"/>
                </a:lnTo>
                <a:lnTo>
                  <a:pt x="1997" y="438"/>
                </a:lnTo>
                <a:lnTo>
                  <a:pt x="2001" y="443"/>
                </a:lnTo>
                <a:lnTo>
                  <a:pt x="2007" y="447"/>
                </a:lnTo>
                <a:lnTo>
                  <a:pt x="2012" y="451"/>
                </a:lnTo>
                <a:lnTo>
                  <a:pt x="2018" y="453"/>
                </a:lnTo>
                <a:lnTo>
                  <a:pt x="2022" y="455"/>
                </a:lnTo>
                <a:lnTo>
                  <a:pt x="2026" y="456"/>
                </a:lnTo>
                <a:lnTo>
                  <a:pt x="2032" y="455"/>
                </a:lnTo>
                <a:lnTo>
                  <a:pt x="2037" y="454"/>
                </a:lnTo>
                <a:lnTo>
                  <a:pt x="2043" y="453"/>
                </a:lnTo>
                <a:lnTo>
                  <a:pt x="2047" y="451"/>
                </a:lnTo>
                <a:lnTo>
                  <a:pt x="2052" y="448"/>
                </a:lnTo>
                <a:lnTo>
                  <a:pt x="2056" y="445"/>
                </a:lnTo>
                <a:lnTo>
                  <a:pt x="2060" y="441"/>
                </a:lnTo>
                <a:lnTo>
                  <a:pt x="2064" y="437"/>
                </a:lnTo>
                <a:lnTo>
                  <a:pt x="2070" y="427"/>
                </a:lnTo>
                <a:lnTo>
                  <a:pt x="2076" y="417"/>
                </a:lnTo>
                <a:lnTo>
                  <a:pt x="2080" y="405"/>
                </a:lnTo>
                <a:lnTo>
                  <a:pt x="2085" y="393"/>
                </a:lnTo>
                <a:lnTo>
                  <a:pt x="2092" y="368"/>
                </a:lnTo>
                <a:lnTo>
                  <a:pt x="2100" y="344"/>
                </a:lnTo>
                <a:lnTo>
                  <a:pt x="2103" y="333"/>
                </a:lnTo>
                <a:lnTo>
                  <a:pt x="2108" y="323"/>
                </a:lnTo>
                <a:lnTo>
                  <a:pt x="2113" y="314"/>
                </a:lnTo>
                <a:lnTo>
                  <a:pt x="2119" y="307"/>
                </a:lnTo>
                <a:lnTo>
                  <a:pt x="2135" y="295"/>
                </a:lnTo>
                <a:lnTo>
                  <a:pt x="2152" y="283"/>
                </a:lnTo>
                <a:lnTo>
                  <a:pt x="2169" y="273"/>
                </a:lnTo>
                <a:lnTo>
                  <a:pt x="2188" y="262"/>
                </a:lnTo>
                <a:lnTo>
                  <a:pt x="2205" y="252"/>
                </a:lnTo>
                <a:lnTo>
                  <a:pt x="2223" y="243"/>
                </a:lnTo>
                <a:lnTo>
                  <a:pt x="2238" y="233"/>
                </a:lnTo>
                <a:lnTo>
                  <a:pt x="2251" y="222"/>
                </a:lnTo>
                <a:lnTo>
                  <a:pt x="2266" y="237"/>
                </a:lnTo>
                <a:lnTo>
                  <a:pt x="2278" y="249"/>
                </a:lnTo>
                <a:lnTo>
                  <a:pt x="2283" y="255"/>
                </a:lnTo>
                <a:lnTo>
                  <a:pt x="2288" y="261"/>
                </a:lnTo>
                <a:lnTo>
                  <a:pt x="2293" y="269"/>
                </a:lnTo>
                <a:lnTo>
                  <a:pt x="2299" y="277"/>
                </a:lnTo>
                <a:lnTo>
                  <a:pt x="2289" y="284"/>
                </a:lnTo>
                <a:lnTo>
                  <a:pt x="2281" y="290"/>
                </a:lnTo>
                <a:lnTo>
                  <a:pt x="2273" y="296"/>
                </a:lnTo>
                <a:lnTo>
                  <a:pt x="2267" y="303"/>
                </a:lnTo>
                <a:lnTo>
                  <a:pt x="2260" y="310"/>
                </a:lnTo>
                <a:lnTo>
                  <a:pt x="2255" y="318"/>
                </a:lnTo>
                <a:lnTo>
                  <a:pt x="2250" y="328"/>
                </a:lnTo>
                <a:lnTo>
                  <a:pt x="2245" y="339"/>
                </a:lnTo>
                <a:lnTo>
                  <a:pt x="2259" y="338"/>
                </a:lnTo>
                <a:lnTo>
                  <a:pt x="2271" y="336"/>
                </a:lnTo>
                <a:lnTo>
                  <a:pt x="2284" y="334"/>
                </a:lnTo>
                <a:lnTo>
                  <a:pt x="2299" y="333"/>
                </a:lnTo>
                <a:lnTo>
                  <a:pt x="2299" y="347"/>
                </a:lnTo>
                <a:lnTo>
                  <a:pt x="2299" y="363"/>
                </a:lnTo>
                <a:lnTo>
                  <a:pt x="2299" y="380"/>
                </a:lnTo>
                <a:lnTo>
                  <a:pt x="2299" y="394"/>
                </a:lnTo>
                <a:lnTo>
                  <a:pt x="2293" y="399"/>
                </a:lnTo>
                <a:lnTo>
                  <a:pt x="2288" y="404"/>
                </a:lnTo>
                <a:lnTo>
                  <a:pt x="2281" y="411"/>
                </a:lnTo>
                <a:lnTo>
                  <a:pt x="2276" y="418"/>
                </a:lnTo>
                <a:lnTo>
                  <a:pt x="2250" y="426"/>
                </a:lnTo>
                <a:lnTo>
                  <a:pt x="2228" y="435"/>
                </a:lnTo>
                <a:lnTo>
                  <a:pt x="2219" y="439"/>
                </a:lnTo>
                <a:lnTo>
                  <a:pt x="2212" y="443"/>
                </a:lnTo>
                <a:lnTo>
                  <a:pt x="2206" y="446"/>
                </a:lnTo>
                <a:lnTo>
                  <a:pt x="2205" y="450"/>
                </a:lnTo>
                <a:lnTo>
                  <a:pt x="2205" y="452"/>
                </a:lnTo>
                <a:lnTo>
                  <a:pt x="2206" y="454"/>
                </a:lnTo>
                <a:lnTo>
                  <a:pt x="2209" y="456"/>
                </a:lnTo>
                <a:lnTo>
                  <a:pt x="2212" y="458"/>
                </a:lnTo>
                <a:lnTo>
                  <a:pt x="2219" y="463"/>
                </a:lnTo>
                <a:lnTo>
                  <a:pt x="2227" y="466"/>
                </a:lnTo>
                <a:lnTo>
                  <a:pt x="2236" y="469"/>
                </a:lnTo>
                <a:lnTo>
                  <a:pt x="2245" y="472"/>
                </a:lnTo>
                <a:lnTo>
                  <a:pt x="2253" y="473"/>
                </a:lnTo>
                <a:lnTo>
                  <a:pt x="2258" y="474"/>
                </a:lnTo>
                <a:lnTo>
                  <a:pt x="2265" y="473"/>
                </a:lnTo>
                <a:lnTo>
                  <a:pt x="2273" y="472"/>
                </a:lnTo>
                <a:lnTo>
                  <a:pt x="2283" y="469"/>
                </a:lnTo>
                <a:lnTo>
                  <a:pt x="2293" y="466"/>
                </a:lnTo>
                <a:lnTo>
                  <a:pt x="2317" y="457"/>
                </a:lnTo>
                <a:lnTo>
                  <a:pt x="2343" y="447"/>
                </a:lnTo>
                <a:lnTo>
                  <a:pt x="2369" y="436"/>
                </a:lnTo>
                <a:lnTo>
                  <a:pt x="2393" y="425"/>
                </a:lnTo>
                <a:lnTo>
                  <a:pt x="2415" y="415"/>
                </a:lnTo>
                <a:lnTo>
                  <a:pt x="2433" y="408"/>
                </a:lnTo>
                <a:lnTo>
                  <a:pt x="2439" y="407"/>
                </a:lnTo>
                <a:lnTo>
                  <a:pt x="2446" y="405"/>
                </a:lnTo>
                <a:lnTo>
                  <a:pt x="2452" y="403"/>
                </a:lnTo>
                <a:lnTo>
                  <a:pt x="2458" y="400"/>
                </a:lnTo>
                <a:lnTo>
                  <a:pt x="2530" y="382"/>
                </a:lnTo>
                <a:lnTo>
                  <a:pt x="2544" y="380"/>
                </a:lnTo>
                <a:lnTo>
                  <a:pt x="2557" y="378"/>
                </a:lnTo>
                <a:lnTo>
                  <a:pt x="2570" y="373"/>
                </a:lnTo>
                <a:lnTo>
                  <a:pt x="2583" y="369"/>
                </a:lnTo>
                <a:lnTo>
                  <a:pt x="2597" y="364"/>
                </a:lnTo>
                <a:lnTo>
                  <a:pt x="2611" y="357"/>
                </a:lnTo>
                <a:lnTo>
                  <a:pt x="2625" y="350"/>
                </a:lnTo>
                <a:lnTo>
                  <a:pt x="2638" y="342"/>
                </a:lnTo>
                <a:lnTo>
                  <a:pt x="2651" y="334"/>
                </a:lnTo>
                <a:lnTo>
                  <a:pt x="2664" y="324"/>
                </a:lnTo>
                <a:lnTo>
                  <a:pt x="2676" y="313"/>
                </a:lnTo>
                <a:lnTo>
                  <a:pt x="2689" y="303"/>
                </a:lnTo>
                <a:lnTo>
                  <a:pt x="2701" y="291"/>
                </a:lnTo>
                <a:lnTo>
                  <a:pt x="2710" y="279"/>
                </a:lnTo>
                <a:lnTo>
                  <a:pt x="2721" y="266"/>
                </a:lnTo>
                <a:lnTo>
                  <a:pt x="2730" y="252"/>
                </a:lnTo>
                <a:lnTo>
                  <a:pt x="2817" y="252"/>
                </a:lnTo>
                <a:lnTo>
                  <a:pt x="2850" y="248"/>
                </a:lnTo>
                <a:lnTo>
                  <a:pt x="2880" y="246"/>
                </a:lnTo>
                <a:lnTo>
                  <a:pt x="2906" y="244"/>
                </a:lnTo>
                <a:lnTo>
                  <a:pt x="2931" y="241"/>
                </a:lnTo>
                <a:lnTo>
                  <a:pt x="2942" y="239"/>
                </a:lnTo>
                <a:lnTo>
                  <a:pt x="2954" y="237"/>
                </a:lnTo>
                <a:lnTo>
                  <a:pt x="2965" y="234"/>
                </a:lnTo>
                <a:lnTo>
                  <a:pt x="2975" y="230"/>
                </a:lnTo>
                <a:lnTo>
                  <a:pt x="2986" y="225"/>
                </a:lnTo>
                <a:lnTo>
                  <a:pt x="2996" y="219"/>
                </a:lnTo>
                <a:lnTo>
                  <a:pt x="3006" y="212"/>
                </a:lnTo>
                <a:lnTo>
                  <a:pt x="3016" y="203"/>
                </a:lnTo>
                <a:lnTo>
                  <a:pt x="3028" y="190"/>
                </a:lnTo>
                <a:lnTo>
                  <a:pt x="3038" y="177"/>
                </a:lnTo>
                <a:lnTo>
                  <a:pt x="3048" y="162"/>
                </a:lnTo>
                <a:lnTo>
                  <a:pt x="3059" y="148"/>
                </a:lnTo>
                <a:lnTo>
                  <a:pt x="3064" y="142"/>
                </a:lnTo>
                <a:lnTo>
                  <a:pt x="3070" y="136"/>
                </a:lnTo>
                <a:lnTo>
                  <a:pt x="3075" y="130"/>
                </a:lnTo>
                <a:lnTo>
                  <a:pt x="3082" y="126"/>
                </a:lnTo>
                <a:lnTo>
                  <a:pt x="3089" y="122"/>
                </a:lnTo>
                <a:lnTo>
                  <a:pt x="3097" y="119"/>
                </a:lnTo>
                <a:lnTo>
                  <a:pt x="3106" y="117"/>
                </a:lnTo>
                <a:lnTo>
                  <a:pt x="3116" y="117"/>
                </a:lnTo>
                <a:lnTo>
                  <a:pt x="3136" y="118"/>
                </a:lnTo>
                <a:lnTo>
                  <a:pt x="3153" y="119"/>
                </a:lnTo>
                <a:lnTo>
                  <a:pt x="3160" y="120"/>
                </a:lnTo>
                <a:lnTo>
                  <a:pt x="3165" y="119"/>
                </a:lnTo>
                <a:lnTo>
                  <a:pt x="3171" y="119"/>
                </a:lnTo>
                <a:lnTo>
                  <a:pt x="3175" y="117"/>
                </a:lnTo>
                <a:lnTo>
                  <a:pt x="3175" y="125"/>
                </a:lnTo>
                <a:lnTo>
                  <a:pt x="3172" y="134"/>
                </a:lnTo>
                <a:lnTo>
                  <a:pt x="3168" y="144"/>
                </a:lnTo>
                <a:lnTo>
                  <a:pt x="3164" y="156"/>
                </a:lnTo>
                <a:lnTo>
                  <a:pt x="3160" y="165"/>
                </a:lnTo>
                <a:lnTo>
                  <a:pt x="3155" y="174"/>
                </a:lnTo>
                <a:lnTo>
                  <a:pt x="3152" y="181"/>
                </a:lnTo>
                <a:lnTo>
                  <a:pt x="3149" y="184"/>
                </a:lnTo>
                <a:lnTo>
                  <a:pt x="3149" y="252"/>
                </a:lnTo>
                <a:lnTo>
                  <a:pt x="3155" y="258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10" name="Freeform 7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2043120" y="2934902"/>
            <a:ext cx="339725" cy="442913"/>
          </a:xfrm>
          <a:custGeom>
            <a:avLst/>
            <a:gdLst>
              <a:gd name="T0" fmla="*/ 109469008 w 784"/>
              <a:gd name="T1" fmla="*/ 75923370 h 1128"/>
              <a:gd name="T2" fmla="*/ 103084866 w 784"/>
              <a:gd name="T3" fmla="*/ 80856659 h 1128"/>
              <a:gd name="T4" fmla="*/ 90879903 w 784"/>
              <a:gd name="T5" fmla="*/ 106073342 h 1128"/>
              <a:gd name="T6" fmla="*/ 87312358 w 784"/>
              <a:gd name="T7" fmla="*/ 125259403 h 1128"/>
              <a:gd name="T8" fmla="*/ 90316584 w 784"/>
              <a:gd name="T9" fmla="*/ 143075400 h 1128"/>
              <a:gd name="T10" fmla="*/ 99517322 w 784"/>
              <a:gd name="T11" fmla="*/ 161987651 h 1128"/>
              <a:gd name="T12" fmla="*/ 108718060 w 784"/>
              <a:gd name="T13" fmla="*/ 168840227 h 1128"/>
              <a:gd name="T14" fmla="*/ 117355506 w 784"/>
              <a:gd name="T15" fmla="*/ 164454557 h 1128"/>
              <a:gd name="T16" fmla="*/ 122800637 w 784"/>
              <a:gd name="T17" fmla="*/ 178981662 h 1128"/>
              <a:gd name="T18" fmla="*/ 126180553 w 784"/>
              <a:gd name="T19" fmla="*/ 187204334 h 1128"/>
              <a:gd name="T20" fmla="*/ 134066590 w 784"/>
              <a:gd name="T21" fmla="*/ 188300621 h 1128"/>
              <a:gd name="T22" fmla="*/ 140638794 w 784"/>
              <a:gd name="T23" fmla="*/ 195152673 h 1128"/>
              <a:gd name="T24" fmla="*/ 144581596 w 784"/>
              <a:gd name="T25" fmla="*/ 207212872 h 1128"/>
              <a:gd name="T26" fmla="*/ 142892071 w 784"/>
              <a:gd name="T27" fmla="*/ 216531830 h 1128"/>
              <a:gd name="T28" fmla="*/ 142704009 w 784"/>
              <a:gd name="T29" fmla="*/ 226125123 h 1128"/>
              <a:gd name="T30" fmla="*/ 144957287 w 784"/>
              <a:gd name="T31" fmla="*/ 241748514 h 1128"/>
              <a:gd name="T32" fmla="*/ 142328752 w 784"/>
              <a:gd name="T33" fmla="*/ 255453142 h 1128"/>
              <a:gd name="T34" fmla="*/ 144581596 w 784"/>
              <a:gd name="T35" fmla="*/ 272446630 h 1128"/>
              <a:gd name="T36" fmla="*/ 143267329 w 784"/>
              <a:gd name="T37" fmla="*/ 288892040 h 1128"/>
              <a:gd name="T38" fmla="*/ 129748098 w 784"/>
              <a:gd name="T39" fmla="*/ 307530481 h 1128"/>
              <a:gd name="T40" fmla="*/ 121673998 w 784"/>
              <a:gd name="T41" fmla="*/ 302322858 h 1128"/>
              <a:gd name="T42" fmla="*/ 113036552 w 784"/>
              <a:gd name="T43" fmla="*/ 289440183 h 1128"/>
              <a:gd name="T44" fmla="*/ 86936667 w 784"/>
              <a:gd name="T45" fmla="*/ 273542916 h 1128"/>
              <a:gd name="T46" fmla="*/ 79801578 w 784"/>
              <a:gd name="T47" fmla="*/ 265045911 h 1128"/>
              <a:gd name="T48" fmla="*/ 62151483 w 784"/>
              <a:gd name="T49" fmla="*/ 245037373 h 1128"/>
              <a:gd name="T50" fmla="*/ 59710577 w 784"/>
              <a:gd name="T51" fmla="*/ 237637178 h 1128"/>
              <a:gd name="T52" fmla="*/ 61588164 w 784"/>
              <a:gd name="T53" fmla="*/ 223384406 h 1128"/>
              <a:gd name="T54" fmla="*/ 54453061 w 784"/>
              <a:gd name="T55" fmla="*/ 213242971 h 1128"/>
              <a:gd name="T56" fmla="*/ 48632239 w 784"/>
              <a:gd name="T57" fmla="*/ 204197822 h 1128"/>
              <a:gd name="T58" fmla="*/ 45627580 w 784"/>
              <a:gd name="T59" fmla="*/ 188848764 h 1128"/>
              <a:gd name="T60" fmla="*/ 28728433 w 784"/>
              <a:gd name="T61" fmla="*/ 145268497 h 1128"/>
              <a:gd name="T62" fmla="*/ 22532347 w 784"/>
              <a:gd name="T63" fmla="*/ 133482599 h 1128"/>
              <a:gd name="T64" fmla="*/ 16899154 w 784"/>
              <a:gd name="T65" fmla="*/ 118407351 h 1128"/>
              <a:gd name="T66" fmla="*/ 4130866 w 784"/>
              <a:gd name="T67" fmla="*/ 108814058 h 1128"/>
              <a:gd name="T68" fmla="*/ 0 w 784"/>
              <a:gd name="T69" fmla="*/ 99495100 h 1128"/>
              <a:gd name="T70" fmla="*/ 2440907 w 784"/>
              <a:gd name="T71" fmla="*/ 75649036 h 1128"/>
              <a:gd name="T72" fmla="*/ 5257504 w 784"/>
              <a:gd name="T73" fmla="*/ 67426348 h 1128"/>
              <a:gd name="T74" fmla="*/ 13519234 w 784"/>
              <a:gd name="T75" fmla="*/ 60848105 h 1128"/>
              <a:gd name="T76" fmla="*/ 17838164 w 784"/>
              <a:gd name="T77" fmla="*/ 74552750 h 1128"/>
              <a:gd name="T78" fmla="*/ 29667443 w 784"/>
              <a:gd name="T79" fmla="*/ 84146042 h 1128"/>
              <a:gd name="T80" fmla="*/ 34549255 w 784"/>
              <a:gd name="T81" fmla="*/ 74278940 h 1128"/>
              <a:gd name="T82" fmla="*/ 37741543 w 784"/>
              <a:gd name="T83" fmla="*/ 61670582 h 1128"/>
              <a:gd name="T84" fmla="*/ 50697454 w 784"/>
              <a:gd name="T85" fmla="*/ 46595334 h 1128"/>
              <a:gd name="T86" fmla="*/ 64592389 w 784"/>
              <a:gd name="T87" fmla="*/ 32890697 h 1128"/>
              <a:gd name="T88" fmla="*/ 67033295 w 784"/>
              <a:gd name="T89" fmla="*/ 19186592 h 1128"/>
              <a:gd name="T90" fmla="*/ 65155709 w 784"/>
              <a:gd name="T91" fmla="*/ 1370620 h 1128"/>
              <a:gd name="T92" fmla="*/ 79238259 w 784"/>
              <a:gd name="T93" fmla="*/ 14526585 h 1128"/>
              <a:gd name="T94" fmla="*/ 87688049 w 784"/>
              <a:gd name="T95" fmla="*/ 29327504 h 1128"/>
              <a:gd name="T96" fmla="*/ 95010767 w 784"/>
              <a:gd name="T97" fmla="*/ 42210188 h 1128"/>
              <a:gd name="T98" fmla="*/ 105338144 w 784"/>
              <a:gd name="T99" fmla="*/ 43032141 h 1128"/>
              <a:gd name="T100" fmla="*/ 115853176 w 784"/>
              <a:gd name="T101" fmla="*/ 40839568 h 1128"/>
              <a:gd name="T102" fmla="*/ 120172102 w 784"/>
              <a:gd name="T103" fmla="*/ 42758331 h 1128"/>
              <a:gd name="T104" fmla="*/ 122800637 w 784"/>
              <a:gd name="T105" fmla="*/ 52899766 h 1128"/>
              <a:gd name="T106" fmla="*/ 117730763 w 784"/>
              <a:gd name="T107" fmla="*/ 57559246 h 1128"/>
              <a:gd name="T108" fmla="*/ 117730763 w 784"/>
              <a:gd name="T109" fmla="*/ 65781918 h 1128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784"/>
              <a:gd name="T166" fmla="*/ 0 h 1128"/>
              <a:gd name="T167" fmla="*/ 784 w 784"/>
              <a:gd name="T168" fmla="*/ 1128 h 1128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784" h="1128">
                <a:moveTo>
                  <a:pt x="644" y="259"/>
                </a:moveTo>
                <a:lnTo>
                  <a:pt x="632" y="265"/>
                </a:lnTo>
                <a:lnTo>
                  <a:pt x="621" y="270"/>
                </a:lnTo>
                <a:lnTo>
                  <a:pt x="611" y="273"/>
                </a:lnTo>
                <a:lnTo>
                  <a:pt x="602" y="275"/>
                </a:lnTo>
                <a:lnTo>
                  <a:pt x="583" y="277"/>
                </a:lnTo>
                <a:lnTo>
                  <a:pt x="564" y="278"/>
                </a:lnTo>
                <a:lnTo>
                  <a:pt x="560" y="278"/>
                </a:lnTo>
                <a:lnTo>
                  <a:pt x="557" y="280"/>
                </a:lnTo>
                <a:lnTo>
                  <a:pt x="554" y="284"/>
                </a:lnTo>
                <a:lnTo>
                  <a:pt x="552" y="287"/>
                </a:lnTo>
                <a:lnTo>
                  <a:pt x="549" y="295"/>
                </a:lnTo>
                <a:lnTo>
                  <a:pt x="545" y="302"/>
                </a:lnTo>
                <a:lnTo>
                  <a:pt x="529" y="318"/>
                </a:lnTo>
                <a:lnTo>
                  <a:pt x="515" y="335"/>
                </a:lnTo>
                <a:lnTo>
                  <a:pt x="502" y="354"/>
                </a:lnTo>
                <a:lnTo>
                  <a:pt x="490" y="376"/>
                </a:lnTo>
                <a:lnTo>
                  <a:pt x="484" y="387"/>
                </a:lnTo>
                <a:lnTo>
                  <a:pt x="480" y="398"/>
                </a:lnTo>
                <a:lnTo>
                  <a:pt x="475" y="410"/>
                </a:lnTo>
                <a:lnTo>
                  <a:pt x="471" y="422"/>
                </a:lnTo>
                <a:lnTo>
                  <a:pt x="469" y="434"/>
                </a:lnTo>
                <a:lnTo>
                  <a:pt x="467" y="445"/>
                </a:lnTo>
                <a:lnTo>
                  <a:pt x="465" y="457"/>
                </a:lnTo>
                <a:lnTo>
                  <a:pt x="464" y="468"/>
                </a:lnTo>
                <a:lnTo>
                  <a:pt x="465" y="478"/>
                </a:lnTo>
                <a:lnTo>
                  <a:pt x="468" y="488"/>
                </a:lnTo>
                <a:lnTo>
                  <a:pt x="471" y="498"/>
                </a:lnTo>
                <a:lnTo>
                  <a:pt x="475" y="510"/>
                </a:lnTo>
                <a:lnTo>
                  <a:pt x="481" y="522"/>
                </a:lnTo>
                <a:lnTo>
                  <a:pt x="486" y="535"/>
                </a:lnTo>
                <a:lnTo>
                  <a:pt x="494" y="547"/>
                </a:lnTo>
                <a:lnTo>
                  <a:pt x="502" y="559"/>
                </a:lnTo>
                <a:lnTo>
                  <a:pt x="510" y="570"/>
                </a:lnTo>
                <a:lnTo>
                  <a:pt x="520" y="581"/>
                </a:lnTo>
                <a:lnTo>
                  <a:pt x="530" y="591"/>
                </a:lnTo>
                <a:lnTo>
                  <a:pt x="540" y="600"/>
                </a:lnTo>
                <a:lnTo>
                  <a:pt x="551" y="607"/>
                </a:lnTo>
                <a:lnTo>
                  <a:pt x="562" y="612"/>
                </a:lnTo>
                <a:lnTo>
                  <a:pt x="568" y="614"/>
                </a:lnTo>
                <a:lnTo>
                  <a:pt x="573" y="615"/>
                </a:lnTo>
                <a:lnTo>
                  <a:pt x="579" y="616"/>
                </a:lnTo>
                <a:lnTo>
                  <a:pt x="584" y="616"/>
                </a:lnTo>
                <a:lnTo>
                  <a:pt x="594" y="615"/>
                </a:lnTo>
                <a:lnTo>
                  <a:pt x="602" y="613"/>
                </a:lnTo>
                <a:lnTo>
                  <a:pt x="610" y="609"/>
                </a:lnTo>
                <a:lnTo>
                  <a:pt x="617" y="604"/>
                </a:lnTo>
                <a:lnTo>
                  <a:pt x="625" y="600"/>
                </a:lnTo>
                <a:lnTo>
                  <a:pt x="632" y="596"/>
                </a:lnTo>
                <a:lnTo>
                  <a:pt x="641" y="593"/>
                </a:lnTo>
                <a:lnTo>
                  <a:pt x="651" y="592"/>
                </a:lnTo>
                <a:lnTo>
                  <a:pt x="653" y="614"/>
                </a:lnTo>
                <a:lnTo>
                  <a:pt x="654" y="645"/>
                </a:lnTo>
                <a:lnTo>
                  <a:pt x="654" y="653"/>
                </a:lnTo>
                <a:lnTo>
                  <a:pt x="655" y="660"/>
                </a:lnTo>
                <a:lnTo>
                  <a:pt x="658" y="667"/>
                </a:lnTo>
                <a:lnTo>
                  <a:pt x="660" y="672"/>
                </a:lnTo>
                <a:lnTo>
                  <a:pt x="663" y="677"/>
                </a:lnTo>
                <a:lnTo>
                  <a:pt x="666" y="681"/>
                </a:lnTo>
                <a:lnTo>
                  <a:pt x="672" y="683"/>
                </a:lnTo>
                <a:lnTo>
                  <a:pt x="677" y="684"/>
                </a:lnTo>
                <a:lnTo>
                  <a:pt x="687" y="684"/>
                </a:lnTo>
                <a:lnTo>
                  <a:pt x="697" y="684"/>
                </a:lnTo>
                <a:lnTo>
                  <a:pt x="703" y="684"/>
                </a:lnTo>
                <a:lnTo>
                  <a:pt x="708" y="685"/>
                </a:lnTo>
                <a:lnTo>
                  <a:pt x="714" y="687"/>
                </a:lnTo>
                <a:lnTo>
                  <a:pt x="720" y="689"/>
                </a:lnTo>
                <a:lnTo>
                  <a:pt x="726" y="692"/>
                </a:lnTo>
                <a:lnTo>
                  <a:pt x="732" y="696"/>
                </a:lnTo>
                <a:lnTo>
                  <a:pt x="738" y="701"/>
                </a:lnTo>
                <a:lnTo>
                  <a:pt x="743" y="706"/>
                </a:lnTo>
                <a:lnTo>
                  <a:pt x="749" y="712"/>
                </a:lnTo>
                <a:lnTo>
                  <a:pt x="754" y="717"/>
                </a:lnTo>
                <a:lnTo>
                  <a:pt x="759" y="724"/>
                </a:lnTo>
                <a:lnTo>
                  <a:pt x="763" y="731"/>
                </a:lnTo>
                <a:lnTo>
                  <a:pt x="765" y="738"/>
                </a:lnTo>
                <a:lnTo>
                  <a:pt x="769" y="746"/>
                </a:lnTo>
                <a:lnTo>
                  <a:pt x="770" y="756"/>
                </a:lnTo>
                <a:lnTo>
                  <a:pt x="771" y="765"/>
                </a:lnTo>
                <a:lnTo>
                  <a:pt x="770" y="773"/>
                </a:lnTo>
                <a:lnTo>
                  <a:pt x="769" y="779"/>
                </a:lnTo>
                <a:lnTo>
                  <a:pt x="766" y="784"/>
                </a:lnTo>
                <a:lnTo>
                  <a:pt x="764" y="787"/>
                </a:lnTo>
                <a:lnTo>
                  <a:pt x="761" y="790"/>
                </a:lnTo>
                <a:lnTo>
                  <a:pt x="759" y="794"/>
                </a:lnTo>
                <a:lnTo>
                  <a:pt x="758" y="797"/>
                </a:lnTo>
                <a:lnTo>
                  <a:pt x="758" y="801"/>
                </a:lnTo>
                <a:lnTo>
                  <a:pt x="758" y="809"/>
                </a:lnTo>
                <a:lnTo>
                  <a:pt x="759" y="818"/>
                </a:lnTo>
                <a:lnTo>
                  <a:pt x="760" y="825"/>
                </a:lnTo>
                <a:lnTo>
                  <a:pt x="761" y="831"/>
                </a:lnTo>
                <a:lnTo>
                  <a:pt x="765" y="844"/>
                </a:lnTo>
                <a:lnTo>
                  <a:pt x="771" y="856"/>
                </a:lnTo>
                <a:lnTo>
                  <a:pt x="774" y="866"/>
                </a:lnTo>
                <a:lnTo>
                  <a:pt x="777" y="875"/>
                </a:lnTo>
                <a:lnTo>
                  <a:pt x="772" y="882"/>
                </a:lnTo>
                <a:lnTo>
                  <a:pt x="769" y="889"/>
                </a:lnTo>
                <a:lnTo>
                  <a:pt x="765" y="897"/>
                </a:lnTo>
                <a:lnTo>
                  <a:pt x="762" y="904"/>
                </a:lnTo>
                <a:lnTo>
                  <a:pt x="760" y="912"/>
                </a:lnTo>
                <a:lnTo>
                  <a:pt x="759" y="922"/>
                </a:lnTo>
                <a:lnTo>
                  <a:pt x="758" y="932"/>
                </a:lnTo>
                <a:lnTo>
                  <a:pt x="758" y="943"/>
                </a:lnTo>
                <a:lnTo>
                  <a:pt x="758" y="956"/>
                </a:lnTo>
                <a:lnTo>
                  <a:pt x="760" y="967"/>
                </a:lnTo>
                <a:lnTo>
                  <a:pt x="762" y="978"/>
                </a:lnTo>
                <a:lnTo>
                  <a:pt x="765" y="986"/>
                </a:lnTo>
                <a:lnTo>
                  <a:pt x="770" y="994"/>
                </a:lnTo>
                <a:lnTo>
                  <a:pt x="774" y="1000"/>
                </a:lnTo>
                <a:lnTo>
                  <a:pt x="778" y="1006"/>
                </a:lnTo>
                <a:lnTo>
                  <a:pt x="784" y="1011"/>
                </a:lnTo>
                <a:lnTo>
                  <a:pt x="775" y="1026"/>
                </a:lnTo>
                <a:lnTo>
                  <a:pt x="769" y="1041"/>
                </a:lnTo>
                <a:lnTo>
                  <a:pt x="763" y="1054"/>
                </a:lnTo>
                <a:lnTo>
                  <a:pt x="759" y="1067"/>
                </a:lnTo>
                <a:lnTo>
                  <a:pt x="753" y="1080"/>
                </a:lnTo>
                <a:lnTo>
                  <a:pt x="747" y="1095"/>
                </a:lnTo>
                <a:lnTo>
                  <a:pt x="737" y="1110"/>
                </a:lnTo>
                <a:lnTo>
                  <a:pt x="723" y="1128"/>
                </a:lnTo>
                <a:lnTo>
                  <a:pt x="691" y="1122"/>
                </a:lnTo>
                <a:lnTo>
                  <a:pt x="681" y="1121"/>
                </a:lnTo>
                <a:lnTo>
                  <a:pt x="673" y="1119"/>
                </a:lnTo>
                <a:lnTo>
                  <a:pt x="665" y="1116"/>
                </a:lnTo>
                <a:lnTo>
                  <a:pt x="659" y="1113"/>
                </a:lnTo>
                <a:lnTo>
                  <a:pt x="653" y="1108"/>
                </a:lnTo>
                <a:lnTo>
                  <a:pt x="648" y="1103"/>
                </a:lnTo>
                <a:lnTo>
                  <a:pt x="642" y="1098"/>
                </a:lnTo>
                <a:lnTo>
                  <a:pt x="638" y="1092"/>
                </a:lnTo>
                <a:lnTo>
                  <a:pt x="627" y="1079"/>
                </a:lnTo>
                <a:lnTo>
                  <a:pt x="616" y="1067"/>
                </a:lnTo>
                <a:lnTo>
                  <a:pt x="609" y="1061"/>
                </a:lnTo>
                <a:lnTo>
                  <a:pt x="602" y="1056"/>
                </a:lnTo>
                <a:lnTo>
                  <a:pt x="594" y="1052"/>
                </a:lnTo>
                <a:lnTo>
                  <a:pt x="584" y="1048"/>
                </a:lnTo>
                <a:lnTo>
                  <a:pt x="554" y="1038"/>
                </a:lnTo>
                <a:lnTo>
                  <a:pt x="507" y="1018"/>
                </a:lnTo>
                <a:lnTo>
                  <a:pt x="483" y="1008"/>
                </a:lnTo>
                <a:lnTo>
                  <a:pt x="463" y="998"/>
                </a:lnTo>
                <a:lnTo>
                  <a:pt x="456" y="993"/>
                </a:lnTo>
                <a:lnTo>
                  <a:pt x="450" y="988"/>
                </a:lnTo>
                <a:lnTo>
                  <a:pt x="446" y="984"/>
                </a:lnTo>
                <a:lnTo>
                  <a:pt x="445" y="980"/>
                </a:lnTo>
                <a:lnTo>
                  <a:pt x="436" y="975"/>
                </a:lnTo>
                <a:lnTo>
                  <a:pt x="425" y="967"/>
                </a:lnTo>
                <a:lnTo>
                  <a:pt x="413" y="956"/>
                </a:lnTo>
                <a:lnTo>
                  <a:pt x="398" y="944"/>
                </a:lnTo>
                <a:lnTo>
                  <a:pt x="383" y="931"/>
                </a:lnTo>
                <a:lnTo>
                  <a:pt x="367" y="916"/>
                </a:lnTo>
                <a:lnTo>
                  <a:pt x="349" y="904"/>
                </a:lnTo>
                <a:lnTo>
                  <a:pt x="331" y="894"/>
                </a:lnTo>
                <a:lnTo>
                  <a:pt x="326" y="890"/>
                </a:lnTo>
                <a:lnTo>
                  <a:pt x="323" y="886"/>
                </a:lnTo>
                <a:lnTo>
                  <a:pt x="319" y="882"/>
                </a:lnTo>
                <a:lnTo>
                  <a:pt x="318" y="877"/>
                </a:lnTo>
                <a:lnTo>
                  <a:pt x="318" y="872"/>
                </a:lnTo>
                <a:lnTo>
                  <a:pt x="318" y="867"/>
                </a:lnTo>
                <a:lnTo>
                  <a:pt x="319" y="860"/>
                </a:lnTo>
                <a:lnTo>
                  <a:pt x="321" y="854"/>
                </a:lnTo>
                <a:lnTo>
                  <a:pt x="324" y="842"/>
                </a:lnTo>
                <a:lnTo>
                  <a:pt x="327" y="829"/>
                </a:lnTo>
                <a:lnTo>
                  <a:pt x="328" y="822"/>
                </a:lnTo>
                <a:lnTo>
                  <a:pt x="328" y="815"/>
                </a:lnTo>
                <a:lnTo>
                  <a:pt x="327" y="808"/>
                </a:lnTo>
                <a:lnTo>
                  <a:pt x="325" y="801"/>
                </a:lnTo>
                <a:lnTo>
                  <a:pt x="318" y="795"/>
                </a:lnTo>
                <a:lnTo>
                  <a:pt x="310" y="789"/>
                </a:lnTo>
                <a:lnTo>
                  <a:pt x="300" y="784"/>
                </a:lnTo>
                <a:lnTo>
                  <a:pt x="290" y="778"/>
                </a:lnTo>
                <a:lnTo>
                  <a:pt x="279" y="772"/>
                </a:lnTo>
                <a:lnTo>
                  <a:pt x="270" y="765"/>
                </a:lnTo>
                <a:lnTo>
                  <a:pt x="266" y="761"/>
                </a:lnTo>
                <a:lnTo>
                  <a:pt x="263" y="757"/>
                </a:lnTo>
                <a:lnTo>
                  <a:pt x="260" y="751"/>
                </a:lnTo>
                <a:lnTo>
                  <a:pt x="259" y="745"/>
                </a:lnTo>
                <a:lnTo>
                  <a:pt x="255" y="735"/>
                </a:lnTo>
                <a:lnTo>
                  <a:pt x="251" y="725"/>
                </a:lnTo>
                <a:lnTo>
                  <a:pt x="249" y="716"/>
                </a:lnTo>
                <a:lnTo>
                  <a:pt x="248" y="707"/>
                </a:lnTo>
                <a:lnTo>
                  <a:pt x="246" y="697"/>
                </a:lnTo>
                <a:lnTo>
                  <a:pt x="243" y="689"/>
                </a:lnTo>
                <a:lnTo>
                  <a:pt x="238" y="681"/>
                </a:lnTo>
                <a:lnTo>
                  <a:pt x="232" y="672"/>
                </a:lnTo>
                <a:lnTo>
                  <a:pt x="211" y="635"/>
                </a:lnTo>
                <a:lnTo>
                  <a:pt x="192" y="603"/>
                </a:lnTo>
                <a:lnTo>
                  <a:pt x="174" y="570"/>
                </a:lnTo>
                <a:lnTo>
                  <a:pt x="153" y="530"/>
                </a:lnTo>
                <a:lnTo>
                  <a:pt x="146" y="521"/>
                </a:lnTo>
                <a:lnTo>
                  <a:pt x="138" y="513"/>
                </a:lnTo>
                <a:lnTo>
                  <a:pt x="134" y="508"/>
                </a:lnTo>
                <a:lnTo>
                  <a:pt x="129" y="502"/>
                </a:lnTo>
                <a:lnTo>
                  <a:pt x="124" y="496"/>
                </a:lnTo>
                <a:lnTo>
                  <a:pt x="120" y="487"/>
                </a:lnTo>
                <a:lnTo>
                  <a:pt x="116" y="478"/>
                </a:lnTo>
                <a:lnTo>
                  <a:pt x="113" y="467"/>
                </a:lnTo>
                <a:lnTo>
                  <a:pt x="109" y="458"/>
                </a:lnTo>
                <a:lnTo>
                  <a:pt x="103" y="448"/>
                </a:lnTo>
                <a:lnTo>
                  <a:pt x="98" y="440"/>
                </a:lnTo>
                <a:lnTo>
                  <a:pt x="90" y="432"/>
                </a:lnTo>
                <a:lnTo>
                  <a:pt x="82" y="425"/>
                </a:lnTo>
                <a:lnTo>
                  <a:pt x="72" y="419"/>
                </a:lnTo>
                <a:lnTo>
                  <a:pt x="52" y="411"/>
                </a:lnTo>
                <a:lnTo>
                  <a:pt x="31" y="403"/>
                </a:lnTo>
                <a:lnTo>
                  <a:pt x="26" y="400"/>
                </a:lnTo>
                <a:lnTo>
                  <a:pt x="22" y="397"/>
                </a:lnTo>
                <a:lnTo>
                  <a:pt x="17" y="393"/>
                </a:lnTo>
                <a:lnTo>
                  <a:pt x="13" y="389"/>
                </a:lnTo>
                <a:lnTo>
                  <a:pt x="9" y="384"/>
                </a:lnTo>
                <a:lnTo>
                  <a:pt x="5" y="378"/>
                </a:lnTo>
                <a:lnTo>
                  <a:pt x="2" y="372"/>
                </a:lnTo>
                <a:lnTo>
                  <a:pt x="0" y="363"/>
                </a:lnTo>
                <a:lnTo>
                  <a:pt x="20" y="345"/>
                </a:lnTo>
                <a:lnTo>
                  <a:pt x="15" y="331"/>
                </a:lnTo>
                <a:lnTo>
                  <a:pt x="14" y="317"/>
                </a:lnTo>
                <a:lnTo>
                  <a:pt x="13" y="301"/>
                </a:lnTo>
                <a:lnTo>
                  <a:pt x="13" y="284"/>
                </a:lnTo>
                <a:lnTo>
                  <a:pt x="13" y="276"/>
                </a:lnTo>
                <a:lnTo>
                  <a:pt x="14" y="270"/>
                </a:lnTo>
                <a:lnTo>
                  <a:pt x="16" y="264"/>
                </a:lnTo>
                <a:lnTo>
                  <a:pt x="19" y="259"/>
                </a:lnTo>
                <a:lnTo>
                  <a:pt x="21" y="254"/>
                </a:lnTo>
                <a:lnTo>
                  <a:pt x="24" y="249"/>
                </a:lnTo>
                <a:lnTo>
                  <a:pt x="28" y="246"/>
                </a:lnTo>
                <a:lnTo>
                  <a:pt x="32" y="243"/>
                </a:lnTo>
                <a:lnTo>
                  <a:pt x="41" y="237"/>
                </a:lnTo>
                <a:lnTo>
                  <a:pt x="49" y="231"/>
                </a:lnTo>
                <a:lnTo>
                  <a:pt x="58" y="224"/>
                </a:lnTo>
                <a:lnTo>
                  <a:pt x="66" y="216"/>
                </a:lnTo>
                <a:lnTo>
                  <a:pt x="72" y="222"/>
                </a:lnTo>
                <a:lnTo>
                  <a:pt x="79" y="228"/>
                </a:lnTo>
                <a:lnTo>
                  <a:pt x="83" y="235"/>
                </a:lnTo>
                <a:lnTo>
                  <a:pt x="86" y="240"/>
                </a:lnTo>
                <a:lnTo>
                  <a:pt x="86" y="252"/>
                </a:lnTo>
                <a:lnTo>
                  <a:pt x="86" y="265"/>
                </a:lnTo>
                <a:lnTo>
                  <a:pt x="95" y="272"/>
                </a:lnTo>
                <a:lnTo>
                  <a:pt x="116" y="287"/>
                </a:lnTo>
                <a:lnTo>
                  <a:pt x="128" y="294"/>
                </a:lnTo>
                <a:lnTo>
                  <a:pt x="139" y="301"/>
                </a:lnTo>
                <a:lnTo>
                  <a:pt x="148" y="306"/>
                </a:lnTo>
                <a:lnTo>
                  <a:pt x="153" y="308"/>
                </a:lnTo>
                <a:lnTo>
                  <a:pt x="158" y="307"/>
                </a:lnTo>
                <a:lnTo>
                  <a:pt x="164" y="303"/>
                </a:lnTo>
                <a:lnTo>
                  <a:pt x="169" y="298"/>
                </a:lnTo>
                <a:lnTo>
                  <a:pt x="174" y="291"/>
                </a:lnTo>
                <a:lnTo>
                  <a:pt x="179" y="284"/>
                </a:lnTo>
                <a:lnTo>
                  <a:pt x="182" y="277"/>
                </a:lnTo>
                <a:lnTo>
                  <a:pt x="184" y="271"/>
                </a:lnTo>
                <a:lnTo>
                  <a:pt x="185" y="265"/>
                </a:lnTo>
                <a:lnTo>
                  <a:pt x="187" y="259"/>
                </a:lnTo>
                <a:lnTo>
                  <a:pt x="188" y="251"/>
                </a:lnTo>
                <a:lnTo>
                  <a:pt x="190" y="244"/>
                </a:lnTo>
                <a:lnTo>
                  <a:pt x="193" y="238"/>
                </a:lnTo>
                <a:lnTo>
                  <a:pt x="201" y="225"/>
                </a:lnTo>
                <a:lnTo>
                  <a:pt x="212" y="213"/>
                </a:lnTo>
                <a:lnTo>
                  <a:pt x="222" y="202"/>
                </a:lnTo>
                <a:lnTo>
                  <a:pt x="234" y="192"/>
                </a:lnTo>
                <a:lnTo>
                  <a:pt x="244" y="184"/>
                </a:lnTo>
                <a:lnTo>
                  <a:pt x="252" y="179"/>
                </a:lnTo>
                <a:lnTo>
                  <a:pt x="270" y="170"/>
                </a:lnTo>
                <a:lnTo>
                  <a:pt x="289" y="160"/>
                </a:lnTo>
                <a:lnTo>
                  <a:pt x="306" y="150"/>
                </a:lnTo>
                <a:lnTo>
                  <a:pt x="323" y="138"/>
                </a:lnTo>
                <a:lnTo>
                  <a:pt x="330" y="133"/>
                </a:lnTo>
                <a:lnTo>
                  <a:pt x="337" y="126"/>
                </a:lnTo>
                <a:lnTo>
                  <a:pt x="344" y="120"/>
                </a:lnTo>
                <a:lnTo>
                  <a:pt x="348" y="113"/>
                </a:lnTo>
                <a:lnTo>
                  <a:pt x="352" y="106"/>
                </a:lnTo>
                <a:lnTo>
                  <a:pt x="356" y="98"/>
                </a:lnTo>
                <a:lnTo>
                  <a:pt x="358" y="90"/>
                </a:lnTo>
                <a:lnTo>
                  <a:pt x="358" y="80"/>
                </a:lnTo>
                <a:lnTo>
                  <a:pt x="357" y="70"/>
                </a:lnTo>
                <a:lnTo>
                  <a:pt x="355" y="58"/>
                </a:lnTo>
                <a:lnTo>
                  <a:pt x="350" y="46"/>
                </a:lnTo>
                <a:lnTo>
                  <a:pt x="345" y="34"/>
                </a:lnTo>
                <a:lnTo>
                  <a:pt x="336" y="12"/>
                </a:lnTo>
                <a:lnTo>
                  <a:pt x="331" y="0"/>
                </a:lnTo>
                <a:lnTo>
                  <a:pt x="347" y="5"/>
                </a:lnTo>
                <a:lnTo>
                  <a:pt x="360" y="11"/>
                </a:lnTo>
                <a:lnTo>
                  <a:pt x="374" y="18"/>
                </a:lnTo>
                <a:lnTo>
                  <a:pt x="386" y="26"/>
                </a:lnTo>
                <a:lnTo>
                  <a:pt x="398" y="35"/>
                </a:lnTo>
                <a:lnTo>
                  <a:pt x="411" y="44"/>
                </a:lnTo>
                <a:lnTo>
                  <a:pt x="422" y="53"/>
                </a:lnTo>
                <a:lnTo>
                  <a:pt x="431" y="62"/>
                </a:lnTo>
                <a:lnTo>
                  <a:pt x="438" y="68"/>
                </a:lnTo>
                <a:lnTo>
                  <a:pt x="445" y="75"/>
                </a:lnTo>
                <a:lnTo>
                  <a:pt x="451" y="82"/>
                </a:lnTo>
                <a:lnTo>
                  <a:pt x="457" y="91"/>
                </a:lnTo>
                <a:lnTo>
                  <a:pt x="467" y="107"/>
                </a:lnTo>
                <a:lnTo>
                  <a:pt x="476" y="123"/>
                </a:lnTo>
                <a:lnTo>
                  <a:pt x="481" y="130"/>
                </a:lnTo>
                <a:lnTo>
                  <a:pt x="486" y="137"/>
                </a:lnTo>
                <a:lnTo>
                  <a:pt x="493" y="144"/>
                </a:lnTo>
                <a:lnTo>
                  <a:pt x="498" y="150"/>
                </a:lnTo>
                <a:lnTo>
                  <a:pt x="506" y="154"/>
                </a:lnTo>
                <a:lnTo>
                  <a:pt x="513" y="158"/>
                </a:lnTo>
                <a:lnTo>
                  <a:pt x="521" y="160"/>
                </a:lnTo>
                <a:lnTo>
                  <a:pt x="531" y="161"/>
                </a:lnTo>
                <a:lnTo>
                  <a:pt x="541" y="160"/>
                </a:lnTo>
                <a:lnTo>
                  <a:pt x="551" y="159"/>
                </a:lnTo>
                <a:lnTo>
                  <a:pt x="561" y="157"/>
                </a:lnTo>
                <a:lnTo>
                  <a:pt x="571" y="155"/>
                </a:lnTo>
                <a:lnTo>
                  <a:pt x="581" y="152"/>
                </a:lnTo>
                <a:lnTo>
                  <a:pt x="591" y="150"/>
                </a:lnTo>
                <a:lnTo>
                  <a:pt x="601" y="149"/>
                </a:lnTo>
                <a:lnTo>
                  <a:pt x="610" y="148"/>
                </a:lnTo>
                <a:lnTo>
                  <a:pt x="617" y="149"/>
                </a:lnTo>
                <a:lnTo>
                  <a:pt x="624" y="151"/>
                </a:lnTo>
                <a:lnTo>
                  <a:pt x="628" y="151"/>
                </a:lnTo>
                <a:lnTo>
                  <a:pt x="631" y="151"/>
                </a:lnTo>
                <a:lnTo>
                  <a:pt x="635" y="150"/>
                </a:lnTo>
                <a:lnTo>
                  <a:pt x="638" y="148"/>
                </a:lnTo>
                <a:lnTo>
                  <a:pt x="640" y="156"/>
                </a:lnTo>
                <a:lnTo>
                  <a:pt x="648" y="167"/>
                </a:lnTo>
                <a:lnTo>
                  <a:pt x="654" y="177"/>
                </a:lnTo>
                <a:lnTo>
                  <a:pt x="658" y="185"/>
                </a:lnTo>
                <a:lnTo>
                  <a:pt x="657" y="188"/>
                </a:lnTo>
                <a:lnTo>
                  <a:pt x="655" y="191"/>
                </a:lnTo>
                <a:lnTo>
                  <a:pt x="654" y="193"/>
                </a:lnTo>
                <a:lnTo>
                  <a:pt x="652" y="195"/>
                </a:lnTo>
                <a:lnTo>
                  <a:pt x="647" y="200"/>
                </a:lnTo>
                <a:lnTo>
                  <a:pt x="641" y="203"/>
                </a:lnTo>
                <a:lnTo>
                  <a:pt x="635" y="206"/>
                </a:lnTo>
                <a:lnTo>
                  <a:pt x="629" y="209"/>
                </a:lnTo>
                <a:lnTo>
                  <a:pt x="627" y="210"/>
                </a:lnTo>
                <a:lnTo>
                  <a:pt x="626" y="212"/>
                </a:lnTo>
                <a:lnTo>
                  <a:pt x="625" y="214"/>
                </a:lnTo>
                <a:lnTo>
                  <a:pt x="624" y="216"/>
                </a:lnTo>
                <a:lnTo>
                  <a:pt x="625" y="226"/>
                </a:lnTo>
                <a:lnTo>
                  <a:pt x="626" y="234"/>
                </a:lnTo>
                <a:lnTo>
                  <a:pt x="627" y="240"/>
                </a:lnTo>
                <a:lnTo>
                  <a:pt x="629" y="244"/>
                </a:lnTo>
                <a:lnTo>
                  <a:pt x="636" y="251"/>
                </a:lnTo>
                <a:lnTo>
                  <a:pt x="644" y="259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11" name="Freeform 8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2343160" y="3357563"/>
            <a:ext cx="261937" cy="847725"/>
          </a:xfrm>
          <a:custGeom>
            <a:avLst/>
            <a:gdLst>
              <a:gd name="T0" fmla="*/ 80198709 w 598"/>
              <a:gd name="T1" fmla="*/ 554435207 h 2158"/>
              <a:gd name="T2" fmla="*/ 65616971 w 598"/>
              <a:gd name="T3" fmla="*/ 536328810 h 2158"/>
              <a:gd name="T4" fmla="*/ 65041411 w 598"/>
              <a:gd name="T5" fmla="*/ 519319845 h 2158"/>
              <a:gd name="T6" fmla="*/ 66192532 w 598"/>
              <a:gd name="T7" fmla="*/ 505603310 h 2158"/>
              <a:gd name="T8" fmla="*/ 69454478 w 598"/>
              <a:gd name="T9" fmla="*/ 491337862 h 2158"/>
              <a:gd name="T10" fmla="*/ 67919651 w 598"/>
              <a:gd name="T11" fmla="*/ 477346346 h 2158"/>
              <a:gd name="T12" fmla="*/ 63698437 w 598"/>
              <a:gd name="T13" fmla="*/ 461709140 h 2158"/>
              <a:gd name="T14" fmla="*/ 58134687 w 598"/>
              <a:gd name="T15" fmla="*/ 433726633 h 2158"/>
              <a:gd name="T16" fmla="*/ 43361082 w 598"/>
              <a:gd name="T17" fmla="*/ 400532073 h 2158"/>
              <a:gd name="T18" fmla="*/ 39523575 w 598"/>
              <a:gd name="T19" fmla="*/ 378859445 h 2158"/>
              <a:gd name="T20" fmla="*/ 41634401 w 598"/>
              <a:gd name="T21" fmla="*/ 356363971 h 2158"/>
              <a:gd name="T22" fmla="*/ 39907720 w 598"/>
              <a:gd name="T23" fmla="*/ 338806093 h 2158"/>
              <a:gd name="T24" fmla="*/ 35494653 w 598"/>
              <a:gd name="T25" fmla="*/ 319602525 h 2158"/>
              <a:gd name="T26" fmla="*/ 40483280 w 598"/>
              <a:gd name="T27" fmla="*/ 308080593 h 2158"/>
              <a:gd name="T28" fmla="*/ 37413187 w 598"/>
              <a:gd name="T29" fmla="*/ 296832595 h 2158"/>
              <a:gd name="T30" fmla="*/ 40483280 w 598"/>
              <a:gd name="T31" fmla="*/ 281195388 h 2158"/>
              <a:gd name="T32" fmla="*/ 40291427 w 598"/>
              <a:gd name="T33" fmla="*/ 272416384 h 2158"/>
              <a:gd name="T34" fmla="*/ 35878360 w 598"/>
              <a:gd name="T35" fmla="*/ 254310641 h 2158"/>
              <a:gd name="T36" fmla="*/ 26093389 w 598"/>
              <a:gd name="T37" fmla="*/ 233735315 h 2158"/>
              <a:gd name="T38" fmla="*/ 25709682 w 598"/>
              <a:gd name="T39" fmla="*/ 188195454 h 2158"/>
              <a:gd name="T40" fmla="*/ 35110946 w 598"/>
              <a:gd name="T41" fmla="*/ 160212947 h 2158"/>
              <a:gd name="T42" fmla="*/ 36262067 w 598"/>
              <a:gd name="T43" fmla="*/ 143203982 h 2158"/>
              <a:gd name="T44" fmla="*/ 30697879 w 598"/>
              <a:gd name="T45" fmla="*/ 125920529 h 2158"/>
              <a:gd name="T46" fmla="*/ 34919092 w 598"/>
              <a:gd name="T47" fmla="*/ 111380624 h 2158"/>
              <a:gd name="T48" fmla="*/ 43936642 w 598"/>
              <a:gd name="T49" fmla="*/ 94920572 h 2158"/>
              <a:gd name="T50" fmla="*/ 38372454 w 598"/>
              <a:gd name="T51" fmla="*/ 84495943 h 2158"/>
              <a:gd name="T52" fmla="*/ 28395631 w 598"/>
              <a:gd name="T53" fmla="*/ 60902627 h 2158"/>
              <a:gd name="T54" fmla="*/ 24750415 w 598"/>
              <a:gd name="T55" fmla="*/ 34291870 h 2158"/>
              <a:gd name="T56" fmla="*/ 17459546 w 598"/>
              <a:gd name="T57" fmla="*/ 10150701 h 2158"/>
              <a:gd name="T58" fmla="*/ 0 w 598"/>
              <a:gd name="T59" fmla="*/ 12070848 h 2158"/>
              <a:gd name="T60" fmla="*/ 5947896 w 598"/>
              <a:gd name="T61" fmla="*/ 54867205 h 2158"/>
              <a:gd name="T62" fmla="*/ 8058286 w 598"/>
              <a:gd name="T63" fmla="*/ 83398641 h 2158"/>
              <a:gd name="T64" fmla="*/ 5180483 w 598"/>
              <a:gd name="T65" fmla="*/ 102602209 h 2158"/>
              <a:gd name="T66" fmla="*/ 9976821 w 598"/>
              <a:gd name="T67" fmla="*/ 143752895 h 2158"/>
              <a:gd name="T68" fmla="*/ 8825700 w 598"/>
              <a:gd name="T69" fmla="*/ 178044757 h 2158"/>
              <a:gd name="T70" fmla="*/ 6907164 w 598"/>
              <a:gd name="T71" fmla="*/ 196973869 h 2158"/>
              <a:gd name="T72" fmla="*/ 9976821 w 598"/>
              <a:gd name="T73" fmla="*/ 210416472 h 2158"/>
              <a:gd name="T74" fmla="*/ 12279062 w 598"/>
              <a:gd name="T75" fmla="*/ 238947368 h 2158"/>
              <a:gd name="T76" fmla="*/ 15541012 w 598"/>
              <a:gd name="T77" fmla="*/ 250469823 h 2158"/>
              <a:gd name="T78" fmla="*/ 14006181 w 598"/>
              <a:gd name="T79" fmla="*/ 286682421 h 2158"/>
              <a:gd name="T80" fmla="*/ 12087208 w 598"/>
              <a:gd name="T81" fmla="*/ 316036163 h 2158"/>
              <a:gd name="T82" fmla="*/ 7674579 w 598"/>
              <a:gd name="T83" fmla="*/ 325912403 h 2158"/>
              <a:gd name="T84" fmla="*/ 11511648 w 598"/>
              <a:gd name="T85" fmla="*/ 345115972 h 2158"/>
              <a:gd name="T86" fmla="*/ 20337348 w 598"/>
              <a:gd name="T87" fmla="*/ 368434815 h 2158"/>
              <a:gd name="T88" fmla="*/ 17843253 w 598"/>
              <a:gd name="T89" fmla="*/ 382974719 h 2158"/>
              <a:gd name="T90" fmla="*/ 20337348 w 598"/>
              <a:gd name="T91" fmla="*/ 397514624 h 2158"/>
              <a:gd name="T92" fmla="*/ 31465730 w 598"/>
              <a:gd name="T93" fmla="*/ 402452220 h 2158"/>
              <a:gd name="T94" fmla="*/ 40099573 w 598"/>
              <a:gd name="T95" fmla="*/ 444700175 h 2158"/>
              <a:gd name="T96" fmla="*/ 43552935 w 598"/>
              <a:gd name="T97" fmla="*/ 468841864 h 2158"/>
              <a:gd name="T98" fmla="*/ 28971198 w 598"/>
              <a:gd name="T99" fmla="*/ 479815406 h 2158"/>
              <a:gd name="T100" fmla="*/ 39715429 w 598"/>
              <a:gd name="T101" fmla="*/ 487222587 h 2158"/>
              <a:gd name="T102" fmla="*/ 47965565 w 598"/>
              <a:gd name="T103" fmla="*/ 499293431 h 2158"/>
              <a:gd name="T104" fmla="*/ 52762339 w 598"/>
              <a:gd name="T105" fmla="*/ 513284423 h 2158"/>
              <a:gd name="T106" fmla="*/ 59093954 w 598"/>
              <a:gd name="T107" fmla="*/ 537975024 h 2158"/>
              <a:gd name="T108" fmla="*/ 68878918 w 598"/>
              <a:gd name="T109" fmla="*/ 552240603 h 2158"/>
              <a:gd name="T110" fmla="*/ 75402373 w 598"/>
              <a:gd name="T111" fmla="*/ 561842387 h 2158"/>
              <a:gd name="T112" fmla="*/ 81349830 w 598"/>
              <a:gd name="T113" fmla="*/ 568975111 h 2158"/>
              <a:gd name="T114" fmla="*/ 89216259 w 598"/>
              <a:gd name="T115" fmla="*/ 578851352 h 2158"/>
              <a:gd name="T116" fmla="*/ 99576783 w 598"/>
              <a:gd name="T117" fmla="*/ 587081378 h 2158"/>
              <a:gd name="T118" fmla="*/ 103222436 w 598"/>
              <a:gd name="T119" fmla="*/ 590099351 h 2158"/>
              <a:gd name="T120" fmla="*/ 112431839 w 598"/>
              <a:gd name="T121" fmla="*/ 575559446 h 2158"/>
              <a:gd name="T122" fmla="*/ 113391107 w 598"/>
              <a:gd name="T123" fmla="*/ 568152266 h 215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598"/>
              <a:gd name="T187" fmla="*/ 0 h 2158"/>
              <a:gd name="T188" fmla="*/ 598 w 598"/>
              <a:gd name="T189" fmla="*/ 2158 h 2158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598" h="2158">
                <a:moveTo>
                  <a:pt x="491" y="2046"/>
                </a:moveTo>
                <a:lnTo>
                  <a:pt x="480" y="2045"/>
                </a:lnTo>
                <a:lnTo>
                  <a:pt x="469" y="2043"/>
                </a:lnTo>
                <a:lnTo>
                  <a:pt x="456" y="2039"/>
                </a:lnTo>
                <a:lnTo>
                  <a:pt x="444" y="2034"/>
                </a:lnTo>
                <a:lnTo>
                  <a:pt x="431" y="2028"/>
                </a:lnTo>
                <a:lnTo>
                  <a:pt x="418" y="2021"/>
                </a:lnTo>
                <a:lnTo>
                  <a:pt x="405" y="2013"/>
                </a:lnTo>
                <a:lnTo>
                  <a:pt x="392" y="2003"/>
                </a:lnTo>
                <a:lnTo>
                  <a:pt x="379" y="1994"/>
                </a:lnTo>
                <a:lnTo>
                  <a:pt x="368" y="1985"/>
                </a:lnTo>
                <a:lnTo>
                  <a:pt x="357" y="1976"/>
                </a:lnTo>
                <a:lnTo>
                  <a:pt x="349" y="1966"/>
                </a:lnTo>
                <a:lnTo>
                  <a:pt x="342" y="1955"/>
                </a:lnTo>
                <a:lnTo>
                  <a:pt x="337" y="1946"/>
                </a:lnTo>
                <a:lnTo>
                  <a:pt x="333" y="1937"/>
                </a:lnTo>
                <a:lnTo>
                  <a:pt x="332" y="1929"/>
                </a:lnTo>
                <a:lnTo>
                  <a:pt x="332" y="1919"/>
                </a:lnTo>
                <a:lnTo>
                  <a:pt x="333" y="1909"/>
                </a:lnTo>
                <a:lnTo>
                  <a:pt x="336" y="1900"/>
                </a:lnTo>
                <a:lnTo>
                  <a:pt x="339" y="1893"/>
                </a:lnTo>
                <a:lnTo>
                  <a:pt x="341" y="1887"/>
                </a:lnTo>
                <a:lnTo>
                  <a:pt x="343" y="1880"/>
                </a:lnTo>
                <a:lnTo>
                  <a:pt x="344" y="1874"/>
                </a:lnTo>
                <a:lnTo>
                  <a:pt x="345" y="1868"/>
                </a:lnTo>
                <a:lnTo>
                  <a:pt x="345" y="1863"/>
                </a:lnTo>
                <a:lnTo>
                  <a:pt x="345" y="1855"/>
                </a:lnTo>
                <a:lnTo>
                  <a:pt x="345" y="1843"/>
                </a:lnTo>
                <a:lnTo>
                  <a:pt x="345" y="1824"/>
                </a:lnTo>
                <a:lnTo>
                  <a:pt x="345" y="1818"/>
                </a:lnTo>
                <a:lnTo>
                  <a:pt x="348" y="1812"/>
                </a:lnTo>
                <a:lnTo>
                  <a:pt x="351" y="1807"/>
                </a:lnTo>
                <a:lnTo>
                  <a:pt x="355" y="1802"/>
                </a:lnTo>
                <a:lnTo>
                  <a:pt x="359" y="1797"/>
                </a:lnTo>
                <a:lnTo>
                  <a:pt x="362" y="1791"/>
                </a:lnTo>
                <a:lnTo>
                  <a:pt x="364" y="1783"/>
                </a:lnTo>
                <a:lnTo>
                  <a:pt x="365" y="1775"/>
                </a:lnTo>
                <a:lnTo>
                  <a:pt x="364" y="1768"/>
                </a:lnTo>
                <a:lnTo>
                  <a:pt x="363" y="1762"/>
                </a:lnTo>
                <a:lnTo>
                  <a:pt x="362" y="1756"/>
                </a:lnTo>
                <a:lnTo>
                  <a:pt x="360" y="1750"/>
                </a:lnTo>
                <a:lnTo>
                  <a:pt x="354" y="1740"/>
                </a:lnTo>
                <a:lnTo>
                  <a:pt x="349" y="1728"/>
                </a:lnTo>
                <a:lnTo>
                  <a:pt x="342" y="1718"/>
                </a:lnTo>
                <a:lnTo>
                  <a:pt x="337" y="1707"/>
                </a:lnTo>
                <a:lnTo>
                  <a:pt x="334" y="1702"/>
                </a:lnTo>
                <a:lnTo>
                  <a:pt x="333" y="1696"/>
                </a:lnTo>
                <a:lnTo>
                  <a:pt x="332" y="1690"/>
                </a:lnTo>
                <a:lnTo>
                  <a:pt x="332" y="1683"/>
                </a:lnTo>
                <a:lnTo>
                  <a:pt x="331" y="1670"/>
                </a:lnTo>
                <a:lnTo>
                  <a:pt x="330" y="1659"/>
                </a:lnTo>
                <a:lnTo>
                  <a:pt x="329" y="1648"/>
                </a:lnTo>
                <a:lnTo>
                  <a:pt x="327" y="1638"/>
                </a:lnTo>
                <a:lnTo>
                  <a:pt x="320" y="1617"/>
                </a:lnTo>
                <a:lnTo>
                  <a:pt x="312" y="1599"/>
                </a:lnTo>
                <a:lnTo>
                  <a:pt x="303" y="1581"/>
                </a:lnTo>
                <a:lnTo>
                  <a:pt x="292" y="1563"/>
                </a:lnTo>
                <a:lnTo>
                  <a:pt x="281" y="1547"/>
                </a:lnTo>
                <a:lnTo>
                  <a:pt x="269" y="1530"/>
                </a:lnTo>
                <a:lnTo>
                  <a:pt x="256" y="1514"/>
                </a:lnTo>
                <a:lnTo>
                  <a:pt x="245" y="1496"/>
                </a:lnTo>
                <a:lnTo>
                  <a:pt x="235" y="1478"/>
                </a:lnTo>
                <a:lnTo>
                  <a:pt x="226" y="1460"/>
                </a:lnTo>
                <a:lnTo>
                  <a:pt x="221" y="1449"/>
                </a:lnTo>
                <a:lnTo>
                  <a:pt x="217" y="1439"/>
                </a:lnTo>
                <a:lnTo>
                  <a:pt x="214" y="1428"/>
                </a:lnTo>
                <a:lnTo>
                  <a:pt x="210" y="1417"/>
                </a:lnTo>
                <a:lnTo>
                  <a:pt x="208" y="1406"/>
                </a:lnTo>
                <a:lnTo>
                  <a:pt x="207" y="1393"/>
                </a:lnTo>
                <a:lnTo>
                  <a:pt x="206" y="1381"/>
                </a:lnTo>
                <a:lnTo>
                  <a:pt x="206" y="1368"/>
                </a:lnTo>
                <a:lnTo>
                  <a:pt x="206" y="1355"/>
                </a:lnTo>
                <a:lnTo>
                  <a:pt x="207" y="1342"/>
                </a:lnTo>
                <a:lnTo>
                  <a:pt x="209" y="1331"/>
                </a:lnTo>
                <a:lnTo>
                  <a:pt x="213" y="1320"/>
                </a:lnTo>
                <a:lnTo>
                  <a:pt x="215" y="1309"/>
                </a:lnTo>
                <a:lnTo>
                  <a:pt x="217" y="1299"/>
                </a:lnTo>
                <a:lnTo>
                  <a:pt x="218" y="1287"/>
                </a:lnTo>
                <a:lnTo>
                  <a:pt x="219" y="1276"/>
                </a:lnTo>
                <a:lnTo>
                  <a:pt x="218" y="1268"/>
                </a:lnTo>
                <a:lnTo>
                  <a:pt x="217" y="1261"/>
                </a:lnTo>
                <a:lnTo>
                  <a:pt x="216" y="1254"/>
                </a:lnTo>
                <a:lnTo>
                  <a:pt x="214" y="1248"/>
                </a:lnTo>
                <a:lnTo>
                  <a:pt x="208" y="1235"/>
                </a:lnTo>
                <a:lnTo>
                  <a:pt x="203" y="1223"/>
                </a:lnTo>
                <a:lnTo>
                  <a:pt x="196" y="1210"/>
                </a:lnTo>
                <a:lnTo>
                  <a:pt x="191" y="1197"/>
                </a:lnTo>
                <a:lnTo>
                  <a:pt x="188" y="1190"/>
                </a:lnTo>
                <a:lnTo>
                  <a:pt x="187" y="1183"/>
                </a:lnTo>
                <a:lnTo>
                  <a:pt x="186" y="1174"/>
                </a:lnTo>
                <a:lnTo>
                  <a:pt x="185" y="1165"/>
                </a:lnTo>
                <a:lnTo>
                  <a:pt x="186" y="1158"/>
                </a:lnTo>
                <a:lnTo>
                  <a:pt x="189" y="1152"/>
                </a:lnTo>
                <a:lnTo>
                  <a:pt x="194" y="1146"/>
                </a:lnTo>
                <a:lnTo>
                  <a:pt x="199" y="1141"/>
                </a:lnTo>
                <a:lnTo>
                  <a:pt x="204" y="1135"/>
                </a:lnTo>
                <a:lnTo>
                  <a:pt x="208" y="1129"/>
                </a:lnTo>
                <a:lnTo>
                  <a:pt x="211" y="1123"/>
                </a:lnTo>
                <a:lnTo>
                  <a:pt x="213" y="1115"/>
                </a:lnTo>
                <a:lnTo>
                  <a:pt x="211" y="1109"/>
                </a:lnTo>
                <a:lnTo>
                  <a:pt x="209" y="1103"/>
                </a:lnTo>
                <a:lnTo>
                  <a:pt x="206" y="1097"/>
                </a:lnTo>
                <a:lnTo>
                  <a:pt x="203" y="1092"/>
                </a:lnTo>
                <a:lnTo>
                  <a:pt x="198" y="1087"/>
                </a:lnTo>
                <a:lnTo>
                  <a:pt x="195" y="1082"/>
                </a:lnTo>
                <a:lnTo>
                  <a:pt x="193" y="1078"/>
                </a:lnTo>
                <a:lnTo>
                  <a:pt x="192" y="1073"/>
                </a:lnTo>
                <a:lnTo>
                  <a:pt x="195" y="1064"/>
                </a:lnTo>
                <a:lnTo>
                  <a:pt x="203" y="1049"/>
                </a:lnTo>
                <a:lnTo>
                  <a:pt x="206" y="1041"/>
                </a:lnTo>
                <a:lnTo>
                  <a:pt x="209" y="1033"/>
                </a:lnTo>
                <a:lnTo>
                  <a:pt x="211" y="1025"/>
                </a:lnTo>
                <a:lnTo>
                  <a:pt x="213" y="1018"/>
                </a:lnTo>
                <a:lnTo>
                  <a:pt x="203" y="1018"/>
                </a:lnTo>
                <a:lnTo>
                  <a:pt x="192" y="1018"/>
                </a:lnTo>
                <a:lnTo>
                  <a:pt x="198" y="1012"/>
                </a:lnTo>
                <a:lnTo>
                  <a:pt x="205" y="1003"/>
                </a:lnTo>
                <a:lnTo>
                  <a:pt x="207" y="998"/>
                </a:lnTo>
                <a:lnTo>
                  <a:pt x="210" y="993"/>
                </a:lnTo>
                <a:lnTo>
                  <a:pt x="211" y="987"/>
                </a:lnTo>
                <a:lnTo>
                  <a:pt x="213" y="980"/>
                </a:lnTo>
                <a:lnTo>
                  <a:pt x="211" y="970"/>
                </a:lnTo>
                <a:lnTo>
                  <a:pt x="208" y="961"/>
                </a:lnTo>
                <a:lnTo>
                  <a:pt x="205" y="951"/>
                </a:lnTo>
                <a:lnTo>
                  <a:pt x="199" y="943"/>
                </a:lnTo>
                <a:lnTo>
                  <a:pt x="187" y="927"/>
                </a:lnTo>
                <a:lnTo>
                  <a:pt x="172" y="910"/>
                </a:lnTo>
                <a:lnTo>
                  <a:pt x="165" y="902"/>
                </a:lnTo>
                <a:lnTo>
                  <a:pt x="158" y="892"/>
                </a:lnTo>
                <a:lnTo>
                  <a:pt x="151" y="883"/>
                </a:lnTo>
                <a:lnTo>
                  <a:pt x="144" y="874"/>
                </a:lnTo>
                <a:lnTo>
                  <a:pt x="140" y="863"/>
                </a:lnTo>
                <a:lnTo>
                  <a:pt x="136" y="852"/>
                </a:lnTo>
                <a:lnTo>
                  <a:pt x="134" y="839"/>
                </a:lnTo>
                <a:lnTo>
                  <a:pt x="132" y="826"/>
                </a:lnTo>
                <a:lnTo>
                  <a:pt x="132" y="794"/>
                </a:lnTo>
                <a:lnTo>
                  <a:pt x="132" y="766"/>
                </a:lnTo>
                <a:lnTo>
                  <a:pt x="132" y="736"/>
                </a:lnTo>
                <a:lnTo>
                  <a:pt x="132" y="697"/>
                </a:lnTo>
                <a:lnTo>
                  <a:pt x="134" y="686"/>
                </a:lnTo>
                <a:lnTo>
                  <a:pt x="135" y="675"/>
                </a:lnTo>
                <a:lnTo>
                  <a:pt x="138" y="665"/>
                </a:lnTo>
                <a:lnTo>
                  <a:pt x="141" y="655"/>
                </a:lnTo>
                <a:lnTo>
                  <a:pt x="151" y="637"/>
                </a:lnTo>
                <a:lnTo>
                  <a:pt x="162" y="619"/>
                </a:lnTo>
                <a:lnTo>
                  <a:pt x="173" y="602"/>
                </a:lnTo>
                <a:lnTo>
                  <a:pt x="183" y="584"/>
                </a:lnTo>
                <a:lnTo>
                  <a:pt x="186" y="575"/>
                </a:lnTo>
                <a:lnTo>
                  <a:pt x="189" y="564"/>
                </a:lnTo>
                <a:lnTo>
                  <a:pt x="192" y="554"/>
                </a:lnTo>
                <a:lnTo>
                  <a:pt x="192" y="543"/>
                </a:lnTo>
                <a:lnTo>
                  <a:pt x="192" y="535"/>
                </a:lnTo>
                <a:lnTo>
                  <a:pt x="191" y="528"/>
                </a:lnTo>
                <a:lnTo>
                  <a:pt x="189" y="522"/>
                </a:lnTo>
                <a:lnTo>
                  <a:pt x="187" y="516"/>
                </a:lnTo>
                <a:lnTo>
                  <a:pt x="182" y="504"/>
                </a:lnTo>
                <a:lnTo>
                  <a:pt x="175" y="493"/>
                </a:lnTo>
                <a:lnTo>
                  <a:pt x="170" y="483"/>
                </a:lnTo>
                <a:lnTo>
                  <a:pt x="164" y="472"/>
                </a:lnTo>
                <a:lnTo>
                  <a:pt x="162" y="466"/>
                </a:lnTo>
                <a:lnTo>
                  <a:pt x="160" y="459"/>
                </a:lnTo>
                <a:lnTo>
                  <a:pt x="160" y="451"/>
                </a:lnTo>
                <a:lnTo>
                  <a:pt x="159" y="444"/>
                </a:lnTo>
                <a:lnTo>
                  <a:pt x="160" y="436"/>
                </a:lnTo>
                <a:lnTo>
                  <a:pt x="162" y="429"/>
                </a:lnTo>
                <a:lnTo>
                  <a:pt x="165" y="423"/>
                </a:lnTo>
                <a:lnTo>
                  <a:pt x="171" y="417"/>
                </a:lnTo>
                <a:lnTo>
                  <a:pt x="182" y="406"/>
                </a:lnTo>
                <a:lnTo>
                  <a:pt x="195" y="394"/>
                </a:lnTo>
                <a:lnTo>
                  <a:pt x="203" y="388"/>
                </a:lnTo>
                <a:lnTo>
                  <a:pt x="209" y="381"/>
                </a:lnTo>
                <a:lnTo>
                  <a:pt x="215" y="374"/>
                </a:lnTo>
                <a:lnTo>
                  <a:pt x="220" y="365"/>
                </a:lnTo>
                <a:lnTo>
                  <a:pt x="226" y="356"/>
                </a:lnTo>
                <a:lnTo>
                  <a:pt x="229" y="346"/>
                </a:lnTo>
                <a:lnTo>
                  <a:pt x="231" y="334"/>
                </a:lnTo>
                <a:lnTo>
                  <a:pt x="232" y="321"/>
                </a:lnTo>
                <a:lnTo>
                  <a:pt x="227" y="320"/>
                </a:lnTo>
                <a:lnTo>
                  <a:pt x="221" y="319"/>
                </a:lnTo>
                <a:lnTo>
                  <a:pt x="216" y="318"/>
                </a:lnTo>
                <a:lnTo>
                  <a:pt x="210" y="315"/>
                </a:lnTo>
                <a:lnTo>
                  <a:pt x="200" y="308"/>
                </a:lnTo>
                <a:lnTo>
                  <a:pt x="192" y="300"/>
                </a:lnTo>
                <a:lnTo>
                  <a:pt x="183" y="289"/>
                </a:lnTo>
                <a:lnTo>
                  <a:pt x="174" y="276"/>
                </a:lnTo>
                <a:lnTo>
                  <a:pt x="166" y="264"/>
                </a:lnTo>
                <a:lnTo>
                  <a:pt x="160" y="250"/>
                </a:lnTo>
                <a:lnTo>
                  <a:pt x="153" y="237"/>
                </a:lnTo>
                <a:lnTo>
                  <a:pt x="148" y="222"/>
                </a:lnTo>
                <a:lnTo>
                  <a:pt x="143" y="209"/>
                </a:lnTo>
                <a:lnTo>
                  <a:pt x="140" y="196"/>
                </a:lnTo>
                <a:lnTo>
                  <a:pt x="135" y="174"/>
                </a:lnTo>
                <a:lnTo>
                  <a:pt x="132" y="160"/>
                </a:lnTo>
                <a:lnTo>
                  <a:pt x="132" y="148"/>
                </a:lnTo>
                <a:lnTo>
                  <a:pt x="131" y="137"/>
                </a:lnTo>
                <a:lnTo>
                  <a:pt x="129" y="125"/>
                </a:lnTo>
                <a:lnTo>
                  <a:pt x="128" y="114"/>
                </a:lnTo>
                <a:lnTo>
                  <a:pt x="125" y="103"/>
                </a:lnTo>
                <a:lnTo>
                  <a:pt x="121" y="93"/>
                </a:lnTo>
                <a:lnTo>
                  <a:pt x="118" y="84"/>
                </a:lnTo>
                <a:lnTo>
                  <a:pt x="114" y="74"/>
                </a:lnTo>
                <a:lnTo>
                  <a:pt x="103" y="55"/>
                </a:lnTo>
                <a:lnTo>
                  <a:pt x="91" y="37"/>
                </a:lnTo>
                <a:lnTo>
                  <a:pt x="75" y="19"/>
                </a:lnTo>
                <a:lnTo>
                  <a:pt x="59" y="0"/>
                </a:lnTo>
                <a:lnTo>
                  <a:pt x="54" y="14"/>
                </a:lnTo>
                <a:lnTo>
                  <a:pt x="49" y="25"/>
                </a:lnTo>
                <a:lnTo>
                  <a:pt x="41" y="37"/>
                </a:lnTo>
                <a:lnTo>
                  <a:pt x="32" y="50"/>
                </a:lnTo>
                <a:lnTo>
                  <a:pt x="0" y="44"/>
                </a:lnTo>
                <a:lnTo>
                  <a:pt x="0" y="62"/>
                </a:lnTo>
                <a:lnTo>
                  <a:pt x="2" y="81"/>
                </a:lnTo>
                <a:lnTo>
                  <a:pt x="4" y="98"/>
                </a:lnTo>
                <a:lnTo>
                  <a:pt x="7" y="114"/>
                </a:lnTo>
                <a:lnTo>
                  <a:pt x="14" y="145"/>
                </a:lnTo>
                <a:lnTo>
                  <a:pt x="23" y="173"/>
                </a:lnTo>
                <a:lnTo>
                  <a:pt x="31" y="200"/>
                </a:lnTo>
                <a:lnTo>
                  <a:pt x="39" y="227"/>
                </a:lnTo>
                <a:lnTo>
                  <a:pt x="41" y="241"/>
                </a:lnTo>
                <a:lnTo>
                  <a:pt x="45" y="255"/>
                </a:lnTo>
                <a:lnTo>
                  <a:pt x="46" y="269"/>
                </a:lnTo>
                <a:lnTo>
                  <a:pt x="46" y="283"/>
                </a:lnTo>
                <a:lnTo>
                  <a:pt x="46" y="295"/>
                </a:lnTo>
                <a:lnTo>
                  <a:pt x="42" y="304"/>
                </a:lnTo>
                <a:lnTo>
                  <a:pt x="40" y="313"/>
                </a:lnTo>
                <a:lnTo>
                  <a:pt x="36" y="320"/>
                </a:lnTo>
                <a:lnTo>
                  <a:pt x="32" y="327"/>
                </a:lnTo>
                <a:lnTo>
                  <a:pt x="29" y="335"/>
                </a:lnTo>
                <a:lnTo>
                  <a:pt x="27" y="342"/>
                </a:lnTo>
                <a:lnTo>
                  <a:pt x="26" y="352"/>
                </a:lnTo>
                <a:lnTo>
                  <a:pt x="27" y="374"/>
                </a:lnTo>
                <a:lnTo>
                  <a:pt x="30" y="395"/>
                </a:lnTo>
                <a:lnTo>
                  <a:pt x="35" y="416"/>
                </a:lnTo>
                <a:lnTo>
                  <a:pt x="39" y="435"/>
                </a:lnTo>
                <a:lnTo>
                  <a:pt x="45" y="457"/>
                </a:lnTo>
                <a:lnTo>
                  <a:pt x="49" y="477"/>
                </a:lnTo>
                <a:lnTo>
                  <a:pt x="51" y="500"/>
                </a:lnTo>
                <a:lnTo>
                  <a:pt x="52" y="524"/>
                </a:lnTo>
                <a:lnTo>
                  <a:pt x="51" y="553"/>
                </a:lnTo>
                <a:lnTo>
                  <a:pt x="49" y="572"/>
                </a:lnTo>
                <a:lnTo>
                  <a:pt x="47" y="588"/>
                </a:lnTo>
                <a:lnTo>
                  <a:pt x="46" y="610"/>
                </a:lnTo>
                <a:lnTo>
                  <a:pt x="46" y="622"/>
                </a:lnTo>
                <a:lnTo>
                  <a:pt x="46" y="635"/>
                </a:lnTo>
                <a:lnTo>
                  <a:pt x="46" y="649"/>
                </a:lnTo>
                <a:lnTo>
                  <a:pt x="46" y="660"/>
                </a:lnTo>
                <a:lnTo>
                  <a:pt x="41" y="666"/>
                </a:lnTo>
                <a:lnTo>
                  <a:pt x="37" y="675"/>
                </a:lnTo>
                <a:lnTo>
                  <a:pt x="34" y="687"/>
                </a:lnTo>
                <a:lnTo>
                  <a:pt x="32" y="697"/>
                </a:lnTo>
                <a:lnTo>
                  <a:pt x="34" y="709"/>
                </a:lnTo>
                <a:lnTo>
                  <a:pt x="36" y="718"/>
                </a:lnTo>
                <a:lnTo>
                  <a:pt x="39" y="725"/>
                </a:lnTo>
                <a:lnTo>
                  <a:pt x="42" y="731"/>
                </a:lnTo>
                <a:lnTo>
                  <a:pt x="47" y="737"/>
                </a:lnTo>
                <a:lnTo>
                  <a:pt x="50" y="741"/>
                </a:lnTo>
                <a:lnTo>
                  <a:pt x="52" y="746"/>
                </a:lnTo>
                <a:lnTo>
                  <a:pt x="52" y="752"/>
                </a:lnTo>
                <a:lnTo>
                  <a:pt x="52" y="767"/>
                </a:lnTo>
                <a:lnTo>
                  <a:pt x="52" y="782"/>
                </a:lnTo>
                <a:lnTo>
                  <a:pt x="52" y="797"/>
                </a:lnTo>
                <a:lnTo>
                  <a:pt x="52" y="808"/>
                </a:lnTo>
                <a:lnTo>
                  <a:pt x="53" y="822"/>
                </a:lnTo>
                <a:lnTo>
                  <a:pt x="58" y="847"/>
                </a:lnTo>
                <a:lnTo>
                  <a:pt x="60" y="860"/>
                </a:lnTo>
                <a:lnTo>
                  <a:pt x="64" y="871"/>
                </a:lnTo>
                <a:lnTo>
                  <a:pt x="65" y="875"/>
                </a:lnTo>
                <a:lnTo>
                  <a:pt x="68" y="879"/>
                </a:lnTo>
                <a:lnTo>
                  <a:pt x="70" y="881"/>
                </a:lnTo>
                <a:lnTo>
                  <a:pt x="73" y="881"/>
                </a:lnTo>
                <a:lnTo>
                  <a:pt x="76" y="894"/>
                </a:lnTo>
                <a:lnTo>
                  <a:pt x="80" y="905"/>
                </a:lnTo>
                <a:lnTo>
                  <a:pt x="81" y="913"/>
                </a:lnTo>
                <a:lnTo>
                  <a:pt x="81" y="921"/>
                </a:lnTo>
                <a:lnTo>
                  <a:pt x="80" y="936"/>
                </a:lnTo>
                <a:lnTo>
                  <a:pt x="80" y="956"/>
                </a:lnTo>
                <a:lnTo>
                  <a:pt x="79" y="980"/>
                </a:lnTo>
                <a:lnTo>
                  <a:pt x="78" y="1002"/>
                </a:lnTo>
                <a:lnTo>
                  <a:pt x="75" y="1024"/>
                </a:lnTo>
                <a:lnTo>
                  <a:pt x="73" y="1045"/>
                </a:lnTo>
                <a:lnTo>
                  <a:pt x="70" y="1065"/>
                </a:lnTo>
                <a:lnTo>
                  <a:pt x="68" y="1087"/>
                </a:lnTo>
                <a:lnTo>
                  <a:pt x="67" y="1110"/>
                </a:lnTo>
                <a:lnTo>
                  <a:pt x="67" y="1135"/>
                </a:lnTo>
                <a:lnTo>
                  <a:pt x="65" y="1141"/>
                </a:lnTo>
                <a:lnTo>
                  <a:pt x="64" y="1147"/>
                </a:lnTo>
                <a:lnTo>
                  <a:pt x="63" y="1152"/>
                </a:lnTo>
                <a:lnTo>
                  <a:pt x="62" y="1156"/>
                </a:lnTo>
                <a:lnTo>
                  <a:pt x="58" y="1163"/>
                </a:lnTo>
                <a:lnTo>
                  <a:pt x="52" y="1169"/>
                </a:lnTo>
                <a:lnTo>
                  <a:pt x="48" y="1175"/>
                </a:lnTo>
                <a:lnTo>
                  <a:pt x="43" y="1181"/>
                </a:lnTo>
                <a:lnTo>
                  <a:pt x="41" y="1185"/>
                </a:lnTo>
                <a:lnTo>
                  <a:pt x="40" y="1188"/>
                </a:lnTo>
                <a:lnTo>
                  <a:pt x="40" y="1192"/>
                </a:lnTo>
                <a:lnTo>
                  <a:pt x="39" y="1196"/>
                </a:lnTo>
                <a:lnTo>
                  <a:pt x="40" y="1205"/>
                </a:lnTo>
                <a:lnTo>
                  <a:pt x="42" y="1215"/>
                </a:lnTo>
                <a:lnTo>
                  <a:pt x="46" y="1225"/>
                </a:lnTo>
                <a:lnTo>
                  <a:pt x="50" y="1237"/>
                </a:lnTo>
                <a:lnTo>
                  <a:pt x="60" y="1258"/>
                </a:lnTo>
                <a:lnTo>
                  <a:pt x="73" y="1279"/>
                </a:lnTo>
                <a:lnTo>
                  <a:pt x="85" y="1299"/>
                </a:lnTo>
                <a:lnTo>
                  <a:pt x="95" y="1317"/>
                </a:lnTo>
                <a:lnTo>
                  <a:pt x="99" y="1325"/>
                </a:lnTo>
                <a:lnTo>
                  <a:pt x="103" y="1332"/>
                </a:lnTo>
                <a:lnTo>
                  <a:pt x="105" y="1338"/>
                </a:lnTo>
                <a:lnTo>
                  <a:pt x="106" y="1343"/>
                </a:lnTo>
                <a:lnTo>
                  <a:pt x="105" y="1351"/>
                </a:lnTo>
                <a:lnTo>
                  <a:pt x="104" y="1358"/>
                </a:lnTo>
                <a:lnTo>
                  <a:pt x="102" y="1365"/>
                </a:lnTo>
                <a:lnTo>
                  <a:pt x="99" y="1372"/>
                </a:lnTo>
                <a:lnTo>
                  <a:pt x="97" y="1380"/>
                </a:lnTo>
                <a:lnTo>
                  <a:pt x="95" y="1388"/>
                </a:lnTo>
                <a:lnTo>
                  <a:pt x="93" y="1396"/>
                </a:lnTo>
                <a:lnTo>
                  <a:pt x="93" y="1406"/>
                </a:lnTo>
                <a:lnTo>
                  <a:pt x="93" y="1415"/>
                </a:lnTo>
                <a:lnTo>
                  <a:pt x="94" y="1424"/>
                </a:lnTo>
                <a:lnTo>
                  <a:pt x="96" y="1432"/>
                </a:lnTo>
                <a:lnTo>
                  <a:pt x="98" y="1438"/>
                </a:lnTo>
                <a:lnTo>
                  <a:pt x="102" y="1444"/>
                </a:lnTo>
                <a:lnTo>
                  <a:pt x="106" y="1449"/>
                </a:lnTo>
                <a:lnTo>
                  <a:pt x="112" y="1453"/>
                </a:lnTo>
                <a:lnTo>
                  <a:pt x="117" y="1457"/>
                </a:lnTo>
                <a:lnTo>
                  <a:pt x="123" y="1460"/>
                </a:lnTo>
                <a:lnTo>
                  <a:pt x="130" y="1463"/>
                </a:lnTo>
                <a:lnTo>
                  <a:pt x="138" y="1464"/>
                </a:lnTo>
                <a:lnTo>
                  <a:pt x="146" y="1465"/>
                </a:lnTo>
                <a:lnTo>
                  <a:pt x="164" y="1467"/>
                </a:lnTo>
                <a:lnTo>
                  <a:pt x="185" y="1467"/>
                </a:lnTo>
                <a:lnTo>
                  <a:pt x="191" y="1501"/>
                </a:lnTo>
                <a:lnTo>
                  <a:pt x="195" y="1531"/>
                </a:lnTo>
                <a:lnTo>
                  <a:pt x="197" y="1559"/>
                </a:lnTo>
                <a:lnTo>
                  <a:pt x="199" y="1590"/>
                </a:lnTo>
                <a:lnTo>
                  <a:pt x="202" y="1602"/>
                </a:lnTo>
                <a:lnTo>
                  <a:pt x="209" y="1621"/>
                </a:lnTo>
                <a:lnTo>
                  <a:pt x="216" y="1643"/>
                </a:lnTo>
                <a:lnTo>
                  <a:pt x="219" y="1658"/>
                </a:lnTo>
                <a:lnTo>
                  <a:pt x="219" y="1668"/>
                </a:lnTo>
                <a:lnTo>
                  <a:pt x="220" y="1679"/>
                </a:lnTo>
                <a:lnTo>
                  <a:pt x="221" y="1687"/>
                </a:lnTo>
                <a:lnTo>
                  <a:pt x="222" y="1694"/>
                </a:lnTo>
                <a:lnTo>
                  <a:pt x="227" y="1709"/>
                </a:lnTo>
                <a:lnTo>
                  <a:pt x="232" y="1725"/>
                </a:lnTo>
                <a:lnTo>
                  <a:pt x="202" y="1732"/>
                </a:lnTo>
                <a:lnTo>
                  <a:pt x="173" y="1739"/>
                </a:lnTo>
                <a:lnTo>
                  <a:pt x="166" y="1740"/>
                </a:lnTo>
                <a:lnTo>
                  <a:pt x="161" y="1743"/>
                </a:lnTo>
                <a:lnTo>
                  <a:pt x="155" y="1745"/>
                </a:lnTo>
                <a:lnTo>
                  <a:pt x="151" y="1749"/>
                </a:lnTo>
                <a:lnTo>
                  <a:pt x="147" y="1752"/>
                </a:lnTo>
                <a:lnTo>
                  <a:pt x="143" y="1757"/>
                </a:lnTo>
                <a:lnTo>
                  <a:pt x="141" y="1762"/>
                </a:lnTo>
                <a:lnTo>
                  <a:pt x="139" y="1769"/>
                </a:lnTo>
                <a:lnTo>
                  <a:pt x="164" y="1770"/>
                </a:lnTo>
                <a:lnTo>
                  <a:pt x="193" y="1773"/>
                </a:lnTo>
                <a:lnTo>
                  <a:pt x="207" y="1776"/>
                </a:lnTo>
                <a:lnTo>
                  <a:pt x="218" y="1779"/>
                </a:lnTo>
                <a:lnTo>
                  <a:pt x="224" y="1781"/>
                </a:lnTo>
                <a:lnTo>
                  <a:pt x="227" y="1783"/>
                </a:lnTo>
                <a:lnTo>
                  <a:pt x="230" y="1785"/>
                </a:lnTo>
                <a:lnTo>
                  <a:pt x="232" y="1787"/>
                </a:lnTo>
                <a:lnTo>
                  <a:pt x="243" y="1807"/>
                </a:lnTo>
                <a:lnTo>
                  <a:pt x="250" y="1820"/>
                </a:lnTo>
                <a:lnTo>
                  <a:pt x="253" y="1825"/>
                </a:lnTo>
                <a:lnTo>
                  <a:pt x="258" y="1828"/>
                </a:lnTo>
                <a:lnTo>
                  <a:pt x="263" y="1830"/>
                </a:lnTo>
                <a:lnTo>
                  <a:pt x="272" y="1830"/>
                </a:lnTo>
                <a:lnTo>
                  <a:pt x="272" y="1843"/>
                </a:lnTo>
                <a:lnTo>
                  <a:pt x="273" y="1857"/>
                </a:lnTo>
                <a:lnTo>
                  <a:pt x="275" y="1871"/>
                </a:lnTo>
                <a:lnTo>
                  <a:pt x="278" y="1884"/>
                </a:lnTo>
                <a:lnTo>
                  <a:pt x="282" y="1898"/>
                </a:lnTo>
                <a:lnTo>
                  <a:pt x="285" y="1912"/>
                </a:lnTo>
                <a:lnTo>
                  <a:pt x="289" y="1925"/>
                </a:lnTo>
                <a:lnTo>
                  <a:pt x="295" y="1937"/>
                </a:lnTo>
                <a:lnTo>
                  <a:pt x="301" y="1949"/>
                </a:lnTo>
                <a:lnTo>
                  <a:pt x="308" y="1961"/>
                </a:lnTo>
                <a:lnTo>
                  <a:pt x="315" y="1971"/>
                </a:lnTo>
                <a:lnTo>
                  <a:pt x="322" y="1980"/>
                </a:lnTo>
                <a:lnTo>
                  <a:pt x="330" y="1988"/>
                </a:lnTo>
                <a:lnTo>
                  <a:pt x="339" y="1995"/>
                </a:lnTo>
                <a:lnTo>
                  <a:pt x="349" y="2000"/>
                </a:lnTo>
                <a:lnTo>
                  <a:pt x="359" y="2003"/>
                </a:lnTo>
                <a:lnTo>
                  <a:pt x="359" y="2013"/>
                </a:lnTo>
                <a:lnTo>
                  <a:pt x="361" y="2021"/>
                </a:lnTo>
                <a:lnTo>
                  <a:pt x="364" y="2028"/>
                </a:lnTo>
                <a:lnTo>
                  <a:pt x="368" y="2034"/>
                </a:lnTo>
                <a:lnTo>
                  <a:pt x="374" y="2038"/>
                </a:lnTo>
                <a:lnTo>
                  <a:pt x="379" y="2042"/>
                </a:lnTo>
                <a:lnTo>
                  <a:pt x="386" y="2046"/>
                </a:lnTo>
                <a:lnTo>
                  <a:pt x="393" y="2048"/>
                </a:lnTo>
                <a:lnTo>
                  <a:pt x="407" y="2053"/>
                </a:lnTo>
                <a:lnTo>
                  <a:pt x="420" y="2057"/>
                </a:lnTo>
                <a:lnTo>
                  <a:pt x="426" y="2060"/>
                </a:lnTo>
                <a:lnTo>
                  <a:pt x="431" y="2063"/>
                </a:lnTo>
                <a:lnTo>
                  <a:pt x="435" y="2066"/>
                </a:lnTo>
                <a:lnTo>
                  <a:pt x="438" y="2071"/>
                </a:lnTo>
                <a:lnTo>
                  <a:pt x="424" y="2074"/>
                </a:lnTo>
                <a:lnTo>
                  <a:pt x="411" y="2077"/>
                </a:lnTo>
                <a:lnTo>
                  <a:pt x="415" y="2084"/>
                </a:lnTo>
                <a:lnTo>
                  <a:pt x="421" y="2091"/>
                </a:lnTo>
                <a:lnTo>
                  <a:pt x="429" y="2097"/>
                </a:lnTo>
                <a:lnTo>
                  <a:pt x="440" y="2102"/>
                </a:lnTo>
                <a:lnTo>
                  <a:pt x="452" y="2107"/>
                </a:lnTo>
                <a:lnTo>
                  <a:pt x="465" y="2110"/>
                </a:lnTo>
                <a:lnTo>
                  <a:pt x="480" y="2113"/>
                </a:lnTo>
                <a:lnTo>
                  <a:pt x="498" y="2114"/>
                </a:lnTo>
                <a:lnTo>
                  <a:pt x="502" y="2117"/>
                </a:lnTo>
                <a:lnTo>
                  <a:pt x="507" y="2121"/>
                </a:lnTo>
                <a:lnTo>
                  <a:pt x="510" y="2127"/>
                </a:lnTo>
                <a:lnTo>
                  <a:pt x="513" y="2131"/>
                </a:lnTo>
                <a:lnTo>
                  <a:pt x="519" y="2140"/>
                </a:lnTo>
                <a:lnTo>
                  <a:pt x="522" y="2149"/>
                </a:lnTo>
                <a:lnTo>
                  <a:pt x="527" y="2155"/>
                </a:lnTo>
                <a:lnTo>
                  <a:pt x="530" y="2158"/>
                </a:lnTo>
                <a:lnTo>
                  <a:pt x="531" y="2158"/>
                </a:lnTo>
                <a:lnTo>
                  <a:pt x="533" y="2157"/>
                </a:lnTo>
                <a:lnTo>
                  <a:pt x="535" y="2155"/>
                </a:lnTo>
                <a:lnTo>
                  <a:pt x="538" y="2151"/>
                </a:lnTo>
                <a:lnTo>
                  <a:pt x="543" y="2137"/>
                </a:lnTo>
                <a:lnTo>
                  <a:pt x="547" y="2125"/>
                </a:lnTo>
                <a:lnTo>
                  <a:pt x="554" y="2116"/>
                </a:lnTo>
                <a:lnTo>
                  <a:pt x="561" y="2109"/>
                </a:lnTo>
                <a:lnTo>
                  <a:pt x="567" y="2104"/>
                </a:lnTo>
                <a:lnTo>
                  <a:pt x="576" y="2101"/>
                </a:lnTo>
                <a:lnTo>
                  <a:pt x="586" y="2098"/>
                </a:lnTo>
                <a:lnTo>
                  <a:pt x="598" y="2095"/>
                </a:lnTo>
                <a:lnTo>
                  <a:pt x="592" y="2087"/>
                </a:lnTo>
                <a:lnTo>
                  <a:pt x="589" y="2081"/>
                </a:lnTo>
                <a:lnTo>
                  <a:pt x="588" y="2078"/>
                </a:lnTo>
                <a:lnTo>
                  <a:pt x="588" y="2076"/>
                </a:lnTo>
                <a:lnTo>
                  <a:pt x="589" y="2074"/>
                </a:lnTo>
                <a:lnTo>
                  <a:pt x="591" y="2071"/>
                </a:lnTo>
                <a:lnTo>
                  <a:pt x="491" y="2046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12" name="Freeform 9"/>
          <p:cNvSpPr>
            <a:spLocks/>
          </p:cNvSpPr>
          <p:nvPr userDrawn="1">
            <p:custDataLst>
              <p:tags r:id="rId6"/>
            </p:custDataLst>
          </p:nvPr>
        </p:nvSpPr>
        <p:spPr bwMode="auto">
          <a:xfrm>
            <a:off x="2247902" y="2819410"/>
            <a:ext cx="966787" cy="902494"/>
          </a:xfrm>
          <a:custGeom>
            <a:avLst/>
            <a:gdLst>
              <a:gd name="T0" fmla="*/ 82997308 w 2226"/>
              <a:gd name="T1" fmla="*/ 246970341 h 2292"/>
              <a:gd name="T2" fmla="*/ 95258038 w 2226"/>
              <a:gd name="T3" fmla="*/ 271501991 h 2292"/>
              <a:gd name="T4" fmla="*/ 107896623 w 2226"/>
              <a:gd name="T5" fmla="*/ 290521093 h 2292"/>
              <a:gd name="T6" fmla="*/ 135059183 w 2226"/>
              <a:gd name="T7" fmla="*/ 302648840 h 2292"/>
              <a:gd name="T8" fmla="*/ 150526900 w 2226"/>
              <a:gd name="T9" fmla="*/ 331866210 h 2292"/>
              <a:gd name="T10" fmla="*/ 159581078 w 2226"/>
              <a:gd name="T11" fmla="*/ 356122228 h 2292"/>
              <a:gd name="T12" fmla="*/ 177123520 w 2226"/>
              <a:gd name="T13" fmla="*/ 373487482 h 2292"/>
              <a:gd name="T14" fmla="*/ 180519000 w 2226"/>
              <a:gd name="T15" fmla="*/ 404083004 h 2292"/>
              <a:gd name="T16" fmla="*/ 184102972 w 2226"/>
              <a:gd name="T17" fmla="*/ 424755825 h 2292"/>
              <a:gd name="T18" fmla="*/ 187121031 w 2226"/>
              <a:gd name="T19" fmla="*/ 449838735 h 2292"/>
              <a:gd name="T20" fmla="*/ 213340666 w 2226"/>
              <a:gd name="T21" fmla="*/ 468030356 h 2292"/>
              <a:gd name="T22" fmla="*/ 225035917 w 2226"/>
              <a:gd name="T23" fmla="*/ 497523881 h 2292"/>
              <a:gd name="T24" fmla="*/ 234467569 w 2226"/>
              <a:gd name="T25" fmla="*/ 513786087 h 2292"/>
              <a:gd name="T26" fmla="*/ 223149684 w 2226"/>
              <a:gd name="T27" fmla="*/ 552099923 h 2292"/>
              <a:gd name="T28" fmla="*/ 204474981 w 2226"/>
              <a:gd name="T29" fmla="*/ 586554274 h 2292"/>
              <a:gd name="T30" fmla="*/ 222583771 w 2226"/>
              <a:gd name="T31" fmla="*/ 595650609 h 2292"/>
              <a:gd name="T32" fmla="*/ 244464646 w 2226"/>
              <a:gd name="T33" fmla="*/ 615771643 h 2292"/>
              <a:gd name="T34" fmla="*/ 267666221 w 2226"/>
              <a:gd name="T35" fmla="*/ 605848941 h 2292"/>
              <a:gd name="T36" fmla="*/ 286340490 w 2226"/>
              <a:gd name="T37" fmla="*/ 561195733 h 2292"/>
              <a:gd name="T38" fmla="*/ 285208663 w 2226"/>
              <a:gd name="T39" fmla="*/ 528670665 h 2292"/>
              <a:gd name="T40" fmla="*/ 294451768 w 2226"/>
              <a:gd name="T41" fmla="*/ 494215788 h 2292"/>
              <a:gd name="T42" fmla="*/ 321803229 w 2226"/>
              <a:gd name="T43" fmla="*/ 476024168 h 2292"/>
              <a:gd name="T44" fmla="*/ 339157178 w 2226"/>
              <a:gd name="T45" fmla="*/ 463344635 h 2292"/>
              <a:gd name="T46" fmla="*/ 357831447 w 2226"/>
              <a:gd name="T47" fmla="*/ 452319411 h 2292"/>
              <a:gd name="T48" fmla="*/ 373865077 w 2226"/>
              <a:gd name="T49" fmla="*/ 385890859 h 2292"/>
              <a:gd name="T50" fmla="*/ 379901195 w 2226"/>
              <a:gd name="T51" fmla="*/ 355019706 h 2292"/>
              <a:gd name="T52" fmla="*/ 377637542 w 2226"/>
              <a:gd name="T53" fmla="*/ 300443795 h 2292"/>
              <a:gd name="T54" fmla="*/ 391030533 w 2226"/>
              <a:gd name="T55" fmla="*/ 278117191 h 2292"/>
              <a:gd name="T56" fmla="*/ 413100282 w 2226"/>
              <a:gd name="T57" fmla="*/ 241732835 h 2292"/>
              <a:gd name="T58" fmla="*/ 419136400 w 2226"/>
              <a:gd name="T59" fmla="*/ 201765872 h 2292"/>
              <a:gd name="T60" fmla="*/ 406875236 w 2226"/>
              <a:gd name="T61" fmla="*/ 165106475 h 2292"/>
              <a:gd name="T62" fmla="*/ 388389460 w 2226"/>
              <a:gd name="T63" fmla="*/ 155183249 h 2292"/>
              <a:gd name="T64" fmla="*/ 362358753 w 2226"/>
              <a:gd name="T65" fmla="*/ 127343999 h 2292"/>
              <a:gd name="T66" fmla="*/ 328593754 w 2226"/>
              <a:gd name="T67" fmla="*/ 124036432 h 2292"/>
              <a:gd name="T68" fmla="*/ 315012270 w 2226"/>
              <a:gd name="T69" fmla="*/ 123209540 h 2292"/>
              <a:gd name="T70" fmla="*/ 308599165 w 2226"/>
              <a:gd name="T71" fmla="*/ 108600593 h 2292"/>
              <a:gd name="T72" fmla="*/ 285208663 w 2226"/>
              <a:gd name="T73" fmla="*/ 95921585 h 2292"/>
              <a:gd name="T74" fmla="*/ 266157408 w 2226"/>
              <a:gd name="T75" fmla="*/ 112735052 h 2292"/>
              <a:gd name="T76" fmla="*/ 252387432 w 2226"/>
              <a:gd name="T77" fmla="*/ 111632530 h 2292"/>
              <a:gd name="T78" fmla="*/ 235221975 w 2226"/>
              <a:gd name="T79" fmla="*/ 105844287 h 2292"/>
              <a:gd name="T80" fmla="*/ 248426039 w 2226"/>
              <a:gd name="T81" fmla="*/ 73870611 h 2292"/>
              <a:gd name="T82" fmla="*/ 252387432 w 2226"/>
              <a:gd name="T83" fmla="*/ 50717098 h 2292"/>
              <a:gd name="T84" fmla="*/ 243521747 w 2226"/>
              <a:gd name="T85" fmla="*/ 18743415 h 2292"/>
              <a:gd name="T86" fmla="*/ 212020346 w 2226"/>
              <a:gd name="T87" fmla="*/ 37210674 h 2292"/>
              <a:gd name="T88" fmla="*/ 189196191 w 2226"/>
              <a:gd name="T89" fmla="*/ 46858270 h 2292"/>
              <a:gd name="T90" fmla="*/ 181084913 w 2226"/>
              <a:gd name="T91" fmla="*/ 51543990 h 2292"/>
              <a:gd name="T92" fmla="*/ 153167539 w 2226"/>
              <a:gd name="T93" fmla="*/ 48512054 h 2292"/>
              <a:gd name="T94" fmla="*/ 152979046 w 2226"/>
              <a:gd name="T95" fmla="*/ 18467784 h 2292"/>
              <a:gd name="T96" fmla="*/ 140529389 w 2226"/>
              <a:gd name="T97" fmla="*/ 0 h 2292"/>
              <a:gd name="T98" fmla="*/ 132041124 w 2226"/>
              <a:gd name="T99" fmla="*/ 8544551 h 2292"/>
              <a:gd name="T100" fmla="*/ 111103175 w 2226"/>
              <a:gd name="T101" fmla="*/ 19294676 h 2292"/>
              <a:gd name="T102" fmla="*/ 105632970 w 2226"/>
              <a:gd name="T103" fmla="*/ 54575927 h 2292"/>
              <a:gd name="T104" fmla="*/ 85449454 w 2226"/>
              <a:gd name="T105" fmla="*/ 71114305 h 2292"/>
              <a:gd name="T106" fmla="*/ 53948094 w 2226"/>
              <a:gd name="T107" fmla="*/ 54300296 h 2292"/>
              <a:gd name="T108" fmla="*/ 47723483 w 2226"/>
              <a:gd name="T109" fmla="*/ 66152938 h 2292"/>
              <a:gd name="T110" fmla="*/ 37348986 w 2226"/>
              <a:gd name="T111" fmla="*/ 85722727 h 2292"/>
              <a:gd name="T112" fmla="*/ 46403163 w 2226"/>
              <a:gd name="T113" fmla="*/ 106946809 h 2292"/>
              <a:gd name="T114" fmla="*/ 36594145 w 2226"/>
              <a:gd name="T115" fmla="*/ 154356357 h 2292"/>
              <a:gd name="T116" fmla="*/ 18863203 w 2226"/>
              <a:gd name="T117" fmla="*/ 156285771 h 2292"/>
              <a:gd name="T118" fmla="*/ 3018060 w 2226"/>
              <a:gd name="T119" fmla="*/ 189361969 h 2292"/>
              <a:gd name="T120" fmla="*/ 4149887 w 2226"/>
              <a:gd name="T121" fmla="*/ 227124413 h 2292"/>
              <a:gd name="T122" fmla="*/ 22635668 w 2226"/>
              <a:gd name="T123" fmla="*/ 249451017 h 2292"/>
              <a:gd name="T124" fmla="*/ 36028232 w 2226"/>
              <a:gd name="T125" fmla="*/ 261578764 h 229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2226"/>
              <a:gd name="T190" fmla="*/ 0 h 2292"/>
              <a:gd name="T191" fmla="*/ 2226 w 2226"/>
              <a:gd name="T192" fmla="*/ 2292 h 2292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2226" h="2292">
                <a:moveTo>
                  <a:pt x="233" y="973"/>
                </a:moveTo>
                <a:lnTo>
                  <a:pt x="313" y="967"/>
                </a:lnTo>
                <a:lnTo>
                  <a:pt x="323" y="963"/>
                </a:lnTo>
                <a:lnTo>
                  <a:pt x="332" y="959"/>
                </a:lnTo>
                <a:lnTo>
                  <a:pt x="342" y="953"/>
                </a:lnTo>
                <a:lnTo>
                  <a:pt x="351" y="948"/>
                </a:lnTo>
                <a:lnTo>
                  <a:pt x="368" y="936"/>
                </a:lnTo>
                <a:lnTo>
                  <a:pt x="386" y="923"/>
                </a:lnTo>
                <a:lnTo>
                  <a:pt x="403" y="911"/>
                </a:lnTo>
                <a:lnTo>
                  <a:pt x="421" y="902"/>
                </a:lnTo>
                <a:lnTo>
                  <a:pt x="431" y="898"/>
                </a:lnTo>
                <a:lnTo>
                  <a:pt x="440" y="896"/>
                </a:lnTo>
                <a:lnTo>
                  <a:pt x="449" y="894"/>
                </a:lnTo>
                <a:lnTo>
                  <a:pt x="459" y="893"/>
                </a:lnTo>
                <a:lnTo>
                  <a:pt x="467" y="894"/>
                </a:lnTo>
                <a:lnTo>
                  <a:pt x="474" y="896"/>
                </a:lnTo>
                <a:lnTo>
                  <a:pt x="480" y="899"/>
                </a:lnTo>
                <a:lnTo>
                  <a:pt x="485" y="902"/>
                </a:lnTo>
                <a:lnTo>
                  <a:pt x="489" y="907"/>
                </a:lnTo>
                <a:lnTo>
                  <a:pt x="492" y="912"/>
                </a:lnTo>
                <a:lnTo>
                  <a:pt x="496" y="918"/>
                </a:lnTo>
                <a:lnTo>
                  <a:pt x="498" y="925"/>
                </a:lnTo>
                <a:lnTo>
                  <a:pt x="502" y="956"/>
                </a:lnTo>
                <a:lnTo>
                  <a:pt x="505" y="985"/>
                </a:lnTo>
                <a:lnTo>
                  <a:pt x="509" y="994"/>
                </a:lnTo>
                <a:lnTo>
                  <a:pt x="512" y="1001"/>
                </a:lnTo>
                <a:lnTo>
                  <a:pt x="515" y="1008"/>
                </a:lnTo>
                <a:lnTo>
                  <a:pt x="520" y="1015"/>
                </a:lnTo>
                <a:lnTo>
                  <a:pt x="525" y="1022"/>
                </a:lnTo>
                <a:lnTo>
                  <a:pt x="531" y="1028"/>
                </a:lnTo>
                <a:lnTo>
                  <a:pt x="536" y="1033"/>
                </a:lnTo>
                <a:lnTo>
                  <a:pt x="543" y="1038"/>
                </a:lnTo>
                <a:lnTo>
                  <a:pt x="549" y="1044"/>
                </a:lnTo>
                <a:lnTo>
                  <a:pt x="557" y="1048"/>
                </a:lnTo>
                <a:lnTo>
                  <a:pt x="564" y="1051"/>
                </a:lnTo>
                <a:lnTo>
                  <a:pt x="572" y="1054"/>
                </a:lnTo>
                <a:lnTo>
                  <a:pt x="580" y="1057"/>
                </a:lnTo>
                <a:lnTo>
                  <a:pt x="588" y="1058"/>
                </a:lnTo>
                <a:lnTo>
                  <a:pt x="597" y="1059"/>
                </a:lnTo>
                <a:lnTo>
                  <a:pt x="605" y="1060"/>
                </a:lnTo>
                <a:lnTo>
                  <a:pt x="614" y="1060"/>
                </a:lnTo>
                <a:lnTo>
                  <a:pt x="625" y="1063"/>
                </a:lnTo>
                <a:lnTo>
                  <a:pt x="638" y="1066"/>
                </a:lnTo>
                <a:lnTo>
                  <a:pt x="653" y="1071"/>
                </a:lnTo>
                <a:lnTo>
                  <a:pt x="668" y="1076"/>
                </a:lnTo>
                <a:lnTo>
                  <a:pt x="683" y="1083"/>
                </a:lnTo>
                <a:lnTo>
                  <a:pt x="700" y="1090"/>
                </a:lnTo>
                <a:lnTo>
                  <a:pt x="716" y="1098"/>
                </a:lnTo>
                <a:lnTo>
                  <a:pt x="733" y="1108"/>
                </a:lnTo>
                <a:lnTo>
                  <a:pt x="747" y="1116"/>
                </a:lnTo>
                <a:lnTo>
                  <a:pt x="761" y="1126"/>
                </a:lnTo>
                <a:lnTo>
                  <a:pt x="773" y="1135"/>
                </a:lnTo>
                <a:lnTo>
                  <a:pt x="783" y="1144"/>
                </a:lnTo>
                <a:lnTo>
                  <a:pt x="791" y="1153"/>
                </a:lnTo>
                <a:lnTo>
                  <a:pt x="794" y="1158"/>
                </a:lnTo>
                <a:lnTo>
                  <a:pt x="796" y="1162"/>
                </a:lnTo>
                <a:lnTo>
                  <a:pt x="798" y="1167"/>
                </a:lnTo>
                <a:lnTo>
                  <a:pt x="798" y="1171"/>
                </a:lnTo>
                <a:lnTo>
                  <a:pt x="798" y="1190"/>
                </a:lnTo>
                <a:lnTo>
                  <a:pt x="798" y="1204"/>
                </a:lnTo>
                <a:lnTo>
                  <a:pt x="798" y="1214"/>
                </a:lnTo>
                <a:lnTo>
                  <a:pt x="798" y="1220"/>
                </a:lnTo>
                <a:lnTo>
                  <a:pt x="799" y="1229"/>
                </a:lnTo>
                <a:lnTo>
                  <a:pt x="803" y="1242"/>
                </a:lnTo>
                <a:lnTo>
                  <a:pt x="806" y="1249"/>
                </a:lnTo>
                <a:lnTo>
                  <a:pt x="810" y="1256"/>
                </a:lnTo>
                <a:lnTo>
                  <a:pt x="814" y="1263"/>
                </a:lnTo>
                <a:lnTo>
                  <a:pt x="818" y="1271"/>
                </a:lnTo>
                <a:lnTo>
                  <a:pt x="824" y="1277"/>
                </a:lnTo>
                <a:lnTo>
                  <a:pt x="830" y="1283"/>
                </a:lnTo>
                <a:lnTo>
                  <a:pt x="838" y="1288"/>
                </a:lnTo>
                <a:lnTo>
                  <a:pt x="846" y="1292"/>
                </a:lnTo>
                <a:lnTo>
                  <a:pt x="854" y="1295"/>
                </a:lnTo>
                <a:lnTo>
                  <a:pt x="863" y="1296"/>
                </a:lnTo>
                <a:lnTo>
                  <a:pt x="873" y="1296"/>
                </a:lnTo>
                <a:lnTo>
                  <a:pt x="884" y="1294"/>
                </a:lnTo>
                <a:lnTo>
                  <a:pt x="917" y="1294"/>
                </a:lnTo>
                <a:lnTo>
                  <a:pt x="918" y="1306"/>
                </a:lnTo>
                <a:lnTo>
                  <a:pt x="919" y="1317"/>
                </a:lnTo>
                <a:lnTo>
                  <a:pt x="923" y="1328"/>
                </a:lnTo>
                <a:lnTo>
                  <a:pt x="926" y="1336"/>
                </a:lnTo>
                <a:lnTo>
                  <a:pt x="929" y="1343"/>
                </a:lnTo>
                <a:lnTo>
                  <a:pt x="935" y="1349"/>
                </a:lnTo>
                <a:lnTo>
                  <a:pt x="939" y="1355"/>
                </a:lnTo>
                <a:lnTo>
                  <a:pt x="944" y="1360"/>
                </a:lnTo>
                <a:lnTo>
                  <a:pt x="953" y="1371"/>
                </a:lnTo>
                <a:lnTo>
                  <a:pt x="962" y="1385"/>
                </a:lnTo>
                <a:lnTo>
                  <a:pt x="965" y="1392"/>
                </a:lnTo>
                <a:lnTo>
                  <a:pt x="969" y="1401"/>
                </a:lnTo>
                <a:lnTo>
                  <a:pt x="970" y="1411"/>
                </a:lnTo>
                <a:lnTo>
                  <a:pt x="971" y="1423"/>
                </a:lnTo>
                <a:lnTo>
                  <a:pt x="970" y="1434"/>
                </a:lnTo>
                <a:lnTo>
                  <a:pt x="968" y="1443"/>
                </a:lnTo>
                <a:lnTo>
                  <a:pt x="964" y="1452"/>
                </a:lnTo>
                <a:lnTo>
                  <a:pt x="961" y="1459"/>
                </a:lnTo>
                <a:lnTo>
                  <a:pt x="957" y="1466"/>
                </a:lnTo>
                <a:lnTo>
                  <a:pt x="953" y="1474"/>
                </a:lnTo>
                <a:lnTo>
                  <a:pt x="951" y="1482"/>
                </a:lnTo>
                <a:lnTo>
                  <a:pt x="951" y="1491"/>
                </a:lnTo>
                <a:lnTo>
                  <a:pt x="951" y="1498"/>
                </a:lnTo>
                <a:lnTo>
                  <a:pt x="952" y="1503"/>
                </a:lnTo>
                <a:lnTo>
                  <a:pt x="953" y="1509"/>
                </a:lnTo>
                <a:lnTo>
                  <a:pt x="955" y="1513"/>
                </a:lnTo>
                <a:lnTo>
                  <a:pt x="959" y="1521"/>
                </a:lnTo>
                <a:lnTo>
                  <a:pt x="964" y="1527"/>
                </a:lnTo>
                <a:lnTo>
                  <a:pt x="969" y="1533"/>
                </a:lnTo>
                <a:lnTo>
                  <a:pt x="973" y="1537"/>
                </a:lnTo>
                <a:lnTo>
                  <a:pt x="976" y="1541"/>
                </a:lnTo>
                <a:lnTo>
                  <a:pt x="978" y="1547"/>
                </a:lnTo>
                <a:lnTo>
                  <a:pt x="979" y="1555"/>
                </a:lnTo>
                <a:lnTo>
                  <a:pt x="979" y="1564"/>
                </a:lnTo>
                <a:lnTo>
                  <a:pt x="979" y="1572"/>
                </a:lnTo>
                <a:lnTo>
                  <a:pt x="978" y="1580"/>
                </a:lnTo>
                <a:lnTo>
                  <a:pt x="976" y="1588"/>
                </a:lnTo>
                <a:lnTo>
                  <a:pt x="975" y="1596"/>
                </a:lnTo>
                <a:lnTo>
                  <a:pt x="975" y="1605"/>
                </a:lnTo>
                <a:lnTo>
                  <a:pt x="978" y="1614"/>
                </a:lnTo>
                <a:lnTo>
                  <a:pt x="981" y="1621"/>
                </a:lnTo>
                <a:lnTo>
                  <a:pt x="985" y="1627"/>
                </a:lnTo>
                <a:lnTo>
                  <a:pt x="992" y="1632"/>
                </a:lnTo>
                <a:lnTo>
                  <a:pt x="998" y="1637"/>
                </a:lnTo>
                <a:lnTo>
                  <a:pt x="1016" y="1645"/>
                </a:lnTo>
                <a:lnTo>
                  <a:pt x="1036" y="1653"/>
                </a:lnTo>
                <a:lnTo>
                  <a:pt x="1057" y="1661"/>
                </a:lnTo>
                <a:lnTo>
                  <a:pt x="1077" y="1669"/>
                </a:lnTo>
                <a:lnTo>
                  <a:pt x="1086" y="1673"/>
                </a:lnTo>
                <a:lnTo>
                  <a:pt x="1095" y="1678"/>
                </a:lnTo>
                <a:lnTo>
                  <a:pt x="1104" y="1682"/>
                </a:lnTo>
                <a:lnTo>
                  <a:pt x="1110" y="1688"/>
                </a:lnTo>
                <a:lnTo>
                  <a:pt x="1116" y="1692"/>
                </a:lnTo>
                <a:lnTo>
                  <a:pt x="1124" y="1695"/>
                </a:lnTo>
                <a:lnTo>
                  <a:pt x="1131" y="1698"/>
                </a:lnTo>
                <a:lnTo>
                  <a:pt x="1140" y="1700"/>
                </a:lnTo>
                <a:lnTo>
                  <a:pt x="1149" y="1702"/>
                </a:lnTo>
                <a:lnTo>
                  <a:pt x="1157" y="1705"/>
                </a:lnTo>
                <a:lnTo>
                  <a:pt x="1164" y="1708"/>
                </a:lnTo>
                <a:lnTo>
                  <a:pt x="1170" y="1713"/>
                </a:lnTo>
                <a:lnTo>
                  <a:pt x="1176" y="1721"/>
                </a:lnTo>
                <a:lnTo>
                  <a:pt x="1181" y="1729"/>
                </a:lnTo>
                <a:lnTo>
                  <a:pt x="1185" y="1739"/>
                </a:lnTo>
                <a:lnTo>
                  <a:pt x="1187" y="1749"/>
                </a:lnTo>
                <a:lnTo>
                  <a:pt x="1189" y="1772"/>
                </a:lnTo>
                <a:lnTo>
                  <a:pt x="1192" y="1794"/>
                </a:lnTo>
                <a:lnTo>
                  <a:pt x="1193" y="1805"/>
                </a:lnTo>
                <a:lnTo>
                  <a:pt x="1195" y="1815"/>
                </a:lnTo>
                <a:lnTo>
                  <a:pt x="1198" y="1825"/>
                </a:lnTo>
                <a:lnTo>
                  <a:pt x="1204" y="1832"/>
                </a:lnTo>
                <a:lnTo>
                  <a:pt x="1207" y="1836"/>
                </a:lnTo>
                <a:lnTo>
                  <a:pt x="1210" y="1839"/>
                </a:lnTo>
                <a:lnTo>
                  <a:pt x="1214" y="1842"/>
                </a:lnTo>
                <a:lnTo>
                  <a:pt x="1219" y="1844"/>
                </a:lnTo>
                <a:lnTo>
                  <a:pt x="1224" y="1846"/>
                </a:lnTo>
                <a:lnTo>
                  <a:pt x="1229" y="1847"/>
                </a:lnTo>
                <a:lnTo>
                  <a:pt x="1236" y="1848"/>
                </a:lnTo>
                <a:lnTo>
                  <a:pt x="1243" y="1848"/>
                </a:lnTo>
                <a:lnTo>
                  <a:pt x="1243" y="1864"/>
                </a:lnTo>
                <a:lnTo>
                  <a:pt x="1243" y="1879"/>
                </a:lnTo>
                <a:lnTo>
                  <a:pt x="1243" y="1891"/>
                </a:lnTo>
                <a:lnTo>
                  <a:pt x="1243" y="1904"/>
                </a:lnTo>
                <a:lnTo>
                  <a:pt x="1243" y="1921"/>
                </a:lnTo>
                <a:lnTo>
                  <a:pt x="1243" y="1942"/>
                </a:lnTo>
                <a:lnTo>
                  <a:pt x="1243" y="1961"/>
                </a:lnTo>
                <a:lnTo>
                  <a:pt x="1243" y="1971"/>
                </a:lnTo>
                <a:lnTo>
                  <a:pt x="1232" y="1974"/>
                </a:lnTo>
                <a:lnTo>
                  <a:pt x="1221" y="1979"/>
                </a:lnTo>
                <a:lnTo>
                  <a:pt x="1208" y="1985"/>
                </a:lnTo>
                <a:lnTo>
                  <a:pt x="1196" y="1994"/>
                </a:lnTo>
                <a:lnTo>
                  <a:pt x="1183" y="2003"/>
                </a:lnTo>
                <a:lnTo>
                  <a:pt x="1170" y="2013"/>
                </a:lnTo>
                <a:lnTo>
                  <a:pt x="1157" y="2023"/>
                </a:lnTo>
                <a:lnTo>
                  <a:pt x="1143" y="2034"/>
                </a:lnTo>
                <a:lnTo>
                  <a:pt x="1131" y="2047"/>
                </a:lnTo>
                <a:lnTo>
                  <a:pt x="1120" y="2059"/>
                </a:lnTo>
                <a:lnTo>
                  <a:pt x="1109" y="2070"/>
                </a:lnTo>
                <a:lnTo>
                  <a:pt x="1101" y="2082"/>
                </a:lnTo>
                <a:lnTo>
                  <a:pt x="1094" y="2094"/>
                </a:lnTo>
                <a:lnTo>
                  <a:pt x="1088" y="2106"/>
                </a:lnTo>
                <a:lnTo>
                  <a:pt x="1085" y="2116"/>
                </a:lnTo>
                <a:lnTo>
                  <a:pt x="1084" y="2125"/>
                </a:lnTo>
                <a:lnTo>
                  <a:pt x="1084" y="2128"/>
                </a:lnTo>
                <a:lnTo>
                  <a:pt x="1086" y="2130"/>
                </a:lnTo>
                <a:lnTo>
                  <a:pt x="1088" y="2132"/>
                </a:lnTo>
                <a:lnTo>
                  <a:pt x="1092" y="2133"/>
                </a:lnTo>
                <a:lnTo>
                  <a:pt x="1101" y="2137"/>
                </a:lnTo>
                <a:lnTo>
                  <a:pt x="1110" y="2139"/>
                </a:lnTo>
                <a:lnTo>
                  <a:pt x="1131" y="2142"/>
                </a:lnTo>
                <a:lnTo>
                  <a:pt x="1143" y="2144"/>
                </a:lnTo>
                <a:lnTo>
                  <a:pt x="1151" y="2145"/>
                </a:lnTo>
                <a:lnTo>
                  <a:pt x="1158" y="2147"/>
                </a:lnTo>
                <a:lnTo>
                  <a:pt x="1163" y="2150"/>
                </a:lnTo>
                <a:lnTo>
                  <a:pt x="1169" y="2153"/>
                </a:lnTo>
                <a:lnTo>
                  <a:pt x="1180" y="2161"/>
                </a:lnTo>
                <a:lnTo>
                  <a:pt x="1189" y="2170"/>
                </a:lnTo>
                <a:lnTo>
                  <a:pt x="1200" y="2178"/>
                </a:lnTo>
                <a:lnTo>
                  <a:pt x="1210" y="2186"/>
                </a:lnTo>
                <a:lnTo>
                  <a:pt x="1216" y="2190"/>
                </a:lnTo>
                <a:lnTo>
                  <a:pt x="1222" y="2193"/>
                </a:lnTo>
                <a:lnTo>
                  <a:pt x="1229" y="2197"/>
                </a:lnTo>
                <a:lnTo>
                  <a:pt x="1237" y="2199"/>
                </a:lnTo>
                <a:lnTo>
                  <a:pt x="1248" y="2203"/>
                </a:lnTo>
                <a:lnTo>
                  <a:pt x="1258" y="2208"/>
                </a:lnTo>
                <a:lnTo>
                  <a:pt x="1267" y="2214"/>
                </a:lnTo>
                <a:lnTo>
                  <a:pt x="1277" y="2220"/>
                </a:lnTo>
                <a:lnTo>
                  <a:pt x="1296" y="2234"/>
                </a:lnTo>
                <a:lnTo>
                  <a:pt x="1312" y="2248"/>
                </a:lnTo>
                <a:lnTo>
                  <a:pt x="1327" y="2262"/>
                </a:lnTo>
                <a:lnTo>
                  <a:pt x="1340" y="2275"/>
                </a:lnTo>
                <a:lnTo>
                  <a:pt x="1352" y="2285"/>
                </a:lnTo>
                <a:lnTo>
                  <a:pt x="1363" y="2292"/>
                </a:lnTo>
                <a:lnTo>
                  <a:pt x="1370" y="2276"/>
                </a:lnTo>
                <a:lnTo>
                  <a:pt x="1377" y="2261"/>
                </a:lnTo>
                <a:lnTo>
                  <a:pt x="1385" y="2248"/>
                </a:lnTo>
                <a:lnTo>
                  <a:pt x="1394" y="2235"/>
                </a:lnTo>
                <a:lnTo>
                  <a:pt x="1401" y="2223"/>
                </a:lnTo>
                <a:lnTo>
                  <a:pt x="1410" y="2210"/>
                </a:lnTo>
                <a:lnTo>
                  <a:pt x="1419" y="2198"/>
                </a:lnTo>
                <a:lnTo>
                  <a:pt x="1429" y="2187"/>
                </a:lnTo>
                <a:lnTo>
                  <a:pt x="1439" y="2160"/>
                </a:lnTo>
                <a:lnTo>
                  <a:pt x="1449" y="2138"/>
                </a:lnTo>
                <a:lnTo>
                  <a:pt x="1459" y="2116"/>
                </a:lnTo>
                <a:lnTo>
                  <a:pt x="1468" y="2088"/>
                </a:lnTo>
                <a:lnTo>
                  <a:pt x="1472" y="2082"/>
                </a:lnTo>
                <a:lnTo>
                  <a:pt x="1476" y="2076"/>
                </a:lnTo>
                <a:lnTo>
                  <a:pt x="1480" y="2070"/>
                </a:lnTo>
                <a:lnTo>
                  <a:pt x="1485" y="2065"/>
                </a:lnTo>
                <a:lnTo>
                  <a:pt x="1496" y="2055"/>
                </a:lnTo>
                <a:lnTo>
                  <a:pt x="1507" y="2046"/>
                </a:lnTo>
                <a:lnTo>
                  <a:pt x="1518" y="2036"/>
                </a:lnTo>
                <a:lnTo>
                  <a:pt x="1527" y="2026"/>
                </a:lnTo>
                <a:lnTo>
                  <a:pt x="1530" y="2021"/>
                </a:lnTo>
                <a:lnTo>
                  <a:pt x="1533" y="2015"/>
                </a:lnTo>
                <a:lnTo>
                  <a:pt x="1534" y="2009"/>
                </a:lnTo>
                <a:lnTo>
                  <a:pt x="1535" y="2002"/>
                </a:lnTo>
                <a:lnTo>
                  <a:pt x="1535" y="1993"/>
                </a:lnTo>
                <a:lnTo>
                  <a:pt x="1534" y="1984"/>
                </a:lnTo>
                <a:lnTo>
                  <a:pt x="1532" y="1975"/>
                </a:lnTo>
                <a:lnTo>
                  <a:pt x="1530" y="1966"/>
                </a:lnTo>
                <a:lnTo>
                  <a:pt x="1524" y="1950"/>
                </a:lnTo>
                <a:lnTo>
                  <a:pt x="1519" y="1934"/>
                </a:lnTo>
                <a:lnTo>
                  <a:pt x="1512" y="1918"/>
                </a:lnTo>
                <a:lnTo>
                  <a:pt x="1507" y="1904"/>
                </a:lnTo>
                <a:lnTo>
                  <a:pt x="1504" y="1891"/>
                </a:lnTo>
                <a:lnTo>
                  <a:pt x="1502" y="1879"/>
                </a:lnTo>
                <a:lnTo>
                  <a:pt x="1502" y="1873"/>
                </a:lnTo>
                <a:lnTo>
                  <a:pt x="1504" y="1867"/>
                </a:lnTo>
                <a:lnTo>
                  <a:pt x="1506" y="1861"/>
                </a:lnTo>
                <a:lnTo>
                  <a:pt x="1508" y="1855"/>
                </a:lnTo>
                <a:lnTo>
                  <a:pt x="1514" y="1843"/>
                </a:lnTo>
                <a:lnTo>
                  <a:pt x="1523" y="1830"/>
                </a:lnTo>
                <a:lnTo>
                  <a:pt x="1534" y="1817"/>
                </a:lnTo>
                <a:lnTo>
                  <a:pt x="1547" y="1805"/>
                </a:lnTo>
                <a:lnTo>
                  <a:pt x="1561" y="1793"/>
                </a:lnTo>
                <a:lnTo>
                  <a:pt x="1576" y="1782"/>
                </a:lnTo>
                <a:lnTo>
                  <a:pt x="1591" y="1772"/>
                </a:lnTo>
                <a:lnTo>
                  <a:pt x="1608" y="1761"/>
                </a:lnTo>
                <a:lnTo>
                  <a:pt x="1623" y="1753"/>
                </a:lnTo>
                <a:lnTo>
                  <a:pt x="1640" y="1745"/>
                </a:lnTo>
                <a:lnTo>
                  <a:pt x="1655" y="1739"/>
                </a:lnTo>
                <a:lnTo>
                  <a:pt x="1669" y="1735"/>
                </a:lnTo>
                <a:lnTo>
                  <a:pt x="1682" y="1732"/>
                </a:lnTo>
                <a:lnTo>
                  <a:pt x="1695" y="1731"/>
                </a:lnTo>
                <a:lnTo>
                  <a:pt x="1699" y="1731"/>
                </a:lnTo>
                <a:lnTo>
                  <a:pt x="1702" y="1729"/>
                </a:lnTo>
                <a:lnTo>
                  <a:pt x="1706" y="1727"/>
                </a:lnTo>
                <a:lnTo>
                  <a:pt x="1709" y="1725"/>
                </a:lnTo>
                <a:lnTo>
                  <a:pt x="1717" y="1718"/>
                </a:lnTo>
                <a:lnTo>
                  <a:pt x="1724" y="1709"/>
                </a:lnTo>
                <a:lnTo>
                  <a:pt x="1733" y="1701"/>
                </a:lnTo>
                <a:lnTo>
                  <a:pt x="1743" y="1694"/>
                </a:lnTo>
                <a:lnTo>
                  <a:pt x="1748" y="1692"/>
                </a:lnTo>
                <a:lnTo>
                  <a:pt x="1754" y="1690"/>
                </a:lnTo>
                <a:lnTo>
                  <a:pt x="1760" y="1688"/>
                </a:lnTo>
                <a:lnTo>
                  <a:pt x="1768" y="1688"/>
                </a:lnTo>
                <a:lnTo>
                  <a:pt x="1779" y="1684"/>
                </a:lnTo>
                <a:lnTo>
                  <a:pt x="1789" y="1682"/>
                </a:lnTo>
                <a:lnTo>
                  <a:pt x="1798" y="1681"/>
                </a:lnTo>
                <a:lnTo>
                  <a:pt x="1807" y="1680"/>
                </a:lnTo>
                <a:lnTo>
                  <a:pt x="1820" y="1681"/>
                </a:lnTo>
                <a:lnTo>
                  <a:pt x="1834" y="1682"/>
                </a:lnTo>
                <a:lnTo>
                  <a:pt x="1854" y="1681"/>
                </a:lnTo>
                <a:lnTo>
                  <a:pt x="1868" y="1679"/>
                </a:lnTo>
                <a:lnTo>
                  <a:pt x="1874" y="1678"/>
                </a:lnTo>
                <a:lnTo>
                  <a:pt x="1878" y="1676"/>
                </a:lnTo>
                <a:lnTo>
                  <a:pt x="1882" y="1673"/>
                </a:lnTo>
                <a:lnTo>
                  <a:pt x="1885" y="1670"/>
                </a:lnTo>
                <a:lnTo>
                  <a:pt x="1890" y="1663"/>
                </a:lnTo>
                <a:lnTo>
                  <a:pt x="1893" y="1653"/>
                </a:lnTo>
                <a:lnTo>
                  <a:pt x="1897" y="1641"/>
                </a:lnTo>
                <a:lnTo>
                  <a:pt x="1901" y="1626"/>
                </a:lnTo>
                <a:lnTo>
                  <a:pt x="1927" y="1571"/>
                </a:lnTo>
                <a:lnTo>
                  <a:pt x="1939" y="1553"/>
                </a:lnTo>
                <a:lnTo>
                  <a:pt x="1949" y="1535"/>
                </a:lnTo>
                <a:lnTo>
                  <a:pt x="1959" y="1518"/>
                </a:lnTo>
                <a:lnTo>
                  <a:pt x="1967" y="1500"/>
                </a:lnTo>
                <a:lnTo>
                  <a:pt x="1972" y="1480"/>
                </a:lnTo>
                <a:lnTo>
                  <a:pt x="1977" y="1460"/>
                </a:lnTo>
                <a:lnTo>
                  <a:pt x="1980" y="1437"/>
                </a:lnTo>
                <a:lnTo>
                  <a:pt x="1980" y="1411"/>
                </a:lnTo>
                <a:lnTo>
                  <a:pt x="1981" y="1405"/>
                </a:lnTo>
                <a:lnTo>
                  <a:pt x="1982" y="1400"/>
                </a:lnTo>
                <a:lnTo>
                  <a:pt x="1983" y="1395"/>
                </a:lnTo>
                <a:lnTo>
                  <a:pt x="1986" y="1391"/>
                </a:lnTo>
                <a:lnTo>
                  <a:pt x="1991" y="1382"/>
                </a:lnTo>
                <a:lnTo>
                  <a:pt x="1997" y="1372"/>
                </a:lnTo>
                <a:lnTo>
                  <a:pt x="2003" y="1364"/>
                </a:lnTo>
                <a:lnTo>
                  <a:pt x="2009" y="1354"/>
                </a:lnTo>
                <a:lnTo>
                  <a:pt x="2011" y="1349"/>
                </a:lnTo>
                <a:lnTo>
                  <a:pt x="2012" y="1343"/>
                </a:lnTo>
                <a:lnTo>
                  <a:pt x="2013" y="1337"/>
                </a:lnTo>
                <a:lnTo>
                  <a:pt x="2014" y="1331"/>
                </a:lnTo>
                <a:lnTo>
                  <a:pt x="2014" y="1307"/>
                </a:lnTo>
                <a:lnTo>
                  <a:pt x="2014" y="1288"/>
                </a:lnTo>
                <a:lnTo>
                  <a:pt x="2014" y="1271"/>
                </a:lnTo>
                <a:lnTo>
                  <a:pt x="2014" y="1250"/>
                </a:lnTo>
                <a:lnTo>
                  <a:pt x="2011" y="1223"/>
                </a:lnTo>
                <a:lnTo>
                  <a:pt x="2004" y="1185"/>
                </a:lnTo>
                <a:lnTo>
                  <a:pt x="2000" y="1165"/>
                </a:lnTo>
                <a:lnTo>
                  <a:pt x="1997" y="1145"/>
                </a:lnTo>
                <a:lnTo>
                  <a:pt x="1994" y="1129"/>
                </a:lnTo>
                <a:lnTo>
                  <a:pt x="1993" y="1115"/>
                </a:lnTo>
                <a:lnTo>
                  <a:pt x="1994" y="1108"/>
                </a:lnTo>
                <a:lnTo>
                  <a:pt x="1997" y="1102"/>
                </a:lnTo>
                <a:lnTo>
                  <a:pt x="1999" y="1096"/>
                </a:lnTo>
                <a:lnTo>
                  <a:pt x="2002" y="1090"/>
                </a:lnTo>
                <a:lnTo>
                  <a:pt x="2006" y="1085"/>
                </a:lnTo>
                <a:lnTo>
                  <a:pt x="2012" y="1081"/>
                </a:lnTo>
                <a:lnTo>
                  <a:pt x="2017" y="1077"/>
                </a:lnTo>
                <a:lnTo>
                  <a:pt x="2023" y="1073"/>
                </a:lnTo>
                <a:lnTo>
                  <a:pt x="2035" y="1067"/>
                </a:lnTo>
                <a:lnTo>
                  <a:pt x="2047" y="1063"/>
                </a:lnTo>
                <a:lnTo>
                  <a:pt x="2058" y="1060"/>
                </a:lnTo>
                <a:lnTo>
                  <a:pt x="2067" y="1060"/>
                </a:lnTo>
                <a:lnTo>
                  <a:pt x="2067" y="1046"/>
                </a:lnTo>
                <a:lnTo>
                  <a:pt x="2069" y="1032"/>
                </a:lnTo>
                <a:lnTo>
                  <a:pt x="2071" y="1020"/>
                </a:lnTo>
                <a:lnTo>
                  <a:pt x="2073" y="1009"/>
                </a:lnTo>
                <a:lnTo>
                  <a:pt x="2078" y="999"/>
                </a:lnTo>
                <a:lnTo>
                  <a:pt x="2081" y="990"/>
                </a:lnTo>
                <a:lnTo>
                  <a:pt x="2087" y="980"/>
                </a:lnTo>
                <a:lnTo>
                  <a:pt x="2092" y="972"/>
                </a:lnTo>
                <a:lnTo>
                  <a:pt x="2104" y="956"/>
                </a:lnTo>
                <a:lnTo>
                  <a:pt x="2117" y="943"/>
                </a:lnTo>
                <a:lnTo>
                  <a:pt x="2132" y="929"/>
                </a:lnTo>
                <a:lnTo>
                  <a:pt x="2147" y="917"/>
                </a:lnTo>
                <a:lnTo>
                  <a:pt x="2161" y="904"/>
                </a:lnTo>
                <a:lnTo>
                  <a:pt x="2175" y="891"/>
                </a:lnTo>
                <a:lnTo>
                  <a:pt x="2183" y="885"/>
                </a:lnTo>
                <a:lnTo>
                  <a:pt x="2190" y="877"/>
                </a:lnTo>
                <a:lnTo>
                  <a:pt x="2195" y="869"/>
                </a:lnTo>
                <a:lnTo>
                  <a:pt x="2202" y="861"/>
                </a:lnTo>
                <a:lnTo>
                  <a:pt x="2206" y="852"/>
                </a:lnTo>
                <a:lnTo>
                  <a:pt x="2212" y="843"/>
                </a:lnTo>
                <a:lnTo>
                  <a:pt x="2216" y="833"/>
                </a:lnTo>
                <a:lnTo>
                  <a:pt x="2219" y="822"/>
                </a:lnTo>
                <a:lnTo>
                  <a:pt x="2223" y="810"/>
                </a:lnTo>
                <a:lnTo>
                  <a:pt x="2225" y="798"/>
                </a:lnTo>
                <a:lnTo>
                  <a:pt x="2226" y="784"/>
                </a:lnTo>
                <a:lnTo>
                  <a:pt x="2226" y="770"/>
                </a:lnTo>
                <a:lnTo>
                  <a:pt x="2225" y="752"/>
                </a:lnTo>
                <a:lnTo>
                  <a:pt x="2222" y="732"/>
                </a:lnTo>
                <a:lnTo>
                  <a:pt x="2217" y="711"/>
                </a:lnTo>
                <a:lnTo>
                  <a:pt x="2212" y="689"/>
                </a:lnTo>
                <a:lnTo>
                  <a:pt x="2205" y="668"/>
                </a:lnTo>
                <a:lnTo>
                  <a:pt x="2199" y="649"/>
                </a:lnTo>
                <a:lnTo>
                  <a:pt x="2192" y="633"/>
                </a:lnTo>
                <a:lnTo>
                  <a:pt x="2186" y="622"/>
                </a:lnTo>
                <a:lnTo>
                  <a:pt x="2182" y="614"/>
                </a:lnTo>
                <a:lnTo>
                  <a:pt x="2178" y="608"/>
                </a:lnTo>
                <a:lnTo>
                  <a:pt x="2173" y="604"/>
                </a:lnTo>
                <a:lnTo>
                  <a:pt x="2168" y="601"/>
                </a:lnTo>
                <a:lnTo>
                  <a:pt x="2163" y="600"/>
                </a:lnTo>
                <a:lnTo>
                  <a:pt x="2157" y="599"/>
                </a:lnTo>
                <a:lnTo>
                  <a:pt x="2151" y="600"/>
                </a:lnTo>
                <a:lnTo>
                  <a:pt x="2146" y="601"/>
                </a:lnTo>
                <a:lnTo>
                  <a:pt x="2134" y="603"/>
                </a:lnTo>
                <a:lnTo>
                  <a:pt x="2122" y="605"/>
                </a:lnTo>
                <a:lnTo>
                  <a:pt x="2116" y="605"/>
                </a:lnTo>
                <a:lnTo>
                  <a:pt x="2111" y="604"/>
                </a:lnTo>
                <a:lnTo>
                  <a:pt x="2105" y="602"/>
                </a:lnTo>
                <a:lnTo>
                  <a:pt x="2100" y="597"/>
                </a:lnTo>
                <a:lnTo>
                  <a:pt x="2089" y="590"/>
                </a:lnTo>
                <a:lnTo>
                  <a:pt x="2079" y="582"/>
                </a:lnTo>
                <a:lnTo>
                  <a:pt x="2069" y="573"/>
                </a:lnTo>
                <a:lnTo>
                  <a:pt x="2059" y="563"/>
                </a:lnTo>
                <a:lnTo>
                  <a:pt x="2039" y="540"/>
                </a:lnTo>
                <a:lnTo>
                  <a:pt x="2021" y="518"/>
                </a:lnTo>
                <a:lnTo>
                  <a:pt x="2010" y="507"/>
                </a:lnTo>
                <a:lnTo>
                  <a:pt x="2000" y="497"/>
                </a:lnTo>
                <a:lnTo>
                  <a:pt x="1989" y="488"/>
                </a:lnTo>
                <a:lnTo>
                  <a:pt x="1977" y="478"/>
                </a:lnTo>
                <a:lnTo>
                  <a:pt x="1965" y="471"/>
                </a:lnTo>
                <a:lnTo>
                  <a:pt x="1950" y="466"/>
                </a:lnTo>
                <a:lnTo>
                  <a:pt x="1944" y="464"/>
                </a:lnTo>
                <a:lnTo>
                  <a:pt x="1936" y="463"/>
                </a:lnTo>
                <a:lnTo>
                  <a:pt x="1928" y="462"/>
                </a:lnTo>
                <a:lnTo>
                  <a:pt x="1921" y="462"/>
                </a:lnTo>
                <a:lnTo>
                  <a:pt x="1898" y="462"/>
                </a:lnTo>
                <a:lnTo>
                  <a:pt x="1878" y="462"/>
                </a:lnTo>
                <a:lnTo>
                  <a:pt x="1860" y="462"/>
                </a:lnTo>
                <a:lnTo>
                  <a:pt x="1841" y="462"/>
                </a:lnTo>
                <a:lnTo>
                  <a:pt x="1826" y="461"/>
                </a:lnTo>
                <a:lnTo>
                  <a:pt x="1814" y="460"/>
                </a:lnTo>
                <a:lnTo>
                  <a:pt x="1802" y="458"/>
                </a:lnTo>
                <a:lnTo>
                  <a:pt x="1791" y="456"/>
                </a:lnTo>
                <a:lnTo>
                  <a:pt x="1780" y="453"/>
                </a:lnTo>
                <a:lnTo>
                  <a:pt x="1768" y="451"/>
                </a:lnTo>
                <a:lnTo>
                  <a:pt x="1755" y="450"/>
                </a:lnTo>
                <a:lnTo>
                  <a:pt x="1742" y="450"/>
                </a:lnTo>
                <a:lnTo>
                  <a:pt x="1725" y="450"/>
                </a:lnTo>
                <a:lnTo>
                  <a:pt x="1713" y="452"/>
                </a:lnTo>
                <a:lnTo>
                  <a:pt x="1703" y="454"/>
                </a:lnTo>
                <a:lnTo>
                  <a:pt x="1696" y="458"/>
                </a:lnTo>
                <a:lnTo>
                  <a:pt x="1689" y="462"/>
                </a:lnTo>
                <a:lnTo>
                  <a:pt x="1685" y="467"/>
                </a:lnTo>
                <a:lnTo>
                  <a:pt x="1679" y="473"/>
                </a:lnTo>
                <a:lnTo>
                  <a:pt x="1675" y="480"/>
                </a:lnTo>
                <a:lnTo>
                  <a:pt x="1672" y="471"/>
                </a:lnTo>
                <a:lnTo>
                  <a:pt x="1669" y="462"/>
                </a:lnTo>
                <a:lnTo>
                  <a:pt x="1669" y="454"/>
                </a:lnTo>
                <a:lnTo>
                  <a:pt x="1670" y="447"/>
                </a:lnTo>
                <a:lnTo>
                  <a:pt x="1673" y="436"/>
                </a:lnTo>
                <a:lnTo>
                  <a:pt x="1675" y="430"/>
                </a:lnTo>
                <a:lnTo>
                  <a:pt x="1675" y="426"/>
                </a:lnTo>
                <a:lnTo>
                  <a:pt x="1673" y="421"/>
                </a:lnTo>
                <a:lnTo>
                  <a:pt x="1670" y="417"/>
                </a:lnTo>
                <a:lnTo>
                  <a:pt x="1668" y="413"/>
                </a:lnTo>
                <a:lnTo>
                  <a:pt x="1664" y="406"/>
                </a:lnTo>
                <a:lnTo>
                  <a:pt x="1662" y="400"/>
                </a:lnTo>
                <a:lnTo>
                  <a:pt x="1655" y="400"/>
                </a:lnTo>
                <a:lnTo>
                  <a:pt x="1648" y="398"/>
                </a:lnTo>
                <a:lnTo>
                  <a:pt x="1643" y="396"/>
                </a:lnTo>
                <a:lnTo>
                  <a:pt x="1636" y="394"/>
                </a:lnTo>
                <a:lnTo>
                  <a:pt x="1624" y="387"/>
                </a:lnTo>
                <a:lnTo>
                  <a:pt x="1612" y="379"/>
                </a:lnTo>
                <a:lnTo>
                  <a:pt x="1596" y="363"/>
                </a:lnTo>
                <a:lnTo>
                  <a:pt x="1588" y="357"/>
                </a:lnTo>
                <a:lnTo>
                  <a:pt x="1581" y="359"/>
                </a:lnTo>
                <a:lnTo>
                  <a:pt x="1574" y="360"/>
                </a:lnTo>
                <a:lnTo>
                  <a:pt x="1567" y="361"/>
                </a:lnTo>
                <a:lnTo>
                  <a:pt x="1560" y="362"/>
                </a:lnTo>
                <a:lnTo>
                  <a:pt x="1546" y="361"/>
                </a:lnTo>
                <a:lnTo>
                  <a:pt x="1534" y="358"/>
                </a:lnTo>
                <a:lnTo>
                  <a:pt x="1523" y="354"/>
                </a:lnTo>
                <a:lnTo>
                  <a:pt x="1512" y="348"/>
                </a:lnTo>
                <a:lnTo>
                  <a:pt x="1504" y="341"/>
                </a:lnTo>
                <a:lnTo>
                  <a:pt x="1496" y="333"/>
                </a:lnTo>
                <a:lnTo>
                  <a:pt x="1468" y="333"/>
                </a:lnTo>
                <a:lnTo>
                  <a:pt x="1468" y="337"/>
                </a:lnTo>
                <a:lnTo>
                  <a:pt x="1466" y="342"/>
                </a:lnTo>
                <a:lnTo>
                  <a:pt x="1463" y="349"/>
                </a:lnTo>
                <a:lnTo>
                  <a:pt x="1459" y="357"/>
                </a:lnTo>
                <a:lnTo>
                  <a:pt x="1446" y="373"/>
                </a:lnTo>
                <a:lnTo>
                  <a:pt x="1433" y="390"/>
                </a:lnTo>
                <a:lnTo>
                  <a:pt x="1426" y="398"/>
                </a:lnTo>
                <a:lnTo>
                  <a:pt x="1419" y="404"/>
                </a:lnTo>
                <a:lnTo>
                  <a:pt x="1411" y="409"/>
                </a:lnTo>
                <a:lnTo>
                  <a:pt x="1405" y="413"/>
                </a:lnTo>
                <a:lnTo>
                  <a:pt x="1401" y="414"/>
                </a:lnTo>
                <a:lnTo>
                  <a:pt x="1398" y="415"/>
                </a:lnTo>
                <a:lnTo>
                  <a:pt x="1395" y="415"/>
                </a:lnTo>
                <a:lnTo>
                  <a:pt x="1392" y="414"/>
                </a:lnTo>
                <a:lnTo>
                  <a:pt x="1389" y="413"/>
                </a:lnTo>
                <a:lnTo>
                  <a:pt x="1387" y="412"/>
                </a:lnTo>
                <a:lnTo>
                  <a:pt x="1385" y="409"/>
                </a:lnTo>
                <a:lnTo>
                  <a:pt x="1383" y="406"/>
                </a:lnTo>
                <a:lnTo>
                  <a:pt x="1367" y="406"/>
                </a:lnTo>
                <a:lnTo>
                  <a:pt x="1352" y="406"/>
                </a:lnTo>
                <a:lnTo>
                  <a:pt x="1338" y="405"/>
                </a:lnTo>
                <a:lnTo>
                  <a:pt x="1325" y="402"/>
                </a:lnTo>
                <a:lnTo>
                  <a:pt x="1318" y="401"/>
                </a:lnTo>
                <a:lnTo>
                  <a:pt x="1312" y="399"/>
                </a:lnTo>
                <a:lnTo>
                  <a:pt x="1308" y="396"/>
                </a:lnTo>
                <a:lnTo>
                  <a:pt x="1304" y="393"/>
                </a:lnTo>
                <a:lnTo>
                  <a:pt x="1300" y="390"/>
                </a:lnTo>
                <a:lnTo>
                  <a:pt x="1298" y="386"/>
                </a:lnTo>
                <a:lnTo>
                  <a:pt x="1297" y="381"/>
                </a:lnTo>
                <a:lnTo>
                  <a:pt x="1296" y="375"/>
                </a:lnTo>
                <a:lnTo>
                  <a:pt x="1270" y="375"/>
                </a:lnTo>
                <a:lnTo>
                  <a:pt x="1259" y="380"/>
                </a:lnTo>
                <a:lnTo>
                  <a:pt x="1247" y="384"/>
                </a:lnTo>
                <a:lnTo>
                  <a:pt x="1240" y="384"/>
                </a:lnTo>
                <a:lnTo>
                  <a:pt x="1235" y="384"/>
                </a:lnTo>
                <a:lnTo>
                  <a:pt x="1228" y="384"/>
                </a:lnTo>
                <a:lnTo>
                  <a:pt x="1224" y="382"/>
                </a:lnTo>
                <a:lnTo>
                  <a:pt x="1283" y="333"/>
                </a:lnTo>
                <a:lnTo>
                  <a:pt x="1286" y="321"/>
                </a:lnTo>
                <a:lnTo>
                  <a:pt x="1289" y="309"/>
                </a:lnTo>
                <a:lnTo>
                  <a:pt x="1294" y="299"/>
                </a:lnTo>
                <a:lnTo>
                  <a:pt x="1299" y="290"/>
                </a:lnTo>
                <a:lnTo>
                  <a:pt x="1305" y="282"/>
                </a:lnTo>
                <a:lnTo>
                  <a:pt x="1310" y="274"/>
                </a:lnTo>
                <a:lnTo>
                  <a:pt x="1317" y="268"/>
                </a:lnTo>
                <a:lnTo>
                  <a:pt x="1323" y="260"/>
                </a:lnTo>
                <a:lnTo>
                  <a:pt x="1349" y="240"/>
                </a:lnTo>
                <a:lnTo>
                  <a:pt x="1370" y="222"/>
                </a:lnTo>
                <a:lnTo>
                  <a:pt x="1362" y="217"/>
                </a:lnTo>
                <a:lnTo>
                  <a:pt x="1356" y="213"/>
                </a:lnTo>
                <a:lnTo>
                  <a:pt x="1352" y="210"/>
                </a:lnTo>
                <a:lnTo>
                  <a:pt x="1349" y="205"/>
                </a:lnTo>
                <a:lnTo>
                  <a:pt x="1345" y="201"/>
                </a:lnTo>
                <a:lnTo>
                  <a:pt x="1344" y="196"/>
                </a:lnTo>
                <a:lnTo>
                  <a:pt x="1343" y="191"/>
                </a:lnTo>
                <a:lnTo>
                  <a:pt x="1343" y="184"/>
                </a:lnTo>
                <a:lnTo>
                  <a:pt x="1338" y="184"/>
                </a:lnTo>
                <a:lnTo>
                  <a:pt x="1333" y="183"/>
                </a:lnTo>
                <a:lnTo>
                  <a:pt x="1330" y="182"/>
                </a:lnTo>
                <a:lnTo>
                  <a:pt x="1326" y="179"/>
                </a:lnTo>
                <a:lnTo>
                  <a:pt x="1320" y="174"/>
                </a:lnTo>
                <a:lnTo>
                  <a:pt x="1315" y="166"/>
                </a:lnTo>
                <a:lnTo>
                  <a:pt x="1310" y="157"/>
                </a:lnTo>
                <a:lnTo>
                  <a:pt x="1307" y="146"/>
                </a:lnTo>
                <a:lnTo>
                  <a:pt x="1305" y="135"/>
                </a:lnTo>
                <a:lnTo>
                  <a:pt x="1301" y="124"/>
                </a:lnTo>
                <a:lnTo>
                  <a:pt x="1298" y="100"/>
                </a:lnTo>
                <a:lnTo>
                  <a:pt x="1293" y="78"/>
                </a:lnTo>
                <a:lnTo>
                  <a:pt x="1291" y="68"/>
                </a:lnTo>
                <a:lnTo>
                  <a:pt x="1286" y="60"/>
                </a:lnTo>
                <a:lnTo>
                  <a:pt x="1282" y="54"/>
                </a:lnTo>
                <a:lnTo>
                  <a:pt x="1276" y="49"/>
                </a:lnTo>
                <a:lnTo>
                  <a:pt x="1264" y="71"/>
                </a:lnTo>
                <a:lnTo>
                  <a:pt x="1240" y="109"/>
                </a:lnTo>
                <a:lnTo>
                  <a:pt x="1227" y="128"/>
                </a:lnTo>
                <a:lnTo>
                  <a:pt x="1214" y="144"/>
                </a:lnTo>
                <a:lnTo>
                  <a:pt x="1207" y="150"/>
                </a:lnTo>
                <a:lnTo>
                  <a:pt x="1200" y="156"/>
                </a:lnTo>
                <a:lnTo>
                  <a:pt x="1195" y="159"/>
                </a:lnTo>
                <a:lnTo>
                  <a:pt x="1189" y="160"/>
                </a:lnTo>
                <a:lnTo>
                  <a:pt x="1124" y="135"/>
                </a:lnTo>
                <a:lnTo>
                  <a:pt x="1113" y="139"/>
                </a:lnTo>
                <a:lnTo>
                  <a:pt x="1102" y="142"/>
                </a:lnTo>
                <a:lnTo>
                  <a:pt x="1088" y="144"/>
                </a:lnTo>
                <a:lnTo>
                  <a:pt x="1075" y="146"/>
                </a:lnTo>
                <a:lnTo>
                  <a:pt x="1047" y="147"/>
                </a:lnTo>
                <a:lnTo>
                  <a:pt x="1017" y="147"/>
                </a:lnTo>
                <a:lnTo>
                  <a:pt x="1016" y="152"/>
                </a:lnTo>
                <a:lnTo>
                  <a:pt x="1015" y="157"/>
                </a:lnTo>
                <a:lnTo>
                  <a:pt x="1013" y="161"/>
                </a:lnTo>
                <a:lnTo>
                  <a:pt x="1009" y="165"/>
                </a:lnTo>
                <a:lnTo>
                  <a:pt x="1006" y="168"/>
                </a:lnTo>
                <a:lnTo>
                  <a:pt x="1003" y="170"/>
                </a:lnTo>
                <a:lnTo>
                  <a:pt x="1000" y="172"/>
                </a:lnTo>
                <a:lnTo>
                  <a:pt x="997" y="172"/>
                </a:lnTo>
                <a:lnTo>
                  <a:pt x="992" y="173"/>
                </a:lnTo>
                <a:lnTo>
                  <a:pt x="987" y="175"/>
                </a:lnTo>
                <a:lnTo>
                  <a:pt x="985" y="175"/>
                </a:lnTo>
                <a:lnTo>
                  <a:pt x="982" y="175"/>
                </a:lnTo>
                <a:lnTo>
                  <a:pt x="980" y="174"/>
                </a:lnTo>
                <a:lnTo>
                  <a:pt x="978" y="172"/>
                </a:lnTo>
                <a:lnTo>
                  <a:pt x="976" y="176"/>
                </a:lnTo>
                <a:lnTo>
                  <a:pt x="972" y="179"/>
                </a:lnTo>
                <a:lnTo>
                  <a:pt x="967" y="183"/>
                </a:lnTo>
                <a:lnTo>
                  <a:pt x="960" y="187"/>
                </a:lnTo>
                <a:lnTo>
                  <a:pt x="941" y="194"/>
                </a:lnTo>
                <a:lnTo>
                  <a:pt x="920" y="200"/>
                </a:lnTo>
                <a:lnTo>
                  <a:pt x="879" y="212"/>
                </a:lnTo>
                <a:lnTo>
                  <a:pt x="858" y="216"/>
                </a:lnTo>
                <a:lnTo>
                  <a:pt x="851" y="215"/>
                </a:lnTo>
                <a:lnTo>
                  <a:pt x="846" y="213"/>
                </a:lnTo>
                <a:lnTo>
                  <a:pt x="839" y="208"/>
                </a:lnTo>
                <a:lnTo>
                  <a:pt x="834" y="203"/>
                </a:lnTo>
                <a:lnTo>
                  <a:pt x="827" y="197"/>
                </a:lnTo>
                <a:lnTo>
                  <a:pt x="822" y="191"/>
                </a:lnTo>
                <a:lnTo>
                  <a:pt x="817" y="184"/>
                </a:lnTo>
                <a:lnTo>
                  <a:pt x="812" y="176"/>
                </a:lnTo>
                <a:lnTo>
                  <a:pt x="803" y="161"/>
                </a:lnTo>
                <a:lnTo>
                  <a:pt x="796" y="145"/>
                </a:lnTo>
                <a:lnTo>
                  <a:pt x="793" y="132"/>
                </a:lnTo>
                <a:lnTo>
                  <a:pt x="791" y="123"/>
                </a:lnTo>
                <a:lnTo>
                  <a:pt x="792" y="116"/>
                </a:lnTo>
                <a:lnTo>
                  <a:pt x="794" y="109"/>
                </a:lnTo>
                <a:lnTo>
                  <a:pt x="798" y="103"/>
                </a:lnTo>
                <a:lnTo>
                  <a:pt x="801" y="95"/>
                </a:lnTo>
                <a:lnTo>
                  <a:pt x="805" y="88"/>
                </a:lnTo>
                <a:lnTo>
                  <a:pt x="808" y="81"/>
                </a:lnTo>
                <a:lnTo>
                  <a:pt x="811" y="74"/>
                </a:lnTo>
                <a:lnTo>
                  <a:pt x="811" y="67"/>
                </a:lnTo>
                <a:lnTo>
                  <a:pt x="811" y="53"/>
                </a:lnTo>
                <a:lnTo>
                  <a:pt x="808" y="39"/>
                </a:lnTo>
                <a:lnTo>
                  <a:pt x="806" y="33"/>
                </a:lnTo>
                <a:lnTo>
                  <a:pt x="804" y="28"/>
                </a:lnTo>
                <a:lnTo>
                  <a:pt x="801" y="24"/>
                </a:lnTo>
                <a:lnTo>
                  <a:pt x="798" y="20"/>
                </a:lnTo>
                <a:lnTo>
                  <a:pt x="794" y="16"/>
                </a:lnTo>
                <a:lnTo>
                  <a:pt x="789" y="12"/>
                </a:lnTo>
                <a:lnTo>
                  <a:pt x="783" y="9"/>
                </a:lnTo>
                <a:lnTo>
                  <a:pt x="778" y="7"/>
                </a:lnTo>
                <a:lnTo>
                  <a:pt x="762" y="3"/>
                </a:lnTo>
                <a:lnTo>
                  <a:pt x="745" y="0"/>
                </a:lnTo>
                <a:lnTo>
                  <a:pt x="739" y="10"/>
                </a:lnTo>
                <a:lnTo>
                  <a:pt x="733" y="21"/>
                </a:lnTo>
                <a:lnTo>
                  <a:pt x="729" y="23"/>
                </a:lnTo>
                <a:lnTo>
                  <a:pt x="727" y="25"/>
                </a:lnTo>
                <a:lnTo>
                  <a:pt x="725" y="26"/>
                </a:lnTo>
                <a:lnTo>
                  <a:pt x="722" y="27"/>
                </a:lnTo>
                <a:lnTo>
                  <a:pt x="717" y="27"/>
                </a:lnTo>
                <a:lnTo>
                  <a:pt x="714" y="27"/>
                </a:lnTo>
                <a:lnTo>
                  <a:pt x="710" y="26"/>
                </a:lnTo>
                <a:lnTo>
                  <a:pt x="705" y="24"/>
                </a:lnTo>
                <a:lnTo>
                  <a:pt x="703" y="28"/>
                </a:lnTo>
                <a:lnTo>
                  <a:pt x="700" y="31"/>
                </a:lnTo>
                <a:lnTo>
                  <a:pt x="695" y="35"/>
                </a:lnTo>
                <a:lnTo>
                  <a:pt x="690" y="39"/>
                </a:lnTo>
                <a:lnTo>
                  <a:pt x="677" y="47"/>
                </a:lnTo>
                <a:lnTo>
                  <a:pt x="662" y="55"/>
                </a:lnTo>
                <a:lnTo>
                  <a:pt x="648" y="63"/>
                </a:lnTo>
                <a:lnTo>
                  <a:pt x="637" y="71"/>
                </a:lnTo>
                <a:lnTo>
                  <a:pt x="632" y="75"/>
                </a:lnTo>
                <a:lnTo>
                  <a:pt x="628" y="79"/>
                </a:lnTo>
                <a:lnTo>
                  <a:pt x="626" y="82"/>
                </a:lnTo>
                <a:lnTo>
                  <a:pt x="625" y="86"/>
                </a:lnTo>
                <a:lnTo>
                  <a:pt x="612" y="79"/>
                </a:lnTo>
                <a:lnTo>
                  <a:pt x="589" y="70"/>
                </a:lnTo>
                <a:lnTo>
                  <a:pt x="566" y="62"/>
                </a:lnTo>
                <a:lnTo>
                  <a:pt x="552" y="55"/>
                </a:lnTo>
                <a:lnTo>
                  <a:pt x="525" y="55"/>
                </a:lnTo>
                <a:lnTo>
                  <a:pt x="525" y="99"/>
                </a:lnTo>
                <a:lnTo>
                  <a:pt x="535" y="114"/>
                </a:lnTo>
                <a:lnTo>
                  <a:pt x="552" y="137"/>
                </a:lnTo>
                <a:lnTo>
                  <a:pt x="566" y="160"/>
                </a:lnTo>
                <a:lnTo>
                  <a:pt x="572" y="172"/>
                </a:lnTo>
                <a:lnTo>
                  <a:pt x="571" y="178"/>
                </a:lnTo>
                <a:lnTo>
                  <a:pt x="569" y="185"/>
                </a:lnTo>
                <a:lnTo>
                  <a:pt x="566" y="191"/>
                </a:lnTo>
                <a:lnTo>
                  <a:pt x="560" y="198"/>
                </a:lnTo>
                <a:lnTo>
                  <a:pt x="555" y="205"/>
                </a:lnTo>
                <a:lnTo>
                  <a:pt x="548" y="213"/>
                </a:lnTo>
                <a:lnTo>
                  <a:pt x="541" y="220"/>
                </a:lnTo>
                <a:lnTo>
                  <a:pt x="532" y="227"/>
                </a:lnTo>
                <a:lnTo>
                  <a:pt x="523" y="233"/>
                </a:lnTo>
                <a:lnTo>
                  <a:pt x="513" y="239"/>
                </a:lnTo>
                <a:lnTo>
                  <a:pt x="503" y="244"/>
                </a:lnTo>
                <a:lnTo>
                  <a:pt x="493" y="249"/>
                </a:lnTo>
                <a:lnTo>
                  <a:pt x="483" y="253"/>
                </a:lnTo>
                <a:lnTo>
                  <a:pt x="472" y="256"/>
                </a:lnTo>
                <a:lnTo>
                  <a:pt x="463" y="257"/>
                </a:lnTo>
                <a:lnTo>
                  <a:pt x="453" y="258"/>
                </a:lnTo>
                <a:lnTo>
                  <a:pt x="446" y="258"/>
                </a:lnTo>
                <a:lnTo>
                  <a:pt x="440" y="256"/>
                </a:lnTo>
                <a:lnTo>
                  <a:pt x="433" y="254"/>
                </a:lnTo>
                <a:lnTo>
                  <a:pt x="426" y="252"/>
                </a:lnTo>
                <a:lnTo>
                  <a:pt x="413" y="245"/>
                </a:lnTo>
                <a:lnTo>
                  <a:pt x="401" y="235"/>
                </a:lnTo>
                <a:lnTo>
                  <a:pt x="389" y="224"/>
                </a:lnTo>
                <a:lnTo>
                  <a:pt x="378" y="212"/>
                </a:lnTo>
                <a:lnTo>
                  <a:pt x="368" y="198"/>
                </a:lnTo>
                <a:lnTo>
                  <a:pt x="359" y="184"/>
                </a:lnTo>
                <a:lnTo>
                  <a:pt x="330" y="190"/>
                </a:lnTo>
                <a:lnTo>
                  <a:pt x="286" y="197"/>
                </a:lnTo>
                <a:lnTo>
                  <a:pt x="263" y="201"/>
                </a:lnTo>
                <a:lnTo>
                  <a:pt x="244" y="206"/>
                </a:lnTo>
                <a:lnTo>
                  <a:pt x="238" y="208"/>
                </a:lnTo>
                <a:lnTo>
                  <a:pt x="231" y="211"/>
                </a:lnTo>
                <a:lnTo>
                  <a:pt x="228" y="213"/>
                </a:lnTo>
                <a:lnTo>
                  <a:pt x="227" y="216"/>
                </a:lnTo>
                <a:lnTo>
                  <a:pt x="227" y="220"/>
                </a:lnTo>
                <a:lnTo>
                  <a:pt x="229" y="224"/>
                </a:lnTo>
                <a:lnTo>
                  <a:pt x="231" y="227"/>
                </a:lnTo>
                <a:lnTo>
                  <a:pt x="235" y="230"/>
                </a:lnTo>
                <a:lnTo>
                  <a:pt x="243" y="235"/>
                </a:lnTo>
                <a:lnTo>
                  <a:pt x="253" y="240"/>
                </a:lnTo>
                <a:lnTo>
                  <a:pt x="253" y="258"/>
                </a:lnTo>
                <a:lnTo>
                  <a:pt x="241" y="262"/>
                </a:lnTo>
                <a:lnTo>
                  <a:pt x="221" y="268"/>
                </a:lnTo>
                <a:lnTo>
                  <a:pt x="210" y="272"/>
                </a:lnTo>
                <a:lnTo>
                  <a:pt x="201" y="278"/>
                </a:lnTo>
                <a:lnTo>
                  <a:pt x="198" y="281"/>
                </a:lnTo>
                <a:lnTo>
                  <a:pt x="196" y="285"/>
                </a:lnTo>
                <a:lnTo>
                  <a:pt x="194" y="290"/>
                </a:lnTo>
                <a:lnTo>
                  <a:pt x="194" y="295"/>
                </a:lnTo>
                <a:lnTo>
                  <a:pt x="194" y="302"/>
                </a:lnTo>
                <a:lnTo>
                  <a:pt x="196" y="307"/>
                </a:lnTo>
                <a:lnTo>
                  <a:pt x="198" y="311"/>
                </a:lnTo>
                <a:lnTo>
                  <a:pt x="201" y="314"/>
                </a:lnTo>
                <a:lnTo>
                  <a:pt x="210" y="321"/>
                </a:lnTo>
                <a:lnTo>
                  <a:pt x="220" y="327"/>
                </a:lnTo>
                <a:lnTo>
                  <a:pt x="224" y="330"/>
                </a:lnTo>
                <a:lnTo>
                  <a:pt x="230" y="333"/>
                </a:lnTo>
                <a:lnTo>
                  <a:pt x="234" y="337"/>
                </a:lnTo>
                <a:lnTo>
                  <a:pt x="239" y="342"/>
                </a:lnTo>
                <a:lnTo>
                  <a:pt x="242" y="348"/>
                </a:lnTo>
                <a:lnTo>
                  <a:pt x="244" y="356"/>
                </a:lnTo>
                <a:lnTo>
                  <a:pt x="246" y="365"/>
                </a:lnTo>
                <a:lnTo>
                  <a:pt x="246" y="375"/>
                </a:lnTo>
                <a:lnTo>
                  <a:pt x="246" y="388"/>
                </a:lnTo>
                <a:lnTo>
                  <a:pt x="245" y="400"/>
                </a:lnTo>
                <a:lnTo>
                  <a:pt x="243" y="412"/>
                </a:lnTo>
                <a:lnTo>
                  <a:pt x="241" y="423"/>
                </a:lnTo>
                <a:lnTo>
                  <a:pt x="236" y="446"/>
                </a:lnTo>
                <a:lnTo>
                  <a:pt x="230" y="468"/>
                </a:lnTo>
                <a:lnTo>
                  <a:pt x="223" y="490"/>
                </a:lnTo>
                <a:lnTo>
                  <a:pt x="219" y="512"/>
                </a:lnTo>
                <a:lnTo>
                  <a:pt x="217" y="524"/>
                </a:lnTo>
                <a:lnTo>
                  <a:pt x="214" y="535"/>
                </a:lnTo>
                <a:lnTo>
                  <a:pt x="213" y="548"/>
                </a:lnTo>
                <a:lnTo>
                  <a:pt x="213" y="560"/>
                </a:lnTo>
                <a:lnTo>
                  <a:pt x="194" y="560"/>
                </a:lnTo>
                <a:lnTo>
                  <a:pt x="188" y="557"/>
                </a:lnTo>
                <a:lnTo>
                  <a:pt x="184" y="554"/>
                </a:lnTo>
                <a:lnTo>
                  <a:pt x="183" y="553"/>
                </a:lnTo>
                <a:lnTo>
                  <a:pt x="182" y="552"/>
                </a:lnTo>
                <a:lnTo>
                  <a:pt x="180" y="550"/>
                </a:lnTo>
                <a:lnTo>
                  <a:pt x="180" y="548"/>
                </a:lnTo>
                <a:lnTo>
                  <a:pt x="168" y="554"/>
                </a:lnTo>
                <a:lnTo>
                  <a:pt x="157" y="559"/>
                </a:lnTo>
                <a:lnTo>
                  <a:pt x="147" y="562"/>
                </a:lnTo>
                <a:lnTo>
                  <a:pt x="138" y="564"/>
                </a:lnTo>
                <a:lnTo>
                  <a:pt x="119" y="566"/>
                </a:lnTo>
                <a:lnTo>
                  <a:pt x="100" y="567"/>
                </a:lnTo>
                <a:lnTo>
                  <a:pt x="96" y="567"/>
                </a:lnTo>
                <a:lnTo>
                  <a:pt x="93" y="569"/>
                </a:lnTo>
                <a:lnTo>
                  <a:pt x="90" y="573"/>
                </a:lnTo>
                <a:lnTo>
                  <a:pt x="88" y="576"/>
                </a:lnTo>
                <a:lnTo>
                  <a:pt x="85" y="584"/>
                </a:lnTo>
                <a:lnTo>
                  <a:pt x="81" y="591"/>
                </a:lnTo>
                <a:lnTo>
                  <a:pt x="65" y="607"/>
                </a:lnTo>
                <a:lnTo>
                  <a:pt x="51" y="624"/>
                </a:lnTo>
                <a:lnTo>
                  <a:pt x="38" y="643"/>
                </a:lnTo>
                <a:lnTo>
                  <a:pt x="26" y="665"/>
                </a:lnTo>
                <a:lnTo>
                  <a:pt x="20" y="676"/>
                </a:lnTo>
                <a:lnTo>
                  <a:pt x="16" y="687"/>
                </a:lnTo>
                <a:lnTo>
                  <a:pt x="11" y="699"/>
                </a:lnTo>
                <a:lnTo>
                  <a:pt x="7" y="711"/>
                </a:lnTo>
                <a:lnTo>
                  <a:pt x="5" y="723"/>
                </a:lnTo>
                <a:lnTo>
                  <a:pt x="3" y="734"/>
                </a:lnTo>
                <a:lnTo>
                  <a:pt x="1" y="746"/>
                </a:lnTo>
                <a:lnTo>
                  <a:pt x="0" y="757"/>
                </a:lnTo>
                <a:lnTo>
                  <a:pt x="1" y="767"/>
                </a:lnTo>
                <a:lnTo>
                  <a:pt x="4" y="777"/>
                </a:lnTo>
                <a:lnTo>
                  <a:pt x="7" y="787"/>
                </a:lnTo>
                <a:lnTo>
                  <a:pt x="11" y="799"/>
                </a:lnTo>
                <a:lnTo>
                  <a:pt x="17" y="811"/>
                </a:lnTo>
                <a:lnTo>
                  <a:pt x="22" y="824"/>
                </a:lnTo>
                <a:lnTo>
                  <a:pt x="30" y="836"/>
                </a:lnTo>
                <a:lnTo>
                  <a:pt x="38" y="848"/>
                </a:lnTo>
                <a:lnTo>
                  <a:pt x="46" y="859"/>
                </a:lnTo>
                <a:lnTo>
                  <a:pt x="56" y="870"/>
                </a:lnTo>
                <a:lnTo>
                  <a:pt x="66" y="880"/>
                </a:lnTo>
                <a:lnTo>
                  <a:pt x="76" y="889"/>
                </a:lnTo>
                <a:lnTo>
                  <a:pt x="87" y="896"/>
                </a:lnTo>
                <a:lnTo>
                  <a:pt x="98" y="901"/>
                </a:lnTo>
                <a:lnTo>
                  <a:pt x="104" y="903"/>
                </a:lnTo>
                <a:lnTo>
                  <a:pt x="109" y="904"/>
                </a:lnTo>
                <a:lnTo>
                  <a:pt x="115" y="905"/>
                </a:lnTo>
                <a:lnTo>
                  <a:pt x="120" y="905"/>
                </a:lnTo>
                <a:lnTo>
                  <a:pt x="130" y="904"/>
                </a:lnTo>
                <a:lnTo>
                  <a:pt x="138" y="902"/>
                </a:lnTo>
                <a:lnTo>
                  <a:pt x="146" y="898"/>
                </a:lnTo>
                <a:lnTo>
                  <a:pt x="153" y="893"/>
                </a:lnTo>
                <a:lnTo>
                  <a:pt x="161" y="889"/>
                </a:lnTo>
                <a:lnTo>
                  <a:pt x="168" y="885"/>
                </a:lnTo>
                <a:lnTo>
                  <a:pt x="177" y="882"/>
                </a:lnTo>
                <a:lnTo>
                  <a:pt x="187" y="881"/>
                </a:lnTo>
                <a:lnTo>
                  <a:pt x="189" y="903"/>
                </a:lnTo>
                <a:lnTo>
                  <a:pt x="190" y="934"/>
                </a:lnTo>
                <a:lnTo>
                  <a:pt x="190" y="942"/>
                </a:lnTo>
                <a:lnTo>
                  <a:pt x="191" y="949"/>
                </a:lnTo>
                <a:lnTo>
                  <a:pt x="194" y="956"/>
                </a:lnTo>
                <a:lnTo>
                  <a:pt x="196" y="961"/>
                </a:lnTo>
                <a:lnTo>
                  <a:pt x="199" y="966"/>
                </a:lnTo>
                <a:lnTo>
                  <a:pt x="202" y="970"/>
                </a:lnTo>
                <a:lnTo>
                  <a:pt x="208" y="972"/>
                </a:lnTo>
                <a:lnTo>
                  <a:pt x="213" y="973"/>
                </a:lnTo>
                <a:lnTo>
                  <a:pt x="233" y="973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13" name="Freeform 10"/>
          <p:cNvSpPr>
            <a:spLocks/>
          </p:cNvSpPr>
          <p:nvPr userDrawn="1">
            <p:custDataLst>
              <p:tags r:id="rId7"/>
            </p:custDataLst>
          </p:nvPr>
        </p:nvSpPr>
        <p:spPr bwMode="auto">
          <a:xfrm>
            <a:off x="4360863" y="2028835"/>
            <a:ext cx="69850" cy="36910"/>
          </a:xfrm>
          <a:custGeom>
            <a:avLst/>
            <a:gdLst>
              <a:gd name="T0" fmla="*/ 17693309 w 161"/>
              <a:gd name="T1" fmla="*/ 0 h 93"/>
              <a:gd name="T2" fmla="*/ 20140227 w 161"/>
              <a:gd name="T3" fmla="*/ 5040364 h 93"/>
              <a:gd name="T4" fmla="*/ 21081249 w 161"/>
              <a:gd name="T5" fmla="*/ 3360242 h 93"/>
              <a:gd name="T6" fmla="*/ 22022706 w 161"/>
              <a:gd name="T7" fmla="*/ 2239986 h 93"/>
              <a:gd name="T8" fmla="*/ 22963728 w 161"/>
              <a:gd name="T9" fmla="*/ 1400189 h 93"/>
              <a:gd name="T10" fmla="*/ 23904750 w 161"/>
              <a:gd name="T11" fmla="*/ 840325 h 93"/>
              <a:gd name="T12" fmla="*/ 25787229 w 161"/>
              <a:gd name="T13" fmla="*/ 279932 h 93"/>
              <a:gd name="T14" fmla="*/ 27857565 w 161"/>
              <a:gd name="T15" fmla="*/ 0 h 93"/>
              <a:gd name="T16" fmla="*/ 28422004 w 161"/>
              <a:gd name="T17" fmla="*/ 0 h 93"/>
              <a:gd name="T18" fmla="*/ 30304490 w 161"/>
              <a:gd name="T19" fmla="*/ 0 h 93"/>
              <a:gd name="T20" fmla="*/ 30304490 w 161"/>
              <a:gd name="T21" fmla="*/ 25762212 h 93"/>
              <a:gd name="T22" fmla="*/ 29175176 w 161"/>
              <a:gd name="T23" fmla="*/ 26042143 h 93"/>
              <a:gd name="T24" fmla="*/ 28234147 w 161"/>
              <a:gd name="T25" fmla="*/ 26042143 h 93"/>
              <a:gd name="T26" fmla="*/ 27292691 w 161"/>
              <a:gd name="T27" fmla="*/ 25762212 h 93"/>
              <a:gd name="T28" fmla="*/ 26351669 w 161"/>
              <a:gd name="T29" fmla="*/ 25482280 h 93"/>
              <a:gd name="T30" fmla="*/ 24281333 w 161"/>
              <a:gd name="T31" fmla="*/ 24641955 h 93"/>
              <a:gd name="T32" fmla="*/ 22587145 w 161"/>
              <a:gd name="T33" fmla="*/ 22961834 h 93"/>
              <a:gd name="T34" fmla="*/ 20892958 w 161"/>
              <a:gd name="T35" fmla="*/ 21001781 h 93"/>
              <a:gd name="T36" fmla="*/ 19575353 w 161"/>
              <a:gd name="T37" fmla="*/ 18761797 h 93"/>
              <a:gd name="T38" fmla="*/ 18258182 w 161"/>
              <a:gd name="T39" fmla="*/ 16521279 h 93"/>
              <a:gd name="T40" fmla="*/ 17693309 w 161"/>
              <a:gd name="T41" fmla="*/ 13720902 h 93"/>
              <a:gd name="T42" fmla="*/ 17316726 w 161"/>
              <a:gd name="T43" fmla="*/ 14001363 h 93"/>
              <a:gd name="T44" fmla="*/ 16752286 w 161"/>
              <a:gd name="T45" fmla="*/ 14281295 h 93"/>
              <a:gd name="T46" fmla="*/ 16187413 w 161"/>
              <a:gd name="T47" fmla="*/ 14281295 h 93"/>
              <a:gd name="T48" fmla="*/ 15810830 w 161"/>
              <a:gd name="T49" fmla="*/ 14281295 h 93"/>
              <a:gd name="T50" fmla="*/ 14681517 w 161"/>
              <a:gd name="T51" fmla="*/ 14001363 h 93"/>
              <a:gd name="T52" fmla="*/ 13928782 w 161"/>
              <a:gd name="T53" fmla="*/ 13720902 h 93"/>
              <a:gd name="T54" fmla="*/ 12234595 w 161"/>
              <a:gd name="T55" fmla="*/ 13440970 h 93"/>
              <a:gd name="T56" fmla="*/ 10352550 w 161"/>
              <a:gd name="T57" fmla="*/ 12601174 h 93"/>
              <a:gd name="T58" fmla="*/ 8281781 w 161"/>
              <a:gd name="T59" fmla="*/ 11200985 h 93"/>
              <a:gd name="T60" fmla="*/ 6023152 w 161"/>
              <a:gd name="T61" fmla="*/ 9520864 h 93"/>
              <a:gd name="T62" fmla="*/ 3952816 w 161"/>
              <a:gd name="T63" fmla="*/ 7280349 h 93"/>
              <a:gd name="T64" fmla="*/ 2258628 w 161"/>
              <a:gd name="T65" fmla="*/ 5040364 h 93"/>
              <a:gd name="T66" fmla="*/ 1505896 w 161"/>
              <a:gd name="T67" fmla="*/ 3920106 h 93"/>
              <a:gd name="T68" fmla="*/ 941023 w 161"/>
              <a:gd name="T69" fmla="*/ 2520447 h 93"/>
              <a:gd name="T70" fmla="*/ 564874 w 161"/>
              <a:gd name="T71" fmla="*/ 1400189 h 93"/>
              <a:gd name="T72" fmla="*/ 0 w 161"/>
              <a:gd name="T73" fmla="*/ 0 h 93"/>
              <a:gd name="T74" fmla="*/ 17693309 w 161"/>
              <a:gd name="T75" fmla="*/ 0 h 9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161"/>
              <a:gd name="T115" fmla="*/ 0 h 93"/>
              <a:gd name="T116" fmla="*/ 161 w 161"/>
              <a:gd name="T117" fmla="*/ 93 h 93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161" h="93">
                <a:moveTo>
                  <a:pt x="94" y="0"/>
                </a:moveTo>
                <a:lnTo>
                  <a:pt x="107" y="18"/>
                </a:lnTo>
                <a:lnTo>
                  <a:pt x="112" y="12"/>
                </a:lnTo>
                <a:lnTo>
                  <a:pt x="117" y="8"/>
                </a:lnTo>
                <a:lnTo>
                  <a:pt x="122" y="5"/>
                </a:lnTo>
                <a:lnTo>
                  <a:pt x="127" y="3"/>
                </a:lnTo>
                <a:lnTo>
                  <a:pt x="137" y="1"/>
                </a:lnTo>
                <a:lnTo>
                  <a:pt x="148" y="0"/>
                </a:lnTo>
                <a:lnTo>
                  <a:pt x="151" y="0"/>
                </a:lnTo>
                <a:lnTo>
                  <a:pt x="161" y="0"/>
                </a:lnTo>
                <a:lnTo>
                  <a:pt x="161" y="92"/>
                </a:lnTo>
                <a:lnTo>
                  <a:pt x="155" y="93"/>
                </a:lnTo>
                <a:lnTo>
                  <a:pt x="150" y="93"/>
                </a:lnTo>
                <a:lnTo>
                  <a:pt x="145" y="92"/>
                </a:lnTo>
                <a:lnTo>
                  <a:pt x="140" y="91"/>
                </a:lnTo>
                <a:lnTo>
                  <a:pt x="129" y="88"/>
                </a:lnTo>
                <a:lnTo>
                  <a:pt x="120" y="82"/>
                </a:lnTo>
                <a:lnTo>
                  <a:pt x="111" y="75"/>
                </a:lnTo>
                <a:lnTo>
                  <a:pt x="104" y="67"/>
                </a:lnTo>
                <a:lnTo>
                  <a:pt x="97" y="59"/>
                </a:lnTo>
                <a:lnTo>
                  <a:pt x="94" y="49"/>
                </a:lnTo>
                <a:lnTo>
                  <a:pt x="92" y="50"/>
                </a:lnTo>
                <a:lnTo>
                  <a:pt x="89" y="51"/>
                </a:lnTo>
                <a:lnTo>
                  <a:pt x="86" y="51"/>
                </a:lnTo>
                <a:lnTo>
                  <a:pt x="84" y="51"/>
                </a:lnTo>
                <a:lnTo>
                  <a:pt x="78" y="50"/>
                </a:lnTo>
                <a:lnTo>
                  <a:pt x="74" y="49"/>
                </a:lnTo>
                <a:lnTo>
                  <a:pt x="65" y="48"/>
                </a:lnTo>
                <a:lnTo>
                  <a:pt x="55" y="45"/>
                </a:lnTo>
                <a:lnTo>
                  <a:pt x="44" y="40"/>
                </a:lnTo>
                <a:lnTo>
                  <a:pt x="32" y="34"/>
                </a:lnTo>
                <a:lnTo>
                  <a:pt x="21" y="26"/>
                </a:lnTo>
                <a:lnTo>
                  <a:pt x="12" y="18"/>
                </a:lnTo>
                <a:lnTo>
                  <a:pt x="8" y="14"/>
                </a:lnTo>
                <a:lnTo>
                  <a:pt x="5" y="9"/>
                </a:lnTo>
                <a:lnTo>
                  <a:pt x="3" y="5"/>
                </a:lnTo>
                <a:lnTo>
                  <a:pt x="0" y="0"/>
                </a:lnTo>
                <a:lnTo>
                  <a:pt x="94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14" name="Freeform 11"/>
          <p:cNvSpPr>
            <a:spLocks/>
          </p:cNvSpPr>
          <p:nvPr userDrawn="1">
            <p:custDataLst>
              <p:tags r:id="rId8"/>
            </p:custDataLst>
          </p:nvPr>
        </p:nvSpPr>
        <p:spPr bwMode="auto">
          <a:xfrm>
            <a:off x="3859213" y="1934778"/>
            <a:ext cx="82550" cy="120253"/>
          </a:xfrm>
          <a:custGeom>
            <a:avLst/>
            <a:gdLst>
              <a:gd name="T0" fmla="*/ 7024489 w 192"/>
              <a:gd name="T1" fmla="*/ 818398 h 307"/>
              <a:gd name="T2" fmla="*/ 6839611 w 192"/>
              <a:gd name="T3" fmla="*/ 0 h 307"/>
              <a:gd name="T4" fmla="*/ 10536734 w 192"/>
              <a:gd name="T5" fmla="*/ 818398 h 307"/>
              <a:gd name="T6" fmla="*/ 20333957 w 192"/>
              <a:gd name="T7" fmla="*/ 3818840 h 307"/>
              <a:gd name="T8" fmla="*/ 28652593 w 192"/>
              <a:gd name="T9" fmla="*/ 6819283 h 307"/>
              <a:gd name="T10" fmla="*/ 33458980 w 192"/>
              <a:gd name="T11" fmla="*/ 7637681 h 307"/>
              <a:gd name="T12" fmla="*/ 35492203 w 192"/>
              <a:gd name="T13" fmla="*/ 9546580 h 307"/>
              <a:gd name="T14" fmla="*/ 34752692 w 192"/>
              <a:gd name="T15" fmla="*/ 12820169 h 307"/>
              <a:gd name="T16" fmla="*/ 32349714 w 192"/>
              <a:gd name="T17" fmla="*/ 22366750 h 307"/>
              <a:gd name="T18" fmla="*/ 29207226 w 192"/>
              <a:gd name="T19" fmla="*/ 34641151 h 307"/>
              <a:gd name="T20" fmla="*/ 27173566 w 192"/>
              <a:gd name="T21" fmla="*/ 45006647 h 307"/>
              <a:gd name="T22" fmla="*/ 26988689 w 192"/>
              <a:gd name="T23" fmla="*/ 56462642 h 307"/>
              <a:gd name="T24" fmla="*/ 26619364 w 192"/>
              <a:gd name="T25" fmla="*/ 67918638 h 307"/>
              <a:gd name="T26" fmla="*/ 24770588 w 192"/>
              <a:gd name="T27" fmla="*/ 75556333 h 307"/>
              <a:gd name="T28" fmla="*/ 19594447 w 192"/>
              <a:gd name="T29" fmla="*/ 80738820 h 307"/>
              <a:gd name="T30" fmla="*/ 15343123 w 192"/>
              <a:gd name="T31" fmla="*/ 82648239 h 307"/>
              <a:gd name="T32" fmla="*/ 13309467 w 192"/>
              <a:gd name="T33" fmla="*/ 83739262 h 307"/>
              <a:gd name="T34" fmla="*/ 9612346 w 192"/>
              <a:gd name="T35" fmla="*/ 83193489 h 307"/>
              <a:gd name="T36" fmla="*/ 5915223 w 192"/>
              <a:gd name="T37" fmla="*/ 79375172 h 307"/>
              <a:gd name="T38" fmla="*/ 5545468 w 192"/>
              <a:gd name="T39" fmla="*/ 75556333 h 307"/>
              <a:gd name="T40" fmla="*/ 4066878 w 192"/>
              <a:gd name="T41" fmla="*/ 70100699 h 307"/>
              <a:gd name="T42" fmla="*/ 1848346 w 192"/>
              <a:gd name="T43" fmla="*/ 63008776 h 307"/>
              <a:gd name="T44" fmla="*/ 369755 w 192"/>
              <a:gd name="T45" fmla="*/ 57553665 h 307"/>
              <a:gd name="T46" fmla="*/ 0 w 192"/>
              <a:gd name="T47" fmla="*/ 53734825 h 307"/>
              <a:gd name="T48" fmla="*/ 0 w 192"/>
              <a:gd name="T49" fmla="*/ 49098111 h 307"/>
              <a:gd name="T50" fmla="*/ 369755 w 192"/>
              <a:gd name="T51" fmla="*/ 45006647 h 307"/>
              <a:gd name="T52" fmla="*/ 2033224 w 192"/>
              <a:gd name="T53" fmla="*/ 39551013 h 307"/>
              <a:gd name="T54" fmla="*/ 6100101 w 192"/>
              <a:gd name="T55" fmla="*/ 29731281 h 307"/>
              <a:gd name="T56" fmla="*/ 8873266 w 192"/>
              <a:gd name="T57" fmla="*/ 22094125 h 307"/>
              <a:gd name="T58" fmla="*/ 9612346 w 192"/>
              <a:gd name="T59" fmla="*/ 16911634 h 307"/>
              <a:gd name="T60" fmla="*/ 9797223 w 192"/>
              <a:gd name="T61" fmla="*/ 11183375 h 307"/>
              <a:gd name="T62" fmla="*/ 10166979 w 192"/>
              <a:gd name="T63" fmla="*/ 8182931 h 307"/>
              <a:gd name="T64" fmla="*/ 10536734 w 192"/>
              <a:gd name="T65" fmla="*/ 7091908 h 307"/>
              <a:gd name="T66" fmla="*/ 11091366 w 192"/>
              <a:gd name="T67" fmla="*/ 6000886 h 307"/>
              <a:gd name="T68" fmla="*/ 8133755 w 192"/>
              <a:gd name="T69" fmla="*/ 1909420 h 307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92"/>
              <a:gd name="T106" fmla="*/ 0 h 307"/>
              <a:gd name="T107" fmla="*/ 192 w 192"/>
              <a:gd name="T108" fmla="*/ 307 h 307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92" h="307">
                <a:moveTo>
                  <a:pt x="44" y="7"/>
                </a:moveTo>
                <a:lnTo>
                  <a:pt x="38" y="3"/>
                </a:lnTo>
                <a:lnTo>
                  <a:pt x="35" y="1"/>
                </a:lnTo>
                <a:lnTo>
                  <a:pt x="37" y="0"/>
                </a:lnTo>
                <a:lnTo>
                  <a:pt x="41" y="0"/>
                </a:lnTo>
                <a:lnTo>
                  <a:pt x="57" y="3"/>
                </a:lnTo>
                <a:lnTo>
                  <a:pt x="82" y="8"/>
                </a:lnTo>
                <a:lnTo>
                  <a:pt x="110" y="14"/>
                </a:lnTo>
                <a:lnTo>
                  <a:pt x="141" y="22"/>
                </a:lnTo>
                <a:lnTo>
                  <a:pt x="155" y="25"/>
                </a:lnTo>
                <a:lnTo>
                  <a:pt x="169" y="27"/>
                </a:lnTo>
                <a:lnTo>
                  <a:pt x="181" y="28"/>
                </a:lnTo>
                <a:lnTo>
                  <a:pt x="192" y="29"/>
                </a:lnTo>
                <a:lnTo>
                  <a:pt x="192" y="35"/>
                </a:lnTo>
                <a:lnTo>
                  <a:pt x="192" y="41"/>
                </a:lnTo>
                <a:lnTo>
                  <a:pt x="188" y="47"/>
                </a:lnTo>
                <a:lnTo>
                  <a:pt x="183" y="61"/>
                </a:lnTo>
                <a:lnTo>
                  <a:pt x="175" y="82"/>
                </a:lnTo>
                <a:lnTo>
                  <a:pt x="167" y="104"/>
                </a:lnTo>
                <a:lnTo>
                  <a:pt x="158" y="127"/>
                </a:lnTo>
                <a:lnTo>
                  <a:pt x="152" y="148"/>
                </a:lnTo>
                <a:lnTo>
                  <a:pt x="147" y="165"/>
                </a:lnTo>
                <a:lnTo>
                  <a:pt x="146" y="176"/>
                </a:lnTo>
                <a:lnTo>
                  <a:pt x="146" y="207"/>
                </a:lnTo>
                <a:lnTo>
                  <a:pt x="146" y="234"/>
                </a:lnTo>
                <a:lnTo>
                  <a:pt x="144" y="249"/>
                </a:lnTo>
                <a:lnTo>
                  <a:pt x="141" y="263"/>
                </a:lnTo>
                <a:lnTo>
                  <a:pt x="134" y="277"/>
                </a:lnTo>
                <a:lnTo>
                  <a:pt x="127" y="294"/>
                </a:lnTo>
                <a:lnTo>
                  <a:pt x="106" y="296"/>
                </a:lnTo>
                <a:lnTo>
                  <a:pt x="91" y="300"/>
                </a:lnTo>
                <a:lnTo>
                  <a:pt x="83" y="303"/>
                </a:lnTo>
                <a:lnTo>
                  <a:pt x="77" y="306"/>
                </a:lnTo>
                <a:lnTo>
                  <a:pt x="72" y="307"/>
                </a:lnTo>
                <a:lnTo>
                  <a:pt x="64" y="307"/>
                </a:lnTo>
                <a:lnTo>
                  <a:pt x="52" y="305"/>
                </a:lnTo>
                <a:lnTo>
                  <a:pt x="33" y="300"/>
                </a:lnTo>
                <a:lnTo>
                  <a:pt x="32" y="291"/>
                </a:lnTo>
                <a:lnTo>
                  <a:pt x="32" y="284"/>
                </a:lnTo>
                <a:lnTo>
                  <a:pt x="30" y="277"/>
                </a:lnTo>
                <a:lnTo>
                  <a:pt x="28" y="270"/>
                </a:lnTo>
                <a:lnTo>
                  <a:pt x="22" y="257"/>
                </a:lnTo>
                <a:lnTo>
                  <a:pt x="17" y="244"/>
                </a:lnTo>
                <a:lnTo>
                  <a:pt x="10" y="231"/>
                </a:lnTo>
                <a:lnTo>
                  <a:pt x="5" y="218"/>
                </a:lnTo>
                <a:lnTo>
                  <a:pt x="2" y="211"/>
                </a:lnTo>
                <a:lnTo>
                  <a:pt x="1" y="204"/>
                </a:lnTo>
                <a:lnTo>
                  <a:pt x="0" y="197"/>
                </a:lnTo>
                <a:lnTo>
                  <a:pt x="0" y="189"/>
                </a:lnTo>
                <a:lnTo>
                  <a:pt x="0" y="180"/>
                </a:lnTo>
                <a:lnTo>
                  <a:pt x="1" y="173"/>
                </a:lnTo>
                <a:lnTo>
                  <a:pt x="2" y="165"/>
                </a:lnTo>
                <a:lnTo>
                  <a:pt x="5" y="158"/>
                </a:lnTo>
                <a:lnTo>
                  <a:pt x="11" y="145"/>
                </a:lnTo>
                <a:lnTo>
                  <a:pt x="18" y="133"/>
                </a:lnTo>
                <a:lnTo>
                  <a:pt x="33" y="109"/>
                </a:lnTo>
                <a:lnTo>
                  <a:pt x="46" y="90"/>
                </a:lnTo>
                <a:lnTo>
                  <a:pt x="48" y="81"/>
                </a:lnTo>
                <a:lnTo>
                  <a:pt x="50" y="72"/>
                </a:lnTo>
                <a:lnTo>
                  <a:pt x="52" y="62"/>
                </a:lnTo>
                <a:lnTo>
                  <a:pt x="53" y="53"/>
                </a:lnTo>
                <a:lnTo>
                  <a:pt x="53" y="41"/>
                </a:lnTo>
                <a:lnTo>
                  <a:pt x="54" y="34"/>
                </a:lnTo>
                <a:lnTo>
                  <a:pt x="55" y="30"/>
                </a:lnTo>
                <a:lnTo>
                  <a:pt x="56" y="28"/>
                </a:lnTo>
                <a:lnTo>
                  <a:pt x="57" y="26"/>
                </a:lnTo>
                <a:lnTo>
                  <a:pt x="58" y="25"/>
                </a:lnTo>
                <a:lnTo>
                  <a:pt x="60" y="22"/>
                </a:lnTo>
                <a:lnTo>
                  <a:pt x="60" y="16"/>
                </a:lnTo>
                <a:lnTo>
                  <a:pt x="44" y="7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15" name="Freeform 12"/>
          <p:cNvSpPr>
            <a:spLocks/>
          </p:cNvSpPr>
          <p:nvPr userDrawn="1">
            <p:custDataLst>
              <p:tags r:id="rId9"/>
            </p:custDataLst>
          </p:nvPr>
        </p:nvSpPr>
        <p:spPr bwMode="auto">
          <a:xfrm>
            <a:off x="3902075" y="1549015"/>
            <a:ext cx="171450" cy="202406"/>
          </a:xfrm>
          <a:custGeom>
            <a:avLst/>
            <a:gdLst>
              <a:gd name="T0" fmla="*/ 4824724 w 398"/>
              <a:gd name="T1" fmla="*/ 542876 h 518"/>
              <a:gd name="T2" fmla="*/ 17629197 w 398"/>
              <a:gd name="T3" fmla="*/ 3528693 h 518"/>
              <a:gd name="T4" fmla="*/ 21526021 w 398"/>
              <a:gd name="T5" fmla="*/ 6243073 h 518"/>
              <a:gd name="T6" fmla="*/ 14845504 w 398"/>
              <a:gd name="T7" fmla="*/ 12757583 h 518"/>
              <a:gd name="T8" fmla="*/ 11876574 w 398"/>
              <a:gd name="T9" fmla="*/ 16829151 h 518"/>
              <a:gd name="T10" fmla="*/ 14288938 w 398"/>
              <a:gd name="T11" fmla="*/ 18729220 h 518"/>
              <a:gd name="T12" fmla="*/ 30990238 w 398"/>
              <a:gd name="T13" fmla="*/ 21443599 h 518"/>
              <a:gd name="T14" fmla="*/ 38969983 w 398"/>
              <a:gd name="T15" fmla="*/ 29586213 h 518"/>
              <a:gd name="T16" fmla="*/ 28577877 w 398"/>
              <a:gd name="T17" fmla="*/ 34472103 h 518"/>
              <a:gd name="T18" fmla="*/ 27279072 w 398"/>
              <a:gd name="T19" fmla="*/ 37457919 h 518"/>
              <a:gd name="T20" fmla="*/ 35444059 w 398"/>
              <a:gd name="T21" fmla="*/ 38815109 h 518"/>
              <a:gd name="T22" fmla="*/ 39155218 w 398"/>
              <a:gd name="T23" fmla="*/ 42343801 h 518"/>
              <a:gd name="T24" fmla="*/ 45093504 w 398"/>
              <a:gd name="T25" fmla="*/ 51844126 h 518"/>
              <a:gd name="T26" fmla="*/ 47877196 w 398"/>
              <a:gd name="T27" fmla="*/ 57544320 h 518"/>
              <a:gd name="T28" fmla="*/ 48248527 w 398"/>
              <a:gd name="T29" fmla="*/ 64330267 h 518"/>
              <a:gd name="T30" fmla="*/ 50475223 w 398"/>
              <a:gd name="T31" fmla="*/ 68944206 h 518"/>
              <a:gd name="T32" fmla="*/ 53073249 w 398"/>
              <a:gd name="T33" fmla="*/ 75730152 h 518"/>
              <a:gd name="T34" fmla="*/ 56784422 w 398"/>
              <a:gd name="T35" fmla="*/ 80616033 h 518"/>
              <a:gd name="T36" fmla="*/ 60681677 w 398"/>
              <a:gd name="T37" fmla="*/ 86859104 h 518"/>
              <a:gd name="T38" fmla="*/ 64207601 w 398"/>
              <a:gd name="T39" fmla="*/ 91473548 h 518"/>
              <a:gd name="T40" fmla="*/ 68660992 w 398"/>
              <a:gd name="T41" fmla="*/ 92559299 h 518"/>
              <a:gd name="T42" fmla="*/ 73485714 w 398"/>
              <a:gd name="T43" fmla="*/ 99073808 h 518"/>
              <a:gd name="T44" fmla="*/ 73300480 w 398"/>
              <a:gd name="T45" fmla="*/ 107216943 h 518"/>
              <a:gd name="T46" fmla="*/ 70888118 w 398"/>
              <a:gd name="T47" fmla="*/ 109659884 h 518"/>
              <a:gd name="T48" fmla="*/ 68104426 w 398"/>
              <a:gd name="T49" fmla="*/ 112645700 h 518"/>
              <a:gd name="T50" fmla="*/ 68290092 w 398"/>
              <a:gd name="T51" fmla="*/ 115630996 h 518"/>
              <a:gd name="T52" fmla="*/ 69774555 w 398"/>
              <a:gd name="T53" fmla="*/ 120245439 h 518"/>
              <a:gd name="T54" fmla="*/ 66619963 w 398"/>
              <a:gd name="T55" fmla="*/ 125674196 h 518"/>
              <a:gd name="T56" fmla="*/ 27093406 w 398"/>
              <a:gd name="T57" fmla="*/ 135717397 h 518"/>
              <a:gd name="T58" fmla="*/ 12618806 w 398"/>
              <a:gd name="T59" fmla="*/ 137888932 h 518"/>
              <a:gd name="T60" fmla="*/ 9835113 w 398"/>
              <a:gd name="T61" fmla="*/ 140603311 h 518"/>
              <a:gd name="T62" fmla="*/ 10763011 w 398"/>
              <a:gd name="T63" fmla="*/ 133817332 h 518"/>
              <a:gd name="T64" fmla="*/ 13175372 w 398"/>
              <a:gd name="T65" fmla="*/ 129202888 h 518"/>
              <a:gd name="T66" fmla="*/ 21155121 w 398"/>
              <a:gd name="T67" fmla="*/ 124317007 h 518"/>
              <a:gd name="T68" fmla="*/ 31918135 w 398"/>
              <a:gd name="T69" fmla="*/ 119159688 h 518"/>
              <a:gd name="T70" fmla="*/ 33216933 w 398"/>
              <a:gd name="T71" fmla="*/ 115630996 h 518"/>
              <a:gd name="T72" fmla="*/ 31732469 w 398"/>
              <a:gd name="T73" fmla="*/ 117802499 h 518"/>
              <a:gd name="T74" fmla="*/ 20598124 w 398"/>
              <a:gd name="T75" fmla="*/ 117259623 h 518"/>
              <a:gd name="T76" fmla="*/ 14103269 w 398"/>
              <a:gd name="T77" fmla="*/ 114002890 h 518"/>
              <a:gd name="T78" fmla="*/ 14288938 w 398"/>
              <a:gd name="T79" fmla="*/ 109117008 h 518"/>
              <a:gd name="T80" fmla="*/ 17629197 w 398"/>
              <a:gd name="T81" fmla="*/ 106131192 h 518"/>
              <a:gd name="T82" fmla="*/ 16144733 w 398"/>
              <a:gd name="T83" fmla="*/ 95545115 h 518"/>
              <a:gd name="T84" fmla="*/ 19484992 w 398"/>
              <a:gd name="T85" fmla="*/ 89302045 h 518"/>
              <a:gd name="T86" fmla="*/ 28577877 w 398"/>
              <a:gd name="T87" fmla="*/ 83873288 h 518"/>
              <a:gd name="T88" fmla="*/ 31918135 w 398"/>
              <a:gd name="T89" fmla="*/ 78987406 h 518"/>
              <a:gd name="T90" fmla="*/ 27464307 w 398"/>
              <a:gd name="T91" fmla="*/ 73558649 h 518"/>
              <a:gd name="T92" fmla="*/ 25794177 w 398"/>
              <a:gd name="T93" fmla="*/ 67044645 h 518"/>
              <a:gd name="T94" fmla="*/ 17443531 w 398"/>
              <a:gd name="T95" fmla="*/ 64873143 h 518"/>
              <a:gd name="T96" fmla="*/ 14845504 w 398"/>
              <a:gd name="T97" fmla="*/ 58630072 h 518"/>
              <a:gd name="T98" fmla="*/ 16701299 w 398"/>
              <a:gd name="T99" fmla="*/ 52115563 h 518"/>
              <a:gd name="T100" fmla="*/ 18557094 w 398"/>
              <a:gd name="T101" fmla="*/ 45601055 h 518"/>
              <a:gd name="T102" fmla="*/ 13546703 w 398"/>
              <a:gd name="T103" fmla="*/ 50486936 h 518"/>
              <a:gd name="T104" fmla="*/ 4082492 w 398"/>
              <a:gd name="T105" fmla="*/ 43972428 h 518"/>
              <a:gd name="T106" fmla="*/ 3711591 w 398"/>
              <a:gd name="T107" fmla="*/ 38543671 h 518"/>
              <a:gd name="T108" fmla="*/ 2598028 w 398"/>
              <a:gd name="T109" fmla="*/ 35557854 h 518"/>
              <a:gd name="T110" fmla="*/ 3711591 w 398"/>
              <a:gd name="T111" fmla="*/ 17100593 h 518"/>
              <a:gd name="T112" fmla="*/ 3525925 w 398"/>
              <a:gd name="T113" fmla="*/ 13300459 h 518"/>
              <a:gd name="T114" fmla="*/ 742232 w 398"/>
              <a:gd name="T115" fmla="*/ 10857518 h 518"/>
              <a:gd name="T116" fmla="*/ 3711591 w 398"/>
              <a:gd name="T117" fmla="*/ 5157321 h 518"/>
              <a:gd name="T118" fmla="*/ 556566 w 398"/>
              <a:gd name="T119" fmla="*/ 2442942 h 51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398"/>
              <a:gd name="T181" fmla="*/ 0 h 518"/>
              <a:gd name="T182" fmla="*/ 398 w 398"/>
              <a:gd name="T183" fmla="*/ 518 h 518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398" h="518">
                <a:moveTo>
                  <a:pt x="0" y="1"/>
                </a:moveTo>
                <a:lnTo>
                  <a:pt x="6" y="0"/>
                </a:lnTo>
                <a:lnTo>
                  <a:pt x="15" y="1"/>
                </a:lnTo>
                <a:lnTo>
                  <a:pt x="26" y="2"/>
                </a:lnTo>
                <a:lnTo>
                  <a:pt x="39" y="5"/>
                </a:lnTo>
                <a:lnTo>
                  <a:pt x="56" y="8"/>
                </a:lnTo>
                <a:lnTo>
                  <a:pt x="75" y="11"/>
                </a:lnTo>
                <a:lnTo>
                  <a:pt x="95" y="13"/>
                </a:lnTo>
                <a:lnTo>
                  <a:pt x="120" y="13"/>
                </a:lnTo>
                <a:lnTo>
                  <a:pt x="120" y="17"/>
                </a:lnTo>
                <a:lnTo>
                  <a:pt x="118" y="20"/>
                </a:lnTo>
                <a:lnTo>
                  <a:pt x="116" y="23"/>
                </a:lnTo>
                <a:lnTo>
                  <a:pt x="114" y="26"/>
                </a:lnTo>
                <a:lnTo>
                  <a:pt x="107" y="32"/>
                </a:lnTo>
                <a:lnTo>
                  <a:pt x="99" y="37"/>
                </a:lnTo>
                <a:lnTo>
                  <a:pt x="80" y="47"/>
                </a:lnTo>
                <a:lnTo>
                  <a:pt x="66" y="57"/>
                </a:lnTo>
                <a:lnTo>
                  <a:pt x="65" y="59"/>
                </a:lnTo>
                <a:lnTo>
                  <a:pt x="64" y="61"/>
                </a:lnTo>
                <a:lnTo>
                  <a:pt x="64" y="62"/>
                </a:lnTo>
                <a:lnTo>
                  <a:pt x="65" y="64"/>
                </a:lnTo>
                <a:lnTo>
                  <a:pt x="68" y="66"/>
                </a:lnTo>
                <a:lnTo>
                  <a:pt x="71" y="67"/>
                </a:lnTo>
                <a:lnTo>
                  <a:pt x="77" y="69"/>
                </a:lnTo>
                <a:lnTo>
                  <a:pt x="84" y="70"/>
                </a:lnTo>
                <a:lnTo>
                  <a:pt x="103" y="73"/>
                </a:lnTo>
                <a:lnTo>
                  <a:pt x="131" y="76"/>
                </a:lnTo>
                <a:lnTo>
                  <a:pt x="167" y="79"/>
                </a:lnTo>
                <a:lnTo>
                  <a:pt x="213" y="81"/>
                </a:lnTo>
                <a:lnTo>
                  <a:pt x="213" y="91"/>
                </a:lnTo>
                <a:lnTo>
                  <a:pt x="213" y="105"/>
                </a:lnTo>
                <a:lnTo>
                  <a:pt x="210" y="109"/>
                </a:lnTo>
                <a:lnTo>
                  <a:pt x="202" y="112"/>
                </a:lnTo>
                <a:lnTo>
                  <a:pt x="191" y="116"/>
                </a:lnTo>
                <a:lnTo>
                  <a:pt x="179" y="120"/>
                </a:lnTo>
                <a:lnTo>
                  <a:pt x="154" y="127"/>
                </a:lnTo>
                <a:lnTo>
                  <a:pt x="139" y="130"/>
                </a:lnTo>
                <a:lnTo>
                  <a:pt x="142" y="133"/>
                </a:lnTo>
                <a:lnTo>
                  <a:pt x="144" y="136"/>
                </a:lnTo>
                <a:lnTo>
                  <a:pt x="147" y="138"/>
                </a:lnTo>
                <a:lnTo>
                  <a:pt x="150" y="140"/>
                </a:lnTo>
                <a:lnTo>
                  <a:pt x="160" y="142"/>
                </a:lnTo>
                <a:lnTo>
                  <a:pt x="170" y="143"/>
                </a:lnTo>
                <a:lnTo>
                  <a:pt x="191" y="143"/>
                </a:lnTo>
                <a:lnTo>
                  <a:pt x="206" y="142"/>
                </a:lnTo>
                <a:lnTo>
                  <a:pt x="206" y="147"/>
                </a:lnTo>
                <a:lnTo>
                  <a:pt x="208" y="152"/>
                </a:lnTo>
                <a:lnTo>
                  <a:pt x="211" y="156"/>
                </a:lnTo>
                <a:lnTo>
                  <a:pt x="214" y="161"/>
                </a:lnTo>
                <a:lnTo>
                  <a:pt x="223" y="172"/>
                </a:lnTo>
                <a:lnTo>
                  <a:pt x="233" y="182"/>
                </a:lnTo>
                <a:lnTo>
                  <a:pt x="243" y="191"/>
                </a:lnTo>
                <a:lnTo>
                  <a:pt x="250" y="200"/>
                </a:lnTo>
                <a:lnTo>
                  <a:pt x="254" y="205"/>
                </a:lnTo>
                <a:lnTo>
                  <a:pt x="257" y="209"/>
                </a:lnTo>
                <a:lnTo>
                  <a:pt x="258" y="212"/>
                </a:lnTo>
                <a:lnTo>
                  <a:pt x="259" y="216"/>
                </a:lnTo>
                <a:lnTo>
                  <a:pt x="259" y="223"/>
                </a:lnTo>
                <a:lnTo>
                  <a:pt x="260" y="232"/>
                </a:lnTo>
                <a:lnTo>
                  <a:pt x="260" y="237"/>
                </a:lnTo>
                <a:lnTo>
                  <a:pt x="262" y="241"/>
                </a:lnTo>
                <a:lnTo>
                  <a:pt x="263" y="244"/>
                </a:lnTo>
                <a:lnTo>
                  <a:pt x="266" y="247"/>
                </a:lnTo>
                <a:lnTo>
                  <a:pt x="272" y="254"/>
                </a:lnTo>
                <a:lnTo>
                  <a:pt x="277" y="261"/>
                </a:lnTo>
                <a:lnTo>
                  <a:pt x="280" y="267"/>
                </a:lnTo>
                <a:lnTo>
                  <a:pt x="283" y="273"/>
                </a:lnTo>
                <a:lnTo>
                  <a:pt x="286" y="279"/>
                </a:lnTo>
                <a:lnTo>
                  <a:pt x="291" y="284"/>
                </a:lnTo>
                <a:lnTo>
                  <a:pt x="297" y="288"/>
                </a:lnTo>
                <a:lnTo>
                  <a:pt x="305" y="291"/>
                </a:lnTo>
                <a:lnTo>
                  <a:pt x="306" y="297"/>
                </a:lnTo>
                <a:lnTo>
                  <a:pt x="310" y="304"/>
                </a:lnTo>
                <a:lnTo>
                  <a:pt x="315" y="310"/>
                </a:lnTo>
                <a:lnTo>
                  <a:pt x="320" y="316"/>
                </a:lnTo>
                <a:lnTo>
                  <a:pt x="327" y="320"/>
                </a:lnTo>
                <a:lnTo>
                  <a:pt x="334" y="324"/>
                </a:lnTo>
                <a:lnTo>
                  <a:pt x="340" y="326"/>
                </a:lnTo>
                <a:lnTo>
                  <a:pt x="346" y="327"/>
                </a:lnTo>
                <a:lnTo>
                  <a:pt x="346" y="337"/>
                </a:lnTo>
                <a:lnTo>
                  <a:pt x="346" y="346"/>
                </a:lnTo>
                <a:lnTo>
                  <a:pt x="355" y="343"/>
                </a:lnTo>
                <a:lnTo>
                  <a:pt x="363" y="341"/>
                </a:lnTo>
                <a:lnTo>
                  <a:pt x="370" y="341"/>
                </a:lnTo>
                <a:lnTo>
                  <a:pt x="376" y="342"/>
                </a:lnTo>
                <a:lnTo>
                  <a:pt x="389" y="347"/>
                </a:lnTo>
                <a:lnTo>
                  <a:pt x="398" y="352"/>
                </a:lnTo>
                <a:lnTo>
                  <a:pt x="396" y="365"/>
                </a:lnTo>
                <a:lnTo>
                  <a:pt x="394" y="376"/>
                </a:lnTo>
                <a:lnTo>
                  <a:pt x="393" y="382"/>
                </a:lnTo>
                <a:lnTo>
                  <a:pt x="393" y="389"/>
                </a:lnTo>
                <a:lnTo>
                  <a:pt x="395" y="395"/>
                </a:lnTo>
                <a:lnTo>
                  <a:pt x="398" y="401"/>
                </a:lnTo>
                <a:lnTo>
                  <a:pt x="393" y="402"/>
                </a:lnTo>
                <a:lnTo>
                  <a:pt x="387" y="403"/>
                </a:lnTo>
                <a:lnTo>
                  <a:pt x="382" y="404"/>
                </a:lnTo>
                <a:lnTo>
                  <a:pt x="376" y="406"/>
                </a:lnTo>
                <a:lnTo>
                  <a:pt x="372" y="409"/>
                </a:lnTo>
                <a:lnTo>
                  <a:pt x="369" y="412"/>
                </a:lnTo>
                <a:lnTo>
                  <a:pt x="367" y="415"/>
                </a:lnTo>
                <a:lnTo>
                  <a:pt x="365" y="420"/>
                </a:lnTo>
                <a:lnTo>
                  <a:pt x="365" y="422"/>
                </a:lnTo>
                <a:lnTo>
                  <a:pt x="367" y="424"/>
                </a:lnTo>
                <a:lnTo>
                  <a:pt x="368" y="426"/>
                </a:lnTo>
                <a:lnTo>
                  <a:pt x="370" y="429"/>
                </a:lnTo>
                <a:lnTo>
                  <a:pt x="376" y="433"/>
                </a:lnTo>
                <a:lnTo>
                  <a:pt x="385" y="438"/>
                </a:lnTo>
                <a:lnTo>
                  <a:pt x="376" y="443"/>
                </a:lnTo>
                <a:lnTo>
                  <a:pt x="371" y="447"/>
                </a:lnTo>
                <a:lnTo>
                  <a:pt x="367" y="451"/>
                </a:lnTo>
                <a:lnTo>
                  <a:pt x="363" y="455"/>
                </a:lnTo>
                <a:lnTo>
                  <a:pt x="359" y="463"/>
                </a:lnTo>
                <a:lnTo>
                  <a:pt x="352" y="475"/>
                </a:lnTo>
                <a:lnTo>
                  <a:pt x="146" y="475"/>
                </a:lnTo>
                <a:lnTo>
                  <a:pt x="146" y="487"/>
                </a:lnTo>
                <a:lnTo>
                  <a:pt x="146" y="500"/>
                </a:lnTo>
                <a:lnTo>
                  <a:pt x="116" y="501"/>
                </a:lnTo>
                <a:lnTo>
                  <a:pt x="90" y="503"/>
                </a:lnTo>
                <a:lnTo>
                  <a:pt x="78" y="505"/>
                </a:lnTo>
                <a:lnTo>
                  <a:pt x="68" y="508"/>
                </a:lnTo>
                <a:lnTo>
                  <a:pt x="64" y="510"/>
                </a:lnTo>
                <a:lnTo>
                  <a:pt x="59" y="512"/>
                </a:lnTo>
                <a:lnTo>
                  <a:pt x="56" y="515"/>
                </a:lnTo>
                <a:lnTo>
                  <a:pt x="53" y="518"/>
                </a:lnTo>
                <a:lnTo>
                  <a:pt x="54" y="511"/>
                </a:lnTo>
                <a:lnTo>
                  <a:pt x="55" y="505"/>
                </a:lnTo>
                <a:lnTo>
                  <a:pt x="56" y="499"/>
                </a:lnTo>
                <a:lnTo>
                  <a:pt x="58" y="493"/>
                </a:lnTo>
                <a:lnTo>
                  <a:pt x="61" y="488"/>
                </a:lnTo>
                <a:lnTo>
                  <a:pt x="64" y="484"/>
                </a:lnTo>
                <a:lnTo>
                  <a:pt x="68" y="480"/>
                </a:lnTo>
                <a:lnTo>
                  <a:pt x="71" y="476"/>
                </a:lnTo>
                <a:lnTo>
                  <a:pt x="81" y="470"/>
                </a:lnTo>
                <a:lnTo>
                  <a:pt x="91" y="465"/>
                </a:lnTo>
                <a:lnTo>
                  <a:pt x="102" y="462"/>
                </a:lnTo>
                <a:lnTo>
                  <a:pt x="114" y="458"/>
                </a:lnTo>
                <a:lnTo>
                  <a:pt x="136" y="453"/>
                </a:lnTo>
                <a:lnTo>
                  <a:pt x="157" y="448"/>
                </a:lnTo>
                <a:lnTo>
                  <a:pt x="165" y="444"/>
                </a:lnTo>
                <a:lnTo>
                  <a:pt x="172" y="439"/>
                </a:lnTo>
                <a:lnTo>
                  <a:pt x="174" y="436"/>
                </a:lnTo>
                <a:lnTo>
                  <a:pt x="177" y="433"/>
                </a:lnTo>
                <a:lnTo>
                  <a:pt x="179" y="429"/>
                </a:lnTo>
                <a:lnTo>
                  <a:pt x="179" y="426"/>
                </a:lnTo>
                <a:lnTo>
                  <a:pt x="179" y="428"/>
                </a:lnTo>
                <a:lnTo>
                  <a:pt x="177" y="430"/>
                </a:lnTo>
                <a:lnTo>
                  <a:pt x="174" y="432"/>
                </a:lnTo>
                <a:lnTo>
                  <a:pt x="171" y="434"/>
                </a:lnTo>
                <a:lnTo>
                  <a:pt x="162" y="437"/>
                </a:lnTo>
                <a:lnTo>
                  <a:pt x="152" y="438"/>
                </a:lnTo>
                <a:lnTo>
                  <a:pt x="137" y="437"/>
                </a:lnTo>
                <a:lnTo>
                  <a:pt x="111" y="432"/>
                </a:lnTo>
                <a:lnTo>
                  <a:pt x="96" y="429"/>
                </a:lnTo>
                <a:lnTo>
                  <a:pt x="84" y="425"/>
                </a:lnTo>
                <a:lnTo>
                  <a:pt x="80" y="423"/>
                </a:lnTo>
                <a:lnTo>
                  <a:pt x="76" y="420"/>
                </a:lnTo>
                <a:lnTo>
                  <a:pt x="73" y="417"/>
                </a:lnTo>
                <a:lnTo>
                  <a:pt x="73" y="414"/>
                </a:lnTo>
                <a:lnTo>
                  <a:pt x="73" y="407"/>
                </a:lnTo>
                <a:lnTo>
                  <a:pt x="77" y="402"/>
                </a:lnTo>
                <a:lnTo>
                  <a:pt x="80" y="398"/>
                </a:lnTo>
                <a:lnTo>
                  <a:pt x="84" y="395"/>
                </a:lnTo>
                <a:lnTo>
                  <a:pt x="90" y="392"/>
                </a:lnTo>
                <a:lnTo>
                  <a:pt x="95" y="391"/>
                </a:lnTo>
                <a:lnTo>
                  <a:pt x="101" y="390"/>
                </a:lnTo>
                <a:lnTo>
                  <a:pt x="106" y="389"/>
                </a:lnTo>
                <a:lnTo>
                  <a:pt x="106" y="352"/>
                </a:lnTo>
                <a:lnTo>
                  <a:pt x="87" y="352"/>
                </a:lnTo>
                <a:lnTo>
                  <a:pt x="90" y="345"/>
                </a:lnTo>
                <a:lnTo>
                  <a:pt x="94" y="339"/>
                </a:lnTo>
                <a:lnTo>
                  <a:pt x="100" y="334"/>
                </a:lnTo>
                <a:lnTo>
                  <a:pt x="105" y="329"/>
                </a:lnTo>
                <a:lnTo>
                  <a:pt x="117" y="323"/>
                </a:lnTo>
                <a:lnTo>
                  <a:pt x="129" y="319"/>
                </a:lnTo>
                <a:lnTo>
                  <a:pt x="142" y="315"/>
                </a:lnTo>
                <a:lnTo>
                  <a:pt x="154" y="309"/>
                </a:lnTo>
                <a:lnTo>
                  <a:pt x="159" y="306"/>
                </a:lnTo>
                <a:lnTo>
                  <a:pt x="163" y="302"/>
                </a:lnTo>
                <a:lnTo>
                  <a:pt x="169" y="297"/>
                </a:lnTo>
                <a:lnTo>
                  <a:pt x="172" y="291"/>
                </a:lnTo>
                <a:lnTo>
                  <a:pt x="166" y="286"/>
                </a:lnTo>
                <a:lnTo>
                  <a:pt x="159" y="281"/>
                </a:lnTo>
                <a:lnTo>
                  <a:pt x="154" y="277"/>
                </a:lnTo>
                <a:lnTo>
                  <a:pt x="148" y="271"/>
                </a:lnTo>
                <a:lnTo>
                  <a:pt x="145" y="265"/>
                </a:lnTo>
                <a:lnTo>
                  <a:pt x="142" y="260"/>
                </a:lnTo>
                <a:lnTo>
                  <a:pt x="140" y="254"/>
                </a:lnTo>
                <a:lnTo>
                  <a:pt x="139" y="247"/>
                </a:lnTo>
                <a:lnTo>
                  <a:pt x="125" y="247"/>
                </a:lnTo>
                <a:lnTo>
                  <a:pt x="113" y="245"/>
                </a:lnTo>
                <a:lnTo>
                  <a:pt x="103" y="242"/>
                </a:lnTo>
                <a:lnTo>
                  <a:pt x="94" y="239"/>
                </a:lnTo>
                <a:lnTo>
                  <a:pt x="88" y="235"/>
                </a:lnTo>
                <a:lnTo>
                  <a:pt x="83" y="229"/>
                </a:lnTo>
                <a:lnTo>
                  <a:pt x="80" y="224"/>
                </a:lnTo>
                <a:lnTo>
                  <a:pt x="80" y="216"/>
                </a:lnTo>
                <a:lnTo>
                  <a:pt x="80" y="209"/>
                </a:lnTo>
                <a:lnTo>
                  <a:pt x="82" y="203"/>
                </a:lnTo>
                <a:lnTo>
                  <a:pt x="86" y="198"/>
                </a:lnTo>
                <a:lnTo>
                  <a:pt x="90" y="192"/>
                </a:lnTo>
                <a:lnTo>
                  <a:pt x="93" y="186"/>
                </a:lnTo>
                <a:lnTo>
                  <a:pt x="96" y="180"/>
                </a:lnTo>
                <a:lnTo>
                  <a:pt x="99" y="174"/>
                </a:lnTo>
                <a:lnTo>
                  <a:pt x="100" y="168"/>
                </a:lnTo>
                <a:lnTo>
                  <a:pt x="92" y="171"/>
                </a:lnTo>
                <a:lnTo>
                  <a:pt x="86" y="175"/>
                </a:lnTo>
                <a:lnTo>
                  <a:pt x="80" y="180"/>
                </a:lnTo>
                <a:lnTo>
                  <a:pt x="73" y="186"/>
                </a:lnTo>
                <a:lnTo>
                  <a:pt x="64" y="199"/>
                </a:lnTo>
                <a:lnTo>
                  <a:pt x="53" y="210"/>
                </a:lnTo>
                <a:lnTo>
                  <a:pt x="31" y="179"/>
                </a:lnTo>
                <a:lnTo>
                  <a:pt x="22" y="162"/>
                </a:lnTo>
                <a:lnTo>
                  <a:pt x="20" y="157"/>
                </a:lnTo>
                <a:lnTo>
                  <a:pt x="20" y="153"/>
                </a:lnTo>
                <a:lnTo>
                  <a:pt x="20" y="148"/>
                </a:lnTo>
                <a:lnTo>
                  <a:pt x="20" y="142"/>
                </a:lnTo>
                <a:lnTo>
                  <a:pt x="17" y="141"/>
                </a:lnTo>
                <a:lnTo>
                  <a:pt x="16" y="138"/>
                </a:lnTo>
                <a:lnTo>
                  <a:pt x="15" y="135"/>
                </a:lnTo>
                <a:lnTo>
                  <a:pt x="14" y="131"/>
                </a:lnTo>
                <a:lnTo>
                  <a:pt x="14" y="121"/>
                </a:lnTo>
                <a:lnTo>
                  <a:pt x="15" y="110"/>
                </a:lnTo>
                <a:lnTo>
                  <a:pt x="17" y="84"/>
                </a:lnTo>
                <a:lnTo>
                  <a:pt x="20" y="63"/>
                </a:lnTo>
                <a:lnTo>
                  <a:pt x="21" y="59"/>
                </a:lnTo>
                <a:lnTo>
                  <a:pt x="21" y="55"/>
                </a:lnTo>
                <a:lnTo>
                  <a:pt x="20" y="51"/>
                </a:lnTo>
                <a:lnTo>
                  <a:pt x="19" y="49"/>
                </a:lnTo>
                <a:lnTo>
                  <a:pt x="15" y="45"/>
                </a:lnTo>
                <a:lnTo>
                  <a:pt x="11" y="43"/>
                </a:lnTo>
                <a:lnTo>
                  <a:pt x="6" y="41"/>
                </a:lnTo>
                <a:lnTo>
                  <a:pt x="4" y="40"/>
                </a:lnTo>
                <a:lnTo>
                  <a:pt x="3" y="39"/>
                </a:lnTo>
                <a:lnTo>
                  <a:pt x="6" y="37"/>
                </a:lnTo>
                <a:lnTo>
                  <a:pt x="13" y="28"/>
                </a:lnTo>
                <a:lnTo>
                  <a:pt x="20" y="19"/>
                </a:lnTo>
                <a:lnTo>
                  <a:pt x="20" y="13"/>
                </a:lnTo>
                <a:lnTo>
                  <a:pt x="11" y="11"/>
                </a:lnTo>
                <a:lnTo>
                  <a:pt x="5" y="10"/>
                </a:lnTo>
                <a:lnTo>
                  <a:pt x="3" y="9"/>
                </a:lnTo>
                <a:lnTo>
                  <a:pt x="1" y="7"/>
                </a:lnTo>
                <a:lnTo>
                  <a:pt x="0" y="5"/>
                </a:lnTo>
                <a:lnTo>
                  <a:pt x="0" y="1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16" name="Freeform 13"/>
          <p:cNvSpPr>
            <a:spLocks/>
          </p:cNvSpPr>
          <p:nvPr userDrawn="1">
            <p:custDataLst>
              <p:tags r:id="rId10"/>
            </p:custDataLst>
          </p:nvPr>
        </p:nvSpPr>
        <p:spPr bwMode="auto">
          <a:xfrm>
            <a:off x="4260853" y="1776413"/>
            <a:ext cx="169862" cy="57150"/>
          </a:xfrm>
          <a:custGeom>
            <a:avLst/>
            <a:gdLst>
              <a:gd name="T0" fmla="*/ 37567962 w 382"/>
              <a:gd name="T1" fmla="*/ 5566719 h 148"/>
              <a:gd name="T2" fmla="*/ 34997800 w 382"/>
              <a:gd name="T3" fmla="*/ 8217757 h 148"/>
              <a:gd name="T4" fmla="*/ 34404617 w 382"/>
              <a:gd name="T5" fmla="*/ 11928903 h 148"/>
              <a:gd name="T6" fmla="*/ 33218252 w 382"/>
              <a:gd name="T7" fmla="*/ 14049631 h 148"/>
              <a:gd name="T8" fmla="*/ 32822500 w 382"/>
              <a:gd name="T9" fmla="*/ 16170358 h 148"/>
              <a:gd name="T10" fmla="*/ 34997800 w 382"/>
              <a:gd name="T11" fmla="*/ 19616351 h 148"/>
              <a:gd name="T12" fmla="*/ 30647644 w 382"/>
              <a:gd name="T13" fmla="*/ 22797185 h 148"/>
              <a:gd name="T14" fmla="*/ 21354588 w 382"/>
              <a:gd name="T15" fmla="*/ 25448223 h 148"/>
              <a:gd name="T16" fmla="*/ 15224884 w 382"/>
              <a:gd name="T17" fmla="*/ 25713379 h 148"/>
              <a:gd name="T18" fmla="*/ 10281987 w 382"/>
              <a:gd name="T19" fmla="*/ 25183068 h 148"/>
              <a:gd name="T20" fmla="*/ 791059 w 382"/>
              <a:gd name="T21" fmla="*/ 29424523 h 148"/>
              <a:gd name="T22" fmla="*/ 0 w 382"/>
              <a:gd name="T23" fmla="*/ 34196297 h 148"/>
              <a:gd name="T24" fmla="*/ 791059 w 382"/>
              <a:gd name="T25" fmla="*/ 34726092 h 148"/>
              <a:gd name="T26" fmla="*/ 2372732 w 382"/>
              <a:gd name="T27" fmla="*/ 34726092 h 148"/>
              <a:gd name="T28" fmla="*/ 10084111 w 382"/>
              <a:gd name="T29" fmla="*/ 34196297 h 148"/>
              <a:gd name="T30" fmla="*/ 22540954 w 382"/>
              <a:gd name="T31" fmla="*/ 33665978 h 148"/>
              <a:gd name="T32" fmla="*/ 24320502 w 382"/>
              <a:gd name="T33" fmla="*/ 35521558 h 148"/>
              <a:gd name="T34" fmla="*/ 27088541 w 382"/>
              <a:gd name="T35" fmla="*/ 37377130 h 148"/>
              <a:gd name="T36" fmla="*/ 31438703 w 382"/>
              <a:gd name="T37" fmla="*/ 38967547 h 148"/>
              <a:gd name="T38" fmla="*/ 36579473 w 382"/>
              <a:gd name="T39" fmla="*/ 39232703 h 148"/>
              <a:gd name="T40" fmla="*/ 41522811 w 382"/>
              <a:gd name="T41" fmla="*/ 39232703 h 148"/>
              <a:gd name="T42" fmla="*/ 46070398 w 382"/>
              <a:gd name="T43" fmla="*/ 39232703 h 148"/>
              <a:gd name="T44" fmla="*/ 50420553 w 382"/>
              <a:gd name="T45" fmla="*/ 39232703 h 148"/>
              <a:gd name="T46" fmla="*/ 54374957 w 382"/>
              <a:gd name="T47" fmla="*/ 37907441 h 148"/>
              <a:gd name="T48" fmla="*/ 59515741 w 382"/>
              <a:gd name="T49" fmla="*/ 35521558 h 148"/>
              <a:gd name="T50" fmla="*/ 66040751 w 382"/>
              <a:gd name="T51" fmla="*/ 32075561 h 148"/>
              <a:gd name="T52" fmla="*/ 69797724 w 382"/>
              <a:gd name="T53" fmla="*/ 27303795 h 148"/>
              <a:gd name="T54" fmla="*/ 73554252 w 382"/>
              <a:gd name="T55" fmla="*/ 19086041 h 148"/>
              <a:gd name="T56" fmla="*/ 74345311 w 382"/>
              <a:gd name="T57" fmla="*/ 13784475 h 148"/>
              <a:gd name="T58" fmla="*/ 71774704 w 382"/>
              <a:gd name="T59" fmla="*/ 11663748 h 148"/>
              <a:gd name="T60" fmla="*/ 70588338 w 382"/>
              <a:gd name="T61" fmla="*/ 8482914 h 148"/>
              <a:gd name="T62" fmla="*/ 68611359 w 382"/>
              <a:gd name="T63" fmla="*/ 5831874 h 148"/>
              <a:gd name="T64" fmla="*/ 66040751 w 382"/>
              <a:gd name="T65" fmla="*/ 4506612 h 148"/>
              <a:gd name="T66" fmla="*/ 63074837 w 382"/>
              <a:gd name="T67" fmla="*/ 2120729 h 148"/>
              <a:gd name="T68" fmla="*/ 40138570 w 382"/>
              <a:gd name="T69" fmla="*/ 4771768 h 14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382"/>
              <a:gd name="T106" fmla="*/ 0 h 148"/>
              <a:gd name="T107" fmla="*/ 382 w 382"/>
              <a:gd name="T108" fmla="*/ 148 h 148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382" h="148">
                <a:moveTo>
                  <a:pt x="203" y="18"/>
                </a:moveTo>
                <a:lnTo>
                  <a:pt x="190" y="21"/>
                </a:lnTo>
                <a:lnTo>
                  <a:pt x="177" y="24"/>
                </a:lnTo>
                <a:lnTo>
                  <a:pt x="177" y="31"/>
                </a:lnTo>
                <a:lnTo>
                  <a:pt x="175" y="40"/>
                </a:lnTo>
                <a:lnTo>
                  <a:pt x="174" y="45"/>
                </a:lnTo>
                <a:lnTo>
                  <a:pt x="172" y="49"/>
                </a:lnTo>
                <a:lnTo>
                  <a:pt x="168" y="53"/>
                </a:lnTo>
                <a:lnTo>
                  <a:pt x="164" y="55"/>
                </a:lnTo>
                <a:lnTo>
                  <a:pt x="166" y="61"/>
                </a:lnTo>
                <a:lnTo>
                  <a:pt x="170" y="67"/>
                </a:lnTo>
                <a:lnTo>
                  <a:pt x="177" y="74"/>
                </a:lnTo>
                <a:lnTo>
                  <a:pt x="184" y="80"/>
                </a:lnTo>
                <a:lnTo>
                  <a:pt x="155" y="86"/>
                </a:lnTo>
                <a:lnTo>
                  <a:pt x="125" y="93"/>
                </a:lnTo>
                <a:lnTo>
                  <a:pt x="108" y="96"/>
                </a:lnTo>
                <a:lnTo>
                  <a:pt x="88" y="97"/>
                </a:lnTo>
                <a:lnTo>
                  <a:pt x="77" y="97"/>
                </a:lnTo>
                <a:lnTo>
                  <a:pt x="65" y="96"/>
                </a:lnTo>
                <a:lnTo>
                  <a:pt x="52" y="95"/>
                </a:lnTo>
                <a:lnTo>
                  <a:pt x="38" y="93"/>
                </a:lnTo>
                <a:lnTo>
                  <a:pt x="4" y="111"/>
                </a:lnTo>
                <a:lnTo>
                  <a:pt x="1" y="122"/>
                </a:lnTo>
                <a:lnTo>
                  <a:pt x="0" y="129"/>
                </a:lnTo>
                <a:lnTo>
                  <a:pt x="1" y="130"/>
                </a:lnTo>
                <a:lnTo>
                  <a:pt x="4" y="131"/>
                </a:lnTo>
                <a:lnTo>
                  <a:pt x="7" y="131"/>
                </a:lnTo>
                <a:lnTo>
                  <a:pt x="12" y="131"/>
                </a:lnTo>
                <a:lnTo>
                  <a:pt x="28" y="131"/>
                </a:lnTo>
                <a:lnTo>
                  <a:pt x="51" y="129"/>
                </a:lnTo>
                <a:lnTo>
                  <a:pt x="110" y="123"/>
                </a:lnTo>
                <a:lnTo>
                  <a:pt x="114" y="127"/>
                </a:lnTo>
                <a:lnTo>
                  <a:pt x="119" y="131"/>
                </a:lnTo>
                <a:lnTo>
                  <a:pt x="123" y="134"/>
                </a:lnTo>
                <a:lnTo>
                  <a:pt x="128" y="137"/>
                </a:lnTo>
                <a:lnTo>
                  <a:pt x="137" y="141"/>
                </a:lnTo>
                <a:lnTo>
                  <a:pt x="148" y="144"/>
                </a:lnTo>
                <a:lnTo>
                  <a:pt x="159" y="147"/>
                </a:lnTo>
                <a:lnTo>
                  <a:pt x="172" y="148"/>
                </a:lnTo>
                <a:lnTo>
                  <a:pt x="185" y="148"/>
                </a:lnTo>
                <a:lnTo>
                  <a:pt x="197" y="148"/>
                </a:lnTo>
                <a:lnTo>
                  <a:pt x="210" y="148"/>
                </a:lnTo>
                <a:lnTo>
                  <a:pt x="222" y="148"/>
                </a:lnTo>
                <a:lnTo>
                  <a:pt x="233" y="148"/>
                </a:lnTo>
                <a:lnTo>
                  <a:pt x="243" y="148"/>
                </a:lnTo>
                <a:lnTo>
                  <a:pt x="255" y="148"/>
                </a:lnTo>
                <a:lnTo>
                  <a:pt x="265" y="145"/>
                </a:lnTo>
                <a:lnTo>
                  <a:pt x="275" y="143"/>
                </a:lnTo>
                <a:lnTo>
                  <a:pt x="284" y="140"/>
                </a:lnTo>
                <a:lnTo>
                  <a:pt x="301" y="134"/>
                </a:lnTo>
                <a:lnTo>
                  <a:pt x="323" y="129"/>
                </a:lnTo>
                <a:lnTo>
                  <a:pt x="334" y="121"/>
                </a:lnTo>
                <a:lnTo>
                  <a:pt x="344" y="113"/>
                </a:lnTo>
                <a:lnTo>
                  <a:pt x="353" y="103"/>
                </a:lnTo>
                <a:lnTo>
                  <a:pt x="360" y="93"/>
                </a:lnTo>
                <a:lnTo>
                  <a:pt x="372" y="72"/>
                </a:lnTo>
                <a:lnTo>
                  <a:pt x="382" y="55"/>
                </a:lnTo>
                <a:lnTo>
                  <a:pt x="376" y="52"/>
                </a:lnTo>
                <a:lnTo>
                  <a:pt x="367" y="47"/>
                </a:lnTo>
                <a:lnTo>
                  <a:pt x="363" y="44"/>
                </a:lnTo>
                <a:lnTo>
                  <a:pt x="359" y="39"/>
                </a:lnTo>
                <a:lnTo>
                  <a:pt x="357" y="32"/>
                </a:lnTo>
                <a:lnTo>
                  <a:pt x="356" y="24"/>
                </a:lnTo>
                <a:lnTo>
                  <a:pt x="347" y="22"/>
                </a:lnTo>
                <a:lnTo>
                  <a:pt x="341" y="20"/>
                </a:lnTo>
                <a:lnTo>
                  <a:pt x="334" y="17"/>
                </a:lnTo>
                <a:lnTo>
                  <a:pt x="330" y="14"/>
                </a:lnTo>
                <a:lnTo>
                  <a:pt x="319" y="8"/>
                </a:lnTo>
                <a:lnTo>
                  <a:pt x="303" y="0"/>
                </a:lnTo>
                <a:lnTo>
                  <a:pt x="203" y="18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17" name="Freeform 14"/>
          <p:cNvSpPr>
            <a:spLocks/>
          </p:cNvSpPr>
          <p:nvPr userDrawn="1">
            <p:custDataLst>
              <p:tags r:id="rId11"/>
            </p:custDataLst>
          </p:nvPr>
        </p:nvSpPr>
        <p:spPr bwMode="auto">
          <a:xfrm>
            <a:off x="5791203" y="1663316"/>
            <a:ext cx="1281112" cy="778669"/>
          </a:xfrm>
          <a:custGeom>
            <a:avLst/>
            <a:gdLst>
              <a:gd name="T0" fmla="*/ 71018378 w 2936"/>
              <a:gd name="T1" fmla="*/ 293580560 h 1983"/>
              <a:gd name="T2" fmla="*/ 73303085 w 2936"/>
              <a:gd name="T3" fmla="*/ 324007403 h 1983"/>
              <a:gd name="T4" fmla="*/ 91010001 w 2936"/>
              <a:gd name="T5" fmla="*/ 372252131 h 1983"/>
              <a:gd name="T6" fmla="*/ 146225676 w 2936"/>
              <a:gd name="T7" fmla="*/ 408984240 h 1983"/>
              <a:gd name="T8" fmla="*/ 197252402 w 2936"/>
              <a:gd name="T9" fmla="*/ 425430914 h 1983"/>
              <a:gd name="T10" fmla="*/ 214007212 w 2936"/>
              <a:gd name="T11" fmla="*/ 419126696 h 1983"/>
              <a:gd name="T12" fmla="*/ 266747523 w 2936"/>
              <a:gd name="T13" fmla="*/ 396922927 h 1983"/>
              <a:gd name="T14" fmla="*/ 294545376 w 2936"/>
              <a:gd name="T15" fmla="*/ 422690063 h 1983"/>
              <a:gd name="T16" fmla="*/ 300257580 w 2936"/>
              <a:gd name="T17" fmla="*/ 465178220 h 1983"/>
              <a:gd name="T18" fmla="*/ 305969348 w 2936"/>
              <a:gd name="T19" fmla="*/ 486011301 h 1983"/>
              <a:gd name="T20" fmla="*/ 324818618 w 2936"/>
              <a:gd name="T21" fmla="*/ 524113574 h 1983"/>
              <a:gd name="T22" fmla="*/ 350712693 w 2936"/>
              <a:gd name="T23" fmla="*/ 509585233 h 1983"/>
              <a:gd name="T24" fmla="*/ 394504368 w 2936"/>
              <a:gd name="T25" fmla="*/ 508214546 h 1983"/>
              <a:gd name="T26" fmla="*/ 431251238 w 2936"/>
              <a:gd name="T27" fmla="*/ 543575968 h 1983"/>
              <a:gd name="T28" fmla="*/ 448767908 w 2936"/>
              <a:gd name="T29" fmla="*/ 523565403 h 1983"/>
              <a:gd name="T30" fmla="*/ 467807534 w 2936"/>
              <a:gd name="T31" fmla="*/ 511504091 h 1983"/>
              <a:gd name="T32" fmla="*/ 484753028 w 2936"/>
              <a:gd name="T33" fmla="*/ 500539641 h 1983"/>
              <a:gd name="T34" fmla="*/ 510837349 w 2936"/>
              <a:gd name="T35" fmla="*/ 474772505 h 1983"/>
              <a:gd name="T36" fmla="*/ 517691907 w 2936"/>
              <a:gd name="T37" fmla="*/ 442974975 h 1983"/>
              <a:gd name="T38" fmla="*/ 531971763 w 2936"/>
              <a:gd name="T39" fmla="*/ 389247499 h 1983"/>
              <a:gd name="T40" fmla="*/ 515026270 w 2936"/>
              <a:gd name="T41" fmla="*/ 376912362 h 1983"/>
              <a:gd name="T42" fmla="*/ 502650628 w 2936"/>
              <a:gd name="T43" fmla="*/ 348952546 h 1983"/>
              <a:gd name="T44" fmla="*/ 508172149 w 2936"/>
              <a:gd name="T45" fmla="*/ 336343063 h 1983"/>
              <a:gd name="T46" fmla="*/ 482087390 w 2936"/>
              <a:gd name="T47" fmla="*/ 290839186 h 1983"/>
              <a:gd name="T48" fmla="*/ 491797832 w 2936"/>
              <a:gd name="T49" fmla="*/ 272199243 h 1983"/>
              <a:gd name="T50" fmla="*/ 467046111 w 2936"/>
              <a:gd name="T51" fmla="*/ 263701297 h 1983"/>
              <a:gd name="T52" fmla="*/ 444198058 w 2936"/>
              <a:gd name="T53" fmla="*/ 243142562 h 1983"/>
              <a:gd name="T54" fmla="*/ 450862369 w 2936"/>
              <a:gd name="T55" fmla="*/ 229162916 h 1983"/>
              <a:gd name="T56" fmla="*/ 465141897 w 2936"/>
              <a:gd name="T57" fmla="*/ 207232971 h 1983"/>
              <a:gd name="T58" fmla="*/ 475233269 w 2936"/>
              <a:gd name="T59" fmla="*/ 213812059 h 1983"/>
              <a:gd name="T60" fmla="*/ 482087390 w 2936"/>
              <a:gd name="T61" fmla="*/ 233822623 h 1983"/>
              <a:gd name="T62" fmla="*/ 511980139 w 2936"/>
              <a:gd name="T63" fmla="*/ 209151828 h 1983"/>
              <a:gd name="T64" fmla="*/ 538445391 w 2936"/>
              <a:gd name="T65" fmla="*/ 184481555 h 1983"/>
              <a:gd name="T66" fmla="*/ 549488433 w 2936"/>
              <a:gd name="T67" fmla="*/ 154602358 h 1983"/>
              <a:gd name="T68" fmla="*/ 557484908 w 2936"/>
              <a:gd name="T69" fmla="*/ 135414278 h 1983"/>
              <a:gd name="T70" fmla="*/ 550821034 w 2936"/>
              <a:gd name="T71" fmla="*/ 84154352 h 1983"/>
              <a:gd name="T72" fmla="*/ 518263084 w 2936"/>
              <a:gd name="T73" fmla="*/ 93474291 h 1983"/>
              <a:gd name="T74" fmla="*/ 468569394 w 2936"/>
              <a:gd name="T75" fmla="*/ 56193996 h 1983"/>
              <a:gd name="T76" fmla="*/ 437915113 w 2936"/>
              <a:gd name="T77" fmla="*/ 24396457 h 1983"/>
              <a:gd name="T78" fmla="*/ 376987698 w 2936"/>
              <a:gd name="T79" fmla="*/ 14528344 h 1983"/>
              <a:gd name="T80" fmla="*/ 382128289 w 2936"/>
              <a:gd name="T81" fmla="*/ 42488173 h 1983"/>
              <a:gd name="T82" fmla="*/ 371656424 w 2936"/>
              <a:gd name="T83" fmla="*/ 62224914 h 1983"/>
              <a:gd name="T84" fmla="*/ 385555786 w 2936"/>
              <a:gd name="T85" fmla="*/ 95941319 h 1983"/>
              <a:gd name="T86" fmla="*/ 408593977 w 2936"/>
              <a:gd name="T87" fmla="*/ 101423543 h 1983"/>
              <a:gd name="T88" fmla="*/ 388601917 w 2936"/>
              <a:gd name="T89" fmla="*/ 124723652 h 1983"/>
              <a:gd name="T90" fmla="*/ 360042205 w 2936"/>
              <a:gd name="T91" fmla="*/ 156247392 h 1983"/>
              <a:gd name="T92" fmla="*/ 310348515 w 2936"/>
              <a:gd name="T93" fmla="*/ 195446004 h 1983"/>
              <a:gd name="T94" fmla="*/ 233808644 w 2936"/>
              <a:gd name="T95" fmla="*/ 180643841 h 1983"/>
              <a:gd name="T96" fmla="*/ 197252402 w 2936"/>
              <a:gd name="T97" fmla="*/ 153506018 h 1983"/>
              <a:gd name="T98" fmla="*/ 143179109 w 2936"/>
              <a:gd name="T99" fmla="*/ 135688625 h 1983"/>
              <a:gd name="T100" fmla="*/ 130612783 w 2936"/>
              <a:gd name="T101" fmla="*/ 103890570 h 1983"/>
              <a:gd name="T102" fmla="*/ 97483629 w 2936"/>
              <a:gd name="T103" fmla="*/ 81961149 h 1983"/>
              <a:gd name="T104" fmla="*/ 81871173 w 2936"/>
              <a:gd name="T105" fmla="*/ 85250693 h 1983"/>
              <a:gd name="T106" fmla="*/ 80538136 w 2936"/>
              <a:gd name="T107" fmla="*/ 106357598 h 1983"/>
              <a:gd name="T108" fmla="*/ 58071558 w 2936"/>
              <a:gd name="T109" fmla="*/ 104713087 h 1983"/>
              <a:gd name="T110" fmla="*/ 43220512 w 2936"/>
              <a:gd name="T111" fmla="*/ 138977678 h 1983"/>
              <a:gd name="T112" fmla="*/ 49503456 w 2936"/>
              <a:gd name="T113" fmla="*/ 163100304 h 1983"/>
              <a:gd name="T114" fmla="*/ 47980173 w 2936"/>
              <a:gd name="T115" fmla="*/ 196268521 h 1983"/>
              <a:gd name="T116" fmla="*/ 22467021 w 2936"/>
              <a:gd name="T117" fmla="*/ 214086406 h 1983"/>
              <a:gd name="T118" fmla="*/ 7615985 w 2936"/>
              <a:gd name="T119" fmla="*/ 245061419 h 1983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2936"/>
              <a:gd name="T181" fmla="*/ 0 h 1983"/>
              <a:gd name="T182" fmla="*/ 2936 w 2936"/>
              <a:gd name="T183" fmla="*/ 1983 h 1983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2936" h="1983">
                <a:moveTo>
                  <a:pt x="98" y="954"/>
                </a:moveTo>
                <a:lnTo>
                  <a:pt x="129" y="989"/>
                </a:lnTo>
                <a:lnTo>
                  <a:pt x="157" y="1017"/>
                </a:lnTo>
                <a:lnTo>
                  <a:pt x="170" y="1029"/>
                </a:lnTo>
                <a:lnTo>
                  <a:pt x="182" y="1041"/>
                </a:lnTo>
                <a:lnTo>
                  <a:pt x="194" y="1050"/>
                </a:lnTo>
                <a:lnTo>
                  <a:pt x="205" y="1059"/>
                </a:lnTo>
                <a:lnTo>
                  <a:pt x="216" y="1066"/>
                </a:lnTo>
                <a:lnTo>
                  <a:pt x="227" y="1072"/>
                </a:lnTo>
                <a:lnTo>
                  <a:pt x="238" y="1076"/>
                </a:lnTo>
                <a:lnTo>
                  <a:pt x="248" y="1080"/>
                </a:lnTo>
                <a:lnTo>
                  <a:pt x="259" y="1082"/>
                </a:lnTo>
                <a:lnTo>
                  <a:pt x="270" y="1084"/>
                </a:lnTo>
                <a:lnTo>
                  <a:pt x="281" y="1084"/>
                </a:lnTo>
                <a:lnTo>
                  <a:pt x="292" y="1084"/>
                </a:lnTo>
                <a:lnTo>
                  <a:pt x="364" y="1065"/>
                </a:lnTo>
                <a:lnTo>
                  <a:pt x="373" y="1071"/>
                </a:lnTo>
                <a:lnTo>
                  <a:pt x="383" y="1079"/>
                </a:lnTo>
                <a:lnTo>
                  <a:pt x="393" y="1090"/>
                </a:lnTo>
                <a:lnTo>
                  <a:pt x="401" y="1102"/>
                </a:lnTo>
                <a:lnTo>
                  <a:pt x="410" y="1114"/>
                </a:lnTo>
                <a:lnTo>
                  <a:pt x="418" y="1127"/>
                </a:lnTo>
                <a:lnTo>
                  <a:pt x="420" y="1133"/>
                </a:lnTo>
                <a:lnTo>
                  <a:pt x="422" y="1139"/>
                </a:lnTo>
                <a:lnTo>
                  <a:pt x="423" y="1145"/>
                </a:lnTo>
                <a:lnTo>
                  <a:pt x="425" y="1151"/>
                </a:lnTo>
                <a:lnTo>
                  <a:pt x="423" y="1157"/>
                </a:lnTo>
                <a:lnTo>
                  <a:pt x="420" y="1162"/>
                </a:lnTo>
                <a:lnTo>
                  <a:pt x="416" y="1167"/>
                </a:lnTo>
                <a:lnTo>
                  <a:pt x="409" y="1172"/>
                </a:lnTo>
                <a:lnTo>
                  <a:pt x="403" y="1176"/>
                </a:lnTo>
                <a:lnTo>
                  <a:pt x="396" y="1179"/>
                </a:lnTo>
                <a:lnTo>
                  <a:pt x="390" y="1182"/>
                </a:lnTo>
                <a:lnTo>
                  <a:pt x="385" y="1182"/>
                </a:lnTo>
                <a:lnTo>
                  <a:pt x="399" y="1200"/>
                </a:lnTo>
                <a:lnTo>
                  <a:pt x="412" y="1217"/>
                </a:lnTo>
                <a:lnTo>
                  <a:pt x="419" y="1226"/>
                </a:lnTo>
                <a:lnTo>
                  <a:pt x="423" y="1235"/>
                </a:lnTo>
                <a:lnTo>
                  <a:pt x="428" y="1245"/>
                </a:lnTo>
                <a:lnTo>
                  <a:pt x="431" y="1256"/>
                </a:lnTo>
                <a:lnTo>
                  <a:pt x="385" y="1256"/>
                </a:lnTo>
                <a:lnTo>
                  <a:pt x="385" y="1287"/>
                </a:lnTo>
                <a:lnTo>
                  <a:pt x="390" y="1300"/>
                </a:lnTo>
                <a:lnTo>
                  <a:pt x="397" y="1311"/>
                </a:lnTo>
                <a:lnTo>
                  <a:pt x="405" y="1321"/>
                </a:lnTo>
                <a:lnTo>
                  <a:pt x="414" y="1328"/>
                </a:lnTo>
                <a:lnTo>
                  <a:pt x="423" y="1335"/>
                </a:lnTo>
                <a:lnTo>
                  <a:pt x="434" y="1340"/>
                </a:lnTo>
                <a:lnTo>
                  <a:pt x="444" y="1345"/>
                </a:lnTo>
                <a:lnTo>
                  <a:pt x="456" y="1349"/>
                </a:lnTo>
                <a:lnTo>
                  <a:pt x="478" y="1358"/>
                </a:lnTo>
                <a:lnTo>
                  <a:pt x="500" y="1367"/>
                </a:lnTo>
                <a:lnTo>
                  <a:pt x="510" y="1373"/>
                </a:lnTo>
                <a:lnTo>
                  <a:pt x="520" y="1381"/>
                </a:lnTo>
                <a:lnTo>
                  <a:pt x="529" y="1389"/>
                </a:lnTo>
                <a:lnTo>
                  <a:pt x="538" y="1398"/>
                </a:lnTo>
                <a:lnTo>
                  <a:pt x="617" y="1404"/>
                </a:lnTo>
                <a:lnTo>
                  <a:pt x="620" y="1408"/>
                </a:lnTo>
                <a:lnTo>
                  <a:pt x="623" y="1411"/>
                </a:lnTo>
                <a:lnTo>
                  <a:pt x="628" y="1414"/>
                </a:lnTo>
                <a:lnTo>
                  <a:pt x="633" y="1417"/>
                </a:lnTo>
                <a:lnTo>
                  <a:pt x="644" y="1422"/>
                </a:lnTo>
                <a:lnTo>
                  <a:pt x="656" y="1427"/>
                </a:lnTo>
                <a:lnTo>
                  <a:pt x="678" y="1436"/>
                </a:lnTo>
                <a:lnTo>
                  <a:pt x="690" y="1441"/>
                </a:lnTo>
                <a:lnTo>
                  <a:pt x="723" y="1462"/>
                </a:lnTo>
                <a:lnTo>
                  <a:pt x="754" y="1481"/>
                </a:lnTo>
                <a:lnTo>
                  <a:pt x="768" y="1492"/>
                </a:lnTo>
                <a:lnTo>
                  <a:pt x="784" y="1501"/>
                </a:lnTo>
                <a:lnTo>
                  <a:pt x="798" y="1509"/>
                </a:lnTo>
                <a:lnTo>
                  <a:pt x="814" y="1517"/>
                </a:lnTo>
                <a:lnTo>
                  <a:pt x="830" y="1525"/>
                </a:lnTo>
                <a:lnTo>
                  <a:pt x="847" y="1531"/>
                </a:lnTo>
                <a:lnTo>
                  <a:pt x="866" y="1537"/>
                </a:lnTo>
                <a:lnTo>
                  <a:pt x="886" y="1543"/>
                </a:lnTo>
                <a:lnTo>
                  <a:pt x="907" y="1547"/>
                </a:lnTo>
                <a:lnTo>
                  <a:pt x="930" y="1550"/>
                </a:lnTo>
                <a:lnTo>
                  <a:pt x="955" y="1552"/>
                </a:lnTo>
                <a:lnTo>
                  <a:pt x="982" y="1552"/>
                </a:lnTo>
                <a:lnTo>
                  <a:pt x="982" y="1521"/>
                </a:lnTo>
                <a:lnTo>
                  <a:pt x="1015" y="1521"/>
                </a:lnTo>
                <a:lnTo>
                  <a:pt x="1021" y="1532"/>
                </a:lnTo>
                <a:lnTo>
                  <a:pt x="1025" y="1539"/>
                </a:lnTo>
                <a:lnTo>
                  <a:pt x="1031" y="1545"/>
                </a:lnTo>
                <a:lnTo>
                  <a:pt x="1036" y="1552"/>
                </a:lnTo>
                <a:lnTo>
                  <a:pt x="1042" y="1552"/>
                </a:lnTo>
                <a:lnTo>
                  <a:pt x="1046" y="1551"/>
                </a:lnTo>
                <a:lnTo>
                  <a:pt x="1050" y="1548"/>
                </a:lnTo>
                <a:lnTo>
                  <a:pt x="1054" y="1546"/>
                </a:lnTo>
                <a:lnTo>
                  <a:pt x="1058" y="1538"/>
                </a:lnTo>
                <a:lnTo>
                  <a:pt x="1062" y="1530"/>
                </a:lnTo>
                <a:lnTo>
                  <a:pt x="1066" y="1522"/>
                </a:lnTo>
                <a:lnTo>
                  <a:pt x="1071" y="1516"/>
                </a:lnTo>
                <a:lnTo>
                  <a:pt x="1075" y="1513"/>
                </a:lnTo>
                <a:lnTo>
                  <a:pt x="1078" y="1511"/>
                </a:lnTo>
                <a:lnTo>
                  <a:pt x="1083" y="1510"/>
                </a:lnTo>
                <a:lnTo>
                  <a:pt x="1089" y="1509"/>
                </a:lnTo>
                <a:lnTo>
                  <a:pt x="1092" y="1512"/>
                </a:lnTo>
                <a:lnTo>
                  <a:pt x="1096" y="1516"/>
                </a:lnTo>
                <a:lnTo>
                  <a:pt x="1102" y="1519"/>
                </a:lnTo>
                <a:lnTo>
                  <a:pt x="1109" y="1522"/>
                </a:lnTo>
                <a:lnTo>
                  <a:pt x="1124" y="1529"/>
                </a:lnTo>
                <a:lnTo>
                  <a:pt x="1142" y="1534"/>
                </a:lnTo>
                <a:lnTo>
                  <a:pt x="1159" y="1539"/>
                </a:lnTo>
                <a:lnTo>
                  <a:pt x="1178" y="1543"/>
                </a:lnTo>
                <a:lnTo>
                  <a:pt x="1194" y="1546"/>
                </a:lnTo>
                <a:lnTo>
                  <a:pt x="1208" y="1546"/>
                </a:lnTo>
                <a:lnTo>
                  <a:pt x="1217" y="1535"/>
                </a:lnTo>
                <a:lnTo>
                  <a:pt x="1227" y="1526"/>
                </a:lnTo>
                <a:lnTo>
                  <a:pt x="1236" y="1518"/>
                </a:lnTo>
                <a:lnTo>
                  <a:pt x="1247" y="1510"/>
                </a:lnTo>
                <a:lnTo>
                  <a:pt x="1258" y="1502"/>
                </a:lnTo>
                <a:lnTo>
                  <a:pt x="1269" y="1496"/>
                </a:lnTo>
                <a:lnTo>
                  <a:pt x="1280" y="1489"/>
                </a:lnTo>
                <a:lnTo>
                  <a:pt x="1292" y="1482"/>
                </a:lnTo>
                <a:lnTo>
                  <a:pt x="1317" y="1472"/>
                </a:lnTo>
                <a:lnTo>
                  <a:pt x="1344" y="1463"/>
                </a:lnTo>
                <a:lnTo>
                  <a:pt x="1372" y="1455"/>
                </a:lnTo>
                <a:lnTo>
                  <a:pt x="1401" y="1448"/>
                </a:lnTo>
                <a:lnTo>
                  <a:pt x="1408" y="1456"/>
                </a:lnTo>
                <a:lnTo>
                  <a:pt x="1418" y="1465"/>
                </a:lnTo>
                <a:lnTo>
                  <a:pt x="1431" y="1476"/>
                </a:lnTo>
                <a:lnTo>
                  <a:pt x="1446" y="1487"/>
                </a:lnTo>
                <a:lnTo>
                  <a:pt x="1453" y="1492"/>
                </a:lnTo>
                <a:lnTo>
                  <a:pt x="1461" y="1496"/>
                </a:lnTo>
                <a:lnTo>
                  <a:pt x="1469" y="1499"/>
                </a:lnTo>
                <a:lnTo>
                  <a:pt x="1475" y="1502"/>
                </a:lnTo>
                <a:lnTo>
                  <a:pt x="1483" y="1504"/>
                </a:lnTo>
                <a:lnTo>
                  <a:pt x="1490" y="1505"/>
                </a:lnTo>
                <a:lnTo>
                  <a:pt x="1495" y="1505"/>
                </a:lnTo>
                <a:lnTo>
                  <a:pt x="1501" y="1503"/>
                </a:lnTo>
                <a:lnTo>
                  <a:pt x="1512" y="1510"/>
                </a:lnTo>
                <a:lnTo>
                  <a:pt x="1521" y="1518"/>
                </a:lnTo>
                <a:lnTo>
                  <a:pt x="1530" y="1526"/>
                </a:lnTo>
                <a:lnTo>
                  <a:pt x="1538" y="1534"/>
                </a:lnTo>
                <a:lnTo>
                  <a:pt x="1547" y="1542"/>
                </a:lnTo>
                <a:lnTo>
                  <a:pt x="1555" y="1547"/>
                </a:lnTo>
                <a:lnTo>
                  <a:pt x="1561" y="1550"/>
                </a:lnTo>
                <a:lnTo>
                  <a:pt x="1566" y="1551"/>
                </a:lnTo>
                <a:lnTo>
                  <a:pt x="1573" y="1552"/>
                </a:lnTo>
                <a:lnTo>
                  <a:pt x="1581" y="1552"/>
                </a:lnTo>
                <a:lnTo>
                  <a:pt x="1586" y="1578"/>
                </a:lnTo>
                <a:lnTo>
                  <a:pt x="1593" y="1602"/>
                </a:lnTo>
                <a:lnTo>
                  <a:pt x="1596" y="1613"/>
                </a:lnTo>
                <a:lnTo>
                  <a:pt x="1598" y="1625"/>
                </a:lnTo>
                <a:lnTo>
                  <a:pt x="1599" y="1637"/>
                </a:lnTo>
                <a:lnTo>
                  <a:pt x="1600" y="1650"/>
                </a:lnTo>
                <a:lnTo>
                  <a:pt x="1599" y="1658"/>
                </a:lnTo>
                <a:lnTo>
                  <a:pt x="1598" y="1664"/>
                </a:lnTo>
                <a:lnTo>
                  <a:pt x="1596" y="1670"/>
                </a:lnTo>
                <a:lnTo>
                  <a:pt x="1593" y="1676"/>
                </a:lnTo>
                <a:lnTo>
                  <a:pt x="1585" y="1686"/>
                </a:lnTo>
                <a:lnTo>
                  <a:pt x="1577" y="1697"/>
                </a:lnTo>
                <a:lnTo>
                  <a:pt x="1569" y="1707"/>
                </a:lnTo>
                <a:lnTo>
                  <a:pt x="1561" y="1719"/>
                </a:lnTo>
                <a:lnTo>
                  <a:pt x="1558" y="1724"/>
                </a:lnTo>
                <a:lnTo>
                  <a:pt x="1555" y="1730"/>
                </a:lnTo>
                <a:lnTo>
                  <a:pt x="1554" y="1736"/>
                </a:lnTo>
                <a:lnTo>
                  <a:pt x="1553" y="1743"/>
                </a:lnTo>
                <a:lnTo>
                  <a:pt x="1554" y="1748"/>
                </a:lnTo>
                <a:lnTo>
                  <a:pt x="1555" y="1753"/>
                </a:lnTo>
                <a:lnTo>
                  <a:pt x="1558" y="1756"/>
                </a:lnTo>
                <a:lnTo>
                  <a:pt x="1561" y="1759"/>
                </a:lnTo>
                <a:lnTo>
                  <a:pt x="1565" y="1761"/>
                </a:lnTo>
                <a:lnTo>
                  <a:pt x="1570" y="1764"/>
                </a:lnTo>
                <a:lnTo>
                  <a:pt x="1574" y="1765"/>
                </a:lnTo>
                <a:lnTo>
                  <a:pt x="1580" y="1767"/>
                </a:lnTo>
                <a:lnTo>
                  <a:pt x="1591" y="1769"/>
                </a:lnTo>
                <a:lnTo>
                  <a:pt x="1602" y="1771"/>
                </a:lnTo>
                <a:lnTo>
                  <a:pt x="1607" y="1773"/>
                </a:lnTo>
                <a:lnTo>
                  <a:pt x="1611" y="1775"/>
                </a:lnTo>
                <a:lnTo>
                  <a:pt x="1616" y="1777"/>
                </a:lnTo>
                <a:lnTo>
                  <a:pt x="1620" y="1780"/>
                </a:lnTo>
                <a:lnTo>
                  <a:pt x="1627" y="1787"/>
                </a:lnTo>
                <a:lnTo>
                  <a:pt x="1632" y="1794"/>
                </a:lnTo>
                <a:lnTo>
                  <a:pt x="1636" y="1801"/>
                </a:lnTo>
                <a:lnTo>
                  <a:pt x="1639" y="1807"/>
                </a:lnTo>
                <a:lnTo>
                  <a:pt x="1645" y="1822"/>
                </a:lnTo>
                <a:lnTo>
                  <a:pt x="1653" y="1836"/>
                </a:lnTo>
                <a:lnTo>
                  <a:pt x="1659" y="1848"/>
                </a:lnTo>
                <a:lnTo>
                  <a:pt x="1666" y="1862"/>
                </a:lnTo>
                <a:lnTo>
                  <a:pt x="1674" y="1877"/>
                </a:lnTo>
                <a:lnTo>
                  <a:pt x="1683" y="1890"/>
                </a:lnTo>
                <a:lnTo>
                  <a:pt x="1688" y="1897"/>
                </a:lnTo>
                <a:lnTo>
                  <a:pt x="1694" y="1903"/>
                </a:lnTo>
                <a:lnTo>
                  <a:pt x="1699" y="1908"/>
                </a:lnTo>
                <a:lnTo>
                  <a:pt x="1706" y="1912"/>
                </a:lnTo>
                <a:lnTo>
                  <a:pt x="1712" y="1916"/>
                </a:lnTo>
                <a:lnTo>
                  <a:pt x="1719" y="1919"/>
                </a:lnTo>
                <a:lnTo>
                  <a:pt x="1726" y="1921"/>
                </a:lnTo>
                <a:lnTo>
                  <a:pt x="1733" y="1921"/>
                </a:lnTo>
                <a:lnTo>
                  <a:pt x="1741" y="1921"/>
                </a:lnTo>
                <a:lnTo>
                  <a:pt x="1752" y="1918"/>
                </a:lnTo>
                <a:lnTo>
                  <a:pt x="1762" y="1916"/>
                </a:lnTo>
                <a:lnTo>
                  <a:pt x="1766" y="1915"/>
                </a:lnTo>
                <a:lnTo>
                  <a:pt x="1777" y="1910"/>
                </a:lnTo>
                <a:lnTo>
                  <a:pt x="1787" y="1904"/>
                </a:lnTo>
                <a:lnTo>
                  <a:pt x="1795" y="1898"/>
                </a:lnTo>
                <a:lnTo>
                  <a:pt x="1803" y="1891"/>
                </a:lnTo>
                <a:lnTo>
                  <a:pt x="1809" y="1884"/>
                </a:lnTo>
                <a:lnTo>
                  <a:pt x="1816" y="1878"/>
                </a:lnTo>
                <a:lnTo>
                  <a:pt x="1823" y="1871"/>
                </a:lnTo>
                <a:lnTo>
                  <a:pt x="1833" y="1866"/>
                </a:lnTo>
                <a:lnTo>
                  <a:pt x="1842" y="1859"/>
                </a:lnTo>
                <a:lnTo>
                  <a:pt x="1852" y="1853"/>
                </a:lnTo>
                <a:lnTo>
                  <a:pt x="1863" y="1848"/>
                </a:lnTo>
                <a:lnTo>
                  <a:pt x="1874" y="1844"/>
                </a:lnTo>
                <a:lnTo>
                  <a:pt x="1896" y="1838"/>
                </a:lnTo>
                <a:lnTo>
                  <a:pt x="1919" y="1834"/>
                </a:lnTo>
                <a:lnTo>
                  <a:pt x="1941" y="1831"/>
                </a:lnTo>
                <a:lnTo>
                  <a:pt x="1960" y="1827"/>
                </a:lnTo>
                <a:lnTo>
                  <a:pt x="1968" y="1824"/>
                </a:lnTo>
                <a:lnTo>
                  <a:pt x="1975" y="1821"/>
                </a:lnTo>
                <a:lnTo>
                  <a:pt x="1981" y="1816"/>
                </a:lnTo>
                <a:lnTo>
                  <a:pt x="1986" y="1811"/>
                </a:lnTo>
                <a:lnTo>
                  <a:pt x="1996" y="1820"/>
                </a:lnTo>
                <a:lnTo>
                  <a:pt x="2008" y="1827"/>
                </a:lnTo>
                <a:lnTo>
                  <a:pt x="2019" y="1832"/>
                </a:lnTo>
                <a:lnTo>
                  <a:pt x="2031" y="1837"/>
                </a:lnTo>
                <a:lnTo>
                  <a:pt x="2054" y="1846"/>
                </a:lnTo>
                <a:lnTo>
                  <a:pt x="2072" y="1854"/>
                </a:lnTo>
                <a:lnTo>
                  <a:pt x="2091" y="1869"/>
                </a:lnTo>
                <a:lnTo>
                  <a:pt x="2109" y="1887"/>
                </a:lnTo>
                <a:lnTo>
                  <a:pt x="2119" y="1896"/>
                </a:lnTo>
                <a:lnTo>
                  <a:pt x="2129" y="1903"/>
                </a:lnTo>
                <a:lnTo>
                  <a:pt x="2140" y="1910"/>
                </a:lnTo>
                <a:lnTo>
                  <a:pt x="2152" y="1915"/>
                </a:lnTo>
                <a:lnTo>
                  <a:pt x="2245" y="1921"/>
                </a:lnTo>
                <a:lnTo>
                  <a:pt x="2238" y="1935"/>
                </a:lnTo>
                <a:lnTo>
                  <a:pt x="2232" y="1947"/>
                </a:lnTo>
                <a:lnTo>
                  <a:pt x="2232" y="1953"/>
                </a:lnTo>
                <a:lnTo>
                  <a:pt x="2235" y="1957"/>
                </a:lnTo>
                <a:lnTo>
                  <a:pt x="2238" y="1961"/>
                </a:lnTo>
                <a:lnTo>
                  <a:pt x="2243" y="1965"/>
                </a:lnTo>
                <a:lnTo>
                  <a:pt x="2248" y="1968"/>
                </a:lnTo>
                <a:lnTo>
                  <a:pt x="2254" y="1972"/>
                </a:lnTo>
                <a:lnTo>
                  <a:pt x="2259" y="1977"/>
                </a:lnTo>
                <a:lnTo>
                  <a:pt x="2265" y="1983"/>
                </a:lnTo>
                <a:lnTo>
                  <a:pt x="2266" y="1980"/>
                </a:lnTo>
                <a:lnTo>
                  <a:pt x="2267" y="1972"/>
                </a:lnTo>
                <a:lnTo>
                  <a:pt x="2268" y="1968"/>
                </a:lnTo>
                <a:lnTo>
                  <a:pt x="2267" y="1963"/>
                </a:lnTo>
                <a:lnTo>
                  <a:pt x="2267" y="1957"/>
                </a:lnTo>
                <a:lnTo>
                  <a:pt x="2265" y="1953"/>
                </a:lnTo>
                <a:lnTo>
                  <a:pt x="2275" y="1947"/>
                </a:lnTo>
                <a:lnTo>
                  <a:pt x="2293" y="1935"/>
                </a:lnTo>
                <a:lnTo>
                  <a:pt x="2303" y="1927"/>
                </a:lnTo>
                <a:lnTo>
                  <a:pt x="2313" y="1921"/>
                </a:lnTo>
                <a:lnTo>
                  <a:pt x="2319" y="1919"/>
                </a:lnTo>
                <a:lnTo>
                  <a:pt x="2323" y="1917"/>
                </a:lnTo>
                <a:lnTo>
                  <a:pt x="2327" y="1916"/>
                </a:lnTo>
                <a:lnTo>
                  <a:pt x="2331" y="1915"/>
                </a:lnTo>
                <a:lnTo>
                  <a:pt x="2341" y="1915"/>
                </a:lnTo>
                <a:lnTo>
                  <a:pt x="2349" y="1913"/>
                </a:lnTo>
                <a:lnTo>
                  <a:pt x="2357" y="1910"/>
                </a:lnTo>
                <a:lnTo>
                  <a:pt x="2364" y="1906"/>
                </a:lnTo>
                <a:lnTo>
                  <a:pt x="2370" y="1901"/>
                </a:lnTo>
                <a:lnTo>
                  <a:pt x="2376" y="1895"/>
                </a:lnTo>
                <a:lnTo>
                  <a:pt x="2382" y="1889"/>
                </a:lnTo>
                <a:lnTo>
                  <a:pt x="2388" y="1882"/>
                </a:lnTo>
                <a:lnTo>
                  <a:pt x="2399" y="1867"/>
                </a:lnTo>
                <a:lnTo>
                  <a:pt x="2412" y="1853"/>
                </a:lnTo>
                <a:lnTo>
                  <a:pt x="2418" y="1847"/>
                </a:lnTo>
                <a:lnTo>
                  <a:pt x="2426" y="1840"/>
                </a:lnTo>
                <a:lnTo>
                  <a:pt x="2435" y="1835"/>
                </a:lnTo>
                <a:lnTo>
                  <a:pt x="2444" y="1830"/>
                </a:lnTo>
                <a:lnTo>
                  <a:pt x="2449" y="1838"/>
                </a:lnTo>
                <a:lnTo>
                  <a:pt x="2454" y="1846"/>
                </a:lnTo>
                <a:lnTo>
                  <a:pt x="2455" y="1850"/>
                </a:lnTo>
                <a:lnTo>
                  <a:pt x="2456" y="1854"/>
                </a:lnTo>
                <a:lnTo>
                  <a:pt x="2457" y="1860"/>
                </a:lnTo>
                <a:lnTo>
                  <a:pt x="2457" y="1866"/>
                </a:lnTo>
                <a:lnTo>
                  <a:pt x="2462" y="1860"/>
                </a:lnTo>
                <a:lnTo>
                  <a:pt x="2468" y="1857"/>
                </a:lnTo>
                <a:lnTo>
                  <a:pt x="2474" y="1855"/>
                </a:lnTo>
                <a:lnTo>
                  <a:pt x="2481" y="1855"/>
                </a:lnTo>
                <a:lnTo>
                  <a:pt x="2487" y="1856"/>
                </a:lnTo>
                <a:lnTo>
                  <a:pt x="2493" y="1858"/>
                </a:lnTo>
                <a:lnTo>
                  <a:pt x="2499" y="1862"/>
                </a:lnTo>
                <a:lnTo>
                  <a:pt x="2504" y="1866"/>
                </a:lnTo>
                <a:lnTo>
                  <a:pt x="2505" y="1856"/>
                </a:lnTo>
                <a:lnTo>
                  <a:pt x="2507" y="1847"/>
                </a:lnTo>
                <a:lnTo>
                  <a:pt x="2511" y="1841"/>
                </a:lnTo>
                <a:lnTo>
                  <a:pt x="2514" y="1836"/>
                </a:lnTo>
                <a:lnTo>
                  <a:pt x="2517" y="1832"/>
                </a:lnTo>
                <a:lnTo>
                  <a:pt x="2522" y="1829"/>
                </a:lnTo>
                <a:lnTo>
                  <a:pt x="2527" y="1828"/>
                </a:lnTo>
                <a:lnTo>
                  <a:pt x="2533" y="1827"/>
                </a:lnTo>
                <a:lnTo>
                  <a:pt x="2546" y="1826"/>
                </a:lnTo>
                <a:lnTo>
                  <a:pt x="2561" y="1827"/>
                </a:lnTo>
                <a:lnTo>
                  <a:pt x="2569" y="1827"/>
                </a:lnTo>
                <a:lnTo>
                  <a:pt x="2578" y="1826"/>
                </a:lnTo>
                <a:lnTo>
                  <a:pt x="2588" y="1825"/>
                </a:lnTo>
                <a:lnTo>
                  <a:pt x="2596" y="1824"/>
                </a:lnTo>
                <a:lnTo>
                  <a:pt x="2604" y="1821"/>
                </a:lnTo>
                <a:lnTo>
                  <a:pt x="2611" y="1816"/>
                </a:lnTo>
                <a:lnTo>
                  <a:pt x="2616" y="1810"/>
                </a:lnTo>
                <a:lnTo>
                  <a:pt x="2622" y="1804"/>
                </a:lnTo>
                <a:lnTo>
                  <a:pt x="2633" y="1790"/>
                </a:lnTo>
                <a:lnTo>
                  <a:pt x="2642" y="1774"/>
                </a:lnTo>
                <a:lnTo>
                  <a:pt x="2648" y="1766"/>
                </a:lnTo>
                <a:lnTo>
                  <a:pt x="2653" y="1758"/>
                </a:lnTo>
                <a:lnTo>
                  <a:pt x="2660" y="1750"/>
                </a:lnTo>
                <a:lnTo>
                  <a:pt x="2667" y="1743"/>
                </a:lnTo>
                <a:lnTo>
                  <a:pt x="2674" y="1737"/>
                </a:lnTo>
                <a:lnTo>
                  <a:pt x="2683" y="1732"/>
                </a:lnTo>
                <a:lnTo>
                  <a:pt x="2693" y="1728"/>
                </a:lnTo>
                <a:lnTo>
                  <a:pt x="2703" y="1725"/>
                </a:lnTo>
                <a:lnTo>
                  <a:pt x="2704" y="1716"/>
                </a:lnTo>
                <a:lnTo>
                  <a:pt x="2706" y="1707"/>
                </a:lnTo>
                <a:lnTo>
                  <a:pt x="2711" y="1699"/>
                </a:lnTo>
                <a:lnTo>
                  <a:pt x="2715" y="1691"/>
                </a:lnTo>
                <a:lnTo>
                  <a:pt x="2726" y="1677"/>
                </a:lnTo>
                <a:lnTo>
                  <a:pt x="2737" y="1663"/>
                </a:lnTo>
                <a:lnTo>
                  <a:pt x="2733" y="1658"/>
                </a:lnTo>
                <a:lnTo>
                  <a:pt x="2730" y="1651"/>
                </a:lnTo>
                <a:lnTo>
                  <a:pt x="2729" y="1645"/>
                </a:lnTo>
                <a:lnTo>
                  <a:pt x="2729" y="1638"/>
                </a:lnTo>
                <a:lnTo>
                  <a:pt x="2728" y="1631"/>
                </a:lnTo>
                <a:lnTo>
                  <a:pt x="2726" y="1625"/>
                </a:lnTo>
                <a:lnTo>
                  <a:pt x="2725" y="1622"/>
                </a:lnTo>
                <a:lnTo>
                  <a:pt x="2723" y="1619"/>
                </a:lnTo>
                <a:lnTo>
                  <a:pt x="2719" y="1616"/>
                </a:lnTo>
                <a:lnTo>
                  <a:pt x="2716" y="1614"/>
                </a:lnTo>
                <a:lnTo>
                  <a:pt x="2728" y="1602"/>
                </a:lnTo>
                <a:lnTo>
                  <a:pt x="2739" y="1588"/>
                </a:lnTo>
                <a:lnTo>
                  <a:pt x="2750" y="1573"/>
                </a:lnTo>
                <a:lnTo>
                  <a:pt x="2760" y="1558"/>
                </a:lnTo>
                <a:lnTo>
                  <a:pt x="2780" y="1521"/>
                </a:lnTo>
                <a:lnTo>
                  <a:pt x="2803" y="1478"/>
                </a:lnTo>
                <a:lnTo>
                  <a:pt x="2798" y="1475"/>
                </a:lnTo>
                <a:lnTo>
                  <a:pt x="2796" y="1471"/>
                </a:lnTo>
                <a:lnTo>
                  <a:pt x="2795" y="1467"/>
                </a:lnTo>
                <a:lnTo>
                  <a:pt x="2794" y="1462"/>
                </a:lnTo>
                <a:lnTo>
                  <a:pt x="2795" y="1451"/>
                </a:lnTo>
                <a:lnTo>
                  <a:pt x="2796" y="1441"/>
                </a:lnTo>
                <a:lnTo>
                  <a:pt x="2790" y="1428"/>
                </a:lnTo>
                <a:lnTo>
                  <a:pt x="2790" y="1426"/>
                </a:lnTo>
                <a:lnTo>
                  <a:pt x="2792" y="1423"/>
                </a:lnTo>
                <a:lnTo>
                  <a:pt x="2794" y="1420"/>
                </a:lnTo>
                <a:lnTo>
                  <a:pt x="2797" y="1417"/>
                </a:lnTo>
                <a:lnTo>
                  <a:pt x="2801" y="1414"/>
                </a:lnTo>
                <a:lnTo>
                  <a:pt x="2804" y="1412"/>
                </a:lnTo>
                <a:lnTo>
                  <a:pt x="2807" y="1411"/>
                </a:lnTo>
                <a:lnTo>
                  <a:pt x="2809" y="1410"/>
                </a:lnTo>
                <a:lnTo>
                  <a:pt x="2809" y="1386"/>
                </a:lnTo>
                <a:lnTo>
                  <a:pt x="2801" y="1389"/>
                </a:lnTo>
                <a:lnTo>
                  <a:pt x="2793" y="1391"/>
                </a:lnTo>
                <a:lnTo>
                  <a:pt x="2785" y="1393"/>
                </a:lnTo>
                <a:lnTo>
                  <a:pt x="2778" y="1394"/>
                </a:lnTo>
                <a:lnTo>
                  <a:pt x="2763" y="1395"/>
                </a:lnTo>
                <a:lnTo>
                  <a:pt x="2750" y="1394"/>
                </a:lnTo>
                <a:lnTo>
                  <a:pt x="2738" y="1392"/>
                </a:lnTo>
                <a:lnTo>
                  <a:pt x="2725" y="1389"/>
                </a:lnTo>
                <a:lnTo>
                  <a:pt x="2711" y="1384"/>
                </a:lnTo>
                <a:lnTo>
                  <a:pt x="2696" y="1380"/>
                </a:lnTo>
                <a:lnTo>
                  <a:pt x="2705" y="1375"/>
                </a:lnTo>
                <a:lnTo>
                  <a:pt x="2713" y="1369"/>
                </a:lnTo>
                <a:lnTo>
                  <a:pt x="2719" y="1363"/>
                </a:lnTo>
                <a:lnTo>
                  <a:pt x="2726" y="1356"/>
                </a:lnTo>
                <a:lnTo>
                  <a:pt x="2737" y="1342"/>
                </a:lnTo>
                <a:lnTo>
                  <a:pt x="2750" y="1324"/>
                </a:lnTo>
                <a:lnTo>
                  <a:pt x="2730" y="1316"/>
                </a:lnTo>
                <a:lnTo>
                  <a:pt x="2712" y="1310"/>
                </a:lnTo>
                <a:lnTo>
                  <a:pt x="2695" y="1305"/>
                </a:lnTo>
                <a:lnTo>
                  <a:pt x="2679" y="1300"/>
                </a:lnTo>
                <a:lnTo>
                  <a:pt x="2662" y="1294"/>
                </a:lnTo>
                <a:lnTo>
                  <a:pt x="2647" y="1287"/>
                </a:lnTo>
                <a:lnTo>
                  <a:pt x="2639" y="1282"/>
                </a:lnTo>
                <a:lnTo>
                  <a:pt x="2632" y="1277"/>
                </a:lnTo>
                <a:lnTo>
                  <a:pt x="2624" y="1270"/>
                </a:lnTo>
                <a:lnTo>
                  <a:pt x="2617" y="1262"/>
                </a:lnTo>
                <a:lnTo>
                  <a:pt x="2626" y="1268"/>
                </a:lnTo>
                <a:lnTo>
                  <a:pt x="2640" y="1273"/>
                </a:lnTo>
                <a:lnTo>
                  <a:pt x="2657" y="1278"/>
                </a:lnTo>
                <a:lnTo>
                  <a:pt x="2675" y="1283"/>
                </a:lnTo>
                <a:lnTo>
                  <a:pt x="2715" y="1293"/>
                </a:lnTo>
                <a:lnTo>
                  <a:pt x="2750" y="1299"/>
                </a:lnTo>
                <a:lnTo>
                  <a:pt x="2749" y="1293"/>
                </a:lnTo>
                <a:lnTo>
                  <a:pt x="2746" y="1288"/>
                </a:lnTo>
                <a:lnTo>
                  <a:pt x="2742" y="1283"/>
                </a:lnTo>
                <a:lnTo>
                  <a:pt x="2737" y="1279"/>
                </a:lnTo>
                <a:lnTo>
                  <a:pt x="2725" y="1272"/>
                </a:lnTo>
                <a:lnTo>
                  <a:pt x="2709" y="1266"/>
                </a:lnTo>
                <a:lnTo>
                  <a:pt x="2695" y="1259"/>
                </a:lnTo>
                <a:lnTo>
                  <a:pt x="2682" y="1252"/>
                </a:lnTo>
                <a:lnTo>
                  <a:pt x="2678" y="1248"/>
                </a:lnTo>
                <a:lnTo>
                  <a:pt x="2673" y="1244"/>
                </a:lnTo>
                <a:lnTo>
                  <a:pt x="2671" y="1238"/>
                </a:lnTo>
                <a:lnTo>
                  <a:pt x="2670" y="1232"/>
                </a:lnTo>
                <a:lnTo>
                  <a:pt x="2669" y="1227"/>
                </a:lnTo>
                <a:lnTo>
                  <a:pt x="2668" y="1224"/>
                </a:lnTo>
                <a:lnTo>
                  <a:pt x="2666" y="1220"/>
                </a:lnTo>
                <a:lnTo>
                  <a:pt x="2662" y="1217"/>
                </a:lnTo>
                <a:lnTo>
                  <a:pt x="2656" y="1212"/>
                </a:lnTo>
                <a:lnTo>
                  <a:pt x="2650" y="1208"/>
                </a:lnTo>
                <a:lnTo>
                  <a:pt x="2626" y="1186"/>
                </a:lnTo>
                <a:lnTo>
                  <a:pt x="2581" y="1145"/>
                </a:lnTo>
                <a:lnTo>
                  <a:pt x="2557" y="1124"/>
                </a:lnTo>
                <a:lnTo>
                  <a:pt x="2537" y="1105"/>
                </a:lnTo>
                <a:lnTo>
                  <a:pt x="2523" y="1090"/>
                </a:lnTo>
                <a:lnTo>
                  <a:pt x="2517" y="1084"/>
                </a:lnTo>
                <a:lnTo>
                  <a:pt x="2517" y="1078"/>
                </a:lnTo>
                <a:lnTo>
                  <a:pt x="2520" y="1074"/>
                </a:lnTo>
                <a:lnTo>
                  <a:pt x="2522" y="1070"/>
                </a:lnTo>
                <a:lnTo>
                  <a:pt x="2525" y="1068"/>
                </a:lnTo>
                <a:lnTo>
                  <a:pt x="2528" y="1065"/>
                </a:lnTo>
                <a:lnTo>
                  <a:pt x="2532" y="1061"/>
                </a:lnTo>
                <a:lnTo>
                  <a:pt x="2534" y="1055"/>
                </a:lnTo>
                <a:lnTo>
                  <a:pt x="2537" y="1047"/>
                </a:lnTo>
                <a:lnTo>
                  <a:pt x="2535" y="1046"/>
                </a:lnTo>
                <a:lnTo>
                  <a:pt x="2530" y="1043"/>
                </a:lnTo>
                <a:lnTo>
                  <a:pt x="2528" y="1042"/>
                </a:lnTo>
                <a:lnTo>
                  <a:pt x="2526" y="1039"/>
                </a:lnTo>
                <a:lnTo>
                  <a:pt x="2524" y="1036"/>
                </a:lnTo>
                <a:lnTo>
                  <a:pt x="2524" y="1034"/>
                </a:lnTo>
                <a:lnTo>
                  <a:pt x="2557" y="1034"/>
                </a:lnTo>
                <a:lnTo>
                  <a:pt x="2558" y="1028"/>
                </a:lnTo>
                <a:lnTo>
                  <a:pt x="2559" y="1022"/>
                </a:lnTo>
                <a:lnTo>
                  <a:pt x="2561" y="1016"/>
                </a:lnTo>
                <a:lnTo>
                  <a:pt x="2565" y="1011"/>
                </a:lnTo>
                <a:lnTo>
                  <a:pt x="2569" y="1006"/>
                </a:lnTo>
                <a:lnTo>
                  <a:pt x="2573" y="1002"/>
                </a:lnTo>
                <a:lnTo>
                  <a:pt x="2578" y="997"/>
                </a:lnTo>
                <a:lnTo>
                  <a:pt x="2583" y="993"/>
                </a:lnTo>
                <a:lnTo>
                  <a:pt x="2607" y="977"/>
                </a:lnTo>
                <a:lnTo>
                  <a:pt x="2630" y="960"/>
                </a:lnTo>
                <a:lnTo>
                  <a:pt x="2617" y="958"/>
                </a:lnTo>
                <a:lnTo>
                  <a:pt x="2603" y="954"/>
                </a:lnTo>
                <a:lnTo>
                  <a:pt x="2590" y="949"/>
                </a:lnTo>
                <a:lnTo>
                  <a:pt x="2577" y="944"/>
                </a:lnTo>
                <a:lnTo>
                  <a:pt x="2563" y="938"/>
                </a:lnTo>
                <a:lnTo>
                  <a:pt x="2552" y="932"/>
                </a:lnTo>
                <a:lnTo>
                  <a:pt x="2544" y="924"/>
                </a:lnTo>
                <a:lnTo>
                  <a:pt x="2537" y="917"/>
                </a:lnTo>
                <a:lnTo>
                  <a:pt x="2498" y="917"/>
                </a:lnTo>
                <a:lnTo>
                  <a:pt x="2498" y="926"/>
                </a:lnTo>
                <a:lnTo>
                  <a:pt x="2498" y="938"/>
                </a:lnTo>
                <a:lnTo>
                  <a:pt x="2498" y="950"/>
                </a:lnTo>
                <a:lnTo>
                  <a:pt x="2498" y="967"/>
                </a:lnTo>
                <a:lnTo>
                  <a:pt x="2457" y="967"/>
                </a:lnTo>
                <a:lnTo>
                  <a:pt x="2453" y="962"/>
                </a:lnTo>
                <a:lnTo>
                  <a:pt x="2449" y="956"/>
                </a:lnTo>
                <a:lnTo>
                  <a:pt x="2447" y="949"/>
                </a:lnTo>
                <a:lnTo>
                  <a:pt x="2444" y="942"/>
                </a:lnTo>
                <a:lnTo>
                  <a:pt x="2442" y="936"/>
                </a:lnTo>
                <a:lnTo>
                  <a:pt x="2438" y="928"/>
                </a:lnTo>
                <a:lnTo>
                  <a:pt x="2435" y="922"/>
                </a:lnTo>
                <a:lnTo>
                  <a:pt x="2431" y="917"/>
                </a:lnTo>
                <a:lnTo>
                  <a:pt x="2426" y="914"/>
                </a:lnTo>
                <a:lnTo>
                  <a:pt x="2421" y="911"/>
                </a:lnTo>
                <a:lnTo>
                  <a:pt x="2413" y="909"/>
                </a:lnTo>
                <a:lnTo>
                  <a:pt x="2404" y="907"/>
                </a:lnTo>
                <a:lnTo>
                  <a:pt x="2387" y="903"/>
                </a:lnTo>
                <a:lnTo>
                  <a:pt x="2367" y="899"/>
                </a:lnTo>
                <a:lnTo>
                  <a:pt x="2357" y="897"/>
                </a:lnTo>
                <a:lnTo>
                  <a:pt x="2348" y="894"/>
                </a:lnTo>
                <a:lnTo>
                  <a:pt x="2339" y="890"/>
                </a:lnTo>
                <a:lnTo>
                  <a:pt x="2333" y="887"/>
                </a:lnTo>
                <a:lnTo>
                  <a:pt x="2326" y="882"/>
                </a:lnTo>
                <a:lnTo>
                  <a:pt x="2322" y="876"/>
                </a:lnTo>
                <a:lnTo>
                  <a:pt x="2320" y="872"/>
                </a:lnTo>
                <a:lnTo>
                  <a:pt x="2319" y="869"/>
                </a:lnTo>
                <a:lnTo>
                  <a:pt x="2319" y="866"/>
                </a:lnTo>
                <a:lnTo>
                  <a:pt x="2317" y="862"/>
                </a:lnTo>
                <a:lnTo>
                  <a:pt x="2319" y="858"/>
                </a:lnTo>
                <a:lnTo>
                  <a:pt x="2319" y="855"/>
                </a:lnTo>
                <a:lnTo>
                  <a:pt x="2321" y="853"/>
                </a:lnTo>
                <a:lnTo>
                  <a:pt x="2322" y="850"/>
                </a:lnTo>
                <a:lnTo>
                  <a:pt x="2327" y="846"/>
                </a:lnTo>
                <a:lnTo>
                  <a:pt x="2334" y="843"/>
                </a:lnTo>
                <a:lnTo>
                  <a:pt x="2341" y="840"/>
                </a:lnTo>
                <a:lnTo>
                  <a:pt x="2348" y="839"/>
                </a:lnTo>
                <a:lnTo>
                  <a:pt x="2357" y="838"/>
                </a:lnTo>
                <a:lnTo>
                  <a:pt x="2365" y="837"/>
                </a:lnTo>
                <a:lnTo>
                  <a:pt x="2368" y="836"/>
                </a:lnTo>
                <a:lnTo>
                  <a:pt x="2372" y="833"/>
                </a:lnTo>
                <a:lnTo>
                  <a:pt x="2378" y="828"/>
                </a:lnTo>
                <a:lnTo>
                  <a:pt x="2383" y="822"/>
                </a:lnTo>
                <a:lnTo>
                  <a:pt x="2393" y="811"/>
                </a:lnTo>
                <a:lnTo>
                  <a:pt x="2398" y="806"/>
                </a:lnTo>
                <a:lnTo>
                  <a:pt x="2410" y="798"/>
                </a:lnTo>
                <a:lnTo>
                  <a:pt x="2423" y="789"/>
                </a:lnTo>
                <a:lnTo>
                  <a:pt x="2428" y="783"/>
                </a:lnTo>
                <a:lnTo>
                  <a:pt x="2433" y="776"/>
                </a:lnTo>
                <a:lnTo>
                  <a:pt x="2435" y="773"/>
                </a:lnTo>
                <a:lnTo>
                  <a:pt x="2436" y="768"/>
                </a:lnTo>
                <a:lnTo>
                  <a:pt x="2437" y="763"/>
                </a:lnTo>
                <a:lnTo>
                  <a:pt x="2437" y="757"/>
                </a:lnTo>
                <a:lnTo>
                  <a:pt x="2438" y="758"/>
                </a:lnTo>
                <a:lnTo>
                  <a:pt x="2439" y="758"/>
                </a:lnTo>
                <a:lnTo>
                  <a:pt x="2442" y="757"/>
                </a:lnTo>
                <a:lnTo>
                  <a:pt x="2443" y="756"/>
                </a:lnTo>
                <a:lnTo>
                  <a:pt x="2445" y="752"/>
                </a:lnTo>
                <a:lnTo>
                  <a:pt x="2448" y="747"/>
                </a:lnTo>
                <a:lnTo>
                  <a:pt x="2451" y="742"/>
                </a:lnTo>
                <a:lnTo>
                  <a:pt x="2455" y="737"/>
                </a:lnTo>
                <a:lnTo>
                  <a:pt x="2457" y="735"/>
                </a:lnTo>
                <a:lnTo>
                  <a:pt x="2459" y="734"/>
                </a:lnTo>
                <a:lnTo>
                  <a:pt x="2461" y="733"/>
                </a:lnTo>
                <a:lnTo>
                  <a:pt x="2464" y="733"/>
                </a:lnTo>
                <a:lnTo>
                  <a:pt x="2471" y="733"/>
                </a:lnTo>
                <a:lnTo>
                  <a:pt x="2478" y="735"/>
                </a:lnTo>
                <a:lnTo>
                  <a:pt x="2484" y="737"/>
                </a:lnTo>
                <a:lnTo>
                  <a:pt x="2491" y="741"/>
                </a:lnTo>
                <a:lnTo>
                  <a:pt x="2503" y="751"/>
                </a:lnTo>
                <a:lnTo>
                  <a:pt x="2517" y="764"/>
                </a:lnTo>
                <a:lnTo>
                  <a:pt x="2511" y="769"/>
                </a:lnTo>
                <a:lnTo>
                  <a:pt x="2504" y="775"/>
                </a:lnTo>
                <a:lnTo>
                  <a:pt x="2496" y="780"/>
                </a:lnTo>
                <a:lnTo>
                  <a:pt x="2491" y="782"/>
                </a:lnTo>
                <a:lnTo>
                  <a:pt x="2493" y="789"/>
                </a:lnTo>
                <a:lnTo>
                  <a:pt x="2496" y="795"/>
                </a:lnTo>
                <a:lnTo>
                  <a:pt x="2501" y="800"/>
                </a:lnTo>
                <a:lnTo>
                  <a:pt x="2504" y="805"/>
                </a:lnTo>
                <a:lnTo>
                  <a:pt x="2510" y="809"/>
                </a:lnTo>
                <a:lnTo>
                  <a:pt x="2514" y="813"/>
                </a:lnTo>
                <a:lnTo>
                  <a:pt x="2518" y="816"/>
                </a:lnTo>
                <a:lnTo>
                  <a:pt x="2524" y="819"/>
                </a:lnTo>
                <a:lnTo>
                  <a:pt x="2524" y="837"/>
                </a:lnTo>
                <a:lnTo>
                  <a:pt x="2523" y="840"/>
                </a:lnTo>
                <a:lnTo>
                  <a:pt x="2523" y="842"/>
                </a:lnTo>
                <a:lnTo>
                  <a:pt x="2525" y="844"/>
                </a:lnTo>
                <a:lnTo>
                  <a:pt x="2527" y="847"/>
                </a:lnTo>
                <a:lnTo>
                  <a:pt x="2529" y="849"/>
                </a:lnTo>
                <a:lnTo>
                  <a:pt x="2532" y="851"/>
                </a:lnTo>
                <a:lnTo>
                  <a:pt x="2532" y="853"/>
                </a:lnTo>
                <a:lnTo>
                  <a:pt x="2530" y="856"/>
                </a:lnTo>
                <a:lnTo>
                  <a:pt x="2561" y="830"/>
                </a:lnTo>
                <a:lnTo>
                  <a:pt x="2585" y="810"/>
                </a:lnTo>
                <a:lnTo>
                  <a:pt x="2596" y="803"/>
                </a:lnTo>
                <a:lnTo>
                  <a:pt x="2605" y="797"/>
                </a:lnTo>
                <a:lnTo>
                  <a:pt x="2613" y="793"/>
                </a:lnTo>
                <a:lnTo>
                  <a:pt x="2621" y="790"/>
                </a:lnTo>
                <a:lnTo>
                  <a:pt x="2627" y="787"/>
                </a:lnTo>
                <a:lnTo>
                  <a:pt x="2633" y="786"/>
                </a:lnTo>
                <a:lnTo>
                  <a:pt x="2638" y="785"/>
                </a:lnTo>
                <a:lnTo>
                  <a:pt x="2645" y="785"/>
                </a:lnTo>
                <a:lnTo>
                  <a:pt x="2657" y="786"/>
                </a:lnTo>
                <a:lnTo>
                  <a:pt x="2670" y="788"/>
                </a:lnTo>
                <a:lnTo>
                  <a:pt x="2674" y="781"/>
                </a:lnTo>
                <a:lnTo>
                  <a:pt x="2679" y="774"/>
                </a:lnTo>
                <a:lnTo>
                  <a:pt x="2683" y="768"/>
                </a:lnTo>
                <a:lnTo>
                  <a:pt x="2689" y="763"/>
                </a:lnTo>
                <a:lnTo>
                  <a:pt x="2701" y="753"/>
                </a:lnTo>
                <a:lnTo>
                  <a:pt x="2713" y="745"/>
                </a:lnTo>
                <a:lnTo>
                  <a:pt x="2724" y="738"/>
                </a:lnTo>
                <a:lnTo>
                  <a:pt x="2735" y="730"/>
                </a:lnTo>
                <a:lnTo>
                  <a:pt x="2739" y="726"/>
                </a:lnTo>
                <a:lnTo>
                  <a:pt x="2743" y="721"/>
                </a:lnTo>
                <a:lnTo>
                  <a:pt x="2747" y="715"/>
                </a:lnTo>
                <a:lnTo>
                  <a:pt x="2750" y="708"/>
                </a:lnTo>
                <a:lnTo>
                  <a:pt x="2758" y="708"/>
                </a:lnTo>
                <a:lnTo>
                  <a:pt x="2765" y="706"/>
                </a:lnTo>
                <a:lnTo>
                  <a:pt x="2773" y="705"/>
                </a:lnTo>
                <a:lnTo>
                  <a:pt x="2780" y="704"/>
                </a:lnTo>
                <a:lnTo>
                  <a:pt x="2792" y="700"/>
                </a:lnTo>
                <a:lnTo>
                  <a:pt x="2803" y="694"/>
                </a:lnTo>
                <a:lnTo>
                  <a:pt x="2812" y="688"/>
                </a:lnTo>
                <a:lnTo>
                  <a:pt x="2820" y="681"/>
                </a:lnTo>
                <a:lnTo>
                  <a:pt x="2828" y="673"/>
                </a:lnTo>
                <a:lnTo>
                  <a:pt x="2836" y="665"/>
                </a:lnTo>
                <a:lnTo>
                  <a:pt x="2842" y="657"/>
                </a:lnTo>
                <a:lnTo>
                  <a:pt x="2850" y="649"/>
                </a:lnTo>
                <a:lnTo>
                  <a:pt x="2858" y="641"/>
                </a:lnTo>
                <a:lnTo>
                  <a:pt x="2866" y="635"/>
                </a:lnTo>
                <a:lnTo>
                  <a:pt x="2876" y="630"/>
                </a:lnTo>
                <a:lnTo>
                  <a:pt x="2887" y="625"/>
                </a:lnTo>
                <a:lnTo>
                  <a:pt x="2901" y="623"/>
                </a:lnTo>
                <a:lnTo>
                  <a:pt x="2916" y="622"/>
                </a:lnTo>
                <a:lnTo>
                  <a:pt x="2915" y="611"/>
                </a:lnTo>
                <a:lnTo>
                  <a:pt x="2914" y="602"/>
                </a:lnTo>
                <a:lnTo>
                  <a:pt x="2910" y="593"/>
                </a:lnTo>
                <a:lnTo>
                  <a:pt x="2906" y="586"/>
                </a:lnTo>
                <a:lnTo>
                  <a:pt x="2902" y="580"/>
                </a:lnTo>
                <a:lnTo>
                  <a:pt x="2897" y="574"/>
                </a:lnTo>
                <a:lnTo>
                  <a:pt x="2892" y="569"/>
                </a:lnTo>
                <a:lnTo>
                  <a:pt x="2886" y="564"/>
                </a:lnTo>
                <a:lnTo>
                  <a:pt x="2875" y="554"/>
                </a:lnTo>
                <a:lnTo>
                  <a:pt x="2865" y="543"/>
                </a:lnTo>
                <a:lnTo>
                  <a:pt x="2861" y="536"/>
                </a:lnTo>
                <a:lnTo>
                  <a:pt x="2859" y="529"/>
                </a:lnTo>
                <a:lnTo>
                  <a:pt x="2857" y="520"/>
                </a:lnTo>
                <a:lnTo>
                  <a:pt x="2855" y="511"/>
                </a:lnTo>
                <a:lnTo>
                  <a:pt x="2857" y="505"/>
                </a:lnTo>
                <a:lnTo>
                  <a:pt x="2860" y="499"/>
                </a:lnTo>
                <a:lnTo>
                  <a:pt x="2862" y="497"/>
                </a:lnTo>
                <a:lnTo>
                  <a:pt x="2864" y="495"/>
                </a:lnTo>
                <a:lnTo>
                  <a:pt x="2866" y="493"/>
                </a:lnTo>
                <a:lnTo>
                  <a:pt x="2870" y="493"/>
                </a:lnTo>
                <a:lnTo>
                  <a:pt x="2885" y="493"/>
                </a:lnTo>
                <a:lnTo>
                  <a:pt x="2903" y="495"/>
                </a:lnTo>
                <a:lnTo>
                  <a:pt x="2911" y="495"/>
                </a:lnTo>
                <a:lnTo>
                  <a:pt x="2919" y="495"/>
                </a:lnTo>
                <a:lnTo>
                  <a:pt x="2928" y="494"/>
                </a:lnTo>
                <a:lnTo>
                  <a:pt x="2936" y="493"/>
                </a:lnTo>
                <a:lnTo>
                  <a:pt x="2936" y="412"/>
                </a:lnTo>
                <a:lnTo>
                  <a:pt x="2930" y="407"/>
                </a:lnTo>
                <a:lnTo>
                  <a:pt x="2926" y="402"/>
                </a:lnTo>
                <a:lnTo>
                  <a:pt x="2921" y="396"/>
                </a:lnTo>
                <a:lnTo>
                  <a:pt x="2917" y="389"/>
                </a:lnTo>
                <a:lnTo>
                  <a:pt x="2914" y="382"/>
                </a:lnTo>
                <a:lnTo>
                  <a:pt x="2911" y="375"/>
                </a:lnTo>
                <a:lnTo>
                  <a:pt x="2909" y="365"/>
                </a:lnTo>
                <a:lnTo>
                  <a:pt x="2909" y="357"/>
                </a:lnTo>
                <a:lnTo>
                  <a:pt x="2909" y="348"/>
                </a:lnTo>
                <a:lnTo>
                  <a:pt x="2909" y="341"/>
                </a:lnTo>
                <a:lnTo>
                  <a:pt x="2909" y="332"/>
                </a:lnTo>
                <a:lnTo>
                  <a:pt x="2909" y="320"/>
                </a:lnTo>
                <a:lnTo>
                  <a:pt x="2904" y="316"/>
                </a:lnTo>
                <a:lnTo>
                  <a:pt x="2897" y="310"/>
                </a:lnTo>
                <a:lnTo>
                  <a:pt x="2893" y="307"/>
                </a:lnTo>
                <a:lnTo>
                  <a:pt x="2888" y="304"/>
                </a:lnTo>
                <a:lnTo>
                  <a:pt x="2883" y="302"/>
                </a:lnTo>
                <a:lnTo>
                  <a:pt x="2876" y="301"/>
                </a:lnTo>
                <a:lnTo>
                  <a:pt x="2866" y="302"/>
                </a:lnTo>
                <a:lnTo>
                  <a:pt x="2858" y="303"/>
                </a:lnTo>
                <a:lnTo>
                  <a:pt x="2849" y="305"/>
                </a:lnTo>
                <a:lnTo>
                  <a:pt x="2841" y="308"/>
                </a:lnTo>
                <a:lnTo>
                  <a:pt x="2827" y="314"/>
                </a:lnTo>
                <a:lnTo>
                  <a:pt x="2813" y="323"/>
                </a:lnTo>
                <a:lnTo>
                  <a:pt x="2798" y="331"/>
                </a:lnTo>
                <a:lnTo>
                  <a:pt x="2784" y="338"/>
                </a:lnTo>
                <a:lnTo>
                  <a:pt x="2776" y="341"/>
                </a:lnTo>
                <a:lnTo>
                  <a:pt x="2768" y="343"/>
                </a:lnTo>
                <a:lnTo>
                  <a:pt x="2759" y="344"/>
                </a:lnTo>
                <a:lnTo>
                  <a:pt x="2750" y="344"/>
                </a:lnTo>
                <a:lnTo>
                  <a:pt x="2735" y="343"/>
                </a:lnTo>
                <a:lnTo>
                  <a:pt x="2722" y="341"/>
                </a:lnTo>
                <a:lnTo>
                  <a:pt x="2708" y="336"/>
                </a:lnTo>
                <a:lnTo>
                  <a:pt x="2696" y="331"/>
                </a:lnTo>
                <a:lnTo>
                  <a:pt x="2684" y="324"/>
                </a:lnTo>
                <a:lnTo>
                  <a:pt x="2672" y="315"/>
                </a:lnTo>
                <a:lnTo>
                  <a:pt x="2661" y="307"/>
                </a:lnTo>
                <a:lnTo>
                  <a:pt x="2650" y="298"/>
                </a:lnTo>
                <a:lnTo>
                  <a:pt x="2627" y="280"/>
                </a:lnTo>
                <a:lnTo>
                  <a:pt x="2604" y="261"/>
                </a:lnTo>
                <a:lnTo>
                  <a:pt x="2592" y="253"/>
                </a:lnTo>
                <a:lnTo>
                  <a:pt x="2579" y="245"/>
                </a:lnTo>
                <a:lnTo>
                  <a:pt x="2565" y="239"/>
                </a:lnTo>
                <a:lnTo>
                  <a:pt x="2550" y="233"/>
                </a:lnTo>
                <a:lnTo>
                  <a:pt x="2525" y="227"/>
                </a:lnTo>
                <a:lnTo>
                  <a:pt x="2499" y="219"/>
                </a:lnTo>
                <a:lnTo>
                  <a:pt x="2487" y="215"/>
                </a:lnTo>
                <a:lnTo>
                  <a:pt x="2473" y="211"/>
                </a:lnTo>
                <a:lnTo>
                  <a:pt x="2461" y="205"/>
                </a:lnTo>
                <a:lnTo>
                  <a:pt x="2450" y="199"/>
                </a:lnTo>
                <a:lnTo>
                  <a:pt x="2438" y="193"/>
                </a:lnTo>
                <a:lnTo>
                  <a:pt x="2428" y="187"/>
                </a:lnTo>
                <a:lnTo>
                  <a:pt x="2418" y="179"/>
                </a:lnTo>
                <a:lnTo>
                  <a:pt x="2410" y="171"/>
                </a:lnTo>
                <a:lnTo>
                  <a:pt x="2401" y="162"/>
                </a:lnTo>
                <a:lnTo>
                  <a:pt x="2394" y="152"/>
                </a:lnTo>
                <a:lnTo>
                  <a:pt x="2389" y="141"/>
                </a:lnTo>
                <a:lnTo>
                  <a:pt x="2384" y="129"/>
                </a:lnTo>
                <a:lnTo>
                  <a:pt x="2370" y="128"/>
                </a:lnTo>
                <a:lnTo>
                  <a:pt x="2357" y="126"/>
                </a:lnTo>
                <a:lnTo>
                  <a:pt x="2346" y="122"/>
                </a:lnTo>
                <a:lnTo>
                  <a:pt x="2335" y="117"/>
                </a:lnTo>
                <a:lnTo>
                  <a:pt x="2325" y="111"/>
                </a:lnTo>
                <a:lnTo>
                  <a:pt x="2316" y="105"/>
                </a:lnTo>
                <a:lnTo>
                  <a:pt x="2308" y="98"/>
                </a:lnTo>
                <a:lnTo>
                  <a:pt x="2300" y="89"/>
                </a:lnTo>
                <a:lnTo>
                  <a:pt x="2283" y="74"/>
                </a:lnTo>
                <a:lnTo>
                  <a:pt x="2267" y="59"/>
                </a:lnTo>
                <a:lnTo>
                  <a:pt x="2257" y="52"/>
                </a:lnTo>
                <a:lnTo>
                  <a:pt x="2247" y="46"/>
                </a:lnTo>
                <a:lnTo>
                  <a:pt x="2236" y="41"/>
                </a:lnTo>
                <a:lnTo>
                  <a:pt x="2225" y="36"/>
                </a:lnTo>
                <a:lnTo>
                  <a:pt x="2190" y="25"/>
                </a:lnTo>
                <a:lnTo>
                  <a:pt x="2160" y="18"/>
                </a:lnTo>
                <a:lnTo>
                  <a:pt x="2131" y="10"/>
                </a:lnTo>
                <a:lnTo>
                  <a:pt x="2092" y="0"/>
                </a:lnTo>
                <a:lnTo>
                  <a:pt x="1973" y="18"/>
                </a:lnTo>
                <a:lnTo>
                  <a:pt x="1973" y="27"/>
                </a:lnTo>
                <a:lnTo>
                  <a:pt x="1973" y="36"/>
                </a:lnTo>
                <a:lnTo>
                  <a:pt x="1973" y="42"/>
                </a:lnTo>
                <a:lnTo>
                  <a:pt x="1975" y="46"/>
                </a:lnTo>
                <a:lnTo>
                  <a:pt x="1977" y="50"/>
                </a:lnTo>
                <a:lnTo>
                  <a:pt x="1980" y="53"/>
                </a:lnTo>
                <a:lnTo>
                  <a:pt x="1989" y="58"/>
                </a:lnTo>
                <a:lnTo>
                  <a:pt x="1999" y="62"/>
                </a:lnTo>
                <a:lnTo>
                  <a:pt x="2009" y="66"/>
                </a:lnTo>
                <a:lnTo>
                  <a:pt x="2018" y="72"/>
                </a:lnTo>
                <a:lnTo>
                  <a:pt x="2021" y="75"/>
                </a:lnTo>
                <a:lnTo>
                  <a:pt x="2023" y="80"/>
                </a:lnTo>
                <a:lnTo>
                  <a:pt x="2025" y="85"/>
                </a:lnTo>
                <a:lnTo>
                  <a:pt x="2025" y="91"/>
                </a:lnTo>
                <a:lnTo>
                  <a:pt x="2024" y="101"/>
                </a:lnTo>
                <a:lnTo>
                  <a:pt x="2022" y="108"/>
                </a:lnTo>
                <a:lnTo>
                  <a:pt x="2019" y="114"/>
                </a:lnTo>
                <a:lnTo>
                  <a:pt x="2016" y="120"/>
                </a:lnTo>
                <a:lnTo>
                  <a:pt x="2012" y="125"/>
                </a:lnTo>
                <a:lnTo>
                  <a:pt x="2009" y="131"/>
                </a:lnTo>
                <a:lnTo>
                  <a:pt x="2007" y="138"/>
                </a:lnTo>
                <a:lnTo>
                  <a:pt x="2006" y="147"/>
                </a:lnTo>
                <a:lnTo>
                  <a:pt x="2007" y="155"/>
                </a:lnTo>
                <a:lnTo>
                  <a:pt x="2009" y="161"/>
                </a:lnTo>
                <a:lnTo>
                  <a:pt x="2012" y="168"/>
                </a:lnTo>
                <a:lnTo>
                  <a:pt x="2018" y="174"/>
                </a:lnTo>
                <a:lnTo>
                  <a:pt x="2022" y="179"/>
                </a:lnTo>
                <a:lnTo>
                  <a:pt x="2028" y="184"/>
                </a:lnTo>
                <a:lnTo>
                  <a:pt x="2033" y="187"/>
                </a:lnTo>
                <a:lnTo>
                  <a:pt x="2039" y="190"/>
                </a:lnTo>
                <a:lnTo>
                  <a:pt x="2033" y="197"/>
                </a:lnTo>
                <a:lnTo>
                  <a:pt x="2025" y="204"/>
                </a:lnTo>
                <a:lnTo>
                  <a:pt x="2017" y="211"/>
                </a:lnTo>
                <a:lnTo>
                  <a:pt x="2008" y="216"/>
                </a:lnTo>
                <a:lnTo>
                  <a:pt x="1999" y="221"/>
                </a:lnTo>
                <a:lnTo>
                  <a:pt x="1989" y="224"/>
                </a:lnTo>
                <a:lnTo>
                  <a:pt x="1980" y="227"/>
                </a:lnTo>
                <a:lnTo>
                  <a:pt x="1973" y="227"/>
                </a:lnTo>
                <a:lnTo>
                  <a:pt x="1962" y="227"/>
                </a:lnTo>
                <a:lnTo>
                  <a:pt x="1952" y="227"/>
                </a:lnTo>
                <a:lnTo>
                  <a:pt x="1940" y="227"/>
                </a:lnTo>
                <a:lnTo>
                  <a:pt x="1925" y="227"/>
                </a:lnTo>
                <a:lnTo>
                  <a:pt x="1919" y="258"/>
                </a:lnTo>
                <a:lnTo>
                  <a:pt x="1924" y="278"/>
                </a:lnTo>
                <a:lnTo>
                  <a:pt x="1930" y="296"/>
                </a:lnTo>
                <a:lnTo>
                  <a:pt x="1933" y="304"/>
                </a:lnTo>
                <a:lnTo>
                  <a:pt x="1938" y="311"/>
                </a:lnTo>
                <a:lnTo>
                  <a:pt x="1942" y="319"/>
                </a:lnTo>
                <a:lnTo>
                  <a:pt x="1947" y="326"/>
                </a:lnTo>
                <a:lnTo>
                  <a:pt x="1953" y="331"/>
                </a:lnTo>
                <a:lnTo>
                  <a:pt x="1961" y="336"/>
                </a:lnTo>
                <a:lnTo>
                  <a:pt x="1968" y="340"/>
                </a:lnTo>
                <a:lnTo>
                  <a:pt x="1977" y="344"/>
                </a:lnTo>
                <a:lnTo>
                  <a:pt x="1987" y="347"/>
                </a:lnTo>
                <a:lnTo>
                  <a:pt x="1999" y="349"/>
                </a:lnTo>
                <a:lnTo>
                  <a:pt x="2011" y="350"/>
                </a:lnTo>
                <a:lnTo>
                  <a:pt x="2025" y="350"/>
                </a:lnTo>
                <a:lnTo>
                  <a:pt x="2036" y="350"/>
                </a:lnTo>
                <a:lnTo>
                  <a:pt x="2043" y="349"/>
                </a:lnTo>
                <a:lnTo>
                  <a:pt x="2048" y="347"/>
                </a:lnTo>
                <a:lnTo>
                  <a:pt x="2053" y="344"/>
                </a:lnTo>
                <a:lnTo>
                  <a:pt x="2057" y="342"/>
                </a:lnTo>
                <a:lnTo>
                  <a:pt x="2064" y="340"/>
                </a:lnTo>
                <a:lnTo>
                  <a:pt x="2073" y="339"/>
                </a:lnTo>
                <a:lnTo>
                  <a:pt x="2086" y="338"/>
                </a:lnTo>
                <a:lnTo>
                  <a:pt x="2092" y="339"/>
                </a:lnTo>
                <a:lnTo>
                  <a:pt x="2098" y="340"/>
                </a:lnTo>
                <a:lnTo>
                  <a:pt x="2103" y="341"/>
                </a:lnTo>
                <a:lnTo>
                  <a:pt x="2109" y="343"/>
                </a:lnTo>
                <a:lnTo>
                  <a:pt x="2122" y="349"/>
                </a:lnTo>
                <a:lnTo>
                  <a:pt x="2138" y="357"/>
                </a:lnTo>
                <a:lnTo>
                  <a:pt x="2140" y="361"/>
                </a:lnTo>
                <a:lnTo>
                  <a:pt x="2142" y="366"/>
                </a:lnTo>
                <a:lnTo>
                  <a:pt x="2146" y="370"/>
                </a:lnTo>
                <a:lnTo>
                  <a:pt x="2151" y="375"/>
                </a:lnTo>
                <a:lnTo>
                  <a:pt x="2157" y="379"/>
                </a:lnTo>
                <a:lnTo>
                  <a:pt x="2164" y="382"/>
                </a:lnTo>
                <a:lnTo>
                  <a:pt x="2170" y="385"/>
                </a:lnTo>
                <a:lnTo>
                  <a:pt x="2178" y="388"/>
                </a:lnTo>
                <a:lnTo>
                  <a:pt x="2175" y="393"/>
                </a:lnTo>
                <a:lnTo>
                  <a:pt x="2169" y="399"/>
                </a:lnTo>
                <a:lnTo>
                  <a:pt x="2160" y="405"/>
                </a:lnTo>
                <a:lnTo>
                  <a:pt x="2152" y="410"/>
                </a:lnTo>
                <a:lnTo>
                  <a:pt x="2141" y="416"/>
                </a:lnTo>
                <a:lnTo>
                  <a:pt x="2130" y="420"/>
                </a:lnTo>
                <a:lnTo>
                  <a:pt x="2118" y="423"/>
                </a:lnTo>
                <a:lnTo>
                  <a:pt x="2106" y="424"/>
                </a:lnTo>
                <a:lnTo>
                  <a:pt x="2098" y="426"/>
                </a:lnTo>
                <a:lnTo>
                  <a:pt x="2084" y="434"/>
                </a:lnTo>
                <a:lnTo>
                  <a:pt x="2064" y="443"/>
                </a:lnTo>
                <a:lnTo>
                  <a:pt x="2041" y="455"/>
                </a:lnTo>
                <a:lnTo>
                  <a:pt x="2019" y="467"/>
                </a:lnTo>
                <a:lnTo>
                  <a:pt x="1998" y="479"/>
                </a:lnTo>
                <a:lnTo>
                  <a:pt x="1989" y="485"/>
                </a:lnTo>
                <a:lnTo>
                  <a:pt x="1981" y="490"/>
                </a:lnTo>
                <a:lnTo>
                  <a:pt x="1976" y="495"/>
                </a:lnTo>
                <a:lnTo>
                  <a:pt x="1973" y="499"/>
                </a:lnTo>
                <a:lnTo>
                  <a:pt x="1860" y="499"/>
                </a:lnTo>
                <a:lnTo>
                  <a:pt x="1860" y="506"/>
                </a:lnTo>
                <a:lnTo>
                  <a:pt x="1861" y="513"/>
                </a:lnTo>
                <a:lnTo>
                  <a:pt x="1863" y="520"/>
                </a:lnTo>
                <a:lnTo>
                  <a:pt x="1864" y="525"/>
                </a:lnTo>
                <a:lnTo>
                  <a:pt x="1869" y="536"/>
                </a:lnTo>
                <a:lnTo>
                  <a:pt x="1876" y="546"/>
                </a:lnTo>
                <a:lnTo>
                  <a:pt x="1882" y="554"/>
                </a:lnTo>
                <a:lnTo>
                  <a:pt x="1887" y="562"/>
                </a:lnTo>
                <a:lnTo>
                  <a:pt x="1889" y="566"/>
                </a:lnTo>
                <a:lnTo>
                  <a:pt x="1891" y="570"/>
                </a:lnTo>
                <a:lnTo>
                  <a:pt x="1893" y="574"/>
                </a:lnTo>
                <a:lnTo>
                  <a:pt x="1893" y="578"/>
                </a:lnTo>
                <a:lnTo>
                  <a:pt x="1893" y="583"/>
                </a:lnTo>
                <a:lnTo>
                  <a:pt x="1890" y="588"/>
                </a:lnTo>
                <a:lnTo>
                  <a:pt x="1888" y="594"/>
                </a:lnTo>
                <a:lnTo>
                  <a:pt x="1885" y="601"/>
                </a:lnTo>
                <a:lnTo>
                  <a:pt x="1877" y="613"/>
                </a:lnTo>
                <a:lnTo>
                  <a:pt x="1867" y="625"/>
                </a:lnTo>
                <a:lnTo>
                  <a:pt x="1856" y="637"/>
                </a:lnTo>
                <a:lnTo>
                  <a:pt x="1845" y="647"/>
                </a:lnTo>
                <a:lnTo>
                  <a:pt x="1834" y="655"/>
                </a:lnTo>
                <a:lnTo>
                  <a:pt x="1827" y="659"/>
                </a:lnTo>
                <a:lnTo>
                  <a:pt x="1727" y="659"/>
                </a:lnTo>
                <a:lnTo>
                  <a:pt x="1699" y="674"/>
                </a:lnTo>
                <a:lnTo>
                  <a:pt x="1664" y="694"/>
                </a:lnTo>
                <a:lnTo>
                  <a:pt x="1647" y="704"/>
                </a:lnTo>
                <a:lnTo>
                  <a:pt x="1630" y="713"/>
                </a:lnTo>
                <a:lnTo>
                  <a:pt x="1624" y="716"/>
                </a:lnTo>
                <a:lnTo>
                  <a:pt x="1617" y="718"/>
                </a:lnTo>
                <a:lnTo>
                  <a:pt x="1611" y="720"/>
                </a:lnTo>
                <a:lnTo>
                  <a:pt x="1607" y="721"/>
                </a:lnTo>
                <a:lnTo>
                  <a:pt x="1598" y="720"/>
                </a:lnTo>
                <a:lnTo>
                  <a:pt x="1587" y="719"/>
                </a:lnTo>
                <a:lnTo>
                  <a:pt x="1574" y="717"/>
                </a:lnTo>
                <a:lnTo>
                  <a:pt x="1560" y="714"/>
                </a:lnTo>
                <a:lnTo>
                  <a:pt x="1527" y="705"/>
                </a:lnTo>
                <a:lnTo>
                  <a:pt x="1493" y="696"/>
                </a:lnTo>
                <a:lnTo>
                  <a:pt x="1460" y="686"/>
                </a:lnTo>
                <a:lnTo>
                  <a:pt x="1430" y="676"/>
                </a:lnTo>
                <a:lnTo>
                  <a:pt x="1418" y="671"/>
                </a:lnTo>
                <a:lnTo>
                  <a:pt x="1407" y="667"/>
                </a:lnTo>
                <a:lnTo>
                  <a:pt x="1400" y="663"/>
                </a:lnTo>
                <a:lnTo>
                  <a:pt x="1394" y="659"/>
                </a:lnTo>
                <a:lnTo>
                  <a:pt x="1228" y="659"/>
                </a:lnTo>
                <a:lnTo>
                  <a:pt x="1169" y="646"/>
                </a:lnTo>
                <a:lnTo>
                  <a:pt x="1160" y="646"/>
                </a:lnTo>
                <a:lnTo>
                  <a:pt x="1151" y="646"/>
                </a:lnTo>
                <a:lnTo>
                  <a:pt x="1143" y="644"/>
                </a:lnTo>
                <a:lnTo>
                  <a:pt x="1133" y="641"/>
                </a:lnTo>
                <a:lnTo>
                  <a:pt x="1123" y="638"/>
                </a:lnTo>
                <a:lnTo>
                  <a:pt x="1112" y="633"/>
                </a:lnTo>
                <a:lnTo>
                  <a:pt x="1102" y="628"/>
                </a:lnTo>
                <a:lnTo>
                  <a:pt x="1092" y="622"/>
                </a:lnTo>
                <a:lnTo>
                  <a:pt x="1082" y="615"/>
                </a:lnTo>
                <a:lnTo>
                  <a:pt x="1073" y="608"/>
                </a:lnTo>
                <a:lnTo>
                  <a:pt x="1065" y="601"/>
                </a:lnTo>
                <a:lnTo>
                  <a:pt x="1056" y="592"/>
                </a:lnTo>
                <a:lnTo>
                  <a:pt x="1049" y="584"/>
                </a:lnTo>
                <a:lnTo>
                  <a:pt x="1044" y="576"/>
                </a:lnTo>
                <a:lnTo>
                  <a:pt x="1038" y="568"/>
                </a:lnTo>
                <a:lnTo>
                  <a:pt x="1036" y="560"/>
                </a:lnTo>
                <a:lnTo>
                  <a:pt x="1022" y="560"/>
                </a:lnTo>
                <a:lnTo>
                  <a:pt x="1008" y="558"/>
                </a:lnTo>
                <a:lnTo>
                  <a:pt x="994" y="555"/>
                </a:lnTo>
                <a:lnTo>
                  <a:pt x="980" y="552"/>
                </a:lnTo>
                <a:lnTo>
                  <a:pt x="953" y="543"/>
                </a:lnTo>
                <a:lnTo>
                  <a:pt x="923" y="532"/>
                </a:lnTo>
                <a:lnTo>
                  <a:pt x="893" y="522"/>
                </a:lnTo>
                <a:lnTo>
                  <a:pt x="863" y="513"/>
                </a:lnTo>
                <a:lnTo>
                  <a:pt x="846" y="510"/>
                </a:lnTo>
                <a:lnTo>
                  <a:pt x="831" y="507"/>
                </a:lnTo>
                <a:lnTo>
                  <a:pt x="813" y="505"/>
                </a:lnTo>
                <a:lnTo>
                  <a:pt x="797" y="505"/>
                </a:lnTo>
                <a:lnTo>
                  <a:pt x="786" y="504"/>
                </a:lnTo>
                <a:lnTo>
                  <a:pt x="770" y="501"/>
                </a:lnTo>
                <a:lnTo>
                  <a:pt x="763" y="499"/>
                </a:lnTo>
                <a:lnTo>
                  <a:pt x="756" y="497"/>
                </a:lnTo>
                <a:lnTo>
                  <a:pt x="752" y="495"/>
                </a:lnTo>
                <a:lnTo>
                  <a:pt x="750" y="493"/>
                </a:lnTo>
                <a:lnTo>
                  <a:pt x="746" y="485"/>
                </a:lnTo>
                <a:lnTo>
                  <a:pt x="744" y="477"/>
                </a:lnTo>
                <a:lnTo>
                  <a:pt x="743" y="470"/>
                </a:lnTo>
                <a:lnTo>
                  <a:pt x="743" y="461"/>
                </a:lnTo>
                <a:lnTo>
                  <a:pt x="743" y="456"/>
                </a:lnTo>
                <a:lnTo>
                  <a:pt x="743" y="449"/>
                </a:lnTo>
                <a:lnTo>
                  <a:pt x="743" y="440"/>
                </a:lnTo>
                <a:lnTo>
                  <a:pt x="743" y="431"/>
                </a:lnTo>
                <a:lnTo>
                  <a:pt x="741" y="431"/>
                </a:lnTo>
                <a:lnTo>
                  <a:pt x="736" y="428"/>
                </a:lnTo>
                <a:lnTo>
                  <a:pt x="732" y="426"/>
                </a:lnTo>
                <a:lnTo>
                  <a:pt x="728" y="422"/>
                </a:lnTo>
                <a:lnTo>
                  <a:pt x="717" y="414"/>
                </a:lnTo>
                <a:lnTo>
                  <a:pt x="705" y="403"/>
                </a:lnTo>
                <a:lnTo>
                  <a:pt x="695" y="391"/>
                </a:lnTo>
                <a:lnTo>
                  <a:pt x="686" y="379"/>
                </a:lnTo>
                <a:lnTo>
                  <a:pt x="681" y="372"/>
                </a:lnTo>
                <a:lnTo>
                  <a:pt x="679" y="367"/>
                </a:lnTo>
                <a:lnTo>
                  <a:pt x="677" y="361"/>
                </a:lnTo>
                <a:lnTo>
                  <a:pt x="677" y="357"/>
                </a:lnTo>
                <a:lnTo>
                  <a:pt x="661" y="356"/>
                </a:lnTo>
                <a:lnTo>
                  <a:pt x="645" y="355"/>
                </a:lnTo>
                <a:lnTo>
                  <a:pt x="630" y="353"/>
                </a:lnTo>
                <a:lnTo>
                  <a:pt x="616" y="351"/>
                </a:lnTo>
                <a:lnTo>
                  <a:pt x="602" y="348"/>
                </a:lnTo>
                <a:lnTo>
                  <a:pt x="589" y="344"/>
                </a:lnTo>
                <a:lnTo>
                  <a:pt x="576" y="340"/>
                </a:lnTo>
                <a:lnTo>
                  <a:pt x="564" y="335"/>
                </a:lnTo>
                <a:lnTo>
                  <a:pt x="552" y="329"/>
                </a:lnTo>
                <a:lnTo>
                  <a:pt x="541" y="323"/>
                </a:lnTo>
                <a:lnTo>
                  <a:pt x="531" y="315"/>
                </a:lnTo>
                <a:lnTo>
                  <a:pt x="522" y="307"/>
                </a:lnTo>
                <a:lnTo>
                  <a:pt x="512" y="299"/>
                </a:lnTo>
                <a:lnTo>
                  <a:pt x="505" y="290"/>
                </a:lnTo>
                <a:lnTo>
                  <a:pt x="497" y="281"/>
                </a:lnTo>
                <a:lnTo>
                  <a:pt x="490" y="271"/>
                </a:lnTo>
                <a:lnTo>
                  <a:pt x="475" y="268"/>
                </a:lnTo>
                <a:lnTo>
                  <a:pt x="463" y="267"/>
                </a:lnTo>
                <a:lnTo>
                  <a:pt x="454" y="267"/>
                </a:lnTo>
                <a:lnTo>
                  <a:pt x="449" y="268"/>
                </a:lnTo>
                <a:lnTo>
                  <a:pt x="444" y="270"/>
                </a:lnTo>
                <a:lnTo>
                  <a:pt x="442" y="273"/>
                </a:lnTo>
                <a:lnTo>
                  <a:pt x="441" y="277"/>
                </a:lnTo>
                <a:lnTo>
                  <a:pt x="441" y="281"/>
                </a:lnTo>
                <a:lnTo>
                  <a:pt x="441" y="286"/>
                </a:lnTo>
                <a:lnTo>
                  <a:pt x="441" y="291"/>
                </a:lnTo>
                <a:lnTo>
                  <a:pt x="440" y="296"/>
                </a:lnTo>
                <a:lnTo>
                  <a:pt x="439" y="301"/>
                </a:lnTo>
                <a:lnTo>
                  <a:pt x="436" y="307"/>
                </a:lnTo>
                <a:lnTo>
                  <a:pt x="430" y="311"/>
                </a:lnTo>
                <a:lnTo>
                  <a:pt x="422" y="316"/>
                </a:lnTo>
                <a:lnTo>
                  <a:pt x="411" y="320"/>
                </a:lnTo>
                <a:lnTo>
                  <a:pt x="407" y="320"/>
                </a:lnTo>
                <a:lnTo>
                  <a:pt x="403" y="321"/>
                </a:lnTo>
                <a:lnTo>
                  <a:pt x="400" y="322"/>
                </a:lnTo>
                <a:lnTo>
                  <a:pt x="398" y="323"/>
                </a:lnTo>
                <a:lnTo>
                  <a:pt x="397" y="325"/>
                </a:lnTo>
                <a:lnTo>
                  <a:pt x="396" y="327"/>
                </a:lnTo>
                <a:lnTo>
                  <a:pt x="396" y="329"/>
                </a:lnTo>
                <a:lnTo>
                  <a:pt x="396" y="332"/>
                </a:lnTo>
                <a:lnTo>
                  <a:pt x="401" y="344"/>
                </a:lnTo>
                <a:lnTo>
                  <a:pt x="410" y="357"/>
                </a:lnTo>
                <a:lnTo>
                  <a:pt x="415" y="364"/>
                </a:lnTo>
                <a:lnTo>
                  <a:pt x="419" y="371"/>
                </a:lnTo>
                <a:lnTo>
                  <a:pt x="421" y="379"/>
                </a:lnTo>
                <a:lnTo>
                  <a:pt x="423" y="385"/>
                </a:lnTo>
                <a:lnTo>
                  <a:pt x="423" y="388"/>
                </a:lnTo>
                <a:lnTo>
                  <a:pt x="422" y="390"/>
                </a:lnTo>
                <a:lnTo>
                  <a:pt x="421" y="393"/>
                </a:lnTo>
                <a:lnTo>
                  <a:pt x="420" y="395"/>
                </a:lnTo>
                <a:lnTo>
                  <a:pt x="417" y="397"/>
                </a:lnTo>
                <a:lnTo>
                  <a:pt x="414" y="398"/>
                </a:lnTo>
                <a:lnTo>
                  <a:pt x="409" y="399"/>
                </a:lnTo>
                <a:lnTo>
                  <a:pt x="405" y="400"/>
                </a:lnTo>
                <a:lnTo>
                  <a:pt x="392" y="400"/>
                </a:lnTo>
                <a:lnTo>
                  <a:pt x="377" y="400"/>
                </a:lnTo>
                <a:lnTo>
                  <a:pt x="370" y="400"/>
                </a:lnTo>
                <a:lnTo>
                  <a:pt x="361" y="399"/>
                </a:lnTo>
                <a:lnTo>
                  <a:pt x="351" y="397"/>
                </a:lnTo>
                <a:lnTo>
                  <a:pt x="341" y="395"/>
                </a:lnTo>
                <a:lnTo>
                  <a:pt x="331" y="393"/>
                </a:lnTo>
                <a:lnTo>
                  <a:pt x="321" y="390"/>
                </a:lnTo>
                <a:lnTo>
                  <a:pt x="313" y="386"/>
                </a:lnTo>
                <a:lnTo>
                  <a:pt x="305" y="382"/>
                </a:lnTo>
                <a:lnTo>
                  <a:pt x="303" y="387"/>
                </a:lnTo>
                <a:lnTo>
                  <a:pt x="302" y="393"/>
                </a:lnTo>
                <a:lnTo>
                  <a:pt x="303" y="401"/>
                </a:lnTo>
                <a:lnTo>
                  <a:pt x="303" y="409"/>
                </a:lnTo>
                <a:lnTo>
                  <a:pt x="307" y="427"/>
                </a:lnTo>
                <a:lnTo>
                  <a:pt x="311" y="448"/>
                </a:lnTo>
                <a:lnTo>
                  <a:pt x="316" y="467"/>
                </a:lnTo>
                <a:lnTo>
                  <a:pt x="320" y="483"/>
                </a:lnTo>
                <a:lnTo>
                  <a:pt x="320" y="491"/>
                </a:lnTo>
                <a:lnTo>
                  <a:pt x="320" y="497"/>
                </a:lnTo>
                <a:lnTo>
                  <a:pt x="320" y="502"/>
                </a:lnTo>
                <a:lnTo>
                  <a:pt x="318" y="505"/>
                </a:lnTo>
                <a:lnTo>
                  <a:pt x="292" y="503"/>
                </a:lnTo>
                <a:lnTo>
                  <a:pt x="254" y="503"/>
                </a:lnTo>
                <a:lnTo>
                  <a:pt x="244" y="504"/>
                </a:lnTo>
                <a:lnTo>
                  <a:pt x="236" y="505"/>
                </a:lnTo>
                <a:lnTo>
                  <a:pt x="227" y="507"/>
                </a:lnTo>
                <a:lnTo>
                  <a:pt x="220" y="510"/>
                </a:lnTo>
                <a:lnTo>
                  <a:pt x="214" y="513"/>
                </a:lnTo>
                <a:lnTo>
                  <a:pt x="209" y="517"/>
                </a:lnTo>
                <a:lnTo>
                  <a:pt x="207" y="520"/>
                </a:lnTo>
                <a:lnTo>
                  <a:pt x="206" y="523"/>
                </a:lnTo>
                <a:lnTo>
                  <a:pt x="205" y="526"/>
                </a:lnTo>
                <a:lnTo>
                  <a:pt x="205" y="529"/>
                </a:lnTo>
                <a:lnTo>
                  <a:pt x="216" y="531"/>
                </a:lnTo>
                <a:lnTo>
                  <a:pt x="226" y="534"/>
                </a:lnTo>
                <a:lnTo>
                  <a:pt x="233" y="538"/>
                </a:lnTo>
                <a:lnTo>
                  <a:pt x="239" y="544"/>
                </a:lnTo>
                <a:lnTo>
                  <a:pt x="243" y="550"/>
                </a:lnTo>
                <a:lnTo>
                  <a:pt x="247" y="556"/>
                </a:lnTo>
                <a:lnTo>
                  <a:pt x="250" y="563"/>
                </a:lnTo>
                <a:lnTo>
                  <a:pt x="252" y="569"/>
                </a:lnTo>
                <a:lnTo>
                  <a:pt x="255" y="583"/>
                </a:lnTo>
                <a:lnTo>
                  <a:pt x="260" y="595"/>
                </a:lnTo>
                <a:lnTo>
                  <a:pt x="262" y="601"/>
                </a:lnTo>
                <a:lnTo>
                  <a:pt x="266" y="605"/>
                </a:lnTo>
                <a:lnTo>
                  <a:pt x="272" y="608"/>
                </a:lnTo>
                <a:lnTo>
                  <a:pt x="278" y="610"/>
                </a:lnTo>
                <a:lnTo>
                  <a:pt x="276" y="614"/>
                </a:lnTo>
                <a:lnTo>
                  <a:pt x="275" y="618"/>
                </a:lnTo>
                <a:lnTo>
                  <a:pt x="275" y="621"/>
                </a:lnTo>
                <a:lnTo>
                  <a:pt x="275" y="625"/>
                </a:lnTo>
                <a:lnTo>
                  <a:pt x="277" y="632"/>
                </a:lnTo>
                <a:lnTo>
                  <a:pt x="278" y="640"/>
                </a:lnTo>
                <a:lnTo>
                  <a:pt x="277" y="658"/>
                </a:lnTo>
                <a:lnTo>
                  <a:pt x="274" y="674"/>
                </a:lnTo>
                <a:lnTo>
                  <a:pt x="270" y="688"/>
                </a:lnTo>
                <a:lnTo>
                  <a:pt x="264" y="700"/>
                </a:lnTo>
                <a:lnTo>
                  <a:pt x="261" y="705"/>
                </a:lnTo>
                <a:lnTo>
                  <a:pt x="257" y="711"/>
                </a:lnTo>
                <a:lnTo>
                  <a:pt x="252" y="716"/>
                </a:lnTo>
                <a:lnTo>
                  <a:pt x="248" y="720"/>
                </a:lnTo>
                <a:lnTo>
                  <a:pt x="242" y="724"/>
                </a:lnTo>
                <a:lnTo>
                  <a:pt x="237" y="727"/>
                </a:lnTo>
                <a:lnTo>
                  <a:pt x="231" y="730"/>
                </a:lnTo>
                <a:lnTo>
                  <a:pt x="225" y="733"/>
                </a:lnTo>
                <a:lnTo>
                  <a:pt x="206" y="735"/>
                </a:lnTo>
                <a:lnTo>
                  <a:pt x="182" y="737"/>
                </a:lnTo>
                <a:lnTo>
                  <a:pt x="170" y="739"/>
                </a:lnTo>
                <a:lnTo>
                  <a:pt x="158" y="741"/>
                </a:lnTo>
                <a:lnTo>
                  <a:pt x="152" y="743"/>
                </a:lnTo>
                <a:lnTo>
                  <a:pt x="147" y="745"/>
                </a:lnTo>
                <a:lnTo>
                  <a:pt x="142" y="748"/>
                </a:lnTo>
                <a:lnTo>
                  <a:pt x="139" y="751"/>
                </a:lnTo>
                <a:lnTo>
                  <a:pt x="134" y="758"/>
                </a:lnTo>
                <a:lnTo>
                  <a:pt x="127" y="770"/>
                </a:lnTo>
                <a:lnTo>
                  <a:pt x="123" y="776"/>
                </a:lnTo>
                <a:lnTo>
                  <a:pt x="118" y="781"/>
                </a:lnTo>
                <a:lnTo>
                  <a:pt x="113" y="785"/>
                </a:lnTo>
                <a:lnTo>
                  <a:pt x="105" y="788"/>
                </a:lnTo>
                <a:lnTo>
                  <a:pt x="81" y="794"/>
                </a:lnTo>
                <a:lnTo>
                  <a:pt x="45" y="800"/>
                </a:lnTo>
                <a:lnTo>
                  <a:pt x="27" y="804"/>
                </a:lnTo>
                <a:lnTo>
                  <a:pt x="13" y="807"/>
                </a:lnTo>
                <a:lnTo>
                  <a:pt x="3" y="810"/>
                </a:lnTo>
                <a:lnTo>
                  <a:pt x="0" y="812"/>
                </a:lnTo>
                <a:lnTo>
                  <a:pt x="0" y="824"/>
                </a:lnTo>
                <a:lnTo>
                  <a:pt x="3" y="833"/>
                </a:lnTo>
                <a:lnTo>
                  <a:pt x="6" y="842"/>
                </a:lnTo>
                <a:lnTo>
                  <a:pt x="9" y="850"/>
                </a:lnTo>
                <a:lnTo>
                  <a:pt x="14" y="859"/>
                </a:lnTo>
                <a:lnTo>
                  <a:pt x="18" y="869"/>
                </a:lnTo>
                <a:lnTo>
                  <a:pt x="23" y="880"/>
                </a:lnTo>
                <a:lnTo>
                  <a:pt x="26" y="893"/>
                </a:lnTo>
                <a:lnTo>
                  <a:pt x="40" y="894"/>
                </a:lnTo>
                <a:lnTo>
                  <a:pt x="53" y="896"/>
                </a:lnTo>
                <a:lnTo>
                  <a:pt x="59" y="897"/>
                </a:lnTo>
                <a:lnTo>
                  <a:pt x="64" y="899"/>
                </a:lnTo>
                <a:lnTo>
                  <a:pt x="70" y="902"/>
                </a:lnTo>
                <a:lnTo>
                  <a:pt x="74" y="905"/>
                </a:lnTo>
                <a:lnTo>
                  <a:pt x="79" y="909"/>
                </a:lnTo>
                <a:lnTo>
                  <a:pt x="83" y="913"/>
                </a:lnTo>
                <a:lnTo>
                  <a:pt x="87" y="918"/>
                </a:lnTo>
                <a:lnTo>
                  <a:pt x="90" y="924"/>
                </a:lnTo>
                <a:lnTo>
                  <a:pt x="93" y="931"/>
                </a:lnTo>
                <a:lnTo>
                  <a:pt x="95" y="938"/>
                </a:lnTo>
                <a:lnTo>
                  <a:pt x="97" y="946"/>
                </a:lnTo>
                <a:lnTo>
                  <a:pt x="98" y="954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18" name="Freeform 15"/>
          <p:cNvSpPr>
            <a:spLocks/>
          </p:cNvSpPr>
          <p:nvPr userDrawn="1">
            <p:custDataLst>
              <p:tags r:id="rId12"/>
            </p:custDataLst>
          </p:nvPr>
        </p:nvSpPr>
        <p:spPr bwMode="auto">
          <a:xfrm>
            <a:off x="4445000" y="1319218"/>
            <a:ext cx="220662" cy="204788"/>
          </a:xfrm>
          <a:custGeom>
            <a:avLst/>
            <a:gdLst>
              <a:gd name="T0" fmla="*/ 66132062 w 504"/>
              <a:gd name="T1" fmla="*/ 133865338 h 524"/>
              <a:gd name="T2" fmla="*/ 49071903 w 504"/>
              <a:gd name="T3" fmla="*/ 137123731 h 524"/>
              <a:gd name="T4" fmla="*/ 45046574 w 504"/>
              <a:gd name="T5" fmla="*/ 140382092 h 524"/>
              <a:gd name="T6" fmla="*/ 40254620 w 504"/>
              <a:gd name="T7" fmla="*/ 141740046 h 524"/>
              <a:gd name="T8" fmla="*/ 29711444 w 504"/>
              <a:gd name="T9" fmla="*/ 142283019 h 524"/>
              <a:gd name="T10" fmla="*/ 20318857 w 504"/>
              <a:gd name="T11" fmla="*/ 141740046 h 524"/>
              <a:gd name="T12" fmla="*/ 18018543 w 504"/>
              <a:gd name="T13" fmla="*/ 140110605 h 524"/>
              <a:gd name="T14" fmla="*/ 13609679 w 504"/>
              <a:gd name="T15" fmla="*/ 138210199 h 524"/>
              <a:gd name="T16" fmla="*/ 6900941 w 504"/>
              <a:gd name="T17" fmla="*/ 134679798 h 524"/>
              <a:gd name="T18" fmla="*/ 4217097 w 504"/>
              <a:gd name="T19" fmla="*/ 131964932 h 524"/>
              <a:gd name="T20" fmla="*/ 3833565 w 504"/>
              <a:gd name="T21" fmla="*/ 129521031 h 524"/>
              <a:gd name="T22" fmla="*/ 5175488 w 504"/>
              <a:gd name="T23" fmla="*/ 125719698 h 524"/>
              <a:gd name="T24" fmla="*/ 6133878 w 504"/>
              <a:gd name="T25" fmla="*/ 120831896 h 524"/>
              <a:gd name="T26" fmla="*/ 5367253 w 504"/>
              <a:gd name="T27" fmla="*/ 117302049 h 524"/>
              <a:gd name="T28" fmla="*/ 1916783 w 504"/>
              <a:gd name="T29" fmla="*/ 113229229 h 524"/>
              <a:gd name="T30" fmla="*/ 191766 w 504"/>
              <a:gd name="T31" fmla="*/ 110513842 h 524"/>
              <a:gd name="T32" fmla="*/ 191766 w 504"/>
              <a:gd name="T33" fmla="*/ 106169014 h 524"/>
              <a:gd name="T34" fmla="*/ 3258705 w 504"/>
              <a:gd name="T35" fmla="*/ 97751887 h 524"/>
              <a:gd name="T36" fmla="*/ 9200819 w 504"/>
              <a:gd name="T37" fmla="*/ 89062752 h 524"/>
              <a:gd name="T38" fmla="*/ 16485293 w 504"/>
              <a:gd name="T39" fmla="*/ 81188077 h 524"/>
              <a:gd name="T40" fmla="*/ 23769326 w 504"/>
              <a:gd name="T41" fmla="*/ 75757303 h 524"/>
              <a:gd name="T42" fmla="*/ 30669835 w 504"/>
              <a:gd name="T43" fmla="*/ 73856897 h 524"/>
              <a:gd name="T44" fmla="*/ 29711444 w 504"/>
              <a:gd name="T45" fmla="*/ 71684483 h 524"/>
              <a:gd name="T46" fmla="*/ 27219796 w 504"/>
              <a:gd name="T47" fmla="*/ 70327050 h 524"/>
              <a:gd name="T48" fmla="*/ 25494342 w 504"/>
              <a:gd name="T49" fmla="*/ 68154619 h 524"/>
              <a:gd name="T50" fmla="*/ 24344186 w 504"/>
              <a:gd name="T51" fmla="*/ 62180872 h 524"/>
              <a:gd name="T52" fmla="*/ 23769326 w 504"/>
              <a:gd name="T53" fmla="*/ 52948764 h 524"/>
              <a:gd name="T54" fmla="*/ 22043873 w 504"/>
              <a:gd name="T55" fmla="*/ 43716656 h 524"/>
              <a:gd name="T56" fmla="*/ 19168700 w 504"/>
              <a:gd name="T57" fmla="*/ 36385475 h 524"/>
              <a:gd name="T58" fmla="*/ 13034820 w 504"/>
              <a:gd name="T59" fmla="*/ 24437972 h 524"/>
              <a:gd name="T60" fmla="*/ 16485293 w 504"/>
              <a:gd name="T61" fmla="*/ 16291806 h 524"/>
              <a:gd name="T62" fmla="*/ 20318857 w 504"/>
              <a:gd name="T63" fmla="*/ 15205860 h 524"/>
              <a:gd name="T64" fmla="*/ 24919483 w 504"/>
              <a:gd name="T65" fmla="*/ 15748833 h 524"/>
              <a:gd name="T66" fmla="*/ 26644499 w 504"/>
              <a:gd name="T67" fmla="*/ 16563293 h 524"/>
              <a:gd name="T68" fmla="*/ 30669835 w 504"/>
              <a:gd name="T69" fmla="*/ 15205860 h 524"/>
              <a:gd name="T70" fmla="*/ 31436898 w 504"/>
              <a:gd name="T71" fmla="*/ 8960625 h 524"/>
              <a:gd name="T72" fmla="*/ 32778383 w 504"/>
              <a:gd name="T73" fmla="*/ 3529848 h 524"/>
              <a:gd name="T74" fmla="*/ 35845759 w 504"/>
              <a:gd name="T75" fmla="*/ 0 h 524"/>
              <a:gd name="T76" fmla="*/ 43129792 w 504"/>
              <a:gd name="T77" fmla="*/ 0 h 524"/>
              <a:gd name="T78" fmla="*/ 48688809 w 504"/>
              <a:gd name="T79" fmla="*/ 2172415 h 524"/>
              <a:gd name="T80" fmla="*/ 53672530 w 504"/>
              <a:gd name="T81" fmla="*/ 5702263 h 524"/>
              <a:gd name="T82" fmla="*/ 53480764 w 504"/>
              <a:gd name="T83" fmla="*/ 16834779 h 524"/>
              <a:gd name="T84" fmla="*/ 55972843 w 504"/>
              <a:gd name="T85" fmla="*/ 20908125 h 524"/>
              <a:gd name="T86" fmla="*/ 61148342 w 504"/>
              <a:gd name="T87" fmla="*/ 25523918 h 524"/>
              <a:gd name="T88" fmla="*/ 68240610 w 504"/>
              <a:gd name="T89" fmla="*/ 32312126 h 524"/>
              <a:gd name="T90" fmla="*/ 66323828 w 504"/>
              <a:gd name="T91" fmla="*/ 36656962 h 524"/>
              <a:gd name="T92" fmla="*/ 65173672 w 504"/>
              <a:gd name="T93" fmla="*/ 41544242 h 524"/>
              <a:gd name="T94" fmla="*/ 65940735 w 504"/>
              <a:gd name="T95" fmla="*/ 47789476 h 524"/>
              <a:gd name="T96" fmla="*/ 69582532 w 504"/>
              <a:gd name="T97" fmla="*/ 54306718 h 524"/>
              <a:gd name="T98" fmla="*/ 72458143 w 504"/>
              <a:gd name="T99" fmla="*/ 57021584 h 524"/>
              <a:gd name="T100" fmla="*/ 73991393 w 504"/>
              <a:gd name="T101" fmla="*/ 69512069 h 524"/>
              <a:gd name="T102" fmla="*/ 77441863 w 504"/>
              <a:gd name="T103" fmla="*/ 78472690 h 524"/>
              <a:gd name="T104" fmla="*/ 82809114 w 504"/>
              <a:gd name="T105" fmla="*/ 85532905 h 524"/>
              <a:gd name="T106" fmla="*/ 88751225 w 504"/>
              <a:gd name="T107" fmla="*/ 90963159 h 524"/>
              <a:gd name="T108" fmla="*/ 89326523 w 504"/>
              <a:gd name="T109" fmla="*/ 105897528 h 524"/>
              <a:gd name="T110" fmla="*/ 76099941 w 504"/>
              <a:gd name="T111" fmla="*/ 124090257 h 524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504"/>
              <a:gd name="T169" fmla="*/ 0 h 524"/>
              <a:gd name="T170" fmla="*/ 504 w 504"/>
              <a:gd name="T171" fmla="*/ 524 h 524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504" h="524">
                <a:moveTo>
                  <a:pt x="365" y="493"/>
                </a:moveTo>
                <a:lnTo>
                  <a:pt x="355" y="493"/>
                </a:lnTo>
                <a:lnTo>
                  <a:pt x="345" y="493"/>
                </a:lnTo>
                <a:lnTo>
                  <a:pt x="266" y="493"/>
                </a:lnTo>
                <a:lnTo>
                  <a:pt x="262" y="500"/>
                </a:lnTo>
                <a:lnTo>
                  <a:pt x="256" y="505"/>
                </a:lnTo>
                <a:lnTo>
                  <a:pt x="250" y="510"/>
                </a:lnTo>
                <a:lnTo>
                  <a:pt x="243" y="513"/>
                </a:lnTo>
                <a:lnTo>
                  <a:pt x="235" y="517"/>
                </a:lnTo>
                <a:lnTo>
                  <a:pt x="228" y="519"/>
                </a:lnTo>
                <a:lnTo>
                  <a:pt x="219" y="521"/>
                </a:lnTo>
                <a:lnTo>
                  <a:pt x="210" y="522"/>
                </a:lnTo>
                <a:lnTo>
                  <a:pt x="191" y="524"/>
                </a:lnTo>
                <a:lnTo>
                  <a:pt x="173" y="524"/>
                </a:lnTo>
                <a:lnTo>
                  <a:pt x="155" y="524"/>
                </a:lnTo>
                <a:lnTo>
                  <a:pt x="140" y="524"/>
                </a:lnTo>
                <a:lnTo>
                  <a:pt x="121" y="523"/>
                </a:lnTo>
                <a:lnTo>
                  <a:pt x="106" y="522"/>
                </a:lnTo>
                <a:lnTo>
                  <a:pt x="100" y="521"/>
                </a:lnTo>
                <a:lnTo>
                  <a:pt x="96" y="519"/>
                </a:lnTo>
                <a:lnTo>
                  <a:pt x="94" y="516"/>
                </a:lnTo>
                <a:lnTo>
                  <a:pt x="93" y="512"/>
                </a:lnTo>
                <a:lnTo>
                  <a:pt x="82" y="511"/>
                </a:lnTo>
                <a:lnTo>
                  <a:pt x="71" y="509"/>
                </a:lnTo>
                <a:lnTo>
                  <a:pt x="59" y="505"/>
                </a:lnTo>
                <a:lnTo>
                  <a:pt x="47" y="501"/>
                </a:lnTo>
                <a:lnTo>
                  <a:pt x="36" y="496"/>
                </a:lnTo>
                <a:lnTo>
                  <a:pt x="28" y="491"/>
                </a:lnTo>
                <a:lnTo>
                  <a:pt x="25" y="489"/>
                </a:lnTo>
                <a:lnTo>
                  <a:pt x="22" y="486"/>
                </a:lnTo>
                <a:lnTo>
                  <a:pt x="20" y="484"/>
                </a:lnTo>
                <a:lnTo>
                  <a:pt x="20" y="481"/>
                </a:lnTo>
                <a:lnTo>
                  <a:pt x="20" y="477"/>
                </a:lnTo>
                <a:lnTo>
                  <a:pt x="22" y="472"/>
                </a:lnTo>
                <a:lnTo>
                  <a:pt x="25" y="467"/>
                </a:lnTo>
                <a:lnTo>
                  <a:pt x="27" y="463"/>
                </a:lnTo>
                <a:lnTo>
                  <a:pt x="31" y="456"/>
                </a:lnTo>
                <a:lnTo>
                  <a:pt x="33" y="450"/>
                </a:lnTo>
                <a:lnTo>
                  <a:pt x="32" y="445"/>
                </a:lnTo>
                <a:lnTo>
                  <a:pt x="31" y="440"/>
                </a:lnTo>
                <a:lnTo>
                  <a:pt x="30" y="436"/>
                </a:lnTo>
                <a:lnTo>
                  <a:pt x="28" y="432"/>
                </a:lnTo>
                <a:lnTo>
                  <a:pt x="22" y="426"/>
                </a:lnTo>
                <a:lnTo>
                  <a:pt x="17" y="421"/>
                </a:lnTo>
                <a:lnTo>
                  <a:pt x="10" y="417"/>
                </a:lnTo>
                <a:lnTo>
                  <a:pt x="5" y="412"/>
                </a:lnTo>
                <a:lnTo>
                  <a:pt x="3" y="409"/>
                </a:lnTo>
                <a:lnTo>
                  <a:pt x="1" y="407"/>
                </a:lnTo>
                <a:lnTo>
                  <a:pt x="0" y="404"/>
                </a:lnTo>
                <a:lnTo>
                  <a:pt x="0" y="401"/>
                </a:lnTo>
                <a:lnTo>
                  <a:pt x="1" y="391"/>
                </a:lnTo>
                <a:lnTo>
                  <a:pt x="5" y="381"/>
                </a:lnTo>
                <a:lnTo>
                  <a:pt x="10" y="371"/>
                </a:lnTo>
                <a:lnTo>
                  <a:pt x="17" y="360"/>
                </a:lnTo>
                <a:lnTo>
                  <a:pt x="26" y="349"/>
                </a:lnTo>
                <a:lnTo>
                  <a:pt x="37" y="338"/>
                </a:lnTo>
                <a:lnTo>
                  <a:pt x="48" y="328"/>
                </a:lnTo>
                <a:lnTo>
                  <a:pt x="60" y="318"/>
                </a:lnTo>
                <a:lnTo>
                  <a:pt x="73" y="309"/>
                </a:lnTo>
                <a:lnTo>
                  <a:pt x="86" y="299"/>
                </a:lnTo>
                <a:lnTo>
                  <a:pt x="99" y="291"/>
                </a:lnTo>
                <a:lnTo>
                  <a:pt x="112" y="285"/>
                </a:lnTo>
                <a:lnTo>
                  <a:pt x="124" y="279"/>
                </a:lnTo>
                <a:lnTo>
                  <a:pt x="138" y="275"/>
                </a:lnTo>
                <a:lnTo>
                  <a:pt x="149" y="272"/>
                </a:lnTo>
                <a:lnTo>
                  <a:pt x="160" y="272"/>
                </a:lnTo>
                <a:lnTo>
                  <a:pt x="166" y="266"/>
                </a:lnTo>
                <a:lnTo>
                  <a:pt x="160" y="265"/>
                </a:lnTo>
                <a:lnTo>
                  <a:pt x="155" y="264"/>
                </a:lnTo>
                <a:lnTo>
                  <a:pt x="150" y="263"/>
                </a:lnTo>
                <a:lnTo>
                  <a:pt x="145" y="261"/>
                </a:lnTo>
                <a:lnTo>
                  <a:pt x="142" y="259"/>
                </a:lnTo>
                <a:lnTo>
                  <a:pt x="139" y="257"/>
                </a:lnTo>
                <a:lnTo>
                  <a:pt x="135" y="254"/>
                </a:lnTo>
                <a:lnTo>
                  <a:pt x="133" y="251"/>
                </a:lnTo>
                <a:lnTo>
                  <a:pt x="130" y="244"/>
                </a:lnTo>
                <a:lnTo>
                  <a:pt x="128" y="236"/>
                </a:lnTo>
                <a:lnTo>
                  <a:pt x="127" y="229"/>
                </a:lnTo>
                <a:lnTo>
                  <a:pt x="127" y="222"/>
                </a:lnTo>
                <a:lnTo>
                  <a:pt x="126" y="208"/>
                </a:lnTo>
                <a:lnTo>
                  <a:pt x="124" y="195"/>
                </a:lnTo>
                <a:lnTo>
                  <a:pt x="121" y="182"/>
                </a:lnTo>
                <a:lnTo>
                  <a:pt x="119" y="171"/>
                </a:lnTo>
                <a:lnTo>
                  <a:pt x="115" y="161"/>
                </a:lnTo>
                <a:lnTo>
                  <a:pt x="110" y="152"/>
                </a:lnTo>
                <a:lnTo>
                  <a:pt x="106" y="143"/>
                </a:lnTo>
                <a:lnTo>
                  <a:pt x="100" y="134"/>
                </a:lnTo>
                <a:lnTo>
                  <a:pt x="89" y="119"/>
                </a:lnTo>
                <a:lnTo>
                  <a:pt x="78" y="104"/>
                </a:lnTo>
                <a:lnTo>
                  <a:pt x="68" y="90"/>
                </a:lnTo>
                <a:lnTo>
                  <a:pt x="60" y="74"/>
                </a:lnTo>
                <a:lnTo>
                  <a:pt x="74" y="66"/>
                </a:lnTo>
                <a:lnTo>
                  <a:pt x="86" y="60"/>
                </a:lnTo>
                <a:lnTo>
                  <a:pt x="93" y="58"/>
                </a:lnTo>
                <a:lnTo>
                  <a:pt x="99" y="57"/>
                </a:lnTo>
                <a:lnTo>
                  <a:pt x="106" y="56"/>
                </a:lnTo>
                <a:lnTo>
                  <a:pt x="112" y="56"/>
                </a:lnTo>
                <a:lnTo>
                  <a:pt x="123" y="56"/>
                </a:lnTo>
                <a:lnTo>
                  <a:pt x="130" y="58"/>
                </a:lnTo>
                <a:lnTo>
                  <a:pt x="133" y="59"/>
                </a:lnTo>
                <a:lnTo>
                  <a:pt x="137" y="60"/>
                </a:lnTo>
                <a:lnTo>
                  <a:pt x="139" y="61"/>
                </a:lnTo>
                <a:lnTo>
                  <a:pt x="143" y="61"/>
                </a:lnTo>
                <a:lnTo>
                  <a:pt x="149" y="59"/>
                </a:lnTo>
                <a:lnTo>
                  <a:pt x="160" y="56"/>
                </a:lnTo>
                <a:lnTo>
                  <a:pt x="160" y="47"/>
                </a:lnTo>
                <a:lnTo>
                  <a:pt x="162" y="40"/>
                </a:lnTo>
                <a:lnTo>
                  <a:pt x="164" y="33"/>
                </a:lnTo>
                <a:lnTo>
                  <a:pt x="166" y="25"/>
                </a:lnTo>
                <a:lnTo>
                  <a:pt x="168" y="19"/>
                </a:lnTo>
                <a:lnTo>
                  <a:pt x="171" y="13"/>
                </a:lnTo>
                <a:lnTo>
                  <a:pt x="172" y="7"/>
                </a:lnTo>
                <a:lnTo>
                  <a:pt x="173" y="0"/>
                </a:lnTo>
                <a:lnTo>
                  <a:pt x="187" y="0"/>
                </a:lnTo>
                <a:lnTo>
                  <a:pt x="201" y="0"/>
                </a:lnTo>
                <a:lnTo>
                  <a:pt x="214" y="0"/>
                </a:lnTo>
                <a:lnTo>
                  <a:pt x="225" y="0"/>
                </a:lnTo>
                <a:lnTo>
                  <a:pt x="235" y="1"/>
                </a:lnTo>
                <a:lnTo>
                  <a:pt x="244" y="4"/>
                </a:lnTo>
                <a:lnTo>
                  <a:pt x="254" y="8"/>
                </a:lnTo>
                <a:lnTo>
                  <a:pt x="263" y="12"/>
                </a:lnTo>
                <a:lnTo>
                  <a:pt x="270" y="17"/>
                </a:lnTo>
                <a:lnTo>
                  <a:pt x="280" y="21"/>
                </a:lnTo>
                <a:lnTo>
                  <a:pt x="289" y="24"/>
                </a:lnTo>
                <a:lnTo>
                  <a:pt x="299" y="25"/>
                </a:lnTo>
                <a:lnTo>
                  <a:pt x="279" y="62"/>
                </a:lnTo>
                <a:lnTo>
                  <a:pt x="283" y="67"/>
                </a:lnTo>
                <a:lnTo>
                  <a:pt x="287" y="72"/>
                </a:lnTo>
                <a:lnTo>
                  <a:pt x="292" y="77"/>
                </a:lnTo>
                <a:lnTo>
                  <a:pt x="297" y="82"/>
                </a:lnTo>
                <a:lnTo>
                  <a:pt x="308" y="88"/>
                </a:lnTo>
                <a:lnTo>
                  <a:pt x="319" y="94"/>
                </a:lnTo>
                <a:lnTo>
                  <a:pt x="341" y="103"/>
                </a:lnTo>
                <a:lnTo>
                  <a:pt x="358" y="111"/>
                </a:lnTo>
                <a:lnTo>
                  <a:pt x="356" y="119"/>
                </a:lnTo>
                <a:lnTo>
                  <a:pt x="353" y="126"/>
                </a:lnTo>
                <a:lnTo>
                  <a:pt x="350" y="131"/>
                </a:lnTo>
                <a:lnTo>
                  <a:pt x="346" y="135"/>
                </a:lnTo>
                <a:lnTo>
                  <a:pt x="343" y="141"/>
                </a:lnTo>
                <a:lnTo>
                  <a:pt x="341" y="146"/>
                </a:lnTo>
                <a:lnTo>
                  <a:pt x="340" y="153"/>
                </a:lnTo>
                <a:lnTo>
                  <a:pt x="339" y="161"/>
                </a:lnTo>
                <a:lnTo>
                  <a:pt x="340" y="168"/>
                </a:lnTo>
                <a:lnTo>
                  <a:pt x="344" y="176"/>
                </a:lnTo>
                <a:lnTo>
                  <a:pt x="350" y="184"/>
                </a:lnTo>
                <a:lnTo>
                  <a:pt x="356" y="193"/>
                </a:lnTo>
                <a:lnTo>
                  <a:pt x="363" y="200"/>
                </a:lnTo>
                <a:lnTo>
                  <a:pt x="369" y="205"/>
                </a:lnTo>
                <a:lnTo>
                  <a:pt x="375" y="209"/>
                </a:lnTo>
                <a:lnTo>
                  <a:pt x="378" y="210"/>
                </a:lnTo>
                <a:lnTo>
                  <a:pt x="379" y="226"/>
                </a:lnTo>
                <a:lnTo>
                  <a:pt x="381" y="241"/>
                </a:lnTo>
                <a:lnTo>
                  <a:pt x="386" y="256"/>
                </a:lnTo>
                <a:lnTo>
                  <a:pt x="391" y="268"/>
                </a:lnTo>
                <a:lnTo>
                  <a:pt x="397" y="279"/>
                </a:lnTo>
                <a:lnTo>
                  <a:pt x="404" y="289"/>
                </a:lnTo>
                <a:lnTo>
                  <a:pt x="413" y="298"/>
                </a:lnTo>
                <a:lnTo>
                  <a:pt x="422" y="307"/>
                </a:lnTo>
                <a:lnTo>
                  <a:pt x="432" y="315"/>
                </a:lnTo>
                <a:lnTo>
                  <a:pt x="442" y="322"/>
                </a:lnTo>
                <a:lnTo>
                  <a:pt x="452" y="329"/>
                </a:lnTo>
                <a:lnTo>
                  <a:pt x="463" y="335"/>
                </a:lnTo>
                <a:lnTo>
                  <a:pt x="485" y="346"/>
                </a:lnTo>
                <a:lnTo>
                  <a:pt x="504" y="357"/>
                </a:lnTo>
                <a:lnTo>
                  <a:pt x="466" y="390"/>
                </a:lnTo>
                <a:lnTo>
                  <a:pt x="430" y="424"/>
                </a:lnTo>
                <a:lnTo>
                  <a:pt x="413" y="440"/>
                </a:lnTo>
                <a:lnTo>
                  <a:pt x="397" y="457"/>
                </a:lnTo>
                <a:lnTo>
                  <a:pt x="380" y="476"/>
                </a:lnTo>
                <a:lnTo>
                  <a:pt x="365" y="493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19" name="Freeform 16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4181475" y="1632358"/>
            <a:ext cx="182562" cy="178594"/>
          </a:xfrm>
          <a:custGeom>
            <a:avLst/>
            <a:gdLst>
              <a:gd name="T0" fmla="*/ 74008473 w 438"/>
              <a:gd name="T1" fmla="*/ 52967767 h 451"/>
              <a:gd name="T2" fmla="*/ 70881578 w 438"/>
              <a:gd name="T3" fmla="*/ 35683381 h 451"/>
              <a:gd name="T4" fmla="*/ 67233257 w 438"/>
              <a:gd name="T5" fmla="*/ 23695815 h 451"/>
              <a:gd name="T6" fmla="*/ 63758745 w 438"/>
              <a:gd name="T7" fmla="*/ 17284390 h 451"/>
              <a:gd name="T8" fmla="*/ 61847680 w 438"/>
              <a:gd name="T9" fmla="*/ 16169268 h 451"/>
              <a:gd name="T10" fmla="*/ 58199358 w 438"/>
              <a:gd name="T11" fmla="*/ 12545123 h 451"/>
              <a:gd name="T12" fmla="*/ 54551024 w 438"/>
              <a:gd name="T13" fmla="*/ 10593660 h 451"/>
              <a:gd name="T14" fmla="*/ 50902703 w 438"/>
              <a:gd name="T15" fmla="*/ 10593660 h 451"/>
              <a:gd name="T16" fmla="*/ 47949200 w 438"/>
              <a:gd name="T17" fmla="*/ 11708781 h 451"/>
              <a:gd name="T18" fmla="*/ 43606060 w 438"/>
              <a:gd name="T19" fmla="*/ 16169268 h 451"/>
              <a:gd name="T20" fmla="*/ 40826367 w 438"/>
              <a:gd name="T21" fmla="*/ 18678296 h 451"/>
              <a:gd name="T22" fmla="*/ 37699056 w 438"/>
              <a:gd name="T23" fmla="*/ 18399515 h 451"/>
              <a:gd name="T24" fmla="*/ 30229021 w 438"/>
              <a:gd name="T25" fmla="*/ 10314879 h 451"/>
              <a:gd name="T26" fmla="*/ 19631251 w 438"/>
              <a:gd name="T27" fmla="*/ 0 h 451"/>
              <a:gd name="T28" fmla="*/ 16504357 w 438"/>
              <a:gd name="T29" fmla="*/ 6411952 h 451"/>
              <a:gd name="T30" fmla="*/ 16156739 w 438"/>
              <a:gd name="T31" fmla="*/ 11987562 h 451"/>
              <a:gd name="T32" fmla="*/ 17025367 w 438"/>
              <a:gd name="T33" fmla="*/ 14496586 h 451"/>
              <a:gd name="T34" fmla="*/ 20673688 w 438"/>
              <a:gd name="T35" fmla="*/ 19235857 h 451"/>
              <a:gd name="T36" fmla="*/ 17199176 w 438"/>
              <a:gd name="T37" fmla="*/ 20350978 h 451"/>
              <a:gd name="T38" fmla="*/ 11465977 w 438"/>
              <a:gd name="T39" fmla="*/ 25926059 h 451"/>
              <a:gd name="T40" fmla="*/ 10076339 w 438"/>
              <a:gd name="T41" fmla="*/ 33174349 h 451"/>
              <a:gd name="T42" fmla="*/ 7817656 w 438"/>
              <a:gd name="T43" fmla="*/ 38471185 h 451"/>
              <a:gd name="T44" fmla="*/ 6080398 w 438"/>
              <a:gd name="T45" fmla="*/ 43489233 h 451"/>
              <a:gd name="T46" fmla="*/ 5733197 w 438"/>
              <a:gd name="T47" fmla="*/ 49901182 h 451"/>
              <a:gd name="T48" fmla="*/ 1216246 w 438"/>
              <a:gd name="T49" fmla="*/ 66348699 h 451"/>
              <a:gd name="T50" fmla="*/ 2605885 w 438"/>
              <a:gd name="T51" fmla="*/ 68578942 h 451"/>
              <a:gd name="T52" fmla="*/ 4516951 w 438"/>
              <a:gd name="T53" fmla="*/ 68857722 h 451"/>
              <a:gd name="T54" fmla="*/ 5733197 w 438"/>
              <a:gd name="T55" fmla="*/ 96457000 h 451"/>
              <a:gd name="T56" fmla="*/ 16156739 w 438"/>
              <a:gd name="T57" fmla="*/ 98408463 h 451"/>
              <a:gd name="T58" fmla="*/ 18067804 w 438"/>
              <a:gd name="T59" fmla="*/ 104820412 h 451"/>
              <a:gd name="T60" fmla="*/ 15461920 w 438"/>
              <a:gd name="T61" fmla="*/ 118480124 h 451"/>
              <a:gd name="T62" fmla="*/ 18936432 w 438"/>
              <a:gd name="T63" fmla="*/ 124613293 h 451"/>
              <a:gd name="T64" fmla="*/ 26406884 w 438"/>
              <a:gd name="T65" fmla="*/ 124613293 h 451"/>
              <a:gd name="T66" fmla="*/ 35614598 w 438"/>
              <a:gd name="T67" fmla="*/ 123776952 h 451"/>
              <a:gd name="T68" fmla="*/ 47949200 w 438"/>
              <a:gd name="T69" fmla="*/ 124334513 h 451"/>
              <a:gd name="T70" fmla="*/ 59588996 w 438"/>
              <a:gd name="T71" fmla="*/ 123219391 h 451"/>
              <a:gd name="T72" fmla="*/ 64627373 w 438"/>
              <a:gd name="T73" fmla="*/ 120431587 h 451"/>
              <a:gd name="T74" fmla="*/ 62368690 w 438"/>
              <a:gd name="T75" fmla="*/ 115134759 h 451"/>
              <a:gd name="T76" fmla="*/ 64105946 w 438"/>
              <a:gd name="T77" fmla="*/ 112346955 h 451"/>
              <a:gd name="T78" fmla="*/ 64627373 w 438"/>
              <a:gd name="T79" fmla="*/ 106492567 h 451"/>
              <a:gd name="T80" fmla="*/ 66017011 w 438"/>
              <a:gd name="T81" fmla="*/ 102311388 h 451"/>
              <a:gd name="T82" fmla="*/ 59588996 w 438"/>
              <a:gd name="T83" fmla="*/ 95899439 h 451"/>
              <a:gd name="T84" fmla="*/ 56462102 w 438"/>
              <a:gd name="T85" fmla="*/ 90045050 h 451"/>
              <a:gd name="T86" fmla="*/ 54029597 w 438"/>
              <a:gd name="T87" fmla="*/ 81960418 h 451"/>
              <a:gd name="T88" fmla="*/ 51076512 w 438"/>
              <a:gd name="T89" fmla="*/ 77221151 h 451"/>
              <a:gd name="T90" fmla="*/ 54551024 w 438"/>
              <a:gd name="T91" fmla="*/ 76663590 h 451"/>
              <a:gd name="T92" fmla="*/ 60110423 w 438"/>
              <a:gd name="T93" fmla="*/ 75548469 h 451"/>
              <a:gd name="T94" fmla="*/ 64105946 w 438"/>
              <a:gd name="T95" fmla="*/ 72481884 h 451"/>
              <a:gd name="T96" fmla="*/ 70707769 w 438"/>
              <a:gd name="T97" fmla="*/ 66906259 h 451"/>
              <a:gd name="T98" fmla="*/ 76093347 w 438"/>
              <a:gd name="T99" fmla="*/ 65512357 h 451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438"/>
              <a:gd name="T151" fmla="*/ 0 h 451"/>
              <a:gd name="T152" fmla="*/ 438 w 438"/>
              <a:gd name="T153" fmla="*/ 451 h 451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438" h="451">
                <a:moveTo>
                  <a:pt x="438" y="235"/>
                </a:moveTo>
                <a:lnTo>
                  <a:pt x="431" y="212"/>
                </a:lnTo>
                <a:lnTo>
                  <a:pt x="426" y="190"/>
                </a:lnTo>
                <a:lnTo>
                  <a:pt x="420" y="169"/>
                </a:lnTo>
                <a:lnTo>
                  <a:pt x="415" y="148"/>
                </a:lnTo>
                <a:lnTo>
                  <a:pt x="408" y="128"/>
                </a:lnTo>
                <a:lnTo>
                  <a:pt x="398" y="106"/>
                </a:lnTo>
                <a:lnTo>
                  <a:pt x="393" y="95"/>
                </a:lnTo>
                <a:lnTo>
                  <a:pt x="387" y="85"/>
                </a:lnTo>
                <a:lnTo>
                  <a:pt x="380" y="74"/>
                </a:lnTo>
                <a:lnTo>
                  <a:pt x="372" y="62"/>
                </a:lnTo>
                <a:lnTo>
                  <a:pt x="367" y="62"/>
                </a:lnTo>
                <a:lnTo>
                  <a:pt x="363" y="61"/>
                </a:lnTo>
                <a:lnTo>
                  <a:pt x="359" y="60"/>
                </a:lnTo>
                <a:lnTo>
                  <a:pt x="356" y="58"/>
                </a:lnTo>
                <a:lnTo>
                  <a:pt x="349" y="54"/>
                </a:lnTo>
                <a:lnTo>
                  <a:pt x="342" y="49"/>
                </a:lnTo>
                <a:lnTo>
                  <a:pt x="335" y="45"/>
                </a:lnTo>
                <a:lnTo>
                  <a:pt x="326" y="41"/>
                </a:lnTo>
                <a:lnTo>
                  <a:pt x="320" y="40"/>
                </a:lnTo>
                <a:lnTo>
                  <a:pt x="314" y="38"/>
                </a:lnTo>
                <a:lnTo>
                  <a:pt x="307" y="38"/>
                </a:lnTo>
                <a:lnTo>
                  <a:pt x="298" y="37"/>
                </a:lnTo>
                <a:lnTo>
                  <a:pt x="293" y="38"/>
                </a:lnTo>
                <a:lnTo>
                  <a:pt x="287" y="39"/>
                </a:lnTo>
                <a:lnTo>
                  <a:pt x="282" y="40"/>
                </a:lnTo>
                <a:lnTo>
                  <a:pt x="276" y="42"/>
                </a:lnTo>
                <a:lnTo>
                  <a:pt x="268" y="47"/>
                </a:lnTo>
                <a:lnTo>
                  <a:pt x="260" y="52"/>
                </a:lnTo>
                <a:lnTo>
                  <a:pt x="251" y="58"/>
                </a:lnTo>
                <a:lnTo>
                  <a:pt x="244" y="64"/>
                </a:lnTo>
                <a:lnTo>
                  <a:pt x="239" y="66"/>
                </a:lnTo>
                <a:lnTo>
                  <a:pt x="235" y="67"/>
                </a:lnTo>
                <a:lnTo>
                  <a:pt x="230" y="68"/>
                </a:lnTo>
                <a:lnTo>
                  <a:pt x="226" y="69"/>
                </a:lnTo>
                <a:lnTo>
                  <a:pt x="217" y="66"/>
                </a:lnTo>
                <a:lnTo>
                  <a:pt x="205" y="58"/>
                </a:lnTo>
                <a:lnTo>
                  <a:pt x="190" y="48"/>
                </a:lnTo>
                <a:lnTo>
                  <a:pt x="174" y="37"/>
                </a:lnTo>
                <a:lnTo>
                  <a:pt x="145" y="16"/>
                </a:lnTo>
                <a:lnTo>
                  <a:pt x="133" y="7"/>
                </a:lnTo>
                <a:lnTo>
                  <a:pt x="113" y="0"/>
                </a:lnTo>
                <a:lnTo>
                  <a:pt x="104" y="9"/>
                </a:lnTo>
                <a:lnTo>
                  <a:pt x="98" y="18"/>
                </a:lnTo>
                <a:lnTo>
                  <a:pt x="95" y="23"/>
                </a:lnTo>
                <a:lnTo>
                  <a:pt x="94" y="28"/>
                </a:lnTo>
                <a:lnTo>
                  <a:pt x="93" y="35"/>
                </a:lnTo>
                <a:lnTo>
                  <a:pt x="93" y="43"/>
                </a:lnTo>
                <a:lnTo>
                  <a:pt x="93" y="46"/>
                </a:lnTo>
                <a:lnTo>
                  <a:pt x="95" y="49"/>
                </a:lnTo>
                <a:lnTo>
                  <a:pt x="98" y="52"/>
                </a:lnTo>
                <a:lnTo>
                  <a:pt x="101" y="55"/>
                </a:lnTo>
                <a:lnTo>
                  <a:pt x="110" y="63"/>
                </a:lnTo>
                <a:lnTo>
                  <a:pt x="119" y="69"/>
                </a:lnTo>
                <a:lnTo>
                  <a:pt x="112" y="69"/>
                </a:lnTo>
                <a:lnTo>
                  <a:pt x="105" y="71"/>
                </a:lnTo>
                <a:lnTo>
                  <a:pt x="99" y="73"/>
                </a:lnTo>
                <a:lnTo>
                  <a:pt x="93" y="76"/>
                </a:lnTo>
                <a:lnTo>
                  <a:pt x="80" y="84"/>
                </a:lnTo>
                <a:lnTo>
                  <a:pt x="66" y="93"/>
                </a:lnTo>
                <a:lnTo>
                  <a:pt x="63" y="103"/>
                </a:lnTo>
                <a:lnTo>
                  <a:pt x="61" y="112"/>
                </a:lnTo>
                <a:lnTo>
                  <a:pt x="58" y="119"/>
                </a:lnTo>
                <a:lnTo>
                  <a:pt x="56" y="125"/>
                </a:lnTo>
                <a:lnTo>
                  <a:pt x="49" y="133"/>
                </a:lnTo>
                <a:lnTo>
                  <a:pt x="45" y="138"/>
                </a:lnTo>
                <a:lnTo>
                  <a:pt x="39" y="144"/>
                </a:lnTo>
                <a:lnTo>
                  <a:pt x="36" y="151"/>
                </a:lnTo>
                <a:lnTo>
                  <a:pt x="35" y="156"/>
                </a:lnTo>
                <a:lnTo>
                  <a:pt x="34" y="162"/>
                </a:lnTo>
                <a:lnTo>
                  <a:pt x="33" y="169"/>
                </a:lnTo>
                <a:lnTo>
                  <a:pt x="33" y="179"/>
                </a:lnTo>
                <a:lnTo>
                  <a:pt x="0" y="235"/>
                </a:lnTo>
                <a:lnTo>
                  <a:pt x="4" y="236"/>
                </a:lnTo>
                <a:lnTo>
                  <a:pt x="7" y="238"/>
                </a:lnTo>
                <a:lnTo>
                  <a:pt x="11" y="240"/>
                </a:lnTo>
                <a:lnTo>
                  <a:pt x="13" y="243"/>
                </a:lnTo>
                <a:lnTo>
                  <a:pt x="15" y="246"/>
                </a:lnTo>
                <a:lnTo>
                  <a:pt x="18" y="248"/>
                </a:lnTo>
                <a:lnTo>
                  <a:pt x="22" y="248"/>
                </a:lnTo>
                <a:lnTo>
                  <a:pt x="26" y="247"/>
                </a:lnTo>
                <a:lnTo>
                  <a:pt x="39" y="277"/>
                </a:lnTo>
                <a:lnTo>
                  <a:pt x="33" y="308"/>
                </a:lnTo>
                <a:lnTo>
                  <a:pt x="33" y="346"/>
                </a:lnTo>
                <a:lnTo>
                  <a:pt x="53" y="347"/>
                </a:lnTo>
                <a:lnTo>
                  <a:pt x="72" y="350"/>
                </a:lnTo>
                <a:lnTo>
                  <a:pt x="93" y="353"/>
                </a:lnTo>
                <a:lnTo>
                  <a:pt x="113" y="358"/>
                </a:lnTo>
                <a:lnTo>
                  <a:pt x="107" y="366"/>
                </a:lnTo>
                <a:lnTo>
                  <a:pt x="104" y="376"/>
                </a:lnTo>
                <a:lnTo>
                  <a:pt x="100" y="387"/>
                </a:lnTo>
                <a:lnTo>
                  <a:pt x="96" y="400"/>
                </a:lnTo>
                <a:lnTo>
                  <a:pt x="89" y="425"/>
                </a:lnTo>
                <a:lnTo>
                  <a:pt x="79" y="451"/>
                </a:lnTo>
                <a:lnTo>
                  <a:pt x="94" y="449"/>
                </a:lnTo>
                <a:lnTo>
                  <a:pt x="109" y="447"/>
                </a:lnTo>
                <a:lnTo>
                  <a:pt x="123" y="447"/>
                </a:lnTo>
                <a:lnTo>
                  <a:pt x="137" y="447"/>
                </a:lnTo>
                <a:lnTo>
                  <a:pt x="152" y="447"/>
                </a:lnTo>
                <a:lnTo>
                  <a:pt x="169" y="446"/>
                </a:lnTo>
                <a:lnTo>
                  <a:pt x="186" y="445"/>
                </a:lnTo>
                <a:lnTo>
                  <a:pt x="205" y="444"/>
                </a:lnTo>
                <a:lnTo>
                  <a:pt x="228" y="445"/>
                </a:lnTo>
                <a:lnTo>
                  <a:pt x="252" y="446"/>
                </a:lnTo>
                <a:lnTo>
                  <a:pt x="276" y="446"/>
                </a:lnTo>
                <a:lnTo>
                  <a:pt x="300" y="445"/>
                </a:lnTo>
                <a:lnTo>
                  <a:pt x="322" y="444"/>
                </a:lnTo>
                <a:lnTo>
                  <a:pt x="343" y="442"/>
                </a:lnTo>
                <a:lnTo>
                  <a:pt x="362" y="440"/>
                </a:lnTo>
                <a:lnTo>
                  <a:pt x="379" y="438"/>
                </a:lnTo>
                <a:lnTo>
                  <a:pt x="372" y="432"/>
                </a:lnTo>
                <a:lnTo>
                  <a:pt x="365" y="425"/>
                </a:lnTo>
                <a:lnTo>
                  <a:pt x="361" y="419"/>
                </a:lnTo>
                <a:lnTo>
                  <a:pt x="359" y="413"/>
                </a:lnTo>
                <a:lnTo>
                  <a:pt x="363" y="411"/>
                </a:lnTo>
                <a:lnTo>
                  <a:pt x="367" y="407"/>
                </a:lnTo>
                <a:lnTo>
                  <a:pt x="369" y="403"/>
                </a:lnTo>
                <a:lnTo>
                  <a:pt x="370" y="398"/>
                </a:lnTo>
                <a:lnTo>
                  <a:pt x="372" y="389"/>
                </a:lnTo>
                <a:lnTo>
                  <a:pt x="372" y="382"/>
                </a:lnTo>
                <a:lnTo>
                  <a:pt x="385" y="379"/>
                </a:lnTo>
                <a:lnTo>
                  <a:pt x="398" y="376"/>
                </a:lnTo>
                <a:lnTo>
                  <a:pt x="380" y="367"/>
                </a:lnTo>
                <a:lnTo>
                  <a:pt x="365" y="359"/>
                </a:lnTo>
                <a:lnTo>
                  <a:pt x="353" y="351"/>
                </a:lnTo>
                <a:lnTo>
                  <a:pt x="343" y="344"/>
                </a:lnTo>
                <a:lnTo>
                  <a:pt x="336" y="336"/>
                </a:lnTo>
                <a:lnTo>
                  <a:pt x="330" y="329"/>
                </a:lnTo>
                <a:lnTo>
                  <a:pt x="325" y="323"/>
                </a:lnTo>
                <a:lnTo>
                  <a:pt x="322" y="317"/>
                </a:lnTo>
                <a:lnTo>
                  <a:pt x="316" y="305"/>
                </a:lnTo>
                <a:lnTo>
                  <a:pt x="311" y="294"/>
                </a:lnTo>
                <a:lnTo>
                  <a:pt x="306" y="289"/>
                </a:lnTo>
                <a:lnTo>
                  <a:pt x="301" y="283"/>
                </a:lnTo>
                <a:lnTo>
                  <a:pt x="294" y="277"/>
                </a:lnTo>
                <a:lnTo>
                  <a:pt x="285" y="271"/>
                </a:lnTo>
                <a:lnTo>
                  <a:pt x="301" y="274"/>
                </a:lnTo>
                <a:lnTo>
                  <a:pt x="314" y="275"/>
                </a:lnTo>
                <a:lnTo>
                  <a:pt x="326" y="275"/>
                </a:lnTo>
                <a:lnTo>
                  <a:pt x="336" y="273"/>
                </a:lnTo>
                <a:lnTo>
                  <a:pt x="346" y="271"/>
                </a:lnTo>
                <a:lnTo>
                  <a:pt x="354" y="268"/>
                </a:lnTo>
                <a:lnTo>
                  <a:pt x="362" y="264"/>
                </a:lnTo>
                <a:lnTo>
                  <a:pt x="369" y="260"/>
                </a:lnTo>
                <a:lnTo>
                  <a:pt x="383" y="251"/>
                </a:lnTo>
                <a:lnTo>
                  <a:pt x="398" y="243"/>
                </a:lnTo>
                <a:lnTo>
                  <a:pt x="407" y="240"/>
                </a:lnTo>
                <a:lnTo>
                  <a:pt x="416" y="237"/>
                </a:lnTo>
                <a:lnTo>
                  <a:pt x="427" y="236"/>
                </a:lnTo>
                <a:lnTo>
                  <a:pt x="438" y="235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0" name="Freeform 17"/>
          <p:cNvSpPr>
            <a:spLocks/>
          </p:cNvSpPr>
          <p:nvPr userDrawn="1">
            <p:custDataLst>
              <p:tags r:id="rId14"/>
            </p:custDataLst>
          </p:nvPr>
        </p:nvSpPr>
        <p:spPr bwMode="auto">
          <a:xfrm>
            <a:off x="4206884" y="1825240"/>
            <a:ext cx="250825" cy="205978"/>
          </a:xfrm>
          <a:custGeom>
            <a:avLst/>
            <a:gdLst>
              <a:gd name="T0" fmla="*/ 61579274 w 578"/>
              <a:gd name="T1" fmla="*/ 24173294 h 524"/>
              <a:gd name="T2" fmla="*/ 58754240 w 578"/>
              <a:gd name="T3" fmla="*/ 23349383 h 524"/>
              <a:gd name="T4" fmla="*/ 56682968 w 578"/>
              <a:gd name="T5" fmla="*/ 21701038 h 524"/>
              <a:gd name="T6" fmla="*/ 51786675 w 578"/>
              <a:gd name="T7" fmla="*/ 18130235 h 524"/>
              <a:gd name="T8" fmla="*/ 47267054 w 578"/>
              <a:gd name="T9" fmla="*/ 21426401 h 524"/>
              <a:gd name="T10" fmla="*/ 46325375 w 578"/>
              <a:gd name="T11" fmla="*/ 28843169 h 524"/>
              <a:gd name="T12" fmla="*/ 47643725 w 578"/>
              <a:gd name="T13" fmla="*/ 42028892 h 524"/>
              <a:gd name="T14" fmla="*/ 50844997 w 578"/>
              <a:gd name="T15" fmla="*/ 47248041 h 524"/>
              <a:gd name="T16" fmla="*/ 54046703 w 578"/>
              <a:gd name="T17" fmla="*/ 48896386 h 524"/>
              <a:gd name="T18" fmla="*/ 56117961 w 578"/>
              <a:gd name="T19" fmla="*/ 52467189 h 524"/>
              <a:gd name="T20" fmla="*/ 66098896 w 578"/>
              <a:gd name="T21" fmla="*/ 61806940 h 524"/>
              <a:gd name="T22" fmla="*/ 84553620 w 578"/>
              <a:gd name="T23" fmla="*/ 84881694 h 524"/>
              <a:gd name="T24" fmla="*/ 89826584 w 578"/>
              <a:gd name="T25" fmla="*/ 88452498 h 524"/>
              <a:gd name="T26" fmla="*/ 94910778 w 578"/>
              <a:gd name="T27" fmla="*/ 90100843 h 524"/>
              <a:gd name="T28" fmla="*/ 100937085 w 578"/>
              <a:gd name="T29" fmla="*/ 97792248 h 524"/>
              <a:gd name="T30" fmla="*/ 108846314 w 578"/>
              <a:gd name="T31" fmla="*/ 103286558 h 524"/>
              <a:gd name="T32" fmla="*/ 106398385 w 578"/>
              <a:gd name="T33" fmla="*/ 111801873 h 524"/>
              <a:gd name="T34" fmla="*/ 99053729 w 578"/>
              <a:gd name="T35" fmla="*/ 105209540 h 524"/>
              <a:gd name="T36" fmla="*/ 95664121 w 578"/>
              <a:gd name="T37" fmla="*/ 103286558 h 524"/>
              <a:gd name="T38" fmla="*/ 93781198 w 578"/>
              <a:gd name="T39" fmla="*/ 109054980 h 524"/>
              <a:gd name="T40" fmla="*/ 95287450 w 578"/>
              <a:gd name="T41" fmla="*/ 117021546 h 524"/>
              <a:gd name="T42" fmla="*/ 96794135 w 578"/>
              <a:gd name="T43" fmla="*/ 121416260 h 524"/>
              <a:gd name="T44" fmla="*/ 94157870 w 578"/>
              <a:gd name="T45" fmla="*/ 128558391 h 524"/>
              <a:gd name="T46" fmla="*/ 90956164 w 578"/>
              <a:gd name="T47" fmla="*/ 138722609 h 524"/>
              <a:gd name="T48" fmla="*/ 87566556 w 578"/>
              <a:gd name="T49" fmla="*/ 143392484 h 524"/>
              <a:gd name="T50" fmla="*/ 82105690 w 578"/>
              <a:gd name="T51" fmla="*/ 138722609 h 524"/>
              <a:gd name="T52" fmla="*/ 85871969 w 578"/>
              <a:gd name="T53" fmla="*/ 132953629 h 524"/>
              <a:gd name="T54" fmla="*/ 87566556 w 578"/>
              <a:gd name="T55" fmla="*/ 128283754 h 524"/>
              <a:gd name="T56" fmla="*/ 86813213 w 578"/>
              <a:gd name="T57" fmla="*/ 121141623 h 524"/>
              <a:gd name="T58" fmla="*/ 80410669 w 578"/>
              <a:gd name="T59" fmla="*/ 108505707 h 524"/>
              <a:gd name="T60" fmla="*/ 72501440 w 578"/>
              <a:gd name="T61" fmla="*/ 101363576 h 524"/>
              <a:gd name="T62" fmla="*/ 66851805 w 578"/>
              <a:gd name="T63" fmla="*/ 97792248 h 524"/>
              <a:gd name="T64" fmla="*/ 59884254 w 578"/>
              <a:gd name="T65" fmla="*/ 90650117 h 524"/>
              <a:gd name="T66" fmla="*/ 50468326 w 578"/>
              <a:gd name="T67" fmla="*/ 86530040 h 524"/>
              <a:gd name="T68" fmla="*/ 41052845 w 578"/>
              <a:gd name="T69" fmla="*/ 78288837 h 524"/>
              <a:gd name="T70" fmla="*/ 30506917 w 578"/>
              <a:gd name="T71" fmla="*/ 62906011 h 524"/>
              <a:gd name="T72" fmla="*/ 23727695 w 578"/>
              <a:gd name="T73" fmla="*/ 46149493 h 524"/>
              <a:gd name="T74" fmla="*/ 14500116 w 578"/>
              <a:gd name="T75" fmla="*/ 42303529 h 524"/>
              <a:gd name="T76" fmla="*/ 9604253 w 578"/>
              <a:gd name="T77" fmla="*/ 43127439 h 524"/>
              <a:gd name="T78" fmla="*/ 2824602 w 578"/>
              <a:gd name="T79" fmla="*/ 45325058 h 524"/>
              <a:gd name="T80" fmla="*/ 565007 w 578"/>
              <a:gd name="T81" fmla="*/ 36534582 h 524"/>
              <a:gd name="T82" fmla="*/ 188336 w 578"/>
              <a:gd name="T83" fmla="*/ 25547003 h 524"/>
              <a:gd name="T84" fmla="*/ 1130014 w 578"/>
              <a:gd name="T85" fmla="*/ 13460356 h 524"/>
              <a:gd name="T86" fmla="*/ 8474240 w 578"/>
              <a:gd name="T87" fmla="*/ 11262736 h 524"/>
              <a:gd name="T88" fmla="*/ 12805526 w 578"/>
              <a:gd name="T89" fmla="*/ 9065117 h 524"/>
              <a:gd name="T90" fmla="*/ 15630130 w 578"/>
              <a:gd name="T91" fmla="*/ 13185719 h 524"/>
              <a:gd name="T92" fmla="*/ 19584744 w 578"/>
              <a:gd name="T93" fmla="*/ 12086647 h 524"/>
              <a:gd name="T94" fmla="*/ 28058981 w 578"/>
              <a:gd name="T95" fmla="*/ 4395240 h 524"/>
              <a:gd name="T96" fmla="*/ 45007460 w 578"/>
              <a:gd name="T97" fmla="*/ 0 h 524"/>
              <a:gd name="T98" fmla="*/ 48397067 w 578"/>
              <a:gd name="T99" fmla="*/ 3571329 h 524"/>
              <a:gd name="T100" fmla="*/ 62520519 w 578"/>
              <a:gd name="T101" fmla="*/ 5219151 h 524"/>
              <a:gd name="T102" fmla="*/ 60637596 w 578"/>
              <a:gd name="T103" fmla="*/ 17855598 h 524"/>
              <a:gd name="T104" fmla="*/ 61202603 w 578"/>
              <a:gd name="T105" fmla="*/ 24722568 h 52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578"/>
              <a:gd name="T160" fmla="*/ 0 h 524"/>
              <a:gd name="T161" fmla="*/ 578 w 578"/>
              <a:gd name="T162" fmla="*/ 524 h 524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578" h="524">
                <a:moveTo>
                  <a:pt x="332" y="99"/>
                </a:moveTo>
                <a:lnTo>
                  <a:pt x="331" y="94"/>
                </a:lnTo>
                <a:lnTo>
                  <a:pt x="329" y="90"/>
                </a:lnTo>
                <a:lnTo>
                  <a:pt x="327" y="88"/>
                </a:lnTo>
                <a:lnTo>
                  <a:pt x="325" y="86"/>
                </a:lnTo>
                <a:lnTo>
                  <a:pt x="320" y="85"/>
                </a:lnTo>
                <a:lnTo>
                  <a:pt x="315" y="85"/>
                </a:lnTo>
                <a:lnTo>
                  <a:pt x="312" y="85"/>
                </a:lnTo>
                <a:lnTo>
                  <a:pt x="309" y="85"/>
                </a:lnTo>
                <a:lnTo>
                  <a:pt x="306" y="84"/>
                </a:lnTo>
                <a:lnTo>
                  <a:pt x="304" y="82"/>
                </a:lnTo>
                <a:lnTo>
                  <a:pt x="301" y="79"/>
                </a:lnTo>
                <a:lnTo>
                  <a:pt x="297" y="75"/>
                </a:lnTo>
                <a:lnTo>
                  <a:pt x="295" y="69"/>
                </a:lnTo>
                <a:lnTo>
                  <a:pt x="293" y="61"/>
                </a:lnTo>
                <a:lnTo>
                  <a:pt x="275" y="66"/>
                </a:lnTo>
                <a:lnTo>
                  <a:pt x="263" y="70"/>
                </a:lnTo>
                <a:lnTo>
                  <a:pt x="258" y="73"/>
                </a:lnTo>
                <a:lnTo>
                  <a:pt x="254" y="76"/>
                </a:lnTo>
                <a:lnTo>
                  <a:pt x="251" y="78"/>
                </a:lnTo>
                <a:lnTo>
                  <a:pt x="249" y="81"/>
                </a:lnTo>
                <a:lnTo>
                  <a:pt x="247" y="87"/>
                </a:lnTo>
                <a:lnTo>
                  <a:pt x="246" y="95"/>
                </a:lnTo>
                <a:lnTo>
                  <a:pt x="246" y="105"/>
                </a:lnTo>
                <a:lnTo>
                  <a:pt x="246" y="117"/>
                </a:lnTo>
                <a:lnTo>
                  <a:pt x="247" y="131"/>
                </a:lnTo>
                <a:lnTo>
                  <a:pt x="249" y="143"/>
                </a:lnTo>
                <a:lnTo>
                  <a:pt x="253" y="153"/>
                </a:lnTo>
                <a:lnTo>
                  <a:pt x="259" y="162"/>
                </a:lnTo>
                <a:lnTo>
                  <a:pt x="262" y="166"/>
                </a:lnTo>
                <a:lnTo>
                  <a:pt x="266" y="169"/>
                </a:lnTo>
                <a:lnTo>
                  <a:pt x="270" y="172"/>
                </a:lnTo>
                <a:lnTo>
                  <a:pt x="274" y="174"/>
                </a:lnTo>
                <a:lnTo>
                  <a:pt x="279" y="176"/>
                </a:lnTo>
                <a:lnTo>
                  <a:pt x="283" y="177"/>
                </a:lnTo>
                <a:lnTo>
                  <a:pt x="287" y="178"/>
                </a:lnTo>
                <a:lnTo>
                  <a:pt x="293" y="178"/>
                </a:lnTo>
                <a:lnTo>
                  <a:pt x="293" y="182"/>
                </a:lnTo>
                <a:lnTo>
                  <a:pt x="295" y="187"/>
                </a:lnTo>
                <a:lnTo>
                  <a:pt x="298" y="191"/>
                </a:lnTo>
                <a:lnTo>
                  <a:pt x="303" y="195"/>
                </a:lnTo>
                <a:lnTo>
                  <a:pt x="314" y="203"/>
                </a:lnTo>
                <a:lnTo>
                  <a:pt x="327" y="211"/>
                </a:lnTo>
                <a:lnTo>
                  <a:pt x="351" y="225"/>
                </a:lnTo>
                <a:lnTo>
                  <a:pt x="365" y="234"/>
                </a:lnTo>
                <a:lnTo>
                  <a:pt x="439" y="296"/>
                </a:lnTo>
                <a:lnTo>
                  <a:pt x="443" y="303"/>
                </a:lnTo>
                <a:lnTo>
                  <a:pt x="449" y="309"/>
                </a:lnTo>
                <a:lnTo>
                  <a:pt x="454" y="314"/>
                </a:lnTo>
                <a:lnTo>
                  <a:pt x="461" y="318"/>
                </a:lnTo>
                <a:lnTo>
                  <a:pt x="469" y="320"/>
                </a:lnTo>
                <a:lnTo>
                  <a:pt x="477" y="322"/>
                </a:lnTo>
                <a:lnTo>
                  <a:pt x="487" y="322"/>
                </a:lnTo>
                <a:lnTo>
                  <a:pt x="498" y="321"/>
                </a:lnTo>
                <a:lnTo>
                  <a:pt x="500" y="324"/>
                </a:lnTo>
                <a:lnTo>
                  <a:pt x="504" y="328"/>
                </a:lnTo>
                <a:lnTo>
                  <a:pt x="507" y="332"/>
                </a:lnTo>
                <a:lnTo>
                  <a:pt x="511" y="337"/>
                </a:lnTo>
                <a:lnTo>
                  <a:pt x="523" y="346"/>
                </a:lnTo>
                <a:lnTo>
                  <a:pt x="536" y="356"/>
                </a:lnTo>
                <a:lnTo>
                  <a:pt x="549" y="364"/>
                </a:lnTo>
                <a:lnTo>
                  <a:pt x="561" y="370"/>
                </a:lnTo>
                <a:lnTo>
                  <a:pt x="571" y="374"/>
                </a:lnTo>
                <a:lnTo>
                  <a:pt x="578" y="376"/>
                </a:lnTo>
                <a:lnTo>
                  <a:pt x="577" y="383"/>
                </a:lnTo>
                <a:lnTo>
                  <a:pt x="574" y="391"/>
                </a:lnTo>
                <a:lnTo>
                  <a:pt x="570" y="400"/>
                </a:lnTo>
                <a:lnTo>
                  <a:pt x="565" y="407"/>
                </a:lnTo>
                <a:lnTo>
                  <a:pt x="552" y="388"/>
                </a:lnTo>
                <a:lnTo>
                  <a:pt x="541" y="387"/>
                </a:lnTo>
                <a:lnTo>
                  <a:pt x="530" y="384"/>
                </a:lnTo>
                <a:lnTo>
                  <a:pt x="526" y="383"/>
                </a:lnTo>
                <a:lnTo>
                  <a:pt x="521" y="381"/>
                </a:lnTo>
                <a:lnTo>
                  <a:pt x="519" y="378"/>
                </a:lnTo>
                <a:lnTo>
                  <a:pt x="518" y="376"/>
                </a:lnTo>
                <a:lnTo>
                  <a:pt x="508" y="376"/>
                </a:lnTo>
                <a:lnTo>
                  <a:pt x="498" y="376"/>
                </a:lnTo>
                <a:lnTo>
                  <a:pt x="498" y="382"/>
                </a:lnTo>
                <a:lnTo>
                  <a:pt x="498" y="389"/>
                </a:lnTo>
                <a:lnTo>
                  <a:pt x="498" y="397"/>
                </a:lnTo>
                <a:lnTo>
                  <a:pt x="498" y="407"/>
                </a:lnTo>
                <a:lnTo>
                  <a:pt x="499" y="414"/>
                </a:lnTo>
                <a:lnTo>
                  <a:pt x="504" y="422"/>
                </a:lnTo>
                <a:lnTo>
                  <a:pt x="506" y="426"/>
                </a:lnTo>
                <a:lnTo>
                  <a:pt x="509" y="429"/>
                </a:lnTo>
                <a:lnTo>
                  <a:pt x="514" y="431"/>
                </a:lnTo>
                <a:lnTo>
                  <a:pt x="518" y="432"/>
                </a:lnTo>
                <a:lnTo>
                  <a:pt x="514" y="442"/>
                </a:lnTo>
                <a:lnTo>
                  <a:pt x="508" y="454"/>
                </a:lnTo>
                <a:lnTo>
                  <a:pt x="506" y="460"/>
                </a:lnTo>
                <a:lnTo>
                  <a:pt x="504" y="465"/>
                </a:lnTo>
                <a:lnTo>
                  <a:pt x="500" y="468"/>
                </a:lnTo>
                <a:lnTo>
                  <a:pt x="498" y="469"/>
                </a:lnTo>
                <a:lnTo>
                  <a:pt x="493" y="485"/>
                </a:lnTo>
                <a:lnTo>
                  <a:pt x="486" y="498"/>
                </a:lnTo>
                <a:lnTo>
                  <a:pt x="483" y="505"/>
                </a:lnTo>
                <a:lnTo>
                  <a:pt x="481" y="511"/>
                </a:lnTo>
                <a:lnTo>
                  <a:pt x="480" y="518"/>
                </a:lnTo>
                <a:lnTo>
                  <a:pt x="478" y="524"/>
                </a:lnTo>
                <a:lnTo>
                  <a:pt x="465" y="522"/>
                </a:lnTo>
                <a:lnTo>
                  <a:pt x="450" y="518"/>
                </a:lnTo>
                <a:lnTo>
                  <a:pt x="438" y="513"/>
                </a:lnTo>
                <a:lnTo>
                  <a:pt x="432" y="511"/>
                </a:lnTo>
                <a:lnTo>
                  <a:pt x="436" y="505"/>
                </a:lnTo>
                <a:lnTo>
                  <a:pt x="440" y="499"/>
                </a:lnTo>
                <a:lnTo>
                  <a:pt x="445" y="494"/>
                </a:lnTo>
                <a:lnTo>
                  <a:pt x="451" y="489"/>
                </a:lnTo>
                <a:lnTo>
                  <a:pt x="456" y="484"/>
                </a:lnTo>
                <a:lnTo>
                  <a:pt x="461" y="478"/>
                </a:lnTo>
                <a:lnTo>
                  <a:pt x="463" y="475"/>
                </a:lnTo>
                <a:lnTo>
                  <a:pt x="464" y="471"/>
                </a:lnTo>
                <a:lnTo>
                  <a:pt x="465" y="467"/>
                </a:lnTo>
                <a:lnTo>
                  <a:pt x="465" y="463"/>
                </a:lnTo>
                <a:lnTo>
                  <a:pt x="464" y="455"/>
                </a:lnTo>
                <a:lnTo>
                  <a:pt x="463" y="448"/>
                </a:lnTo>
                <a:lnTo>
                  <a:pt x="461" y="441"/>
                </a:lnTo>
                <a:lnTo>
                  <a:pt x="458" y="434"/>
                </a:lnTo>
                <a:lnTo>
                  <a:pt x="449" y="420"/>
                </a:lnTo>
                <a:lnTo>
                  <a:pt x="439" y="407"/>
                </a:lnTo>
                <a:lnTo>
                  <a:pt x="427" y="395"/>
                </a:lnTo>
                <a:lnTo>
                  <a:pt x="415" y="384"/>
                </a:lnTo>
                <a:lnTo>
                  <a:pt x="403" y="376"/>
                </a:lnTo>
                <a:lnTo>
                  <a:pt x="392" y="370"/>
                </a:lnTo>
                <a:lnTo>
                  <a:pt x="385" y="369"/>
                </a:lnTo>
                <a:lnTo>
                  <a:pt x="378" y="367"/>
                </a:lnTo>
                <a:lnTo>
                  <a:pt x="372" y="364"/>
                </a:lnTo>
                <a:lnTo>
                  <a:pt x="366" y="362"/>
                </a:lnTo>
                <a:lnTo>
                  <a:pt x="355" y="356"/>
                </a:lnTo>
                <a:lnTo>
                  <a:pt x="348" y="349"/>
                </a:lnTo>
                <a:lnTo>
                  <a:pt x="336" y="338"/>
                </a:lnTo>
                <a:lnTo>
                  <a:pt x="332" y="333"/>
                </a:lnTo>
                <a:lnTo>
                  <a:pt x="318" y="330"/>
                </a:lnTo>
                <a:lnTo>
                  <a:pt x="305" y="327"/>
                </a:lnTo>
                <a:lnTo>
                  <a:pt x="292" y="323"/>
                </a:lnTo>
                <a:lnTo>
                  <a:pt x="280" y="319"/>
                </a:lnTo>
                <a:lnTo>
                  <a:pt x="268" y="315"/>
                </a:lnTo>
                <a:lnTo>
                  <a:pt x="257" y="310"/>
                </a:lnTo>
                <a:lnTo>
                  <a:pt x="247" y="304"/>
                </a:lnTo>
                <a:lnTo>
                  <a:pt x="237" y="299"/>
                </a:lnTo>
                <a:lnTo>
                  <a:pt x="218" y="285"/>
                </a:lnTo>
                <a:lnTo>
                  <a:pt x="202" y="272"/>
                </a:lnTo>
                <a:lnTo>
                  <a:pt x="186" y="258"/>
                </a:lnTo>
                <a:lnTo>
                  <a:pt x="173" y="244"/>
                </a:lnTo>
                <a:lnTo>
                  <a:pt x="162" y="229"/>
                </a:lnTo>
                <a:lnTo>
                  <a:pt x="152" y="215"/>
                </a:lnTo>
                <a:lnTo>
                  <a:pt x="144" y="202"/>
                </a:lnTo>
                <a:lnTo>
                  <a:pt x="137" y="189"/>
                </a:lnTo>
                <a:lnTo>
                  <a:pt x="126" y="168"/>
                </a:lnTo>
                <a:lnTo>
                  <a:pt x="119" y="154"/>
                </a:lnTo>
                <a:lnTo>
                  <a:pt x="102" y="154"/>
                </a:lnTo>
                <a:lnTo>
                  <a:pt x="89" y="154"/>
                </a:lnTo>
                <a:lnTo>
                  <a:pt x="77" y="154"/>
                </a:lnTo>
                <a:lnTo>
                  <a:pt x="67" y="154"/>
                </a:lnTo>
                <a:lnTo>
                  <a:pt x="61" y="155"/>
                </a:lnTo>
                <a:lnTo>
                  <a:pt x="57" y="155"/>
                </a:lnTo>
                <a:lnTo>
                  <a:pt x="51" y="157"/>
                </a:lnTo>
                <a:lnTo>
                  <a:pt x="46" y="159"/>
                </a:lnTo>
                <a:lnTo>
                  <a:pt x="34" y="164"/>
                </a:lnTo>
                <a:lnTo>
                  <a:pt x="21" y="172"/>
                </a:lnTo>
                <a:lnTo>
                  <a:pt x="15" y="165"/>
                </a:lnTo>
                <a:lnTo>
                  <a:pt x="12" y="158"/>
                </a:lnTo>
                <a:lnTo>
                  <a:pt x="7" y="150"/>
                </a:lnTo>
                <a:lnTo>
                  <a:pt x="5" y="141"/>
                </a:lnTo>
                <a:lnTo>
                  <a:pt x="3" y="133"/>
                </a:lnTo>
                <a:lnTo>
                  <a:pt x="1" y="123"/>
                </a:lnTo>
                <a:lnTo>
                  <a:pt x="1" y="114"/>
                </a:lnTo>
                <a:lnTo>
                  <a:pt x="0" y="105"/>
                </a:lnTo>
                <a:lnTo>
                  <a:pt x="1" y="93"/>
                </a:lnTo>
                <a:lnTo>
                  <a:pt x="3" y="83"/>
                </a:lnTo>
                <a:lnTo>
                  <a:pt x="5" y="71"/>
                </a:lnTo>
                <a:lnTo>
                  <a:pt x="6" y="55"/>
                </a:lnTo>
                <a:lnTo>
                  <a:pt x="6" y="49"/>
                </a:lnTo>
                <a:lnTo>
                  <a:pt x="27" y="49"/>
                </a:lnTo>
                <a:lnTo>
                  <a:pt x="34" y="47"/>
                </a:lnTo>
                <a:lnTo>
                  <a:pt x="39" y="44"/>
                </a:lnTo>
                <a:lnTo>
                  <a:pt x="45" y="41"/>
                </a:lnTo>
                <a:lnTo>
                  <a:pt x="49" y="37"/>
                </a:lnTo>
                <a:lnTo>
                  <a:pt x="58" y="31"/>
                </a:lnTo>
                <a:lnTo>
                  <a:pt x="67" y="25"/>
                </a:lnTo>
                <a:lnTo>
                  <a:pt x="68" y="33"/>
                </a:lnTo>
                <a:lnTo>
                  <a:pt x="70" y="39"/>
                </a:lnTo>
                <a:lnTo>
                  <a:pt x="73" y="44"/>
                </a:lnTo>
                <a:lnTo>
                  <a:pt x="78" y="46"/>
                </a:lnTo>
                <a:lnTo>
                  <a:pt x="83" y="48"/>
                </a:lnTo>
                <a:lnTo>
                  <a:pt x="89" y="49"/>
                </a:lnTo>
                <a:lnTo>
                  <a:pt x="94" y="49"/>
                </a:lnTo>
                <a:lnTo>
                  <a:pt x="100" y="49"/>
                </a:lnTo>
                <a:lnTo>
                  <a:pt x="104" y="44"/>
                </a:lnTo>
                <a:lnTo>
                  <a:pt x="113" y="38"/>
                </a:lnTo>
                <a:lnTo>
                  <a:pt x="124" y="31"/>
                </a:lnTo>
                <a:lnTo>
                  <a:pt x="136" y="24"/>
                </a:lnTo>
                <a:lnTo>
                  <a:pt x="149" y="16"/>
                </a:lnTo>
                <a:lnTo>
                  <a:pt x="160" y="11"/>
                </a:lnTo>
                <a:lnTo>
                  <a:pt x="168" y="7"/>
                </a:lnTo>
                <a:lnTo>
                  <a:pt x="173" y="6"/>
                </a:lnTo>
                <a:lnTo>
                  <a:pt x="239" y="0"/>
                </a:lnTo>
                <a:lnTo>
                  <a:pt x="243" y="4"/>
                </a:lnTo>
                <a:lnTo>
                  <a:pt x="248" y="8"/>
                </a:lnTo>
                <a:lnTo>
                  <a:pt x="252" y="11"/>
                </a:lnTo>
                <a:lnTo>
                  <a:pt x="257" y="13"/>
                </a:lnTo>
                <a:lnTo>
                  <a:pt x="266" y="16"/>
                </a:lnTo>
                <a:lnTo>
                  <a:pt x="279" y="19"/>
                </a:lnTo>
                <a:lnTo>
                  <a:pt x="304" y="20"/>
                </a:lnTo>
                <a:lnTo>
                  <a:pt x="332" y="19"/>
                </a:lnTo>
                <a:lnTo>
                  <a:pt x="331" y="34"/>
                </a:lnTo>
                <a:lnTo>
                  <a:pt x="329" y="46"/>
                </a:lnTo>
                <a:lnTo>
                  <a:pt x="325" y="56"/>
                </a:lnTo>
                <a:lnTo>
                  <a:pt x="322" y="65"/>
                </a:lnTo>
                <a:lnTo>
                  <a:pt x="320" y="74"/>
                </a:lnTo>
                <a:lnTo>
                  <a:pt x="321" y="82"/>
                </a:lnTo>
                <a:lnTo>
                  <a:pt x="322" y="86"/>
                </a:lnTo>
                <a:lnTo>
                  <a:pt x="325" y="90"/>
                </a:lnTo>
                <a:lnTo>
                  <a:pt x="328" y="94"/>
                </a:lnTo>
                <a:lnTo>
                  <a:pt x="332" y="99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1" name="Freeform 18"/>
          <p:cNvSpPr>
            <a:spLocks/>
          </p:cNvSpPr>
          <p:nvPr userDrawn="1">
            <p:custDataLst>
              <p:tags r:id="rId15"/>
            </p:custDataLst>
          </p:nvPr>
        </p:nvSpPr>
        <p:spPr bwMode="auto">
          <a:xfrm>
            <a:off x="4224340" y="1951447"/>
            <a:ext cx="33338" cy="61913"/>
          </a:xfrm>
          <a:custGeom>
            <a:avLst/>
            <a:gdLst>
              <a:gd name="T0" fmla="*/ 0 w 79"/>
              <a:gd name="T1" fmla="*/ 9849247 h 160"/>
              <a:gd name="T2" fmla="*/ 1068504 w 79"/>
              <a:gd name="T3" fmla="*/ 9849247 h 160"/>
              <a:gd name="T4" fmla="*/ 1958924 w 79"/>
              <a:gd name="T5" fmla="*/ 9583024 h 160"/>
              <a:gd name="T6" fmla="*/ 2849344 w 79"/>
              <a:gd name="T7" fmla="*/ 9316800 h 160"/>
              <a:gd name="T8" fmla="*/ 3383596 w 79"/>
              <a:gd name="T9" fmla="*/ 8784353 h 160"/>
              <a:gd name="T10" fmla="*/ 4630184 w 79"/>
              <a:gd name="T11" fmla="*/ 7453232 h 160"/>
              <a:gd name="T12" fmla="*/ 5520604 w 79"/>
              <a:gd name="T13" fmla="*/ 5856406 h 160"/>
              <a:gd name="T14" fmla="*/ 6589107 w 79"/>
              <a:gd name="T15" fmla="*/ 4259064 h 160"/>
              <a:gd name="T16" fmla="*/ 7301444 w 79"/>
              <a:gd name="T17" fmla="*/ 2661722 h 160"/>
              <a:gd name="T18" fmla="*/ 8191864 w 79"/>
              <a:gd name="T19" fmla="*/ 1331119 h 160"/>
              <a:gd name="T20" fmla="*/ 9438452 w 79"/>
              <a:gd name="T21" fmla="*/ 0 h 160"/>
              <a:gd name="T22" fmla="*/ 10150787 w 79"/>
              <a:gd name="T23" fmla="*/ 798671 h 160"/>
              <a:gd name="T24" fmla="*/ 11041207 w 79"/>
              <a:gd name="T25" fmla="*/ 1863566 h 160"/>
              <a:gd name="T26" fmla="*/ 11397375 w 79"/>
              <a:gd name="T27" fmla="*/ 2661722 h 160"/>
              <a:gd name="T28" fmla="*/ 11753543 w 79"/>
              <a:gd name="T29" fmla="*/ 3726616 h 160"/>
              <a:gd name="T30" fmla="*/ 12287795 w 79"/>
              <a:gd name="T31" fmla="*/ 5856406 h 160"/>
              <a:gd name="T32" fmla="*/ 12822046 w 79"/>
              <a:gd name="T33" fmla="*/ 8518129 h 160"/>
              <a:gd name="T34" fmla="*/ 13000130 w 79"/>
              <a:gd name="T35" fmla="*/ 10647918 h 160"/>
              <a:gd name="T36" fmla="*/ 13178214 w 79"/>
              <a:gd name="T37" fmla="*/ 13043415 h 160"/>
              <a:gd name="T38" fmla="*/ 13534382 w 79"/>
              <a:gd name="T39" fmla="*/ 15438912 h 160"/>
              <a:gd name="T40" fmla="*/ 14068637 w 79"/>
              <a:gd name="T41" fmla="*/ 17834929 h 160"/>
              <a:gd name="T42" fmla="*/ 14068637 w 79"/>
              <a:gd name="T43" fmla="*/ 26086830 h 160"/>
              <a:gd name="T44" fmla="*/ 12109711 w 79"/>
              <a:gd name="T45" fmla="*/ 30612116 h 160"/>
              <a:gd name="T46" fmla="*/ 10506955 w 79"/>
              <a:gd name="T47" fmla="*/ 34338739 h 160"/>
              <a:gd name="T48" fmla="*/ 9438452 w 79"/>
              <a:gd name="T49" fmla="*/ 36202305 h 160"/>
              <a:gd name="T50" fmla="*/ 8904200 w 79"/>
              <a:gd name="T51" fmla="*/ 38331578 h 160"/>
              <a:gd name="T52" fmla="*/ 8548032 w 79"/>
              <a:gd name="T53" fmla="*/ 40195144 h 160"/>
              <a:gd name="T54" fmla="*/ 8191864 w 79"/>
              <a:gd name="T55" fmla="*/ 42590641 h 160"/>
              <a:gd name="T56" fmla="*/ 7123361 w 79"/>
              <a:gd name="T57" fmla="*/ 41259522 h 160"/>
              <a:gd name="T58" fmla="*/ 5876771 w 79"/>
              <a:gd name="T59" fmla="*/ 39928920 h 160"/>
              <a:gd name="T60" fmla="*/ 4986352 w 79"/>
              <a:gd name="T61" fmla="*/ 38331578 h 160"/>
              <a:gd name="T62" fmla="*/ 3917848 w 79"/>
              <a:gd name="T63" fmla="*/ 36468013 h 160"/>
              <a:gd name="T64" fmla="*/ 3205512 w 79"/>
              <a:gd name="T65" fmla="*/ 34604963 h 160"/>
              <a:gd name="T66" fmla="*/ 2671260 w 79"/>
              <a:gd name="T67" fmla="*/ 32741389 h 160"/>
              <a:gd name="T68" fmla="*/ 1958924 w 79"/>
              <a:gd name="T69" fmla="*/ 30612116 h 160"/>
              <a:gd name="T70" fmla="*/ 1424672 w 79"/>
              <a:gd name="T71" fmla="*/ 28748551 h 160"/>
              <a:gd name="T72" fmla="*/ 712336 w 79"/>
              <a:gd name="T73" fmla="*/ 24223264 h 160"/>
              <a:gd name="T74" fmla="*/ 178084 w 79"/>
              <a:gd name="T75" fmla="*/ 19431755 h 160"/>
              <a:gd name="T76" fmla="*/ 0 w 79"/>
              <a:gd name="T77" fmla="*/ 14640757 h 160"/>
              <a:gd name="T78" fmla="*/ 0 w 79"/>
              <a:gd name="T79" fmla="*/ 9849247 h 16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79"/>
              <a:gd name="T121" fmla="*/ 0 h 160"/>
              <a:gd name="T122" fmla="*/ 79 w 79"/>
              <a:gd name="T123" fmla="*/ 160 h 160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79" h="160">
                <a:moveTo>
                  <a:pt x="0" y="37"/>
                </a:moveTo>
                <a:lnTo>
                  <a:pt x="6" y="37"/>
                </a:lnTo>
                <a:lnTo>
                  <a:pt x="11" y="36"/>
                </a:lnTo>
                <a:lnTo>
                  <a:pt x="16" y="35"/>
                </a:lnTo>
                <a:lnTo>
                  <a:pt x="19" y="33"/>
                </a:lnTo>
                <a:lnTo>
                  <a:pt x="26" y="28"/>
                </a:lnTo>
                <a:lnTo>
                  <a:pt x="31" y="22"/>
                </a:lnTo>
                <a:lnTo>
                  <a:pt x="37" y="16"/>
                </a:lnTo>
                <a:lnTo>
                  <a:pt x="41" y="10"/>
                </a:lnTo>
                <a:lnTo>
                  <a:pt x="46" y="5"/>
                </a:lnTo>
                <a:lnTo>
                  <a:pt x="53" y="0"/>
                </a:lnTo>
                <a:lnTo>
                  <a:pt x="57" y="3"/>
                </a:lnTo>
                <a:lnTo>
                  <a:pt x="62" y="7"/>
                </a:lnTo>
                <a:lnTo>
                  <a:pt x="64" y="10"/>
                </a:lnTo>
                <a:lnTo>
                  <a:pt x="66" y="14"/>
                </a:lnTo>
                <a:lnTo>
                  <a:pt x="69" y="22"/>
                </a:lnTo>
                <a:lnTo>
                  <a:pt x="72" y="32"/>
                </a:lnTo>
                <a:lnTo>
                  <a:pt x="73" y="40"/>
                </a:lnTo>
                <a:lnTo>
                  <a:pt x="74" y="49"/>
                </a:lnTo>
                <a:lnTo>
                  <a:pt x="76" y="58"/>
                </a:lnTo>
                <a:lnTo>
                  <a:pt x="79" y="67"/>
                </a:lnTo>
                <a:lnTo>
                  <a:pt x="79" y="98"/>
                </a:lnTo>
                <a:lnTo>
                  <a:pt x="68" y="115"/>
                </a:lnTo>
                <a:lnTo>
                  <a:pt x="59" y="129"/>
                </a:lnTo>
                <a:lnTo>
                  <a:pt x="53" y="136"/>
                </a:lnTo>
                <a:lnTo>
                  <a:pt x="50" y="144"/>
                </a:lnTo>
                <a:lnTo>
                  <a:pt x="48" y="151"/>
                </a:lnTo>
                <a:lnTo>
                  <a:pt x="46" y="160"/>
                </a:lnTo>
                <a:lnTo>
                  <a:pt x="40" y="155"/>
                </a:lnTo>
                <a:lnTo>
                  <a:pt x="33" y="150"/>
                </a:lnTo>
                <a:lnTo>
                  <a:pt x="28" y="144"/>
                </a:lnTo>
                <a:lnTo>
                  <a:pt x="22" y="137"/>
                </a:lnTo>
                <a:lnTo>
                  <a:pt x="18" y="130"/>
                </a:lnTo>
                <a:lnTo>
                  <a:pt x="15" y="123"/>
                </a:lnTo>
                <a:lnTo>
                  <a:pt x="11" y="115"/>
                </a:lnTo>
                <a:lnTo>
                  <a:pt x="8" y="108"/>
                </a:lnTo>
                <a:lnTo>
                  <a:pt x="4" y="91"/>
                </a:lnTo>
                <a:lnTo>
                  <a:pt x="1" y="73"/>
                </a:lnTo>
                <a:lnTo>
                  <a:pt x="0" y="55"/>
                </a:lnTo>
                <a:lnTo>
                  <a:pt x="0" y="37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grpSp>
        <p:nvGrpSpPr>
          <p:cNvPr id="3" name="Group 19"/>
          <p:cNvGrpSpPr>
            <a:grpSpLocks/>
          </p:cNvGrpSpPr>
          <p:nvPr userDrawn="1">
            <p:custDataLst>
              <p:tags r:id="rId16"/>
            </p:custDataLst>
          </p:nvPr>
        </p:nvGrpSpPr>
        <p:grpSpPr bwMode="auto">
          <a:xfrm>
            <a:off x="6581785" y="2746775"/>
            <a:ext cx="473075" cy="159544"/>
            <a:chOff x="4488" y="2394"/>
            <a:chExt cx="358" cy="124"/>
          </a:xfrm>
          <a:solidFill>
            <a:sysClr val="window" lastClr="FFFFFF">
              <a:lumMod val="85000"/>
            </a:sysClr>
          </a:solidFill>
        </p:grpSpPr>
        <p:sp>
          <p:nvSpPr>
            <p:cNvPr id="23" name="Freeform 20"/>
            <p:cNvSpPr>
              <a:spLocks/>
            </p:cNvSpPr>
            <p:nvPr/>
          </p:nvSpPr>
          <p:spPr bwMode="auto">
            <a:xfrm>
              <a:off x="4675" y="2394"/>
              <a:ext cx="171" cy="124"/>
            </a:xfrm>
            <a:custGeom>
              <a:avLst/>
              <a:gdLst>
                <a:gd name="T0" fmla="*/ 47 w 512"/>
                <a:gd name="T1" fmla="*/ 18 h 408"/>
                <a:gd name="T2" fmla="*/ 43 w 512"/>
                <a:gd name="T3" fmla="*/ 18 h 408"/>
                <a:gd name="T4" fmla="*/ 41 w 512"/>
                <a:gd name="T5" fmla="*/ 19 h 408"/>
                <a:gd name="T6" fmla="*/ 39 w 512"/>
                <a:gd name="T7" fmla="*/ 20 h 408"/>
                <a:gd name="T8" fmla="*/ 39 w 512"/>
                <a:gd name="T9" fmla="*/ 23 h 408"/>
                <a:gd name="T10" fmla="*/ 36 w 512"/>
                <a:gd name="T11" fmla="*/ 28 h 408"/>
                <a:gd name="T12" fmla="*/ 34 w 512"/>
                <a:gd name="T13" fmla="*/ 31 h 408"/>
                <a:gd name="T14" fmla="*/ 32 w 512"/>
                <a:gd name="T15" fmla="*/ 32 h 408"/>
                <a:gd name="T16" fmla="*/ 30 w 512"/>
                <a:gd name="T17" fmla="*/ 33 h 408"/>
                <a:gd name="T18" fmla="*/ 29 w 512"/>
                <a:gd name="T19" fmla="*/ 34 h 408"/>
                <a:gd name="T20" fmla="*/ 28 w 512"/>
                <a:gd name="T21" fmla="*/ 35 h 408"/>
                <a:gd name="T22" fmla="*/ 24 w 512"/>
                <a:gd name="T23" fmla="*/ 34 h 408"/>
                <a:gd name="T24" fmla="*/ 20 w 512"/>
                <a:gd name="T25" fmla="*/ 34 h 408"/>
                <a:gd name="T26" fmla="*/ 17 w 512"/>
                <a:gd name="T27" fmla="*/ 34 h 408"/>
                <a:gd name="T28" fmla="*/ 15 w 512"/>
                <a:gd name="T29" fmla="*/ 36 h 408"/>
                <a:gd name="T30" fmla="*/ 11 w 512"/>
                <a:gd name="T31" fmla="*/ 37 h 408"/>
                <a:gd name="T32" fmla="*/ 7 w 512"/>
                <a:gd name="T33" fmla="*/ 38 h 408"/>
                <a:gd name="T34" fmla="*/ 5 w 512"/>
                <a:gd name="T35" fmla="*/ 37 h 408"/>
                <a:gd name="T36" fmla="*/ 2 w 512"/>
                <a:gd name="T37" fmla="*/ 34 h 408"/>
                <a:gd name="T38" fmla="*/ 0 w 512"/>
                <a:gd name="T39" fmla="*/ 32 h 408"/>
                <a:gd name="T40" fmla="*/ 1 w 512"/>
                <a:gd name="T41" fmla="*/ 31 h 408"/>
                <a:gd name="T42" fmla="*/ 4 w 512"/>
                <a:gd name="T43" fmla="*/ 32 h 408"/>
                <a:gd name="T44" fmla="*/ 6 w 512"/>
                <a:gd name="T45" fmla="*/ 31 h 408"/>
                <a:gd name="T46" fmla="*/ 6 w 512"/>
                <a:gd name="T47" fmla="*/ 29 h 408"/>
                <a:gd name="T48" fmla="*/ 8 w 512"/>
                <a:gd name="T49" fmla="*/ 28 h 408"/>
                <a:gd name="T50" fmla="*/ 9 w 512"/>
                <a:gd name="T51" fmla="*/ 26 h 408"/>
                <a:gd name="T52" fmla="*/ 10 w 512"/>
                <a:gd name="T53" fmla="*/ 25 h 408"/>
                <a:gd name="T54" fmla="*/ 11 w 512"/>
                <a:gd name="T55" fmla="*/ 24 h 408"/>
                <a:gd name="T56" fmla="*/ 15 w 512"/>
                <a:gd name="T57" fmla="*/ 23 h 408"/>
                <a:gd name="T58" fmla="*/ 19 w 512"/>
                <a:gd name="T59" fmla="*/ 22 h 408"/>
                <a:gd name="T60" fmla="*/ 22 w 512"/>
                <a:gd name="T61" fmla="*/ 20 h 408"/>
                <a:gd name="T62" fmla="*/ 24 w 512"/>
                <a:gd name="T63" fmla="*/ 19 h 408"/>
                <a:gd name="T64" fmla="*/ 24 w 512"/>
                <a:gd name="T65" fmla="*/ 18 h 408"/>
                <a:gd name="T66" fmla="*/ 25 w 512"/>
                <a:gd name="T67" fmla="*/ 15 h 408"/>
                <a:gd name="T68" fmla="*/ 25 w 512"/>
                <a:gd name="T69" fmla="*/ 14 h 408"/>
                <a:gd name="T70" fmla="*/ 26 w 512"/>
                <a:gd name="T71" fmla="*/ 14 h 408"/>
                <a:gd name="T72" fmla="*/ 27 w 512"/>
                <a:gd name="T73" fmla="*/ 13 h 408"/>
                <a:gd name="T74" fmla="*/ 26 w 512"/>
                <a:gd name="T75" fmla="*/ 14 h 408"/>
                <a:gd name="T76" fmla="*/ 27 w 512"/>
                <a:gd name="T77" fmla="*/ 16 h 408"/>
                <a:gd name="T78" fmla="*/ 28 w 512"/>
                <a:gd name="T79" fmla="*/ 18 h 408"/>
                <a:gd name="T80" fmla="*/ 30 w 512"/>
                <a:gd name="T81" fmla="*/ 19 h 408"/>
                <a:gd name="T82" fmla="*/ 34 w 512"/>
                <a:gd name="T83" fmla="*/ 19 h 408"/>
                <a:gd name="T84" fmla="*/ 36 w 512"/>
                <a:gd name="T85" fmla="*/ 19 h 408"/>
                <a:gd name="T86" fmla="*/ 36 w 512"/>
                <a:gd name="T87" fmla="*/ 18 h 408"/>
                <a:gd name="T88" fmla="*/ 36 w 512"/>
                <a:gd name="T89" fmla="*/ 16 h 408"/>
                <a:gd name="T90" fmla="*/ 33 w 512"/>
                <a:gd name="T91" fmla="*/ 12 h 408"/>
                <a:gd name="T92" fmla="*/ 36 w 512"/>
                <a:gd name="T93" fmla="*/ 10 h 408"/>
                <a:gd name="T94" fmla="*/ 38 w 512"/>
                <a:gd name="T95" fmla="*/ 6 h 408"/>
                <a:gd name="T96" fmla="*/ 42 w 512"/>
                <a:gd name="T97" fmla="*/ 2 h 408"/>
                <a:gd name="T98" fmla="*/ 44 w 512"/>
                <a:gd name="T99" fmla="*/ 0 h 408"/>
                <a:gd name="T100" fmla="*/ 45 w 512"/>
                <a:gd name="T101" fmla="*/ 2 h 408"/>
                <a:gd name="T102" fmla="*/ 46 w 512"/>
                <a:gd name="T103" fmla="*/ 5 h 408"/>
                <a:gd name="T104" fmla="*/ 49 w 512"/>
                <a:gd name="T105" fmla="*/ 7 h 408"/>
                <a:gd name="T106" fmla="*/ 54 w 512"/>
                <a:gd name="T107" fmla="*/ 10 h 408"/>
                <a:gd name="T108" fmla="*/ 57 w 512"/>
                <a:gd name="T109" fmla="*/ 12 h 408"/>
                <a:gd name="T110" fmla="*/ 56 w 512"/>
                <a:gd name="T111" fmla="*/ 14 h 408"/>
                <a:gd name="T112" fmla="*/ 53 w 512"/>
                <a:gd name="T113" fmla="*/ 14 h 408"/>
                <a:gd name="T114" fmla="*/ 51 w 512"/>
                <a:gd name="T115" fmla="*/ 17 h 40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12"/>
                <a:gd name="T175" fmla="*/ 0 h 408"/>
                <a:gd name="T176" fmla="*/ 512 w 512"/>
                <a:gd name="T177" fmla="*/ 408 h 40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12" h="408">
                  <a:moveTo>
                    <a:pt x="452" y="204"/>
                  </a:moveTo>
                  <a:lnTo>
                    <a:pt x="442" y="202"/>
                  </a:lnTo>
                  <a:lnTo>
                    <a:pt x="424" y="198"/>
                  </a:lnTo>
                  <a:lnTo>
                    <a:pt x="407" y="194"/>
                  </a:lnTo>
                  <a:lnTo>
                    <a:pt x="392" y="192"/>
                  </a:lnTo>
                  <a:lnTo>
                    <a:pt x="387" y="193"/>
                  </a:lnTo>
                  <a:lnTo>
                    <a:pt x="380" y="195"/>
                  </a:lnTo>
                  <a:lnTo>
                    <a:pt x="374" y="198"/>
                  </a:lnTo>
                  <a:lnTo>
                    <a:pt x="367" y="203"/>
                  </a:lnTo>
                  <a:lnTo>
                    <a:pt x="362" y="207"/>
                  </a:lnTo>
                  <a:lnTo>
                    <a:pt x="356" y="212"/>
                  </a:lnTo>
                  <a:lnTo>
                    <a:pt x="354" y="217"/>
                  </a:lnTo>
                  <a:lnTo>
                    <a:pt x="353" y="222"/>
                  </a:lnTo>
                  <a:lnTo>
                    <a:pt x="351" y="238"/>
                  </a:lnTo>
                  <a:lnTo>
                    <a:pt x="347" y="254"/>
                  </a:lnTo>
                  <a:lnTo>
                    <a:pt x="342" y="271"/>
                  </a:lnTo>
                  <a:lnTo>
                    <a:pt x="335" y="289"/>
                  </a:lnTo>
                  <a:lnTo>
                    <a:pt x="327" y="306"/>
                  </a:lnTo>
                  <a:lnTo>
                    <a:pt x="316" y="321"/>
                  </a:lnTo>
                  <a:lnTo>
                    <a:pt x="310" y="328"/>
                  </a:lnTo>
                  <a:lnTo>
                    <a:pt x="305" y="335"/>
                  </a:lnTo>
                  <a:lnTo>
                    <a:pt x="299" y="341"/>
                  </a:lnTo>
                  <a:lnTo>
                    <a:pt x="293" y="346"/>
                  </a:lnTo>
                  <a:lnTo>
                    <a:pt x="289" y="350"/>
                  </a:lnTo>
                  <a:lnTo>
                    <a:pt x="284" y="354"/>
                  </a:lnTo>
                  <a:lnTo>
                    <a:pt x="277" y="356"/>
                  </a:lnTo>
                  <a:lnTo>
                    <a:pt x="271" y="359"/>
                  </a:lnTo>
                  <a:lnTo>
                    <a:pt x="264" y="362"/>
                  </a:lnTo>
                  <a:lnTo>
                    <a:pt x="258" y="366"/>
                  </a:lnTo>
                  <a:lnTo>
                    <a:pt x="256" y="368"/>
                  </a:lnTo>
                  <a:lnTo>
                    <a:pt x="254" y="370"/>
                  </a:lnTo>
                  <a:lnTo>
                    <a:pt x="253" y="373"/>
                  </a:lnTo>
                  <a:lnTo>
                    <a:pt x="253" y="376"/>
                  </a:lnTo>
                  <a:lnTo>
                    <a:pt x="227" y="376"/>
                  </a:lnTo>
                  <a:lnTo>
                    <a:pt x="221" y="373"/>
                  </a:lnTo>
                  <a:lnTo>
                    <a:pt x="215" y="370"/>
                  </a:lnTo>
                  <a:lnTo>
                    <a:pt x="208" y="369"/>
                  </a:lnTo>
                  <a:lnTo>
                    <a:pt x="200" y="368"/>
                  </a:lnTo>
                  <a:lnTo>
                    <a:pt x="183" y="367"/>
                  </a:lnTo>
                  <a:lnTo>
                    <a:pt x="160" y="364"/>
                  </a:lnTo>
                  <a:lnTo>
                    <a:pt x="157" y="369"/>
                  </a:lnTo>
                  <a:lnTo>
                    <a:pt x="155" y="373"/>
                  </a:lnTo>
                  <a:lnTo>
                    <a:pt x="152" y="377"/>
                  </a:lnTo>
                  <a:lnTo>
                    <a:pt x="148" y="381"/>
                  </a:lnTo>
                  <a:lnTo>
                    <a:pt x="138" y="388"/>
                  </a:lnTo>
                  <a:lnTo>
                    <a:pt x="126" y="396"/>
                  </a:lnTo>
                  <a:lnTo>
                    <a:pt x="111" y="401"/>
                  </a:lnTo>
                  <a:lnTo>
                    <a:pt x="97" y="405"/>
                  </a:lnTo>
                  <a:lnTo>
                    <a:pt x="82" y="407"/>
                  </a:lnTo>
                  <a:lnTo>
                    <a:pt x="66" y="408"/>
                  </a:lnTo>
                  <a:lnTo>
                    <a:pt x="62" y="407"/>
                  </a:lnTo>
                  <a:lnTo>
                    <a:pt x="56" y="406"/>
                  </a:lnTo>
                  <a:lnTo>
                    <a:pt x="51" y="403"/>
                  </a:lnTo>
                  <a:lnTo>
                    <a:pt x="45" y="400"/>
                  </a:lnTo>
                  <a:lnTo>
                    <a:pt x="34" y="390"/>
                  </a:lnTo>
                  <a:lnTo>
                    <a:pt x="24" y="379"/>
                  </a:lnTo>
                  <a:lnTo>
                    <a:pt x="15" y="368"/>
                  </a:lnTo>
                  <a:lnTo>
                    <a:pt x="7" y="356"/>
                  </a:lnTo>
                  <a:lnTo>
                    <a:pt x="4" y="350"/>
                  </a:lnTo>
                  <a:lnTo>
                    <a:pt x="2" y="344"/>
                  </a:lnTo>
                  <a:lnTo>
                    <a:pt x="0" y="338"/>
                  </a:lnTo>
                  <a:lnTo>
                    <a:pt x="0" y="333"/>
                  </a:lnTo>
                  <a:lnTo>
                    <a:pt x="8" y="335"/>
                  </a:lnTo>
                  <a:lnTo>
                    <a:pt x="19" y="340"/>
                  </a:lnTo>
                  <a:lnTo>
                    <a:pt x="27" y="342"/>
                  </a:lnTo>
                  <a:lnTo>
                    <a:pt x="34" y="344"/>
                  </a:lnTo>
                  <a:lnTo>
                    <a:pt x="43" y="346"/>
                  </a:lnTo>
                  <a:lnTo>
                    <a:pt x="53" y="346"/>
                  </a:lnTo>
                  <a:lnTo>
                    <a:pt x="53" y="336"/>
                  </a:lnTo>
                  <a:lnTo>
                    <a:pt x="54" y="328"/>
                  </a:lnTo>
                  <a:lnTo>
                    <a:pt x="54" y="321"/>
                  </a:lnTo>
                  <a:lnTo>
                    <a:pt x="56" y="314"/>
                  </a:lnTo>
                  <a:lnTo>
                    <a:pt x="60" y="308"/>
                  </a:lnTo>
                  <a:lnTo>
                    <a:pt x="64" y="303"/>
                  </a:lnTo>
                  <a:lnTo>
                    <a:pt x="71" y="300"/>
                  </a:lnTo>
                  <a:lnTo>
                    <a:pt x="80" y="297"/>
                  </a:lnTo>
                  <a:lnTo>
                    <a:pt x="81" y="291"/>
                  </a:lnTo>
                  <a:lnTo>
                    <a:pt x="82" y="286"/>
                  </a:lnTo>
                  <a:lnTo>
                    <a:pt x="84" y="281"/>
                  </a:lnTo>
                  <a:lnTo>
                    <a:pt x="86" y="276"/>
                  </a:lnTo>
                  <a:lnTo>
                    <a:pt x="89" y="272"/>
                  </a:lnTo>
                  <a:lnTo>
                    <a:pt x="93" y="268"/>
                  </a:lnTo>
                  <a:lnTo>
                    <a:pt x="97" y="265"/>
                  </a:lnTo>
                  <a:lnTo>
                    <a:pt x="101" y="262"/>
                  </a:lnTo>
                  <a:lnTo>
                    <a:pt x="112" y="256"/>
                  </a:lnTo>
                  <a:lnTo>
                    <a:pt x="125" y="251"/>
                  </a:lnTo>
                  <a:lnTo>
                    <a:pt x="137" y="246"/>
                  </a:lnTo>
                  <a:lnTo>
                    <a:pt x="150" y="241"/>
                  </a:lnTo>
                  <a:lnTo>
                    <a:pt x="163" y="237"/>
                  </a:lnTo>
                  <a:lnTo>
                    <a:pt x="175" y="232"/>
                  </a:lnTo>
                  <a:lnTo>
                    <a:pt x="187" y="226"/>
                  </a:lnTo>
                  <a:lnTo>
                    <a:pt x="198" y="220"/>
                  </a:lnTo>
                  <a:lnTo>
                    <a:pt x="202" y="217"/>
                  </a:lnTo>
                  <a:lnTo>
                    <a:pt x="207" y="213"/>
                  </a:lnTo>
                  <a:lnTo>
                    <a:pt x="210" y="210"/>
                  </a:lnTo>
                  <a:lnTo>
                    <a:pt x="213" y="205"/>
                  </a:lnTo>
                  <a:lnTo>
                    <a:pt x="216" y="201"/>
                  </a:lnTo>
                  <a:lnTo>
                    <a:pt x="218" y="196"/>
                  </a:lnTo>
                  <a:lnTo>
                    <a:pt x="219" y="191"/>
                  </a:lnTo>
                  <a:lnTo>
                    <a:pt x="219" y="186"/>
                  </a:lnTo>
                  <a:lnTo>
                    <a:pt x="221" y="175"/>
                  </a:lnTo>
                  <a:lnTo>
                    <a:pt x="227" y="161"/>
                  </a:lnTo>
                  <a:lnTo>
                    <a:pt x="231" y="150"/>
                  </a:lnTo>
                  <a:lnTo>
                    <a:pt x="233" y="143"/>
                  </a:lnTo>
                  <a:lnTo>
                    <a:pt x="229" y="149"/>
                  </a:lnTo>
                  <a:lnTo>
                    <a:pt x="228" y="153"/>
                  </a:lnTo>
                  <a:lnTo>
                    <a:pt x="229" y="153"/>
                  </a:lnTo>
                  <a:lnTo>
                    <a:pt x="231" y="152"/>
                  </a:lnTo>
                  <a:lnTo>
                    <a:pt x="237" y="146"/>
                  </a:lnTo>
                  <a:lnTo>
                    <a:pt x="240" y="143"/>
                  </a:lnTo>
                  <a:lnTo>
                    <a:pt x="239" y="143"/>
                  </a:lnTo>
                  <a:lnTo>
                    <a:pt x="238" y="146"/>
                  </a:lnTo>
                  <a:lnTo>
                    <a:pt x="237" y="150"/>
                  </a:lnTo>
                  <a:lnTo>
                    <a:pt x="237" y="155"/>
                  </a:lnTo>
                  <a:lnTo>
                    <a:pt x="238" y="160"/>
                  </a:lnTo>
                  <a:lnTo>
                    <a:pt x="239" y="166"/>
                  </a:lnTo>
                  <a:lnTo>
                    <a:pt x="240" y="174"/>
                  </a:lnTo>
                  <a:lnTo>
                    <a:pt x="243" y="181"/>
                  </a:lnTo>
                  <a:lnTo>
                    <a:pt x="246" y="187"/>
                  </a:lnTo>
                  <a:lnTo>
                    <a:pt x="251" y="193"/>
                  </a:lnTo>
                  <a:lnTo>
                    <a:pt x="256" y="198"/>
                  </a:lnTo>
                  <a:lnTo>
                    <a:pt x="264" y="202"/>
                  </a:lnTo>
                  <a:lnTo>
                    <a:pt x="272" y="205"/>
                  </a:lnTo>
                  <a:lnTo>
                    <a:pt x="282" y="207"/>
                  </a:lnTo>
                  <a:lnTo>
                    <a:pt x="293" y="206"/>
                  </a:lnTo>
                  <a:lnTo>
                    <a:pt x="306" y="204"/>
                  </a:lnTo>
                  <a:lnTo>
                    <a:pt x="311" y="206"/>
                  </a:lnTo>
                  <a:lnTo>
                    <a:pt x="317" y="206"/>
                  </a:lnTo>
                  <a:lnTo>
                    <a:pt x="320" y="205"/>
                  </a:lnTo>
                  <a:lnTo>
                    <a:pt x="323" y="204"/>
                  </a:lnTo>
                  <a:lnTo>
                    <a:pt x="325" y="201"/>
                  </a:lnTo>
                  <a:lnTo>
                    <a:pt x="327" y="198"/>
                  </a:lnTo>
                  <a:lnTo>
                    <a:pt x="328" y="193"/>
                  </a:lnTo>
                  <a:lnTo>
                    <a:pt x="328" y="188"/>
                  </a:lnTo>
                  <a:lnTo>
                    <a:pt x="324" y="176"/>
                  </a:lnTo>
                  <a:lnTo>
                    <a:pt x="319" y="161"/>
                  </a:lnTo>
                  <a:lnTo>
                    <a:pt x="310" y="146"/>
                  </a:lnTo>
                  <a:lnTo>
                    <a:pt x="299" y="130"/>
                  </a:lnTo>
                  <a:lnTo>
                    <a:pt x="307" y="124"/>
                  </a:lnTo>
                  <a:lnTo>
                    <a:pt x="312" y="118"/>
                  </a:lnTo>
                  <a:lnTo>
                    <a:pt x="319" y="109"/>
                  </a:lnTo>
                  <a:lnTo>
                    <a:pt x="324" y="101"/>
                  </a:lnTo>
                  <a:lnTo>
                    <a:pt x="334" y="84"/>
                  </a:lnTo>
                  <a:lnTo>
                    <a:pt x="344" y="66"/>
                  </a:lnTo>
                  <a:lnTo>
                    <a:pt x="354" y="47"/>
                  </a:lnTo>
                  <a:lnTo>
                    <a:pt x="366" y="30"/>
                  </a:lnTo>
                  <a:lnTo>
                    <a:pt x="374" y="22"/>
                  </a:lnTo>
                  <a:lnTo>
                    <a:pt x="381" y="14"/>
                  </a:lnTo>
                  <a:lnTo>
                    <a:pt x="389" y="7"/>
                  </a:lnTo>
                  <a:lnTo>
                    <a:pt x="399" y="0"/>
                  </a:lnTo>
                  <a:lnTo>
                    <a:pt x="399" y="9"/>
                  </a:lnTo>
                  <a:lnTo>
                    <a:pt x="400" y="16"/>
                  </a:lnTo>
                  <a:lnTo>
                    <a:pt x="401" y="23"/>
                  </a:lnTo>
                  <a:lnTo>
                    <a:pt x="403" y="29"/>
                  </a:lnTo>
                  <a:lnTo>
                    <a:pt x="408" y="41"/>
                  </a:lnTo>
                  <a:lnTo>
                    <a:pt x="413" y="50"/>
                  </a:lnTo>
                  <a:lnTo>
                    <a:pt x="421" y="59"/>
                  </a:lnTo>
                  <a:lnTo>
                    <a:pt x="430" y="68"/>
                  </a:lnTo>
                  <a:lnTo>
                    <a:pt x="439" y="75"/>
                  </a:lnTo>
                  <a:lnTo>
                    <a:pt x="447" y="81"/>
                  </a:lnTo>
                  <a:lnTo>
                    <a:pt x="467" y="93"/>
                  </a:lnTo>
                  <a:lnTo>
                    <a:pt x="486" y="106"/>
                  </a:lnTo>
                  <a:lnTo>
                    <a:pt x="493" y="113"/>
                  </a:lnTo>
                  <a:lnTo>
                    <a:pt x="501" y="123"/>
                  </a:lnTo>
                  <a:lnTo>
                    <a:pt x="508" y="132"/>
                  </a:lnTo>
                  <a:lnTo>
                    <a:pt x="512" y="143"/>
                  </a:lnTo>
                  <a:lnTo>
                    <a:pt x="504" y="146"/>
                  </a:lnTo>
                  <a:lnTo>
                    <a:pt x="499" y="149"/>
                  </a:lnTo>
                  <a:lnTo>
                    <a:pt x="493" y="150"/>
                  </a:lnTo>
                  <a:lnTo>
                    <a:pt x="489" y="151"/>
                  </a:lnTo>
                  <a:lnTo>
                    <a:pt x="478" y="152"/>
                  </a:lnTo>
                  <a:lnTo>
                    <a:pt x="465" y="155"/>
                  </a:lnTo>
                  <a:lnTo>
                    <a:pt x="463" y="166"/>
                  </a:lnTo>
                  <a:lnTo>
                    <a:pt x="458" y="180"/>
                  </a:lnTo>
                  <a:lnTo>
                    <a:pt x="454" y="193"/>
                  </a:lnTo>
                  <a:lnTo>
                    <a:pt x="452" y="204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4" name="Freeform 21"/>
            <p:cNvSpPr>
              <a:spLocks/>
            </p:cNvSpPr>
            <p:nvPr/>
          </p:nvSpPr>
          <p:spPr bwMode="auto">
            <a:xfrm>
              <a:off x="4488" y="2420"/>
              <a:ext cx="77" cy="89"/>
            </a:xfrm>
            <a:custGeom>
              <a:avLst/>
              <a:gdLst>
                <a:gd name="T0" fmla="*/ 17 w 232"/>
                <a:gd name="T1" fmla="*/ 2 h 289"/>
                <a:gd name="T2" fmla="*/ 18 w 232"/>
                <a:gd name="T3" fmla="*/ 5 h 289"/>
                <a:gd name="T4" fmla="*/ 19 w 232"/>
                <a:gd name="T5" fmla="*/ 5 h 289"/>
                <a:gd name="T6" fmla="*/ 20 w 232"/>
                <a:gd name="T7" fmla="*/ 6 h 289"/>
                <a:gd name="T8" fmla="*/ 21 w 232"/>
                <a:gd name="T9" fmla="*/ 16 h 289"/>
                <a:gd name="T10" fmla="*/ 21 w 232"/>
                <a:gd name="T11" fmla="*/ 18 h 289"/>
                <a:gd name="T12" fmla="*/ 21 w 232"/>
                <a:gd name="T13" fmla="*/ 20 h 289"/>
                <a:gd name="T14" fmla="*/ 22 w 232"/>
                <a:gd name="T15" fmla="*/ 21 h 289"/>
                <a:gd name="T16" fmla="*/ 26 w 232"/>
                <a:gd name="T17" fmla="*/ 23 h 289"/>
                <a:gd name="T18" fmla="*/ 24 w 232"/>
                <a:gd name="T19" fmla="*/ 27 h 289"/>
                <a:gd name="T20" fmla="*/ 21 w 232"/>
                <a:gd name="T21" fmla="*/ 27 h 289"/>
                <a:gd name="T22" fmla="*/ 17 w 232"/>
                <a:gd name="T23" fmla="*/ 25 h 289"/>
                <a:gd name="T24" fmla="*/ 13 w 232"/>
                <a:gd name="T25" fmla="*/ 22 h 289"/>
                <a:gd name="T26" fmla="*/ 9 w 232"/>
                <a:gd name="T27" fmla="*/ 20 h 289"/>
                <a:gd name="T28" fmla="*/ 6 w 232"/>
                <a:gd name="T29" fmla="*/ 17 h 289"/>
                <a:gd name="T30" fmla="*/ 3 w 232"/>
                <a:gd name="T31" fmla="*/ 14 h 289"/>
                <a:gd name="T32" fmla="*/ 1 w 232"/>
                <a:gd name="T33" fmla="*/ 12 h 289"/>
                <a:gd name="T34" fmla="*/ 0 w 232"/>
                <a:gd name="T35" fmla="*/ 11 h 289"/>
                <a:gd name="T36" fmla="*/ 0 w 232"/>
                <a:gd name="T37" fmla="*/ 10 h 289"/>
                <a:gd name="T38" fmla="*/ 0 w 232"/>
                <a:gd name="T39" fmla="*/ 10 h 289"/>
                <a:gd name="T40" fmla="*/ 0 w 232"/>
                <a:gd name="T41" fmla="*/ 9 h 289"/>
                <a:gd name="T42" fmla="*/ 1 w 232"/>
                <a:gd name="T43" fmla="*/ 7 h 289"/>
                <a:gd name="T44" fmla="*/ 1 w 232"/>
                <a:gd name="T45" fmla="*/ 5 h 289"/>
                <a:gd name="T46" fmla="*/ 1 w 232"/>
                <a:gd name="T47" fmla="*/ 2 h 289"/>
                <a:gd name="T48" fmla="*/ 1 w 232"/>
                <a:gd name="T49" fmla="*/ 0 h 289"/>
                <a:gd name="T50" fmla="*/ 3 w 232"/>
                <a:gd name="T51" fmla="*/ 0 h 289"/>
                <a:gd name="T52" fmla="*/ 5 w 232"/>
                <a:gd name="T53" fmla="*/ 1 h 289"/>
                <a:gd name="T54" fmla="*/ 7 w 232"/>
                <a:gd name="T55" fmla="*/ 2 h 289"/>
                <a:gd name="T56" fmla="*/ 8 w 232"/>
                <a:gd name="T57" fmla="*/ 3 h 289"/>
                <a:gd name="T58" fmla="*/ 9 w 232"/>
                <a:gd name="T59" fmla="*/ 3 h 289"/>
                <a:gd name="T60" fmla="*/ 10 w 232"/>
                <a:gd name="T61" fmla="*/ 3 h 289"/>
                <a:gd name="T62" fmla="*/ 12 w 232"/>
                <a:gd name="T63" fmla="*/ 2 h 289"/>
                <a:gd name="T64" fmla="*/ 13 w 232"/>
                <a:gd name="T65" fmla="*/ 2 h 289"/>
                <a:gd name="T66" fmla="*/ 15 w 232"/>
                <a:gd name="T67" fmla="*/ 1 h 289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32"/>
                <a:gd name="T103" fmla="*/ 0 h 289"/>
                <a:gd name="T104" fmla="*/ 232 w 232"/>
                <a:gd name="T105" fmla="*/ 289 h 289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32" h="289">
                  <a:moveTo>
                    <a:pt x="140" y="6"/>
                  </a:moveTo>
                  <a:lnTo>
                    <a:pt x="151" y="24"/>
                  </a:lnTo>
                  <a:lnTo>
                    <a:pt x="159" y="41"/>
                  </a:lnTo>
                  <a:lnTo>
                    <a:pt x="165" y="48"/>
                  </a:lnTo>
                  <a:lnTo>
                    <a:pt x="170" y="54"/>
                  </a:lnTo>
                  <a:lnTo>
                    <a:pt x="174" y="56"/>
                  </a:lnTo>
                  <a:lnTo>
                    <a:pt x="177" y="59"/>
                  </a:lnTo>
                  <a:lnTo>
                    <a:pt x="181" y="60"/>
                  </a:lnTo>
                  <a:lnTo>
                    <a:pt x="186" y="62"/>
                  </a:lnTo>
                  <a:lnTo>
                    <a:pt x="186" y="166"/>
                  </a:lnTo>
                  <a:lnTo>
                    <a:pt x="187" y="183"/>
                  </a:lnTo>
                  <a:lnTo>
                    <a:pt x="189" y="196"/>
                  </a:lnTo>
                  <a:lnTo>
                    <a:pt x="191" y="202"/>
                  </a:lnTo>
                  <a:lnTo>
                    <a:pt x="193" y="207"/>
                  </a:lnTo>
                  <a:lnTo>
                    <a:pt x="196" y="212"/>
                  </a:lnTo>
                  <a:lnTo>
                    <a:pt x="199" y="216"/>
                  </a:lnTo>
                  <a:lnTo>
                    <a:pt x="213" y="230"/>
                  </a:lnTo>
                  <a:lnTo>
                    <a:pt x="232" y="246"/>
                  </a:lnTo>
                  <a:lnTo>
                    <a:pt x="232" y="289"/>
                  </a:lnTo>
                  <a:lnTo>
                    <a:pt x="219" y="288"/>
                  </a:lnTo>
                  <a:lnTo>
                    <a:pt x="202" y="286"/>
                  </a:lnTo>
                  <a:lnTo>
                    <a:pt x="186" y="282"/>
                  </a:lnTo>
                  <a:lnTo>
                    <a:pt x="172" y="277"/>
                  </a:lnTo>
                  <a:lnTo>
                    <a:pt x="151" y="264"/>
                  </a:lnTo>
                  <a:lnTo>
                    <a:pt x="131" y="249"/>
                  </a:lnTo>
                  <a:lnTo>
                    <a:pt x="113" y="235"/>
                  </a:lnTo>
                  <a:lnTo>
                    <a:pt x="97" y="221"/>
                  </a:lnTo>
                  <a:lnTo>
                    <a:pt x="81" y="207"/>
                  </a:lnTo>
                  <a:lnTo>
                    <a:pt x="68" y="191"/>
                  </a:lnTo>
                  <a:lnTo>
                    <a:pt x="56" y="176"/>
                  </a:lnTo>
                  <a:lnTo>
                    <a:pt x="46" y="160"/>
                  </a:lnTo>
                  <a:lnTo>
                    <a:pt x="31" y="145"/>
                  </a:lnTo>
                  <a:lnTo>
                    <a:pt x="15" y="132"/>
                  </a:lnTo>
                  <a:lnTo>
                    <a:pt x="9" y="126"/>
                  </a:lnTo>
                  <a:lnTo>
                    <a:pt x="4" y="120"/>
                  </a:lnTo>
                  <a:lnTo>
                    <a:pt x="2" y="117"/>
                  </a:lnTo>
                  <a:lnTo>
                    <a:pt x="1" y="113"/>
                  </a:lnTo>
                  <a:lnTo>
                    <a:pt x="0" y="109"/>
                  </a:lnTo>
                  <a:lnTo>
                    <a:pt x="0" y="105"/>
                  </a:lnTo>
                  <a:lnTo>
                    <a:pt x="0" y="100"/>
                  </a:lnTo>
                  <a:lnTo>
                    <a:pt x="1" y="96"/>
                  </a:lnTo>
                  <a:lnTo>
                    <a:pt x="3" y="92"/>
                  </a:lnTo>
                  <a:lnTo>
                    <a:pt x="7" y="88"/>
                  </a:lnTo>
                  <a:lnTo>
                    <a:pt x="11" y="79"/>
                  </a:lnTo>
                  <a:lnTo>
                    <a:pt x="13" y="74"/>
                  </a:lnTo>
                  <a:lnTo>
                    <a:pt x="12" y="52"/>
                  </a:lnTo>
                  <a:lnTo>
                    <a:pt x="10" y="33"/>
                  </a:lnTo>
                  <a:lnTo>
                    <a:pt x="7" y="15"/>
                  </a:lnTo>
                  <a:lnTo>
                    <a:pt x="7" y="0"/>
                  </a:lnTo>
                  <a:lnTo>
                    <a:pt x="13" y="0"/>
                  </a:lnTo>
                  <a:lnTo>
                    <a:pt x="20" y="1"/>
                  </a:lnTo>
                  <a:lnTo>
                    <a:pt x="26" y="3"/>
                  </a:lnTo>
                  <a:lnTo>
                    <a:pt x="32" y="5"/>
                  </a:lnTo>
                  <a:lnTo>
                    <a:pt x="42" y="10"/>
                  </a:lnTo>
                  <a:lnTo>
                    <a:pt x="51" y="15"/>
                  </a:lnTo>
                  <a:lnTo>
                    <a:pt x="59" y="21"/>
                  </a:lnTo>
                  <a:lnTo>
                    <a:pt x="68" y="26"/>
                  </a:lnTo>
                  <a:lnTo>
                    <a:pt x="73" y="28"/>
                  </a:lnTo>
                  <a:lnTo>
                    <a:pt x="77" y="29"/>
                  </a:lnTo>
                  <a:lnTo>
                    <a:pt x="81" y="31"/>
                  </a:lnTo>
                  <a:lnTo>
                    <a:pt x="86" y="31"/>
                  </a:lnTo>
                  <a:lnTo>
                    <a:pt x="91" y="31"/>
                  </a:lnTo>
                  <a:lnTo>
                    <a:pt x="98" y="28"/>
                  </a:lnTo>
                  <a:lnTo>
                    <a:pt x="105" y="26"/>
                  </a:lnTo>
                  <a:lnTo>
                    <a:pt x="112" y="23"/>
                  </a:lnTo>
                  <a:lnTo>
                    <a:pt x="120" y="19"/>
                  </a:lnTo>
                  <a:lnTo>
                    <a:pt x="127" y="15"/>
                  </a:lnTo>
                  <a:lnTo>
                    <a:pt x="133" y="11"/>
                  </a:lnTo>
                  <a:lnTo>
                    <a:pt x="140" y="6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25" name="Freeform 22"/>
          <p:cNvSpPr>
            <a:spLocks/>
          </p:cNvSpPr>
          <p:nvPr userDrawn="1">
            <p:custDataLst>
              <p:tags r:id="rId17"/>
            </p:custDataLst>
          </p:nvPr>
        </p:nvSpPr>
        <p:spPr bwMode="auto">
          <a:xfrm>
            <a:off x="4565653" y="1153721"/>
            <a:ext cx="3065462" cy="806053"/>
          </a:xfrm>
          <a:custGeom>
            <a:avLst/>
            <a:gdLst>
              <a:gd name="T0" fmla="*/ 137111708 w 7049"/>
              <a:gd name="T1" fmla="*/ 477246629 h 2048"/>
              <a:gd name="T2" fmla="*/ 202358325 w 7049"/>
              <a:gd name="T3" fmla="*/ 533425750 h 2048"/>
              <a:gd name="T4" fmla="*/ 229213019 w 7049"/>
              <a:gd name="T5" fmla="*/ 499553184 h 2048"/>
              <a:gd name="T6" fmla="*/ 316586272 w 7049"/>
              <a:gd name="T7" fmla="*/ 404544484 h 2048"/>
              <a:gd name="T8" fmla="*/ 495115464 w 7049"/>
              <a:gd name="T9" fmla="*/ 362134900 h 2048"/>
              <a:gd name="T10" fmla="*/ 633551324 w 7049"/>
              <a:gd name="T11" fmla="*/ 411428990 h 2048"/>
              <a:gd name="T12" fmla="*/ 695204101 w 7049"/>
              <a:gd name="T13" fmla="*/ 396007466 h 2048"/>
              <a:gd name="T14" fmla="*/ 782199445 w 7049"/>
              <a:gd name="T15" fmla="*/ 410878503 h 2048"/>
              <a:gd name="T16" fmla="*/ 865600949 w 7049"/>
              <a:gd name="T17" fmla="*/ 415560008 h 2048"/>
              <a:gd name="T18" fmla="*/ 900020742 w 7049"/>
              <a:gd name="T19" fmla="*/ 377831930 h 2048"/>
              <a:gd name="T20" fmla="*/ 975101492 w 7049"/>
              <a:gd name="T21" fmla="*/ 406471978 h 2048"/>
              <a:gd name="T22" fmla="*/ 1061718055 w 7049"/>
              <a:gd name="T23" fmla="*/ 440069563 h 2048"/>
              <a:gd name="T24" fmla="*/ 1059827202 w 7049"/>
              <a:gd name="T25" fmla="*/ 507814696 h 2048"/>
              <a:gd name="T26" fmla="*/ 1106917626 w 7049"/>
              <a:gd name="T27" fmla="*/ 443924550 h 2048"/>
              <a:gd name="T28" fmla="*/ 1053397083 w 7049"/>
              <a:gd name="T29" fmla="*/ 345886857 h 2048"/>
              <a:gd name="T30" fmla="*/ 1008197513 w 7049"/>
              <a:gd name="T31" fmla="*/ 315869803 h 2048"/>
              <a:gd name="T32" fmla="*/ 1107674315 w 7049"/>
              <a:gd name="T33" fmla="*/ 270430634 h 2048"/>
              <a:gd name="T34" fmla="*/ 1129800952 w 7049"/>
              <a:gd name="T35" fmla="*/ 226368537 h 2048"/>
              <a:gd name="T36" fmla="*/ 1159682349 w 7049"/>
              <a:gd name="T37" fmla="*/ 209570007 h 2048"/>
              <a:gd name="T38" fmla="*/ 1171596290 w 7049"/>
              <a:gd name="T39" fmla="*/ 268227634 h 2048"/>
              <a:gd name="T40" fmla="*/ 1201288080 w 7049"/>
              <a:gd name="T41" fmla="*/ 344509851 h 2048"/>
              <a:gd name="T42" fmla="*/ 1243461763 w 7049"/>
              <a:gd name="T43" fmla="*/ 388296442 h 2048"/>
              <a:gd name="T44" fmla="*/ 1241760517 w 7049"/>
              <a:gd name="T45" fmla="*/ 334320321 h 2048"/>
              <a:gd name="T46" fmla="*/ 1205260263 w 7049"/>
              <a:gd name="T47" fmla="*/ 285577242 h 2048"/>
              <a:gd name="T48" fmla="*/ 1238166678 w 7049"/>
              <a:gd name="T49" fmla="*/ 243718080 h 2048"/>
              <a:gd name="T50" fmla="*/ 1286203398 w 7049"/>
              <a:gd name="T51" fmla="*/ 215904026 h 2048"/>
              <a:gd name="T52" fmla="*/ 1253485721 w 7049"/>
              <a:gd name="T53" fmla="*/ 170189416 h 2048"/>
              <a:gd name="T54" fmla="*/ 1285825053 w 7049"/>
              <a:gd name="T55" fmla="*/ 175146428 h 2048"/>
              <a:gd name="T56" fmla="*/ 1297550257 w 7049"/>
              <a:gd name="T57" fmla="*/ 149535374 h 2048"/>
              <a:gd name="T58" fmla="*/ 1229278623 w 7049"/>
              <a:gd name="T59" fmla="*/ 127229311 h 2048"/>
              <a:gd name="T60" fmla="*/ 1105026772 w 7049"/>
              <a:gd name="T61" fmla="*/ 112908763 h 2048"/>
              <a:gd name="T62" fmla="*/ 1076658754 w 7049"/>
              <a:gd name="T63" fmla="*/ 114285769 h 2048"/>
              <a:gd name="T64" fmla="*/ 943896323 w 7049"/>
              <a:gd name="T65" fmla="*/ 96661245 h 2048"/>
              <a:gd name="T66" fmla="*/ 894158140 w 7049"/>
              <a:gd name="T67" fmla="*/ 79862190 h 2048"/>
              <a:gd name="T68" fmla="*/ 834396216 w 7049"/>
              <a:gd name="T69" fmla="*/ 79862190 h 2048"/>
              <a:gd name="T70" fmla="*/ 758181085 w 7049"/>
              <a:gd name="T71" fmla="*/ 87573214 h 2048"/>
              <a:gd name="T72" fmla="*/ 675914179 w 7049"/>
              <a:gd name="T73" fmla="*/ 71876184 h 2048"/>
              <a:gd name="T74" fmla="*/ 622204030 w 7049"/>
              <a:gd name="T75" fmla="*/ 67194662 h 2048"/>
              <a:gd name="T76" fmla="*/ 568872225 w 7049"/>
              <a:gd name="T77" fmla="*/ 64716156 h 2048"/>
              <a:gd name="T78" fmla="*/ 515162075 w 7049"/>
              <a:gd name="T79" fmla="*/ 15972540 h 2048"/>
              <a:gd name="T80" fmla="*/ 494926291 w 7049"/>
              <a:gd name="T81" fmla="*/ 38554089 h 2048"/>
              <a:gd name="T82" fmla="*/ 403581616 w 7049"/>
              <a:gd name="T83" fmla="*/ 45989607 h 2048"/>
              <a:gd name="T84" fmla="*/ 408309619 w 7049"/>
              <a:gd name="T85" fmla="*/ 55077638 h 2048"/>
              <a:gd name="T86" fmla="*/ 415685164 w 7049"/>
              <a:gd name="T87" fmla="*/ 94182739 h 2048"/>
              <a:gd name="T88" fmla="*/ 365568419 w 7049"/>
              <a:gd name="T89" fmla="*/ 70499178 h 2048"/>
              <a:gd name="T90" fmla="*/ 337957090 w 7049"/>
              <a:gd name="T91" fmla="*/ 75180684 h 2048"/>
              <a:gd name="T92" fmla="*/ 362542532 w 7049"/>
              <a:gd name="T93" fmla="*/ 122822787 h 2048"/>
              <a:gd name="T94" fmla="*/ 392612666 w 7049"/>
              <a:gd name="T95" fmla="*/ 145679862 h 2048"/>
              <a:gd name="T96" fmla="*/ 356112413 w 7049"/>
              <a:gd name="T97" fmla="*/ 163304910 h 2048"/>
              <a:gd name="T98" fmla="*/ 346467234 w 7049"/>
              <a:gd name="T99" fmla="*/ 127779799 h 2048"/>
              <a:gd name="T100" fmla="*/ 306563184 w 7049"/>
              <a:gd name="T101" fmla="*/ 63614656 h 2048"/>
              <a:gd name="T102" fmla="*/ 306941529 w 7049"/>
              <a:gd name="T103" fmla="*/ 124199793 h 2048"/>
              <a:gd name="T104" fmla="*/ 234130194 w 7049"/>
              <a:gd name="T105" fmla="*/ 109328756 h 2048"/>
              <a:gd name="T106" fmla="*/ 226565422 w 7049"/>
              <a:gd name="T107" fmla="*/ 131359805 h 2048"/>
              <a:gd name="T108" fmla="*/ 171720674 w 7049"/>
              <a:gd name="T109" fmla="*/ 137693856 h 2048"/>
              <a:gd name="T110" fmla="*/ 130870762 w 7049"/>
              <a:gd name="T111" fmla="*/ 133012317 h 2048"/>
              <a:gd name="T112" fmla="*/ 113850011 w 7049"/>
              <a:gd name="T113" fmla="*/ 161101911 h 2048"/>
              <a:gd name="T114" fmla="*/ 76971848 w 7049"/>
              <a:gd name="T115" fmla="*/ 203511495 h 2048"/>
              <a:gd name="T116" fmla="*/ 73756788 w 7049"/>
              <a:gd name="T117" fmla="*/ 168537429 h 2048"/>
              <a:gd name="T118" fmla="*/ 28368025 w 7049"/>
              <a:gd name="T119" fmla="*/ 121170274 h 2048"/>
              <a:gd name="T120" fmla="*/ 13427323 w 7049"/>
              <a:gd name="T121" fmla="*/ 166609410 h 2048"/>
              <a:gd name="T122" fmla="*/ 21181217 w 7049"/>
              <a:gd name="T123" fmla="*/ 263821110 h 204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7049"/>
              <a:gd name="T187" fmla="*/ 0 h 2048"/>
              <a:gd name="T188" fmla="*/ 7049 w 7049"/>
              <a:gd name="T189" fmla="*/ 2048 h 2048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7049" h="2048">
                <a:moveTo>
                  <a:pt x="365" y="1401"/>
                </a:moveTo>
                <a:lnTo>
                  <a:pt x="373" y="1401"/>
                </a:lnTo>
                <a:lnTo>
                  <a:pt x="405" y="1401"/>
                </a:lnTo>
                <a:lnTo>
                  <a:pt x="425" y="1388"/>
                </a:lnTo>
                <a:lnTo>
                  <a:pt x="471" y="1388"/>
                </a:lnTo>
                <a:lnTo>
                  <a:pt x="491" y="1401"/>
                </a:lnTo>
                <a:lnTo>
                  <a:pt x="519" y="1426"/>
                </a:lnTo>
                <a:lnTo>
                  <a:pt x="505" y="1451"/>
                </a:lnTo>
                <a:lnTo>
                  <a:pt x="558" y="1451"/>
                </a:lnTo>
                <a:lnTo>
                  <a:pt x="578" y="1499"/>
                </a:lnTo>
                <a:lnTo>
                  <a:pt x="604" y="1493"/>
                </a:lnTo>
                <a:lnTo>
                  <a:pt x="632" y="1512"/>
                </a:lnTo>
                <a:lnTo>
                  <a:pt x="665" y="1499"/>
                </a:lnTo>
                <a:lnTo>
                  <a:pt x="698" y="1524"/>
                </a:lnTo>
                <a:lnTo>
                  <a:pt x="737" y="1524"/>
                </a:lnTo>
                <a:lnTo>
                  <a:pt x="778" y="1543"/>
                </a:lnTo>
                <a:lnTo>
                  <a:pt x="817" y="1555"/>
                </a:lnTo>
                <a:lnTo>
                  <a:pt x="811" y="1586"/>
                </a:lnTo>
                <a:lnTo>
                  <a:pt x="804" y="1623"/>
                </a:lnTo>
                <a:lnTo>
                  <a:pt x="817" y="1647"/>
                </a:lnTo>
                <a:lnTo>
                  <a:pt x="784" y="1647"/>
                </a:lnTo>
                <a:lnTo>
                  <a:pt x="744" y="1660"/>
                </a:lnTo>
                <a:lnTo>
                  <a:pt x="737" y="1691"/>
                </a:lnTo>
                <a:lnTo>
                  <a:pt x="743" y="1690"/>
                </a:lnTo>
                <a:lnTo>
                  <a:pt x="757" y="1685"/>
                </a:lnTo>
                <a:lnTo>
                  <a:pt x="752" y="1691"/>
                </a:lnTo>
                <a:lnTo>
                  <a:pt x="747" y="1696"/>
                </a:lnTo>
                <a:lnTo>
                  <a:pt x="743" y="1701"/>
                </a:lnTo>
                <a:lnTo>
                  <a:pt x="737" y="1705"/>
                </a:lnTo>
                <a:lnTo>
                  <a:pt x="725" y="1713"/>
                </a:lnTo>
                <a:lnTo>
                  <a:pt x="711" y="1721"/>
                </a:lnTo>
                <a:lnTo>
                  <a:pt x="712" y="1724"/>
                </a:lnTo>
                <a:lnTo>
                  <a:pt x="715" y="1728"/>
                </a:lnTo>
                <a:lnTo>
                  <a:pt x="719" y="1731"/>
                </a:lnTo>
                <a:lnTo>
                  <a:pt x="725" y="1733"/>
                </a:lnTo>
                <a:lnTo>
                  <a:pt x="736" y="1738"/>
                </a:lnTo>
                <a:lnTo>
                  <a:pt x="744" y="1740"/>
                </a:lnTo>
                <a:lnTo>
                  <a:pt x="741" y="1749"/>
                </a:lnTo>
                <a:lnTo>
                  <a:pt x="738" y="1756"/>
                </a:lnTo>
                <a:lnTo>
                  <a:pt x="734" y="1763"/>
                </a:lnTo>
                <a:lnTo>
                  <a:pt x="728" y="1769"/>
                </a:lnTo>
                <a:lnTo>
                  <a:pt x="722" y="1774"/>
                </a:lnTo>
                <a:lnTo>
                  <a:pt x="715" y="1779"/>
                </a:lnTo>
                <a:lnTo>
                  <a:pt x="707" y="1785"/>
                </a:lnTo>
                <a:lnTo>
                  <a:pt x="698" y="1790"/>
                </a:lnTo>
                <a:lnTo>
                  <a:pt x="696" y="1796"/>
                </a:lnTo>
                <a:lnTo>
                  <a:pt x="698" y="1801"/>
                </a:lnTo>
                <a:lnTo>
                  <a:pt x="700" y="1806"/>
                </a:lnTo>
                <a:lnTo>
                  <a:pt x="702" y="1809"/>
                </a:lnTo>
                <a:lnTo>
                  <a:pt x="706" y="1812"/>
                </a:lnTo>
                <a:lnTo>
                  <a:pt x="711" y="1815"/>
                </a:lnTo>
                <a:lnTo>
                  <a:pt x="716" y="1817"/>
                </a:lnTo>
                <a:lnTo>
                  <a:pt x="722" y="1819"/>
                </a:lnTo>
                <a:lnTo>
                  <a:pt x="734" y="1823"/>
                </a:lnTo>
                <a:lnTo>
                  <a:pt x="747" y="1828"/>
                </a:lnTo>
                <a:lnTo>
                  <a:pt x="754" y="1831"/>
                </a:lnTo>
                <a:lnTo>
                  <a:pt x="759" y="1835"/>
                </a:lnTo>
                <a:lnTo>
                  <a:pt x="766" y="1840"/>
                </a:lnTo>
                <a:lnTo>
                  <a:pt x="771" y="1845"/>
                </a:lnTo>
                <a:lnTo>
                  <a:pt x="781" y="1854"/>
                </a:lnTo>
                <a:lnTo>
                  <a:pt x="794" y="1861"/>
                </a:lnTo>
                <a:lnTo>
                  <a:pt x="807" y="1868"/>
                </a:lnTo>
                <a:lnTo>
                  <a:pt x="823" y="1875"/>
                </a:lnTo>
                <a:lnTo>
                  <a:pt x="856" y="1887"/>
                </a:lnTo>
                <a:lnTo>
                  <a:pt x="890" y="1901"/>
                </a:lnTo>
                <a:lnTo>
                  <a:pt x="897" y="1901"/>
                </a:lnTo>
                <a:lnTo>
                  <a:pt x="950" y="1919"/>
                </a:lnTo>
                <a:lnTo>
                  <a:pt x="996" y="1931"/>
                </a:lnTo>
                <a:lnTo>
                  <a:pt x="1024" y="1919"/>
                </a:lnTo>
                <a:lnTo>
                  <a:pt x="1070" y="1937"/>
                </a:lnTo>
                <a:lnTo>
                  <a:pt x="1096" y="1956"/>
                </a:lnTo>
                <a:lnTo>
                  <a:pt x="1136" y="1950"/>
                </a:lnTo>
                <a:lnTo>
                  <a:pt x="1176" y="1962"/>
                </a:lnTo>
                <a:lnTo>
                  <a:pt x="1203" y="1980"/>
                </a:lnTo>
                <a:lnTo>
                  <a:pt x="1249" y="2005"/>
                </a:lnTo>
                <a:lnTo>
                  <a:pt x="1282" y="2030"/>
                </a:lnTo>
                <a:lnTo>
                  <a:pt x="1316" y="2048"/>
                </a:lnTo>
                <a:lnTo>
                  <a:pt x="1342" y="2011"/>
                </a:lnTo>
                <a:lnTo>
                  <a:pt x="1355" y="2011"/>
                </a:lnTo>
                <a:lnTo>
                  <a:pt x="1350" y="2009"/>
                </a:lnTo>
                <a:lnTo>
                  <a:pt x="1345" y="2006"/>
                </a:lnTo>
                <a:lnTo>
                  <a:pt x="1341" y="2001"/>
                </a:lnTo>
                <a:lnTo>
                  <a:pt x="1337" y="1998"/>
                </a:lnTo>
                <a:lnTo>
                  <a:pt x="1333" y="1994"/>
                </a:lnTo>
                <a:lnTo>
                  <a:pt x="1331" y="1989"/>
                </a:lnTo>
                <a:lnTo>
                  <a:pt x="1329" y="1985"/>
                </a:lnTo>
                <a:lnTo>
                  <a:pt x="1329" y="1980"/>
                </a:lnTo>
                <a:lnTo>
                  <a:pt x="1318" y="1972"/>
                </a:lnTo>
                <a:lnTo>
                  <a:pt x="1296" y="1952"/>
                </a:lnTo>
                <a:lnTo>
                  <a:pt x="1283" y="1941"/>
                </a:lnTo>
                <a:lnTo>
                  <a:pt x="1273" y="1931"/>
                </a:lnTo>
                <a:lnTo>
                  <a:pt x="1265" y="1923"/>
                </a:lnTo>
                <a:lnTo>
                  <a:pt x="1262" y="1919"/>
                </a:lnTo>
                <a:lnTo>
                  <a:pt x="1255" y="1887"/>
                </a:lnTo>
                <a:lnTo>
                  <a:pt x="1255" y="1869"/>
                </a:lnTo>
                <a:lnTo>
                  <a:pt x="1245" y="1869"/>
                </a:lnTo>
                <a:lnTo>
                  <a:pt x="1237" y="1866"/>
                </a:lnTo>
                <a:lnTo>
                  <a:pt x="1229" y="1862"/>
                </a:lnTo>
                <a:lnTo>
                  <a:pt x="1222" y="1857"/>
                </a:lnTo>
                <a:lnTo>
                  <a:pt x="1217" y="1851"/>
                </a:lnTo>
                <a:lnTo>
                  <a:pt x="1212" y="1844"/>
                </a:lnTo>
                <a:lnTo>
                  <a:pt x="1210" y="1835"/>
                </a:lnTo>
                <a:lnTo>
                  <a:pt x="1209" y="1826"/>
                </a:lnTo>
                <a:lnTo>
                  <a:pt x="1210" y="1821"/>
                </a:lnTo>
                <a:lnTo>
                  <a:pt x="1212" y="1814"/>
                </a:lnTo>
                <a:lnTo>
                  <a:pt x="1216" y="1807"/>
                </a:lnTo>
                <a:lnTo>
                  <a:pt x="1220" y="1799"/>
                </a:lnTo>
                <a:lnTo>
                  <a:pt x="1229" y="1786"/>
                </a:lnTo>
                <a:lnTo>
                  <a:pt x="1236" y="1777"/>
                </a:lnTo>
                <a:lnTo>
                  <a:pt x="1254" y="1767"/>
                </a:lnTo>
                <a:lnTo>
                  <a:pt x="1272" y="1758"/>
                </a:lnTo>
                <a:lnTo>
                  <a:pt x="1287" y="1749"/>
                </a:lnTo>
                <a:lnTo>
                  <a:pt x="1303" y="1740"/>
                </a:lnTo>
                <a:lnTo>
                  <a:pt x="1309" y="1728"/>
                </a:lnTo>
                <a:lnTo>
                  <a:pt x="1282" y="1721"/>
                </a:lnTo>
                <a:lnTo>
                  <a:pt x="1309" y="1703"/>
                </a:lnTo>
                <a:lnTo>
                  <a:pt x="1282" y="1679"/>
                </a:lnTo>
                <a:lnTo>
                  <a:pt x="1255" y="1654"/>
                </a:lnTo>
                <a:lnTo>
                  <a:pt x="1216" y="1654"/>
                </a:lnTo>
                <a:lnTo>
                  <a:pt x="1203" y="1629"/>
                </a:lnTo>
                <a:lnTo>
                  <a:pt x="1183" y="1617"/>
                </a:lnTo>
                <a:lnTo>
                  <a:pt x="1176" y="1586"/>
                </a:lnTo>
                <a:lnTo>
                  <a:pt x="1176" y="1549"/>
                </a:lnTo>
                <a:lnTo>
                  <a:pt x="1189" y="1524"/>
                </a:lnTo>
                <a:lnTo>
                  <a:pt x="1196" y="1499"/>
                </a:lnTo>
                <a:lnTo>
                  <a:pt x="1229" y="1518"/>
                </a:lnTo>
                <a:lnTo>
                  <a:pt x="1262" y="1530"/>
                </a:lnTo>
                <a:lnTo>
                  <a:pt x="1282" y="1524"/>
                </a:lnTo>
                <a:lnTo>
                  <a:pt x="1255" y="1493"/>
                </a:lnTo>
                <a:lnTo>
                  <a:pt x="1289" y="1475"/>
                </a:lnTo>
                <a:lnTo>
                  <a:pt x="1322" y="1444"/>
                </a:lnTo>
                <a:lnTo>
                  <a:pt x="1355" y="1438"/>
                </a:lnTo>
                <a:lnTo>
                  <a:pt x="1395" y="1438"/>
                </a:lnTo>
                <a:lnTo>
                  <a:pt x="1422" y="1426"/>
                </a:lnTo>
                <a:lnTo>
                  <a:pt x="1468" y="1438"/>
                </a:lnTo>
                <a:lnTo>
                  <a:pt x="1514" y="1457"/>
                </a:lnTo>
                <a:lnTo>
                  <a:pt x="1555" y="1493"/>
                </a:lnTo>
                <a:lnTo>
                  <a:pt x="1601" y="1487"/>
                </a:lnTo>
                <a:lnTo>
                  <a:pt x="1641" y="1469"/>
                </a:lnTo>
                <a:lnTo>
                  <a:pt x="1674" y="1469"/>
                </a:lnTo>
                <a:lnTo>
                  <a:pt x="1714" y="1463"/>
                </a:lnTo>
                <a:lnTo>
                  <a:pt x="1754" y="1481"/>
                </a:lnTo>
                <a:lnTo>
                  <a:pt x="1800" y="1493"/>
                </a:lnTo>
                <a:lnTo>
                  <a:pt x="1847" y="1487"/>
                </a:lnTo>
                <a:lnTo>
                  <a:pt x="1893" y="1469"/>
                </a:lnTo>
                <a:lnTo>
                  <a:pt x="1893" y="1444"/>
                </a:lnTo>
                <a:lnTo>
                  <a:pt x="1860" y="1438"/>
                </a:lnTo>
                <a:lnTo>
                  <a:pt x="1821" y="1426"/>
                </a:lnTo>
                <a:lnTo>
                  <a:pt x="1793" y="1414"/>
                </a:lnTo>
                <a:lnTo>
                  <a:pt x="1834" y="1401"/>
                </a:lnTo>
                <a:lnTo>
                  <a:pt x="1827" y="1364"/>
                </a:lnTo>
                <a:lnTo>
                  <a:pt x="1880" y="1358"/>
                </a:lnTo>
                <a:lnTo>
                  <a:pt x="1814" y="1309"/>
                </a:lnTo>
                <a:lnTo>
                  <a:pt x="1920" y="1291"/>
                </a:lnTo>
                <a:lnTo>
                  <a:pt x="2006" y="1284"/>
                </a:lnTo>
                <a:lnTo>
                  <a:pt x="2020" y="1259"/>
                </a:lnTo>
                <a:lnTo>
                  <a:pt x="2080" y="1253"/>
                </a:lnTo>
                <a:lnTo>
                  <a:pt x="2139" y="1241"/>
                </a:lnTo>
                <a:lnTo>
                  <a:pt x="2159" y="1216"/>
                </a:lnTo>
                <a:lnTo>
                  <a:pt x="2226" y="1229"/>
                </a:lnTo>
                <a:lnTo>
                  <a:pt x="2265" y="1222"/>
                </a:lnTo>
                <a:lnTo>
                  <a:pt x="2292" y="1241"/>
                </a:lnTo>
                <a:lnTo>
                  <a:pt x="2298" y="1291"/>
                </a:lnTo>
                <a:lnTo>
                  <a:pt x="2339" y="1291"/>
                </a:lnTo>
                <a:lnTo>
                  <a:pt x="2352" y="1277"/>
                </a:lnTo>
                <a:lnTo>
                  <a:pt x="2372" y="1291"/>
                </a:lnTo>
                <a:lnTo>
                  <a:pt x="2411" y="1297"/>
                </a:lnTo>
                <a:lnTo>
                  <a:pt x="2431" y="1297"/>
                </a:lnTo>
                <a:lnTo>
                  <a:pt x="2431" y="1333"/>
                </a:lnTo>
                <a:lnTo>
                  <a:pt x="2472" y="1327"/>
                </a:lnTo>
                <a:lnTo>
                  <a:pt x="2511" y="1309"/>
                </a:lnTo>
                <a:lnTo>
                  <a:pt x="2551" y="1277"/>
                </a:lnTo>
                <a:lnTo>
                  <a:pt x="2577" y="1265"/>
                </a:lnTo>
                <a:lnTo>
                  <a:pt x="2577" y="1297"/>
                </a:lnTo>
                <a:lnTo>
                  <a:pt x="2618" y="1315"/>
                </a:lnTo>
                <a:lnTo>
                  <a:pt x="2664" y="1333"/>
                </a:lnTo>
                <a:lnTo>
                  <a:pt x="2704" y="1376"/>
                </a:lnTo>
                <a:lnTo>
                  <a:pt x="2757" y="1420"/>
                </a:lnTo>
                <a:lnTo>
                  <a:pt x="2803" y="1457"/>
                </a:lnTo>
                <a:lnTo>
                  <a:pt x="2823" y="1487"/>
                </a:lnTo>
                <a:lnTo>
                  <a:pt x="2836" y="1457"/>
                </a:lnTo>
                <a:lnTo>
                  <a:pt x="2864" y="1451"/>
                </a:lnTo>
                <a:lnTo>
                  <a:pt x="2884" y="1475"/>
                </a:lnTo>
                <a:lnTo>
                  <a:pt x="2923" y="1487"/>
                </a:lnTo>
                <a:lnTo>
                  <a:pt x="2969" y="1481"/>
                </a:lnTo>
                <a:lnTo>
                  <a:pt x="2997" y="1469"/>
                </a:lnTo>
                <a:lnTo>
                  <a:pt x="3036" y="1499"/>
                </a:lnTo>
                <a:lnTo>
                  <a:pt x="3082" y="1524"/>
                </a:lnTo>
                <a:lnTo>
                  <a:pt x="3123" y="1549"/>
                </a:lnTo>
                <a:lnTo>
                  <a:pt x="3176" y="1555"/>
                </a:lnTo>
                <a:lnTo>
                  <a:pt x="3182" y="1562"/>
                </a:lnTo>
                <a:lnTo>
                  <a:pt x="3186" y="1560"/>
                </a:lnTo>
                <a:lnTo>
                  <a:pt x="3189" y="1557"/>
                </a:lnTo>
                <a:lnTo>
                  <a:pt x="3193" y="1556"/>
                </a:lnTo>
                <a:lnTo>
                  <a:pt x="3198" y="1555"/>
                </a:lnTo>
                <a:lnTo>
                  <a:pt x="3211" y="1555"/>
                </a:lnTo>
                <a:lnTo>
                  <a:pt x="3228" y="1555"/>
                </a:lnTo>
                <a:lnTo>
                  <a:pt x="3234" y="1554"/>
                </a:lnTo>
                <a:lnTo>
                  <a:pt x="3239" y="1552"/>
                </a:lnTo>
                <a:lnTo>
                  <a:pt x="3246" y="1549"/>
                </a:lnTo>
                <a:lnTo>
                  <a:pt x="3251" y="1546"/>
                </a:lnTo>
                <a:lnTo>
                  <a:pt x="3261" y="1539"/>
                </a:lnTo>
                <a:lnTo>
                  <a:pt x="3269" y="1537"/>
                </a:lnTo>
                <a:lnTo>
                  <a:pt x="3278" y="1536"/>
                </a:lnTo>
                <a:lnTo>
                  <a:pt x="3288" y="1534"/>
                </a:lnTo>
                <a:lnTo>
                  <a:pt x="3296" y="1531"/>
                </a:lnTo>
                <a:lnTo>
                  <a:pt x="3304" y="1527"/>
                </a:lnTo>
                <a:lnTo>
                  <a:pt x="3320" y="1517"/>
                </a:lnTo>
                <a:lnTo>
                  <a:pt x="3335" y="1506"/>
                </a:lnTo>
                <a:lnTo>
                  <a:pt x="3350" y="1494"/>
                </a:lnTo>
                <a:lnTo>
                  <a:pt x="3366" y="1485"/>
                </a:lnTo>
                <a:lnTo>
                  <a:pt x="3374" y="1481"/>
                </a:lnTo>
                <a:lnTo>
                  <a:pt x="3383" y="1478"/>
                </a:lnTo>
                <a:lnTo>
                  <a:pt x="3392" y="1476"/>
                </a:lnTo>
                <a:lnTo>
                  <a:pt x="3402" y="1475"/>
                </a:lnTo>
                <a:lnTo>
                  <a:pt x="3413" y="1476"/>
                </a:lnTo>
                <a:lnTo>
                  <a:pt x="3423" y="1477"/>
                </a:lnTo>
                <a:lnTo>
                  <a:pt x="3432" y="1479"/>
                </a:lnTo>
                <a:lnTo>
                  <a:pt x="3439" y="1481"/>
                </a:lnTo>
                <a:lnTo>
                  <a:pt x="3447" y="1483"/>
                </a:lnTo>
                <a:lnTo>
                  <a:pt x="3453" y="1485"/>
                </a:lnTo>
                <a:lnTo>
                  <a:pt x="3461" y="1487"/>
                </a:lnTo>
                <a:lnTo>
                  <a:pt x="3468" y="1487"/>
                </a:lnTo>
                <a:lnTo>
                  <a:pt x="3494" y="1475"/>
                </a:lnTo>
                <a:lnTo>
                  <a:pt x="3507" y="1475"/>
                </a:lnTo>
                <a:lnTo>
                  <a:pt x="3522" y="1475"/>
                </a:lnTo>
                <a:lnTo>
                  <a:pt x="3522" y="1483"/>
                </a:lnTo>
                <a:lnTo>
                  <a:pt x="3524" y="1490"/>
                </a:lnTo>
                <a:lnTo>
                  <a:pt x="3526" y="1496"/>
                </a:lnTo>
                <a:lnTo>
                  <a:pt x="3528" y="1501"/>
                </a:lnTo>
                <a:lnTo>
                  <a:pt x="3535" y="1510"/>
                </a:lnTo>
                <a:lnTo>
                  <a:pt x="3541" y="1518"/>
                </a:lnTo>
                <a:lnTo>
                  <a:pt x="3720" y="1518"/>
                </a:lnTo>
                <a:lnTo>
                  <a:pt x="3721" y="1510"/>
                </a:lnTo>
                <a:lnTo>
                  <a:pt x="3720" y="1501"/>
                </a:lnTo>
                <a:lnTo>
                  <a:pt x="3718" y="1494"/>
                </a:lnTo>
                <a:lnTo>
                  <a:pt x="3716" y="1488"/>
                </a:lnTo>
                <a:lnTo>
                  <a:pt x="3713" y="1482"/>
                </a:lnTo>
                <a:lnTo>
                  <a:pt x="3708" y="1477"/>
                </a:lnTo>
                <a:lnTo>
                  <a:pt x="3704" y="1472"/>
                </a:lnTo>
                <a:lnTo>
                  <a:pt x="3699" y="1467"/>
                </a:lnTo>
                <a:lnTo>
                  <a:pt x="3691" y="1459"/>
                </a:lnTo>
                <a:lnTo>
                  <a:pt x="3682" y="1449"/>
                </a:lnTo>
                <a:lnTo>
                  <a:pt x="3679" y="1443"/>
                </a:lnTo>
                <a:lnTo>
                  <a:pt x="3676" y="1438"/>
                </a:lnTo>
                <a:lnTo>
                  <a:pt x="3674" y="1432"/>
                </a:lnTo>
                <a:lnTo>
                  <a:pt x="3674" y="1426"/>
                </a:lnTo>
                <a:lnTo>
                  <a:pt x="3674" y="1418"/>
                </a:lnTo>
                <a:lnTo>
                  <a:pt x="3674" y="1411"/>
                </a:lnTo>
                <a:lnTo>
                  <a:pt x="3674" y="1404"/>
                </a:lnTo>
                <a:lnTo>
                  <a:pt x="3674" y="1395"/>
                </a:lnTo>
                <a:lnTo>
                  <a:pt x="3687" y="1388"/>
                </a:lnTo>
                <a:lnTo>
                  <a:pt x="3880" y="1426"/>
                </a:lnTo>
                <a:lnTo>
                  <a:pt x="3883" y="1437"/>
                </a:lnTo>
                <a:lnTo>
                  <a:pt x="3886" y="1446"/>
                </a:lnTo>
                <a:lnTo>
                  <a:pt x="3890" y="1456"/>
                </a:lnTo>
                <a:lnTo>
                  <a:pt x="3895" y="1464"/>
                </a:lnTo>
                <a:lnTo>
                  <a:pt x="3900" y="1472"/>
                </a:lnTo>
                <a:lnTo>
                  <a:pt x="3906" y="1478"/>
                </a:lnTo>
                <a:lnTo>
                  <a:pt x="3914" y="1484"/>
                </a:lnTo>
                <a:lnTo>
                  <a:pt x="3920" y="1489"/>
                </a:lnTo>
                <a:lnTo>
                  <a:pt x="3929" y="1493"/>
                </a:lnTo>
                <a:lnTo>
                  <a:pt x="3938" y="1496"/>
                </a:lnTo>
                <a:lnTo>
                  <a:pt x="3948" y="1499"/>
                </a:lnTo>
                <a:lnTo>
                  <a:pt x="3957" y="1502"/>
                </a:lnTo>
                <a:lnTo>
                  <a:pt x="3968" y="1504"/>
                </a:lnTo>
                <a:lnTo>
                  <a:pt x="3981" y="1505"/>
                </a:lnTo>
                <a:lnTo>
                  <a:pt x="3993" y="1506"/>
                </a:lnTo>
                <a:lnTo>
                  <a:pt x="4006" y="1506"/>
                </a:lnTo>
                <a:lnTo>
                  <a:pt x="4018" y="1506"/>
                </a:lnTo>
                <a:lnTo>
                  <a:pt x="4029" y="1502"/>
                </a:lnTo>
                <a:lnTo>
                  <a:pt x="4039" y="1500"/>
                </a:lnTo>
                <a:lnTo>
                  <a:pt x="4050" y="1496"/>
                </a:lnTo>
                <a:lnTo>
                  <a:pt x="4060" y="1493"/>
                </a:lnTo>
                <a:lnTo>
                  <a:pt x="4069" y="1490"/>
                </a:lnTo>
                <a:lnTo>
                  <a:pt x="4080" y="1488"/>
                </a:lnTo>
                <a:lnTo>
                  <a:pt x="4093" y="1487"/>
                </a:lnTo>
                <a:lnTo>
                  <a:pt x="4108" y="1488"/>
                </a:lnTo>
                <a:lnTo>
                  <a:pt x="4123" y="1490"/>
                </a:lnTo>
                <a:lnTo>
                  <a:pt x="4136" y="1492"/>
                </a:lnTo>
                <a:lnTo>
                  <a:pt x="4150" y="1496"/>
                </a:lnTo>
                <a:lnTo>
                  <a:pt x="4162" y="1500"/>
                </a:lnTo>
                <a:lnTo>
                  <a:pt x="4173" y="1506"/>
                </a:lnTo>
                <a:lnTo>
                  <a:pt x="4184" y="1511"/>
                </a:lnTo>
                <a:lnTo>
                  <a:pt x="4195" y="1517"/>
                </a:lnTo>
                <a:lnTo>
                  <a:pt x="4214" y="1528"/>
                </a:lnTo>
                <a:lnTo>
                  <a:pt x="4233" y="1539"/>
                </a:lnTo>
                <a:lnTo>
                  <a:pt x="4243" y="1544"/>
                </a:lnTo>
                <a:lnTo>
                  <a:pt x="4253" y="1548"/>
                </a:lnTo>
                <a:lnTo>
                  <a:pt x="4262" y="1552"/>
                </a:lnTo>
                <a:lnTo>
                  <a:pt x="4272" y="1555"/>
                </a:lnTo>
                <a:lnTo>
                  <a:pt x="4306" y="1555"/>
                </a:lnTo>
                <a:lnTo>
                  <a:pt x="4334" y="1555"/>
                </a:lnTo>
                <a:lnTo>
                  <a:pt x="4358" y="1555"/>
                </a:lnTo>
                <a:lnTo>
                  <a:pt x="4378" y="1555"/>
                </a:lnTo>
                <a:lnTo>
                  <a:pt x="4396" y="1555"/>
                </a:lnTo>
                <a:lnTo>
                  <a:pt x="4412" y="1555"/>
                </a:lnTo>
                <a:lnTo>
                  <a:pt x="4427" y="1555"/>
                </a:lnTo>
                <a:lnTo>
                  <a:pt x="4445" y="1555"/>
                </a:lnTo>
                <a:lnTo>
                  <a:pt x="4455" y="1554"/>
                </a:lnTo>
                <a:lnTo>
                  <a:pt x="4464" y="1553"/>
                </a:lnTo>
                <a:lnTo>
                  <a:pt x="4470" y="1550"/>
                </a:lnTo>
                <a:lnTo>
                  <a:pt x="4476" y="1547"/>
                </a:lnTo>
                <a:lnTo>
                  <a:pt x="4480" y="1544"/>
                </a:lnTo>
                <a:lnTo>
                  <a:pt x="4485" y="1539"/>
                </a:lnTo>
                <a:lnTo>
                  <a:pt x="4488" y="1535"/>
                </a:lnTo>
                <a:lnTo>
                  <a:pt x="4490" y="1530"/>
                </a:lnTo>
                <a:lnTo>
                  <a:pt x="4495" y="1522"/>
                </a:lnTo>
                <a:lnTo>
                  <a:pt x="4503" y="1514"/>
                </a:lnTo>
                <a:lnTo>
                  <a:pt x="4509" y="1511"/>
                </a:lnTo>
                <a:lnTo>
                  <a:pt x="4514" y="1508"/>
                </a:lnTo>
                <a:lnTo>
                  <a:pt x="4522" y="1507"/>
                </a:lnTo>
                <a:lnTo>
                  <a:pt x="4531" y="1506"/>
                </a:lnTo>
                <a:lnTo>
                  <a:pt x="4554" y="1507"/>
                </a:lnTo>
                <a:lnTo>
                  <a:pt x="4577" y="1509"/>
                </a:lnTo>
                <a:lnTo>
                  <a:pt x="4599" y="1512"/>
                </a:lnTo>
                <a:lnTo>
                  <a:pt x="4620" y="1515"/>
                </a:lnTo>
                <a:lnTo>
                  <a:pt x="4651" y="1522"/>
                </a:lnTo>
                <a:lnTo>
                  <a:pt x="4663" y="1524"/>
                </a:lnTo>
                <a:lnTo>
                  <a:pt x="4678" y="1524"/>
                </a:lnTo>
                <a:lnTo>
                  <a:pt x="4690" y="1524"/>
                </a:lnTo>
                <a:lnTo>
                  <a:pt x="4700" y="1524"/>
                </a:lnTo>
                <a:lnTo>
                  <a:pt x="4711" y="1524"/>
                </a:lnTo>
                <a:lnTo>
                  <a:pt x="4718" y="1524"/>
                </a:lnTo>
                <a:lnTo>
                  <a:pt x="4727" y="1521"/>
                </a:lnTo>
                <a:lnTo>
                  <a:pt x="4737" y="1518"/>
                </a:lnTo>
                <a:lnTo>
                  <a:pt x="4746" y="1513"/>
                </a:lnTo>
                <a:lnTo>
                  <a:pt x="4755" y="1508"/>
                </a:lnTo>
                <a:lnTo>
                  <a:pt x="4763" y="1501"/>
                </a:lnTo>
                <a:lnTo>
                  <a:pt x="4771" y="1494"/>
                </a:lnTo>
                <a:lnTo>
                  <a:pt x="4777" y="1487"/>
                </a:lnTo>
                <a:lnTo>
                  <a:pt x="4771" y="1484"/>
                </a:lnTo>
                <a:lnTo>
                  <a:pt x="4766" y="1481"/>
                </a:lnTo>
                <a:lnTo>
                  <a:pt x="4760" y="1476"/>
                </a:lnTo>
                <a:lnTo>
                  <a:pt x="4756" y="1471"/>
                </a:lnTo>
                <a:lnTo>
                  <a:pt x="4750" y="1465"/>
                </a:lnTo>
                <a:lnTo>
                  <a:pt x="4747" y="1458"/>
                </a:lnTo>
                <a:lnTo>
                  <a:pt x="4745" y="1452"/>
                </a:lnTo>
                <a:lnTo>
                  <a:pt x="4744" y="1444"/>
                </a:lnTo>
                <a:lnTo>
                  <a:pt x="4745" y="1435"/>
                </a:lnTo>
                <a:lnTo>
                  <a:pt x="4747" y="1428"/>
                </a:lnTo>
                <a:lnTo>
                  <a:pt x="4750" y="1422"/>
                </a:lnTo>
                <a:lnTo>
                  <a:pt x="4754" y="1417"/>
                </a:lnTo>
                <a:lnTo>
                  <a:pt x="4757" y="1411"/>
                </a:lnTo>
                <a:lnTo>
                  <a:pt x="4760" y="1405"/>
                </a:lnTo>
                <a:lnTo>
                  <a:pt x="4762" y="1398"/>
                </a:lnTo>
                <a:lnTo>
                  <a:pt x="4763" y="1388"/>
                </a:lnTo>
                <a:lnTo>
                  <a:pt x="4763" y="1382"/>
                </a:lnTo>
                <a:lnTo>
                  <a:pt x="4761" y="1377"/>
                </a:lnTo>
                <a:lnTo>
                  <a:pt x="4759" y="1372"/>
                </a:lnTo>
                <a:lnTo>
                  <a:pt x="4756" y="1369"/>
                </a:lnTo>
                <a:lnTo>
                  <a:pt x="4747" y="1363"/>
                </a:lnTo>
                <a:lnTo>
                  <a:pt x="4737" y="1359"/>
                </a:lnTo>
                <a:lnTo>
                  <a:pt x="4727" y="1355"/>
                </a:lnTo>
                <a:lnTo>
                  <a:pt x="4718" y="1350"/>
                </a:lnTo>
                <a:lnTo>
                  <a:pt x="4715" y="1347"/>
                </a:lnTo>
                <a:lnTo>
                  <a:pt x="4713" y="1343"/>
                </a:lnTo>
                <a:lnTo>
                  <a:pt x="4711" y="1339"/>
                </a:lnTo>
                <a:lnTo>
                  <a:pt x="4711" y="1333"/>
                </a:lnTo>
                <a:lnTo>
                  <a:pt x="4711" y="1324"/>
                </a:lnTo>
                <a:lnTo>
                  <a:pt x="4711" y="1315"/>
                </a:lnTo>
                <a:lnTo>
                  <a:pt x="4830" y="1297"/>
                </a:lnTo>
                <a:lnTo>
                  <a:pt x="4869" y="1307"/>
                </a:lnTo>
                <a:lnTo>
                  <a:pt x="4898" y="1315"/>
                </a:lnTo>
                <a:lnTo>
                  <a:pt x="4928" y="1322"/>
                </a:lnTo>
                <a:lnTo>
                  <a:pt x="4963" y="1333"/>
                </a:lnTo>
                <a:lnTo>
                  <a:pt x="4974" y="1338"/>
                </a:lnTo>
                <a:lnTo>
                  <a:pt x="4985" y="1343"/>
                </a:lnTo>
                <a:lnTo>
                  <a:pt x="4995" y="1349"/>
                </a:lnTo>
                <a:lnTo>
                  <a:pt x="5005" y="1356"/>
                </a:lnTo>
                <a:lnTo>
                  <a:pt x="5021" y="1371"/>
                </a:lnTo>
                <a:lnTo>
                  <a:pt x="5038" y="1386"/>
                </a:lnTo>
                <a:lnTo>
                  <a:pt x="5046" y="1395"/>
                </a:lnTo>
                <a:lnTo>
                  <a:pt x="5054" y="1402"/>
                </a:lnTo>
                <a:lnTo>
                  <a:pt x="5063" y="1408"/>
                </a:lnTo>
                <a:lnTo>
                  <a:pt x="5073" y="1414"/>
                </a:lnTo>
                <a:lnTo>
                  <a:pt x="5084" y="1419"/>
                </a:lnTo>
                <a:lnTo>
                  <a:pt x="5095" y="1423"/>
                </a:lnTo>
                <a:lnTo>
                  <a:pt x="5108" y="1425"/>
                </a:lnTo>
                <a:lnTo>
                  <a:pt x="5122" y="1426"/>
                </a:lnTo>
                <a:lnTo>
                  <a:pt x="5127" y="1438"/>
                </a:lnTo>
                <a:lnTo>
                  <a:pt x="5132" y="1449"/>
                </a:lnTo>
                <a:lnTo>
                  <a:pt x="5139" y="1459"/>
                </a:lnTo>
                <a:lnTo>
                  <a:pt x="5148" y="1468"/>
                </a:lnTo>
                <a:lnTo>
                  <a:pt x="5156" y="1476"/>
                </a:lnTo>
                <a:lnTo>
                  <a:pt x="5166" y="1484"/>
                </a:lnTo>
                <a:lnTo>
                  <a:pt x="5176" y="1490"/>
                </a:lnTo>
                <a:lnTo>
                  <a:pt x="5188" y="1496"/>
                </a:lnTo>
                <a:lnTo>
                  <a:pt x="5199" y="1502"/>
                </a:lnTo>
                <a:lnTo>
                  <a:pt x="5211" y="1508"/>
                </a:lnTo>
                <a:lnTo>
                  <a:pt x="5225" y="1512"/>
                </a:lnTo>
                <a:lnTo>
                  <a:pt x="5237" y="1516"/>
                </a:lnTo>
                <a:lnTo>
                  <a:pt x="5263" y="1524"/>
                </a:lnTo>
                <a:lnTo>
                  <a:pt x="5288" y="1530"/>
                </a:lnTo>
                <a:lnTo>
                  <a:pt x="5303" y="1536"/>
                </a:lnTo>
                <a:lnTo>
                  <a:pt x="5317" y="1542"/>
                </a:lnTo>
                <a:lnTo>
                  <a:pt x="5330" y="1550"/>
                </a:lnTo>
                <a:lnTo>
                  <a:pt x="5342" y="1558"/>
                </a:lnTo>
                <a:lnTo>
                  <a:pt x="5365" y="1577"/>
                </a:lnTo>
                <a:lnTo>
                  <a:pt x="5388" y="1595"/>
                </a:lnTo>
                <a:lnTo>
                  <a:pt x="5399" y="1604"/>
                </a:lnTo>
                <a:lnTo>
                  <a:pt x="5410" y="1612"/>
                </a:lnTo>
                <a:lnTo>
                  <a:pt x="5422" y="1621"/>
                </a:lnTo>
                <a:lnTo>
                  <a:pt x="5434" y="1628"/>
                </a:lnTo>
                <a:lnTo>
                  <a:pt x="5446" y="1633"/>
                </a:lnTo>
                <a:lnTo>
                  <a:pt x="5460" y="1638"/>
                </a:lnTo>
                <a:lnTo>
                  <a:pt x="5473" y="1640"/>
                </a:lnTo>
                <a:lnTo>
                  <a:pt x="5488" y="1641"/>
                </a:lnTo>
                <a:lnTo>
                  <a:pt x="5497" y="1641"/>
                </a:lnTo>
                <a:lnTo>
                  <a:pt x="5506" y="1640"/>
                </a:lnTo>
                <a:lnTo>
                  <a:pt x="5514" y="1638"/>
                </a:lnTo>
                <a:lnTo>
                  <a:pt x="5522" y="1635"/>
                </a:lnTo>
                <a:lnTo>
                  <a:pt x="5536" y="1628"/>
                </a:lnTo>
                <a:lnTo>
                  <a:pt x="5551" y="1620"/>
                </a:lnTo>
                <a:lnTo>
                  <a:pt x="5565" y="1611"/>
                </a:lnTo>
                <a:lnTo>
                  <a:pt x="5579" y="1605"/>
                </a:lnTo>
                <a:lnTo>
                  <a:pt x="5587" y="1602"/>
                </a:lnTo>
                <a:lnTo>
                  <a:pt x="5596" y="1600"/>
                </a:lnTo>
                <a:lnTo>
                  <a:pt x="5604" y="1599"/>
                </a:lnTo>
                <a:lnTo>
                  <a:pt x="5614" y="1598"/>
                </a:lnTo>
                <a:lnTo>
                  <a:pt x="5621" y="1599"/>
                </a:lnTo>
                <a:lnTo>
                  <a:pt x="5626" y="1601"/>
                </a:lnTo>
                <a:lnTo>
                  <a:pt x="5631" y="1604"/>
                </a:lnTo>
                <a:lnTo>
                  <a:pt x="5635" y="1607"/>
                </a:lnTo>
                <a:lnTo>
                  <a:pt x="5642" y="1613"/>
                </a:lnTo>
                <a:lnTo>
                  <a:pt x="5647" y="1617"/>
                </a:lnTo>
                <a:lnTo>
                  <a:pt x="5647" y="1629"/>
                </a:lnTo>
                <a:lnTo>
                  <a:pt x="5647" y="1638"/>
                </a:lnTo>
                <a:lnTo>
                  <a:pt x="5647" y="1645"/>
                </a:lnTo>
                <a:lnTo>
                  <a:pt x="5647" y="1654"/>
                </a:lnTo>
                <a:lnTo>
                  <a:pt x="5647" y="1662"/>
                </a:lnTo>
                <a:lnTo>
                  <a:pt x="5649" y="1672"/>
                </a:lnTo>
                <a:lnTo>
                  <a:pt x="5652" y="1679"/>
                </a:lnTo>
                <a:lnTo>
                  <a:pt x="5655" y="1686"/>
                </a:lnTo>
                <a:lnTo>
                  <a:pt x="5659" y="1693"/>
                </a:lnTo>
                <a:lnTo>
                  <a:pt x="5664" y="1699"/>
                </a:lnTo>
                <a:lnTo>
                  <a:pt x="5668" y="1704"/>
                </a:lnTo>
                <a:lnTo>
                  <a:pt x="5674" y="1709"/>
                </a:lnTo>
                <a:lnTo>
                  <a:pt x="5674" y="1790"/>
                </a:lnTo>
                <a:lnTo>
                  <a:pt x="5666" y="1791"/>
                </a:lnTo>
                <a:lnTo>
                  <a:pt x="5657" y="1792"/>
                </a:lnTo>
                <a:lnTo>
                  <a:pt x="5649" y="1792"/>
                </a:lnTo>
                <a:lnTo>
                  <a:pt x="5641" y="1792"/>
                </a:lnTo>
                <a:lnTo>
                  <a:pt x="5623" y="1790"/>
                </a:lnTo>
                <a:lnTo>
                  <a:pt x="5608" y="1790"/>
                </a:lnTo>
                <a:lnTo>
                  <a:pt x="5604" y="1790"/>
                </a:lnTo>
                <a:lnTo>
                  <a:pt x="5602" y="1792"/>
                </a:lnTo>
                <a:lnTo>
                  <a:pt x="5600" y="1794"/>
                </a:lnTo>
                <a:lnTo>
                  <a:pt x="5598" y="1796"/>
                </a:lnTo>
                <a:lnTo>
                  <a:pt x="5595" y="1802"/>
                </a:lnTo>
                <a:lnTo>
                  <a:pt x="5593" y="1808"/>
                </a:lnTo>
                <a:lnTo>
                  <a:pt x="5595" y="1818"/>
                </a:lnTo>
                <a:lnTo>
                  <a:pt x="5597" y="1827"/>
                </a:lnTo>
                <a:lnTo>
                  <a:pt x="5600" y="1835"/>
                </a:lnTo>
                <a:lnTo>
                  <a:pt x="5604" y="1844"/>
                </a:lnTo>
                <a:lnTo>
                  <a:pt x="5609" y="1852"/>
                </a:lnTo>
                <a:lnTo>
                  <a:pt x="5614" y="1859"/>
                </a:lnTo>
                <a:lnTo>
                  <a:pt x="5620" y="1865"/>
                </a:lnTo>
                <a:lnTo>
                  <a:pt x="5626" y="1871"/>
                </a:lnTo>
                <a:lnTo>
                  <a:pt x="5637" y="1881"/>
                </a:lnTo>
                <a:lnTo>
                  <a:pt x="5647" y="1890"/>
                </a:lnTo>
                <a:lnTo>
                  <a:pt x="5651" y="1896"/>
                </a:lnTo>
                <a:lnTo>
                  <a:pt x="5653" y="1899"/>
                </a:lnTo>
                <a:lnTo>
                  <a:pt x="5654" y="1903"/>
                </a:lnTo>
                <a:lnTo>
                  <a:pt x="5654" y="1907"/>
                </a:lnTo>
                <a:lnTo>
                  <a:pt x="5747" y="1919"/>
                </a:lnTo>
                <a:lnTo>
                  <a:pt x="5754" y="1918"/>
                </a:lnTo>
                <a:lnTo>
                  <a:pt x="5761" y="1917"/>
                </a:lnTo>
                <a:lnTo>
                  <a:pt x="5768" y="1915"/>
                </a:lnTo>
                <a:lnTo>
                  <a:pt x="5775" y="1912"/>
                </a:lnTo>
                <a:lnTo>
                  <a:pt x="5780" y="1908"/>
                </a:lnTo>
                <a:lnTo>
                  <a:pt x="5786" y="1904"/>
                </a:lnTo>
                <a:lnTo>
                  <a:pt x="5792" y="1899"/>
                </a:lnTo>
                <a:lnTo>
                  <a:pt x="5797" y="1892"/>
                </a:lnTo>
                <a:lnTo>
                  <a:pt x="5807" y="1880"/>
                </a:lnTo>
                <a:lnTo>
                  <a:pt x="5815" y="1865"/>
                </a:lnTo>
                <a:lnTo>
                  <a:pt x="5823" y="1850"/>
                </a:lnTo>
                <a:lnTo>
                  <a:pt x="5830" y="1832"/>
                </a:lnTo>
                <a:lnTo>
                  <a:pt x="5835" y="1815"/>
                </a:lnTo>
                <a:lnTo>
                  <a:pt x="5841" y="1797"/>
                </a:lnTo>
                <a:lnTo>
                  <a:pt x="5845" y="1779"/>
                </a:lnTo>
                <a:lnTo>
                  <a:pt x="5847" y="1763"/>
                </a:lnTo>
                <a:lnTo>
                  <a:pt x="5852" y="1733"/>
                </a:lnTo>
                <a:lnTo>
                  <a:pt x="5853" y="1709"/>
                </a:lnTo>
                <a:lnTo>
                  <a:pt x="5853" y="1694"/>
                </a:lnTo>
                <a:lnTo>
                  <a:pt x="5853" y="1677"/>
                </a:lnTo>
                <a:lnTo>
                  <a:pt x="5853" y="1657"/>
                </a:lnTo>
                <a:lnTo>
                  <a:pt x="5853" y="1635"/>
                </a:lnTo>
                <a:lnTo>
                  <a:pt x="5853" y="1623"/>
                </a:lnTo>
                <a:lnTo>
                  <a:pt x="5853" y="1612"/>
                </a:lnTo>
                <a:lnTo>
                  <a:pt x="5855" y="1607"/>
                </a:lnTo>
                <a:lnTo>
                  <a:pt x="5858" y="1604"/>
                </a:lnTo>
                <a:lnTo>
                  <a:pt x="5865" y="1601"/>
                </a:lnTo>
                <a:lnTo>
                  <a:pt x="5873" y="1598"/>
                </a:lnTo>
                <a:lnTo>
                  <a:pt x="5873" y="1568"/>
                </a:lnTo>
                <a:lnTo>
                  <a:pt x="5867" y="1564"/>
                </a:lnTo>
                <a:lnTo>
                  <a:pt x="5859" y="1558"/>
                </a:lnTo>
                <a:lnTo>
                  <a:pt x="5850" y="1551"/>
                </a:lnTo>
                <a:lnTo>
                  <a:pt x="5843" y="1543"/>
                </a:lnTo>
                <a:lnTo>
                  <a:pt x="5835" y="1534"/>
                </a:lnTo>
                <a:lnTo>
                  <a:pt x="5830" y="1525"/>
                </a:lnTo>
                <a:lnTo>
                  <a:pt x="5827" y="1520"/>
                </a:lnTo>
                <a:lnTo>
                  <a:pt x="5826" y="1516"/>
                </a:lnTo>
                <a:lnTo>
                  <a:pt x="5826" y="1511"/>
                </a:lnTo>
                <a:lnTo>
                  <a:pt x="5826" y="1506"/>
                </a:lnTo>
                <a:lnTo>
                  <a:pt x="5816" y="1498"/>
                </a:lnTo>
                <a:lnTo>
                  <a:pt x="5808" y="1490"/>
                </a:lnTo>
                <a:lnTo>
                  <a:pt x="5799" y="1481"/>
                </a:lnTo>
                <a:lnTo>
                  <a:pt x="5791" y="1472"/>
                </a:lnTo>
                <a:lnTo>
                  <a:pt x="5776" y="1451"/>
                </a:lnTo>
                <a:lnTo>
                  <a:pt x="5761" y="1428"/>
                </a:lnTo>
                <a:lnTo>
                  <a:pt x="5748" y="1404"/>
                </a:lnTo>
                <a:lnTo>
                  <a:pt x="5735" y="1378"/>
                </a:lnTo>
                <a:lnTo>
                  <a:pt x="5721" y="1353"/>
                </a:lnTo>
                <a:lnTo>
                  <a:pt x="5707" y="1327"/>
                </a:lnTo>
                <a:lnTo>
                  <a:pt x="5700" y="1316"/>
                </a:lnTo>
                <a:lnTo>
                  <a:pt x="5692" y="1307"/>
                </a:lnTo>
                <a:lnTo>
                  <a:pt x="5684" y="1299"/>
                </a:lnTo>
                <a:lnTo>
                  <a:pt x="5674" y="1291"/>
                </a:lnTo>
                <a:lnTo>
                  <a:pt x="5664" y="1285"/>
                </a:lnTo>
                <a:lnTo>
                  <a:pt x="5652" y="1279"/>
                </a:lnTo>
                <a:lnTo>
                  <a:pt x="5640" y="1274"/>
                </a:lnTo>
                <a:lnTo>
                  <a:pt x="5628" y="1270"/>
                </a:lnTo>
                <a:lnTo>
                  <a:pt x="5600" y="1263"/>
                </a:lnTo>
                <a:lnTo>
                  <a:pt x="5570" y="1256"/>
                </a:lnTo>
                <a:lnTo>
                  <a:pt x="5540" y="1249"/>
                </a:lnTo>
                <a:lnTo>
                  <a:pt x="5508" y="1241"/>
                </a:lnTo>
                <a:lnTo>
                  <a:pt x="5503" y="1252"/>
                </a:lnTo>
                <a:lnTo>
                  <a:pt x="5500" y="1265"/>
                </a:lnTo>
                <a:lnTo>
                  <a:pt x="5498" y="1272"/>
                </a:lnTo>
                <a:lnTo>
                  <a:pt x="5496" y="1279"/>
                </a:lnTo>
                <a:lnTo>
                  <a:pt x="5492" y="1285"/>
                </a:lnTo>
                <a:lnTo>
                  <a:pt x="5488" y="1291"/>
                </a:lnTo>
                <a:lnTo>
                  <a:pt x="5483" y="1284"/>
                </a:lnTo>
                <a:lnTo>
                  <a:pt x="5476" y="1278"/>
                </a:lnTo>
                <a:lnTo>
                  <a:pt x="5469" y="1275"/>
                </a:lnTo>
                <a:lnTo>
                  <a:pt x="5462" y="1272"/>
                </a:lnTo>
                <a:lnTo>
                  <a:pt x="5446" y="1267"/>
                </a:lnTo>
                <a:lnTo>
                  <a:pt x="5431" y="1264"/>
                </a:lnTo>
                <a:lnTo>
                  <a:pt x="5423" y="1262"/>
                </a:lnTo>
                <a:lnTo>
                  <a:pt x="5417" y="1260"/>
                </a:lnTo>
                <a:lnTo>
                  <a:pt x="5411" y="1257"/>
                </a:lnTo>
                <a:lnTo>
                  <a:pt x="5406" y="1254"/>
                </a:lnTo>
                <a:lnTo>
                  <a:pt x="5401" y="1249"/>
                </a:lnTo>
                <a:lnTo>
                  <a:pt x="5398" y="1244"/>
                </a:lnTo>
                <a:lnTo>
                  <a:pt x="5396" y="1237"/>
                </a:lnTo>
                <a:lnTo>
                  <a:pt x="5395" y="1229"/>
                </a:lnTo>
                <a:lnTo>
                  <a:pt x="5378" y="1226"/>
                </a:lnTo>
                <a:lnTo>
                  <a:pt x="5341" y="1218"/>
                </a:lnTo>
                <a:lnTo>
                  <a:pt x="5322" y="1214"/>
                </a:lnTo>
                <a:lnTo>
                  <a:pt x="5305" y="1210"/>
                </a:lnTo>
                <a:lnTo>
                  <a:pt x="5293" y="1207"/>
                </a:lnTo>
                <a:lnTo>
                  <a:pt x="5288" y="1204"/>
                </a:lnTo>
                <a:lnTo>
                  <a:pt x="5289" y="1197"/>
                </a:lnTo>
                <a:lnTo>
                  <a:pt x="5293" y="1191"/>
                </a:lnTo>
                <a:lnTo>
                  <a:pt x="5298" y="1185"/>
                </a:lnTo>
                <a:lnTo>
                  <a:pt x="5304" y="1180"/>
                </a:lnTo>
                <a:lnTo>
                  <a:pt x="5319" y="1167"/>
                </a:lnTo>
                <a:lnTo>
                  <a:pt x="5334" y="1154"/>
                </a:lnTo>
                <a:lnTo>
                  <a:pt x="5331" y="1147"/>
                </a:lnTo>
                <a:lnTo>
                  <a:pt x="5329" y="1140"/>
                </a:lnTo>
                <a:lnTo>
                  <a:pt x="5328" y="1132"/>
                </a:lnTo>
                <a:lnTo>
                  <a:pt x="5329" y="1125"/>
                </a:lnTo>
                <a:lnTo>
                  <a:pt x="5331" y="1117"/>
                </a:lnTo>
                <a:lnTo>
                  <a:pt x="5334" y="1108"/>
                </a:lnTo>
                <a:lnTo>
                  <a:pt x="5339" y="1100"/>
                </a:lnTo>
                <a:lnTo>
                  <a:pt x="5343" y="1092"/>
                </a:lnTo>
                <a:lnTo>
                  <a:pt x="5365" y="1064"/>
                </a:lnTo>
                <a:lnTo>
                  <a:pt x="5382" y="1043"/>
                </a:lnTo>
                <a:lnTo>
                  <a:pt x="5382" y="964"/>
                </a:lnTo>
                <a:lnTo>
                  <a:pt x="5388" y="962"/>
                </a:lnTo>
                <a:lnTo>
                  <a:pt x="5396" y="961"/>
                </a:lnTo>
                <a:lnTo>
                  <a:pt x="5402" y="961"/>
                </a:lnTo>
                <a:lnTo>
                  <a:pt x="5409" y="962"/>
                </a:lnTo>
                <a:lnTo>
                  <a:pt x="5423" y="963"/>
                </a:lnTo>
                <a:lnTo>
                  <a:pt x="5441" y="964"/>
                </a:lnTo>
                <a:lnTo>
                  <a:pt x="5465" y="964"/>
                </a:lnTo>
                <a:lnTo>
                  <a:pt x="5492" y="966"/>
                </a:lnTo>
                <a:lnTo>
                  <a:pt x="5521" y="968"/>
                </a:lnTo>
                <a:lnTo>
                  <a:pt x="5552" y="970"/>
                </a:lnTo>
                <a:lnTo>
                  <a:pt x="5583" y="972"/>
                </a:lnTo>
                <a:lnTo>
                  <a:pt x="5612" y="974"/>
                </a:lnTo>
                <a:lnTo>
                  <a:pt x="5641" y="975"/>
                </a:lnTo>
                <a:lnTo>
                  <a:pt x="5667" y="976"/>
                </a:lnTo>
                <a:lnTo>
                  <a:pt x="5671" y="975"/>
                </a:lnTo>
                <a:lnTo>
                  <a:pt x="5677" y="972"/>
                </a:lnTo>
                <a:lnTo>
                  <a:pt x="5682" y="968"/>
                </a:lnTo>
                <a:lnTo>
                  <a:pt x="5687" y="964"/>
                </a:lnTo>
                <a:lnTo>
                  <a:pt x="5674" y="945"/>
                </a:lnTo>
                <a:lnTo>
                  <a:pt x="5807" y="945"/>
                </a:lnTo>
                <a:lnTo>
                  <a:pt x="5809" y="949"/>
                </a:lnTo>
                <a:lnTo>
                  <a:pt x="5816" y="955"/>
                </a:lnTo>
                <a:lnTo>
                  <a:pt x="5825" y="962"/>
                </a:lnTo>
                <a:lnTo>
                  <a:pt x="5836" y="969"/>
                </a:lnTo>
                <a:lnTo>
                  <a:pt x="5857" y="982"/>
                </a:lnTo>
                <a:lnTo>
                  <a:pt x="5867" y="988"/>
                </a:lnTo>
                <a:lnTo>
                  <a:pt x="5871" y="988"/>
                </a:lnTo>
                <a:lnTo>
                  <a:pt x="5875" y="987"/>
                </a:lnTo>
                <a:lnTo>
                  <a:pt x="5878" y="985"/>
                </a:lnTo>
                <a:lnTo>
                  <a:pt x="5880" y="983"/>
                </a:lnTo>
                <a:lnTo>
                  <a:pt x="5884" y="979"/>
                </a:lnTo>
                <a:lnTo>
                  <a:pt x="5888" y="973"/>
                </a:lnTo>
                <a:lnTo>
                  <a:pt x="5892" y="967"/>
                </a:lnTo>
                <a:lnTo>
                  <a:pt x="5898" y="963"/>
                </a:lnTo>
                <a:lnTo>
                  <a:pt x="5902" y="961"/>
                </a:lnTo>
                <a:lnTo>
                  <a:pt x="5906" y="959"/>
                </a:lnTo>
                <a:lnTo>
                  <a:pt x="5913" y="958"/>
                </a:lnTo>
                <a:lnTo>
                  <a:pt x="5920" y="958"/>
                </a:lnTo>
                <a:lnTo>
                  <a:pt x="5911" y="954"/>
                </a:lnTo>
                <a:lnTo>
                  <a:pt x="5904" y="950"/>
                </a:lnTo>
                <a:lnTo>
                  <a:pt x="5900" y="945"/>
                </a:lnTo>
                <a:lnTo>
                  <a:pt x="5897" y="941"/>
                </a:lnTo>
                <a:lnTo>
                  <a:pt x="5894" y="935"/>
                </a:lnTo>
                <a:lnTo>
                  <a:pt x="5893" y="927"/>
                </a:lnTo>
                <a:lnTo>
                  <a:pt x="5893" y="916"/>
                </a:lnTo>
                <a:lnTo>
                  <a:pt x="5893" y="902"/>
                </a:lnTo>
                <a:lnTo>
                  <a:pt x="5893" y="886"/>
                </a:lnTo>
                <a:lnTo>
                  <a:pt x="5894" y="871"/>
                </a:lnTo>
                <a:lnTo>
                  <a:pt x="5897" y="858"/>
                </a:lnTo>
                <a:lnTo>
                  <a:pt x="5900" y="846"/>
                </a:lnTo>
                <a:lnTo>
                  <a:pt x="5902" y="841"/>
                </a:lnTo>
                <a:lnTo>
                  <a:pt x="5904" y="835"/>
                </a:lnTo>
                <a:lnTo>
                  <a:pt x="5906" y="831"/>
                </a:lnTo>
                <a:lnTo>
                  <a:pt x="5910" y="828"/>
                </a:lnTo>
                <a:lnTo>
                  <a:pt x="5913" y="825"/>
                </a:lnTo>
                <a:lnTo>
                  <a:pt x="5917" y="823"/>
                </a:lnTo>
                <a:lnTo>
                  <a:pt x="5922" y="822"/>
                </a:lnTo>
                <a:lnTo>
                  <a:pt x="5926" y="822"/>
                </a:lnTo>
                <a:lnTo>
                  <a:pt x="5945" y="822"/>
                </a:lnTo>
                <a:lnTo>
                  <a:pt x="5974" y="822"/>
                </a:lnTo>
                <a:lnTo>
                  <a:pt x="6006" y="822"/>
                </a:lnTo>
                <a:lnTo>
                  <a:pt x="6033" y="822"/>
                </a:lnTo>
                <a:lnTo>
                  <a:pt x="6037" y="828"/>
                </a:lnTo>
                <a:lnTo>
                  <a:pt x="6045" y="838"/>
                </a:lnTo>
                <a:lnTo>
                  <a:pt x="6055" y="849"/>
                </a:lnTo>
                <a:lnTo>
                  <a:pt x="6066" y="860"/>
                </a:lnTo>
                <a:lnTo>
                  <a:pt x="6077" y="871"/>
                </a:lnTo>
                <a:lnTo>
                  <a:pt x="6086" y="881"/>
                </a:lnTo>
                <a:lnTo>
                  <a:pt x="6094" y="887"/>
                </a:lnTo>
                <a:lnTo>
                  <a:pt x="6099" y="889"/>
                </a:lnTo>
                <a:lnTo>
                  <a:pt x="6102" y="881"/>
                </a:lnTo>
                <a:lnTo>
                  <a:pt x="6105" y="874"/>
                </a:lnTo>
                <a:lnTo>
                  <a:pt x="6108" y="867"/>
                </a:lnTo>
                <a:lnTo>
                  <a:pt x="6112" y="861"/>
                </a:lnTo>
                <a:lnTo>
                  <a:pt x="6116" y="855"/>
                </a:lnTo>
                <a:lnTo>
                  <a:pt x="6119" y="848"/>
                </a:lnTo>
                <a:lnTo>
                  <a:pt x="6123" y="839"/>
                </a:lnTo>
                <a:lnTo>
                  <a:pt x="6125" y="828"/>
                </a:lnTo>
                <a:lnTo>
                  <a:pt x="6128" y="830"/>
                </a:lnTo>
                <a:lnTo>
                  <a:pt x="6132" y="831"/>
                </a:lnTo>
                <a:lnTo>
                  <a:pt x="6135" y="832"/>
                </a:lnTo>
                <a:lnTo>
                  <a:pt x="6139" y="832"/>
                </a:lnTo>
                <a:lnTo>
                  <a:pt x="6144" y="832"/>
                </a:lnTo>
                <a:lnTo>
                  <a:pt x="6149" y="831"/>
                </a:lnTo>
                <a:lnTo>
                  <a:pt x="6153" y="830"/>
                </a:lnTo>
                <a:lnTo>
                  <a:pt x="6159" y="828"/>
                </a:lnTo>
                <a:lnTo>
                  <a:pt x="6148" y="815"/>
                </a:lnTo>
                <a:lnTo>
                  <a:pt x="6137" y="803"/>
                </a:lnTo>
                <a:lnTo>
                  <a:pt x="6133" y="796"/>
                </a:lnTo>
                <a:lnTo>
                  <a:pt x="6128" y="789"/>
                </a:lnTo>
                <a:lnTo>
                  <a:pt x="6126" y="782"/>
                </a:lnTo>
                <a:lnTo>
                  <a:pt x="6125" y="772"/>
                </a:lnTo>
                <a:lnTo>
                  <a:pt x="6126" y="767"/>
                </a:lnTo>
                <a:lnTo>
                  <a:pt x="6128" y="764"/>
                </a:lnTo>
                <a:lnTo>
                  <a:pt x="6132" y="761"/>
                </a:lnTo>
                <a:lnTo>
                  <a:pt x="6135" y="760"/>
                </a:lnTo>
                <a:lnTo>
                  <a:pt x="6140" y="759"/>
                </a:lnTo>
                <a:lnTo>
                  <a:pt x="6146" y="759"/>
                </a:lnTo>
                <a:lnTo>
                  <a:pt x="6152" y="760"/>
                </a:lnTo>
                <a:lnTo>
                  <a:pt x="6159" y="762"/>
                </a:lnTo>
                <a:lnTo>
                  <a:pt x="6188" y="771"/>
                </a:lnTo>
                <a:lnTo>
                  <a:pt x="6212" y="778"/>
                </a:lnTo>
                <a:lnTo>
                  <a:pt x="6202" y="779"/>
                </a:lnTo>
                <a:lnTo>
                  <a:pt x="6193" y="782"/>
                </a:lnTo>
                <a:lnTo>
                  <a:pt x="6184" y="784"/>
                </a:lnTo>
                <a:lnTo>
                  <a:pt x="6179" y="785"/>
                </a:lnTo>
                <a:lnTo>
                  <a:pt x="6180" y="792"/>
                </a:lnTo>
                <a:lnTo>
                  <a:pt x="6183" y="797"/>
                </a:lnTo>
                <a:lnTo>
                  <a:pt x="6186" y="802"/>
                </a:lnTo>
                <a:lnTo>
                  <a:pt x="6191" y="807"/>
                </a:lnTo>
                <a:lnTo>
                  <a:pt x="6201" y="815"/>
                </a:lnTo>
                <a:lnTo>
                  <a:pt x="6211" y="822"/>
                </a:lnTo>
                <a:lnTo>
                  <a:pt x="6222" y="829"/>
                </a:lnTo>
                <a:lnTo>
                  <a:pt x="6230" y="837"/>
                </a:lnTo>
                <a:lnTo>
                  <a:pt x="6234" y="842"/>
                </a:lnTo>
                <a:lnTo>
                  <a:pt x="6236" y="847"/>
                </a:lnTo>
                <a:lnTo>
                  <a:pt x="6238" y="853"/>
                </a:lnTo>
                <a:lnTo>
                  <a:pt x="6238" y="859"/>
                </a:lnTo>
                <a:lnTo>
                  <a:pt x="6237" y="867"/>
                </a:lnTo>
                <a:lnTo>
                  <a:pt x="6231" y="878"/>
                </a:lnTo>
                <a:lnTo>
                  <a:pt x="6224" y="893"/>
                </a:lnTo>
                <a:lnTo>
                  <a:pt x="6215" y="907"/>
                </a:lnTo>
                <a:lnTo>
                  <a:pt x="6206" y="922"/>
                </a:lnTo>
                <a:lnTo>
                  <a:pt x="6200" y="937"/>
                </a:lnTo>
                <a:lnTo>
                  <a:pt x="6196" y="944"/>
                </a:lnTo>
                <a:lnTo>
                  <a:pt x="6194" y="952"/>
                </a:lnTo>
                <a:lnTo>
                  <a:pt x="6192" y="958"/>
                </a:lnTo>
                <a:lnTo>
                  <a:pt x="6192" y="964"/>
                </a:lnTo>
                <a:lnTo>
                  <a:pt x="6193" y="970"/>
                </a:lnTo>
                <a:lnTo>
                  <a:pt x="6195" y="974"/>
                </a:lnTo>
                <a:lnTo>
                  <a:pt x="6198" y="977"/>
                </a:lnTo>
                <a:lnTo>
                  <a:pt x="6202" y="979"/>
                </a:lnTo>
                <a:lnTo>
                  <a:pt x="6205" y="981"/>
                </a:lnTo>
                <a:lnTo>
                  <a:pt x="6208" y="984"/>
                </a:lnTo>
                <a:lnTo>
                  <a:pt x="6211" y="988"/>
                </a:lnTo>
                <a:lnTo>
                  <a:pt x="6212" y="994"/>
                </a:lnTo>
                <a:lnTo>
                  <a:pt x="6212" y="1001"/>
                </a:lnTo>
                <a:lnTo>
                  <a:pt x="6211" y="1010"/>
                </a:lnTo>
                <a:lnTo>
                  <a:pt x="6208" y="1018"/>
                </a:lnTo>
                <a:lnTo>
                  <a:pt x="6204" y="1026"/>
                </a:lnTo>
                <a:lnTo>
                  <a:pt x="6202" y="1030"/>
                </a:lnTo>
                <a:lnTo>
                  <a:pt x="6200" y="1033"/>
                </a:lnTo>
                <a:lnTo>
                  <a:pt x="6196" y="1036"/>
                </a:lnTo>
                <a:lnTo>
                  <a:pt x="6192" y="1039"/>
                </a:lnTo>
                <a:lnTo>
                  <a:pt x="6188" y="1041"/>
                </a:lnTo>
                <a:lnTo>
                  <a:pt x="6183" y="1042"/>
                </a:lnTo>
                <a:lnTo>
                  <a:pt x="6178" y="1043"/>
                </a:lnTo>
                <a:lnTo>
                  <a:pt x="6172" y="1043"/>
                </a:lnTo>
                <a:lnTo>
                  <a:pt x="6173" y="1062"/>
                </a:lnTo>
                <a:lnTo>
                  <a:pt x="6175" y="1079"/>
                </a:lnTo>
                <a:lnTo>
                  <a:pt x="6181" y="1095"/>
                </a:lnTo>
                <a:lnTo>
                  <a:pt x="6186" y="1111"/>
                </a:lnTo>
                <a:lnTo>
                  <a:pt x="6194" y="1126"/>
                </a:lnTo>
                <a:lnTo>
                  <a:pt x="6204" y="1140"/>
                </a:lnTo>
                <a:lnTo>
                  <a:pt x="6214" y="1153"/>
                </a:lnTo>
                <a:lnTo>
                  <a:pt x="6226" y="1166"/>
                </a:lnTo>
                <a:lnTo>
                  <a:pt x="6238" y="1179"/>
                </a:lnTo>
                <a:lnTo>
                  <a:pt x="6252" y="1190"/>
                </a:lnTo>
                <a:lnTo>
                  <a:pt x="6267" y="1201"/>
                </a:lnTo>
                <a:lnTo>
                  <a:pt x="6281" y="1211"/>
                </a:lnTo>
                <a:lnTo>
                  <a:pt x="6296" y="1220"/>
                </a:lnTo>
                <a:lnTo>
                  <a:pt x="6313" y="1230"/>
                </a:lnTo>
                <a:lnTo>
                  <a:pt x="6328" y="1239"/>
                </a:lnTo>
                <a:lnTo>
                  <a:pt x="6345" y="1247"/>
                </a:lnTo>
                <a:lnTo>
                  <a:pt x="6352" y="1251"/>
                </a:lnTo>
                <a:lnTo>
                  <a:pt x="6360" y="1256"/>
                </a:lnTo>
                <a:lnTo>
                  <a:pt x="6365" y="1261"/>
                </a:lnTo>
                <a:lnTo>
                  <a:pt x="6371" y="1267"/>
                </a:lnTo>
                <a:lnTo>
                  <a:pt x="6379" y="1282"/>
                </a:lnTo>
                <a:lnTo>
                  <a:pt x="6387" y="1297"/>
                </a:lnTo>
                <a:lnTo>
                  <a:pt x="6392" y="1304"/>
                </a:lnTo>
                <a:lnTo>
                  <a:pt x="6396" y="1311"/>
                </a:lnTo>
                <a:lnTo>
                  <a:pt x="6402" y="1318"/>
                </a:lnTo>
                <a:lnTo>
                  <a:pt x="6407" y="1325"/>
                </a:lnTo>
                <a:lnTo>
                  <a:pt x="6415" y="1331"/>
                </a:lnTo>
                <a:lnTo>
                  <a:pt x="6422" y="1337"/>
                </a:lnTo>
                <a:lnTo>
                  <a:pt x="6432" y="1342"/>
                </a:lnTo>
                <a:lnTo>
                  <a:pt x="6444" y="1346"/>
                </a:lnTo>
                <a:lnTo>
                  <a:pt x="6452" y="1347"/>
                </a:lnTo>
                <a:lnTo>
                  <a:pt x="6464" y="1351"/>
                </a:lnTo>
                <a:lnTo>
                  <a:pt x="6471" y="1353"/>
                </a:lnTo>
                <a:lnTo>
                  <a:pt x="6476" y="1356"/>
                </a:lnTo>
                <a:lnTo>
                  <a:pt x="6481" y="1360"/>
                </a:lnTo>
                <a:lnTo>
                  <a:pt x="6484" y="1364"/>
                </a:lnTo>
                <a:lnTo>
                  <a:pt x="6491" y="1374"/>
                </a:lnTo>
                <a:lnTo>
                  <a:pt x="6497" y="1384"/>
                </a:lnTo>
                <a:lnTo>
                  <a:pt x="6506" y="1395"/>
                </a:lnTo>
                <a:lnTo>
                  <a:pt x="6515" y="1404"/>
                </a:lnTo>
                <a:lnTo>
                  <a:pt x="6525" y="1413"/>
                </a:lnTo>
                <a:lnTo>
                  <a:pt x="6533" y="1420"/>
                </a:lnTo>
                <a:lnTo>
                  <a:pt x="6538" y="1422"/>
                </a:lnTo>
                <a:lnTo>
                  <a:pt x="6542" y="1424"/>
                </a:lnTo>
                <a:lnTo>
                  <a:pt x="6547" y="1425"/>
                </a:lnTo>
                <a:lnTo>
                  <a:pt x="6551" y="1426"/>
                </a:lnTo>
                <a:lnTo>
                  <a:pt x="6554" y="1425"/>
                </a:lnTo>
                <a:lnTo>
                  <a:pt x="6558" y="1425"/>
                </a:lnTo>
                <a:lnTo>
                  <a:pt x="6561" y="1423"/>
                </a:lnTo>
                <a:lnTo>
                  <a:pt x="6564" y="1421"/>
                </a:lnTo>
                <a:lnTo>
                  <a:pt x="6570" y="1416"/>
                </a:lnTo>
                <a:lnTo>
                  <a:pt x="6575" y="1410"/>
                </a:lnTo>
                <a:lnTo>
                  <a:pt x="6578" y="1402"/>
                </a:lnTo>
                <a:lnTo>
                  <a:pt x="6582" y="1391"/>
                </a:lnTo>
                <a:lnTo>
                  <a:pt x="6583" y="1381"/>
                </a:lnTo>
                <a:lnTo>
                  <a:pt x="6584" y="1370"/>
                </a:lnTo>
                <a:lnTo>
                  <a:pt x="6583" y="1366"/>
                </a:lnTo>
                <a:lnTo>
                  <a:pt x="6582" y="1362"/>
                </a:lnTo>
                <a:lnTo>
                  <a:pt x="6579" y="1359"/>
                </a:lnTo>
                <a:lnTo>
                  <a:pt x="6576" y="1356"/>
                </a:lnTo>
                <a:lnTo>
                  <a:pt x="6570" y="1350"/>
                </a:lnTo>
                <a:lnTo>
                  <a:pt x="6561" y="1345"/>
                </a:lnTo>
                <a:lnTo>
                  <a:pt x="6552" y="1340"/>
                </a:lnTo>
                <a:lnTo>
                  <a:pt x="6544" y="1333"/>
                </a:lnTo>
                <a:lnTo>
                  <a:pt x="6542" y="1329"/>
                </a:lnTo>
                <a:lnTo>
                  <a:pt x="6539" y="1325"/>
                </a:lnTo>
                <a:lnTo>
                  <a:pt x="6538" y="1320"/>
                </a:lnTo>
                <a:lnTo>
                  <a:pt x="6538" y="1315"/>
                </a:lnTo>
                <a:lnTo>
                  <a:pt x="6539" y="1313"/>
                </a:lnTo>
                <a:lnTo>
                  <a:pt x="6542" y="1310"/>
                </a:lnTo>
                <a:lnTo>
                  <a:pt x="6547" y="1308"/>
                </a:lnTo>
                <a:lnTo>
                  <a:pt x="6552" y="1306"/>
                </a:lnTo>
                <a:lnTo>
                  <a:pt x="6565" y="1301"/>
                </a:lnTo>
                <a:lnTo>
                  <a:pt x="6577" y="1297"/>
                </a:lnTo>
                <a:lnTo>
                  <a:pt x="6569" y="1280"/>
                </a:lnTo>
                <a:lnTo>
                  <a:pt x="6560" y="1268"/>
                </a:lnTo>
                <a:lnTo>
                  <a:pt x="6550" y="1256"/>
                </a:lnTo>
                <a:lnTo>
                  <a:pt x="6538" y="1241"/>
                </a:lnTo>
                <a:lnTo>
                  <a:pt x="6540" y="1239"/>
                </a:lnTo>
                <a:lnTo>
                  <a:pt x="6544" y="1238"/>
                </a:lnTo>
                <a:lnTo>
                  <a:pt x="6550" y="1237"/>
                </a:lnTo>
                <a:lnTo>
                  <a:pt x="6556" y="1236"/>
                </a:lnTo>
                <a:lnTo>
                  <a:pt x="6572" y="1235"/>
                </a:lnTo>
                <a:lnTo>
                  <a:pt x="6590" y="1235"/>
                </a:lnTo>
                <a:lnTo>
                  <a:pt x="6583" y="1229"/>
                </a:lnTo>
                <a:lnTo>
                  <a:pt x="6572" y="1219"/>
                </a:lnTo>
                <a:lnTo>
                  <a:pt x="6566" y="1214"/>
                </a:lnTo>
                <a:lnTo>
                  <a:pt x="6562" y="1210"/>
                </a:lnTo>
                <a:lnTo>
                  <a:pt x="6559" y="1207"/>
                </a:lnTo>
                <a:lnTo>
                  <a:pt x="6558" y="1204"/>
                </a:lnTo>
                <a:lnTo>
                  <a:pt x="6550" y="1199"/>
                </a:lnTo>
                <a:lnTo>
                  <a:pt x="6544" y="1194"/>
                </a:lnTo>
                <a:lnTo>
                  <a:pt x="6540" y="1187"/>
                </a:lnTo>
                <a:lnTo>
                  <a:pt x="6537" y="1180"/>
                </a:lnTo>
                <a:lnTo>
                  <a:pt x="6533" y="1173"/>
                </a:lnTo>
                <a:lnTo>
                  <a:pt x="6532" y="1163"/>
                </a:lnTo>
                <a:lnTo>
                  <a:pt x="6531" y="1153"/>
                </a:lnTo>
                <a:lnTo>
                  <a:pt x="6531" y="1142"/>
                </a:lnTo>
                <a:lnTo>
                  <a:pt x="6536" y="1142"/>
                </a:lnTo>
                <a:lnTo>
                  <a:pt x="6540" y="1140"/>
                </a:lnTo>
                <a:lnTo>
                  <a:pt x="6545" y="1138"/>
                </a:lnTo>
                <a:lnTo>
                  <a:pt x="6549" y="1136"/>
                </a:lnTo>
                <a:lnTo>
                  <a:pt x="6552" y="1133"/>
                </a:lnTo>
                <a:lnTo>
                  <a:pt x="6555" y="1130"/>
                </a:lnTo>
                <a:lnTo>
                  <a:pt x="6556" y="1127"/>
                </a:lnTo>
                <a:lnTo>
                  <a:pt x="6558" y="1124"/>
                </a:lnTo>
                <a:lnTo>
                  <a:pt x="6539" y="1118"/>
                </a:lnTo>
                <a:lnTo>
                  <a:pt x="6522" y="1110"/>
                </a:lnTo>
                <a:lnTo>
                  <a:pt x="6508" y="1103"/>
                </a:lnTo>
                <a:lnTo>
                  <a:pt x="6496" y="1095"/>
                </a:lnTo>
                <a:lnTo>
                  <a:pt x="6476" y="1078"/>
                </a:lnTo>
                <a:lnTo>
                  <a:pt x="6460" y="1063"/>
                </a:lnTo>
                <a:lnTo>
                  <a:pt x="6452" y="1055"/>
                </a:lnTo>
                <a:lnTo>
                  <a:pt x="6444" y="1048"/>
                </a:lnTo>
                <a:lnTo>
                  <a:pt x="6437" y="1043"/>
                </a:lnTo>
                <a:lnTo>
                  <a:pt x="6427" y="1039"/>
                </a:lnTo>
                <a:lnTo>
                  <a:pt x="6417" y="1036"/>
                </a:lnTo>
                <a:lnTo>
                  <a:pt x="6406" y="1035"/>
                </a:lnTo>
                <a:lnTo>
                  <a:pt x="6393" y="1035"/>
                </a:lnTo>
                <a:lnTo>
                  <a:pt x="6377" y="1037"/>
                </a:lnTo>
                <a:lnTo>
                  <a:pt x="6375" y="1038"/>
                </a:lnTo>
                <a:lnTo>
                  <a:pt x="6373" y="1037"/>
                </a:lnTo>
                <a:lnTo>
                  <a:pt x="6372" y="1036"/>
                </a:lnTo>
                <a:lnTo>
                  <a:pt x="6370" y="1035"/>
                </a:lnTo>
                <a:lnTo>
                  <a:pt x="6368" y="1031"/>
                </a:lnTo>
                <a:lnTo>
                  <a:pt x="6365" y="1025"/>
                </a:lnTo>
                <a:lnTo>
                  <a:pt x="6363" y="1009"/>
                </a:lnTo>
                <a:lnTo>
                  <a:pt x="6360" y="990"/>
                </a:lnTo>
                <a:lnTo>
                  <a:pt x="6358" y="981"/>
                </a:lnTo>
                <a:lnTo>
                  <a:pt x="6354" y="972"/>
                </a:lnTo>
                <a:lnTo>
                  <a:pt x="6351" y="963"/>
                </a:lnTo>
                <a:lnTo>
                  <a:pt x="6346" y="956"/>
                </a:lnTo>
                <a:lnTo>
                  <a:pt x="6340" y="949"/>
                </a:lnTo>
                <a:lnTo>
                  <a:pt x="6332" y="943"/>
                </a:lnTo>
                <a:lnTo>
                  <a:pt x="6328" y="941"/>
                </a:lnTo>
                <a:lnTo>
                  <a:pt x="6323" y="940"/>
                </a:lnTo>
                <a:lnTo>
                  <a:pt x="6317" y="939"/>
                </a:lnTo>
                <a:lnTo>
                  <a:pt x="6312" y="939"/>
                </a:lnTo>
                <a:lnTo>
                  <a:pt x="6392" y="889"/>
                </a:lnTo>
                <a:lnTo>
                  <a:pt x="6396" y="890"/>
                </a:lnTo>
                <a:lnTo>
                  <a:pt x="6399" y="894"/>
                </a:lnTo>
                <a:lnTo>
                  <a:pt x="6403" y="898"/>
                </a:lnTo>
                <a:lnTo>
                  <a:pt x="6405" y="902"/>
                </a:lnTo>
                <a:lnTo>
                  <a:pt x="6408" y="907"/>
                </a:lnTo>
                <a:lnTo>
                  <a:pt x="6413" y="911"/>
                </a:lnTo>
                <a:lnTo>
                  <a:pt x="6415" y="912"/>
                </a:lnTo>
                <a:lnTo>
                  <a:pt x="6418" y="913"/>
                </a:lnTo>
                <a:lnTo>
                  <a:pt x="6421" y="914"/>
                </a:lnTo>
                <a:lnTo>
                  <a:pt x="6425" y="914"/>
                </a:lnTo>
                <a:lnTo>
                  <a:pt x="6435" y="913"/>
                </a:lnTo>
                <a:lnTo>
                  <a:pt x="6446" y="910"/>
                </a:lnTo>
                <a:lnTo>
                  <a:pt x="6458" y="906"/>
                </a:lnTo>
                <a:lnTo>
                  <a:pt x="6470" y="901"/>
                </a:lnTo>
                <a:lnTo>
                  <a:pt x="6495" y="888"/>
                </a:lnTo>
                <a:lnTo>
                  <a:pt x="6525" y="877"/>
                </a:lnTo>
                <a:lnTo>
                  <a:pt x="6544" y="877"/>
                </a:lnTo>
                <a:lnTo>
                  <a:pt x="6547" y="885"/>
                </a:lnTo>
                <a:lnTo>
                  <a:pt x="6551" y="893"/>
                </a:lnTo>
                <a:lnTo>
                  <a:pt x="6556" y="899"/>
                </a:lnTo>
                <a:lnTo>
                  <a:pt x="6562" y="905"/>
                </a:lnTo>
                <a:lnTo>
                  <a:pt x="6576" y="915"/>
                </a:lnTo>
                <a:lnTo>
                  <a:pt x="6590" y="927"/>
                </a:lnTo>
                <a:lnTo>
                  <a:pt x="6596" y="906"/>
                </a:lnTo>
                <a:lnTo>
                  <a:pt x="6601" y="884"/>
                </a:lnTo>
                <a:lnTo>
                  <a:pt x="6605" y="873"/>
                </a:lnTo>
                <a:lnTo>
                  <a:pt x="6609" y="863"/>
                </a:lnTo>
                <a:lnTo>
                  <a:pt x="6614" y="854"/>
                </a:lnTo>
                <a:lnTo>
                  <a:pt x="6619" y="845"/>
                </a:lnTo>
                <a:lnTo>
                  <a:pt x="6626" y="835"/>
                </a:lnTo>
                <a:lnTo>
                  <a:pt x="6633" y="827"/>
                </a:lnTo>
                <a:lnTo>
                  <a:pt x="6642" y="821"/>
                </a:lnTo>
                <a:lnTo>
                  <a:pt x="6651" y="815"/>
                </a:lnTo>
                <a:lnTo>
                  <a:pt x="6662" y="810"/>
                </a:lnTo>
                <a:lnTo>
                  <a:pt x="6674" y="806"/>
                </a:lnTo>
                <a:lnTo>
                  <a:pt x="6688" y="804"/>
                </a:lnTo>
                <a:lnTo>
                  <a:pt x="6704" y="803"/>
                </a:lnTo>
                <a:lnTo>
                  <a:pt x="6701" y="799"/>
                </a:lnTo>
                <a:lnTo>
                  <a:pt x="6700" y="794"/>
                </a:lnTo>
                <a:lnTo>
                  <a:pt x="6700" y="790"/>
                </a:lnTo>
                <a:lnTo>
                  <a:pt x="6701" y="785"/>
                </a:lnTo>
                <a:lnTo>
                  <a:pt x="6702" y="775"/>
                </a:lnTo>
                <a:lnTo>
                  <a:pt x="6704" y="766"/>
                </a:lnTo>
                <a:lnTo>
                  <a:pt x="6709" y="770"/>
                </a:lnTo>
                <a:lnTo>
                  <a:pt x="6715" y="773"/>
                </a:lnTo>
                <a:lnTo>
                  <a:pt x="6721" y="775"/>
                </a:lnTo>
                <a:lnTo>
                  <a:pt x="6729" y="777"/>
                </a:lnTo>
                <a:lnTo>
                  <a:pt x="6744" y="778"/>
                </a:lnTo>
                <a:lnTo>
                  <a:pt x="6763" y="778"/>
                </a:lnTo>
                <a:lnTo>
                  <a:pt x="6774" y="781"/>
                </a:lnTo>
                <a:lnTo>
                  <a:pt x="6787" y="784"/>
                </a:lnTo>
                <a:lnTo>
                  <a:pt x="6795" y="785"/>
                </a:lnTo>
                <a:lnTo>
                  <a:pt x="6801" y="784"/>
                </a:lnTo>
                <a:lnTo>
                  <a:pt x="6809" y="783"/>
                </a:lnTo>
                <a:lnTo>
                  <a:pt x="6817" y="778"/>
                </a:lnTo>
                <a:lnTo>
                  <a:pt x="6813" y="767"/>
                </a:lnTo>
                <a:lnTo>
                  <a:pt x="6813" y="762"/>
                </a:lnTo>
                <a:lnTo>
                  <a:pt x="6816" y="757"/>
                </a:lnTo>
                <a:lnTo>
                  <a:pt x="6817" y="742"/>
                </a:lnTo>
                <a:lnTo>
                  <a:pt x="6790" y="738"/>
                </a:lnTo>
                <a:lnTo>
                  <a:pt x="6766" y="733"/>
                </a:lnTo>
                <a:lnTo>
                  <a:pt x="6743" y="727"/>
                </a:lnTo>
                <a:lnTo>
                  <a:pt x="6722" y="720"/>
                </a:lnTo>
                <a:lnTo>
                  <a:pt x="6685" y="706"/>
                </a:lnTo>
                <a:lnTo>
                  <a:pt x="6650" y="692"/>
                </a:lnTo>
                <a:lnTo>
                  <a:pt x="6632" y="685"/>
                </a:lnTo>
                <a:lnTo>
                  <a:pt x="6616" y="678"/>
                </a:lnTo>
                <a:lnTo>
                  <a:pt x="6598" y="672"/>
                </a:lnTo>
                <a:lnTo>
                  <a:pt x="6579" y="666"/>
                </a:lnTo>
                <a:lnTo>
                  <a:pt x="6561" y="662"/>
                </a:lnTo>
                <a:lnTo>
                  <a:pt x="6541" y="658"/>
                </a:lnTo>
                <a:lnTo>
                  <a:pt x="6520" y="656"/>
                </a:lnTo>
                <a:lnTo>
                  <a:pt x="6497" y="655"/>
                </a:lnTo>
                <a:lnTo>
                  <a:pt x="6543" y="659"/>
                </a:lnTo>
                <a:lnTo>
                  <a:pt x="6582" y="663"/>
                </a:lnTo>
                <a:lnTo>
                  <a:pt x="6592" y="663"/>
                </a:lnTo>
                <a:lnTo>
                  <a:pt x="6600" y="663"/>
                </a:lnTo>
                <a:lnTo>
                  <a:pt x="6610" y="662"/>
                </a:lnTo>
                <a:lnTo>
                  <a:pt x="6619" y="660"/>
                </a:lnTo>
                <a:lnTo>
                  <a:pt x="6628" y="658"/>
                </a:lnTo>
                <a:lnTo>
                  <a:pt x="6638" y="654"/>
                </a:lnTo>
                <a:lnTo>
                  <a:pt x="6648" y="649"/>
                </a:lnTo>
                <a:lnTo>
                  <a:pt x="6657" y="643"/>
                </a:lnTo>
                <a:lnTo>
                  <a:pt x="6653" y="637"/>
                </a:lnTo>
                <a:lnTo>
                  <a:pt x="6649" y="632"/>
                </a:lnTo>
                <a:lnTo>
                  <a:pt x="6644" y="627"/>
                </a:lnTo>
                <a:lnTo>
                  <a:pt x="6639" y="624"/>
                </a:lnTo>
                <a:lnTo>
                  <a:pt x="6628" y="618"/>
                </a:lnTo>
                <a:lnTo>
                  <a:pt x="6616" y="612"/>
                </a:lnTo>
                <a:lnTo>
                  <a:pt x="6605" y="607"/>
                </a:lnTo>
                <a:lnTo>
                  <a:pt x="6593" y="601"/>
                </a:lnTo>
                <a:lnTo>
                  <a:pt x="6587" y="598"/>
                </a:lnTo>
                <a:lnTo>
                  <a:pt x="6581" y="593"/>
                </a:lnTo>
                <a:lnTo>
                  <a:pt x="6576" y="588"/>
                </a:lnTo>
                <a:lnTo>
                  <a:pt x="6571" y="582"/>
                </a:lnTo>
                <a:lnTo>
                  <a:pt x="6597" y="582"/>
                </a:lnTo>
                <a:lnTo>
                  <a:pt x="6600" y="587"/>
                </a:lnTo>
                <a:lnTo>
                  <a:pt x="6605" y="592"/>
                </a:lnTo>
                <a:lnTo>
                  <a:pt x="6610" y="599"/>
                </a:lnTo>
                <a:lnTo>
                  <a:pt x="6617" y="604"/>
                </a:lnTo>
                <a:lnTo>
                  <a:pt x="6626" y="610"/>
                </a:lnTo>
                <a:lnTo>
                  <a:pt x="6634" y="615"/>
                </a:lnTo>
                <a:lnTo>
                  <a:pt x="6640" y="617"/>
                </a:lnTo>
                <a:lnTo>
                  <a:pt x="6645" y="618"/>
                </a:lnTo>
                <a:lnTo>
                  <a:pt x="6651" y="619"/>
                </a:lnTo>
                <a:lnTo>
                  <a:pt x="6657" y="619"/>
                </a:lnTo>
                <a:lnTo>
                  <a:pt x="6665" y="618"/>
                </a:lnTo>
                <a:lnTo>
                  <a:pt x="6670" y="617"/>
                </a:lnTo>
                <a:lnTo>
                  <a:pt x="6673" y="615"/>
                </a:lnTo>
                <a:lnTo>
                  <a:pt x="6675" y="612"/>
                </a:lnTo>
                <a:lnTo>
                  <a:pt x="6678" y="610"/>
                </a:lnTo>
                <a:lnTo>
                  <a:pt x="6683" y="608"/>
                </a:lnTo>
                <a:lnTo>
                  <a:pt x="6691" y="606"/>
                </a:lnTo>
                <a:lnTo>
                  <a:pt x="6704" y="606"/>
                </a:lnTo>
                <a:lnTo>
                  <a:pt x="6718" y="606"/>
                </a:lnTo>
                <a:lnTo>
                  <a:pt x="6730" y="607"/>
                </a:lnTo>
                <a:lnTo>
                  <a:pt x="6742" y="609"/>
                </a:lnTo>
                <a:lnTo>
                  <a:pt x="6752" y="612"/>
                </a:lnTo>
                <a:lnTo>
                  <a:pt x="6762" y="616"/>
                </a:lnTo>
                <a:lnTo>
                  <a:pt x="6771" y="619"/>
                </a:lnTo>
                <a:lnTo>
                  <a:pt x="6778" y="623"/>
                </a:lnTo>
                <a:lnTo>
                  <a:pt x="6786" y="627"/>
                </a:lnTo>
                <a:lnTo>
                  <a:pt x="6799" y="636"/>
                </a:lnTo>
                <a:lnTo>
                  <a:pt x="6812" y="645"/>
                </a:lnTo>
                <a:lnTo>
                  <a:pt x="6827" y="654"/>
                </a:lnTo>
                <a:lnTo>
                  <a:pt x="6843" y="661"/>
                </a:lnTo>
                <a:lnTo>
                  <a:pt x="6943" y="661"/>
                </a:lnTo>
                <a:lnTo>
                  <a:pt x="6945" y="667"/>
                </a:lnTo>
                <a:lnTo>
                  <a:pt x="6950" y="673"/>
                </a:lnTo>
                <a:lnTo>
                  <a:pt x="6955" y="676"/>
                </a:lnTo>
                <a:lnTo>
                  <a:pt x="6961" y="678"/>
                </a:lnTo>
                <a:lnTo>
                  <a:pt x="6971" y="680"/>
                </a:lnTo>
                <a:lnTo>
                  <a:pt x="6982" y="680"/>
                </a:lnTo>
                <a:lnTo>
                  <a:pt x="6989" y="680"/>
                </a:lnTo>
                <a:lnTo>
                  <a:pt x="7006" y="680"/>
                </a:lnTo>
                <a:lnTo>
                  <a:pt x="7027" y="678"/>
                </a:lnTo>
                <a:lnTo>
                  <a:pt x="7049" y="674"/>
                </a:lnTo>
                <a:lnTo>
                  <a:pt x="7031" y="668"/>
                </a:lnTo>
                <a:lnTo>
                  <a:pt x="7011" y="659"/>
                </a:lnTo>
                <a:lnTo>
                  <a:pt x="7002" y="654"/>
                </a:lnTo>
                <a:lnTo>
                  <a:pt x="6996" y="647"/>
                </a:lnTo>
                <a:lnTo>
                  <a:pt x="6993" y="644"/>
                </a:lnTo>
                <a:lnTo>
                  <a:pt x="6991" y="640"/>
                </a:lnTo>
                <a:lnTo>
                  <a:pt x="6989" y="636"/>
                </a:lnTo>
                <a:lnTo>
                  <a:pt x="6989" y="631"/>
                </a:lnTo>
                <a:lnTo>
                  <a:pt x="6990" y="621"/>
                </a:lnTo>
                <a:lnTo>
                  <a:pt x="6991" y="614"/>
                </a:lnTo>
                <a:lnTo>
                  <a:pt x="6992" y="608"/>
                </a:lnTo>
                <a:lnTo>
                  <a:pt x="6992" y="602"/>
                </a:lnTo>
                <a:lnTo>
                  <a:pt x="6991" y="593"/>
                </a:lnTo>
                <a:lnTo>
                  <a:pt x="6989" y="582"/>
                </a:lnTo>
                <a:lnTo>
                  <a:pt x="6975" y="581"/>
                </a:lnTo>
                <a:lnTo>
                  <a:pt x="6961" y="579"/>
                </a:lnTo>
                <a:lnTo>
                  <a:pt x="6947" y="577"/>
                </a:lnTo>
                <a:lnTo>
                  <a:pt x="6934" y="573"/>
                </a:lnTo>
                <a:lnTo>
                  <a:pt x="6910" y="564"/>
                </a:lnTo>
                <a:lnTo>
                  <a:pt x="6886" y="553"/>
                </a:lnTo>
                <a:lnTo>
                  <a:pt x="6861" y="543"/>
                </a:lnTo>
                <a:lnTo>
                  <a:pt x="6835" y="535"/>
                </a:lnTo>
                <a:lnTo>
                  <a:pt x="6821" y="531"/>
                </a:lnTo>
                <a:lnTo>
                  <a:pt x="6807" y="529"/>
                </a:lnTo>
                <a:lnTo>
                  <a:pt x="6793" y="527"/>
                </a:lnTo>
                <a:lnTo>
                  <a:pt x="6776" y="526"/>
                </a:lnTo>
                <a:lnTo>
                  <a:pt x="6769" y="527"/>
                </a:lnTo>
                <a:lnTo>
                  <a:pt x="6761" y="531"/>
                </a:lnTo>
                <a:lnTo>
                  <a:pt x="6756" y="533"/>
                </a:lnTo>
                <a:lnTo>
                  <a:pt x="6753" y="536"/>
                </a:lnTo>
                <a:lnTo>
                  <a:pt x="6751" y="540"/>
                </a:lnTo>
                <a:lnTo>
                  <a:pt x="6750" y="544"/>
                </a:lnTo>
                <a:lnTo>
                  <a:pt x="6751" y="547"/>
                </a:lnTo>
                <a:lnTo>
                  <a:pt x="6752" y="548"/>
                </a:lnTo>
                <a:lnTo>
                  <a:pt x="6754" y="550"/>
                </a:lnTo>
                <a:lnTo>
                  <a:pt x="6757" y="552"/>
                </a:lnTo>
                <a:lnTo>
                  <a:pt x="6765" y="555"/>
                </a:lnTo>
                <a:lnTo>
                  <a:pt x="6775" y="559"/>
                </a:lnTo>
                <a:lnTo>
                  <a:pt x="6785" y="563"/>
                </a:lnTo>
                <a:lnTo>
                  <a:pt x="6795" y="567"/>
                </a:lnTo>
                <a:lnTo>
                  <a:pt x="6799" y="570"/>
                </a:lnTo>
                <a:lnTo>
                  <a:pt x="6803" y="574"/>
                </a:lnTo>
                <a:lnTo>
                  <a:pt x="6807" y="577"/>
                </a:lnTo>
                <a:lnTo>
                  <a:pt x="6810" y="582"/>
                </a:lnTo>
                <a:lnTo>
                  <a:pt x="6778" y="567"/>
                </a:lnTo>
                <a:lnTo>
                  <a:pt x="6751" y="552"/>
                </a:lnTo>
                <a:lnTo>
                  <a:pt x="6728" y="539"/>
                </a:lnTo>
                <a:lnTo>
                  <a:pt x="6706" y="528"/>
                </a:lnTo>
                <a:lnTo>
                  <a:pt x="6684" y="517"/>
                </a:lnTo>
                <a:lnTo>
                  <a:pt x="6660" y="506"/>
                </a:lnTo>
                <a:lnTo>
                  <a:pt x="6631" y="494"/>
                </a:lnTo>
                <a:lnTo>
                  <a:pt x="6597" y="483"/>
                </a:lnTo>
                <a:lnTo>
                  <a:pt x="6573" y="477"/>
                </a:lnTo>
                <a:lnTo>
                  <a:pt x="6548" y="471"/>
                </a:lnTo>
                <a:lnTo>
                  <a:pt x="6525" y="466"/>
                </a:lnTo>
                <a:lnTo>
                  <a:pt x="6500" y="462"/>
                </a:lnTo>
                <a:lnTo>
                  <a:pt x="6454" y="455"/>
                </a:lnTo>
                <a:lnTo>
                  <a:pt x="6408" y="450"/>
                </a:lnTo>
                <a:lnTo>
                  <a:pt x="6363" y="443"/>
                </a:lnTo>
                <a:lnTo>
                  <a:pt x="6318" y="436"/>
                </a:lnTo>
                <a:lnTo>
                  <a:pt x="6295" y="432"/>
                </a:lnTo>
                <a:lnTo>
                  <a:pt x="6272" y="427"/>
                </a:lnTo>
                <a:lnTo>
                  <a:pt x="6249" y="422"/>
                </a:lnTo>
                <a:lnTo>
                  <a:pt x="6225" y="415"/>
                </a:lnTo>
                <a:lnTo>
                  <a:pt x="6146" y="415"/>
                </a:lnTo>
                <a:lnTo>
                  <a:pt x="6133" y="407"/>
                </a:lnTo>
                <a:lnTo>
                  <a:pt x="6121" y="402"/>
                </a:lnTo>
                <a:lnTo>
                  <a:pt x="6114" y="400"/>
                </a:lnTo>
                <a:lnTo>
                  <a:pt x="6106" y="398"/>
                </a:lnTo>
                <a:lnTo>
                  <a:pt x="6096" y="397"/>
                </a:lnTo>
                <a:lnTo>
                  <a:pt x="6085" y="397"/>
                </a:lnTo>
                <a:lnTo>
                  <a:pt x="6071" y="398"/>
                </a:lnTo>
                <a:lnTo>
                  <a:pt x="6058" y="400"/>
                </a:lnTo>
                <a:lnTo>
                  <a:pt x="6045" y="403"/>
                </a:lnTo>
                <a:lnTo>
                  <a:pt x="6033" y="406"/>
                </a:lnTo>
                <a:lnTo>
                  <a:pt x="6020" y="410"/>
                </a:lnTo>
                <a:lnTo>
                  <a:pt x="6007" y="412"/>
                </a:lnTo>
                <a:lnTo>
                  <a:pt x="5993" y="415"/>
                </a:lnTo>
                <a:lnTo>
                  <a:pt x="5979" y="415"/>
                </a:lnTo>
                <a:lnTo>
                  <a:pt x="5971" y="415"/>
                </a:lnTo>
                <a:lnTo>
                  <a:pt x="5960" y="412"/>
                </a:lnTo>
                <a:lnTo>
                  <a:pt x="5945" y="409"/>
                </a:lnTo>
                <a:lnTo>
                  <a:pt x="5929" y="405"/>
                </a:lnTo>
                <a:lnTo>
                  <a:pt x="5913" y="400"/>
                </a:lnTo>
                <a:lnTo>
                  <a:pt x="5899" y="395"/>
                </a:lnTo>
                <a:lnTo>
                  <a:pt x="5887" y="389"/>
                </a:lnTo>
                <a:lnTo>
                  <a:pt x="5880" y="384"/>
                </a:lnTo>
                <a:lnTo>
                  <a:pt x="5833" y="384"/>
                </a:lnTo>
                <a:lnTo>
                  <a:pt x="5835" y="394"/>
                </a:lnTo>
                <a:lnTo>
                  <a:pt x="5838" y="402"/>
                </a:lnTo>
                <a:lnTo>
                  <a:pt x="5843" y="410"/>
                </a:lnTo>
                <a:lnTo>
                  <a:pt x="5847" y="417"/>
                </a:lnTo>
                <a:lnTo>
                  <a:pt x="5853" y="423"/>
                </a:lnTo>
                <a:lnTo>
                  <a:pt x="5859" y="429"/>
                </a:lnTo>
                <a:lnTo>
                  <a:pt x="5866" y="435"/>
                </a:lnTo>
                <a:lnTo>
                  <a:pt x="5872" y="439"/>
                </a:lnTo>
                <a:lnTo>
                  <a:pt x="5895" y="454"/>
                </a:lnTo>
                <a:lnTo>
                  <a:pt x="5906" y="459"/>
                </a:lnTo>
                <a:lnTo>
                  <a:pt x="5883" y="448"/>
                </a:lnTo>
                <a:lnTo>
                  <a:pt x="5860" y="435"/>
                </a:lnTo>
                <a:lnTo>
                  <a:pt x="5848" y="430"/>
                </a:lnTo>
                <a:lnTo>
                  <a:pt x="5834" y="425"/>
                </a:lnTo>
                <a:lnTo>
                  <a:pt x="5826" y="424"/>
                </a:lnTo>
                <a:lnTo>
                  <a:pt x="5819" y="422"/>
                </a:lnTo>
                <a:lnTo>
                  <a:pt x="5810" y="422"/>
                </a:lnTo>
                <a:lnTo>
                  <a:pt x="5800" y="421"/>
                </a:lnTo>
                <a:lnTo>
                  <a:pt x="5804" y="417"/>
                </a:lnTo>
                <a:lnTo>
                  <a:pt x="5807" y="412"/>
                </a:lnTo>
                <a:lnTo>
                  <a:pt x="5809" y="405"/>
                </a:lnTo>
                <a:lnTo>
                  <a:pt x="5813" y="397"/>
                </a:lnTo>
                <a:lnTo>
                  <a:pt x="5796" y="397"/>
                </a:lnTo>
                <a:lnTo>
                  <a:pt x="5781" y="396"/>
                </a:lnTo>
                <a:lnTo>
                  <a:pt x="5767" y="395"/>
                </a:lnTo>
                <a:lnTo>
                  <a:pt x="5754" y="390"/>
                </a:lnTo>
                <a:lnTo>
                  <a:pt x="5753" y="395"/>
                </a:lnTo>
                <a:lnTo>
                  <a:pt x="5752" y="399"/>
                </a:lnTo>
                <a:lnTo>
                  <a:pt x="5751" y="402"/>
                </a:lnTo>
                <a:lnTo>
                  <a:pt x="5748" y="405"/>
                </a:lnTo>
                <a:lnTo>
                  <a:pt x="5745" y="407"/>
                </a:lnTo>
                <a:lnTo>
                  <a:pt x="5742" y="409"/>
                </a:lnTo>
                <a:lnTo>
                  <a:pt x="5737" y="411"/>
                </a:lnTo>
                <a:lnTo>
                  <a:pt x="5733" y="412"/>
                </a:lnTo>
                <a:lnTo>
                  <a:pt x="5724" y="414"/>
                </a:lnTo>
                <a:lnTo>
                  <a:pt x="5714" y="415"/>
                </a:lnTo>
                <a:lnTo>
                  <a:pt x="5703" y="415"/>
                </a:lnTo>
                <a:lnTo>
                  <a:pt x="5693" y="415"/>
                </a:lnTo>
                <a:lnTo>
                  <a:pt x="5667" y="415"/>
                </a:lnTo>
                <a:lnTo>
                  <a:pt x="5643" y="413"/>
                </a:lnTo>
                <a:lnTo>
                  <a:pt x="5621" y="411"/>
                </a:lnTo>
                <a:lnTo>
                  <a:pt x="5599" y="409"/>
                </a:lnTo>
                <a:lnTo>
                  <a:pt x="5578" y="407"/>
                </a:lnTo>
                <a:lnTo>
                  <a:pt x="5557" y="408"/>
                </a:lnTo>
                <a:lnTo>
                  <a:pt x="5546" y="409"/>
                </a:lnTo>
                <a:lnTo>
                  <a:pt x="5536" y="410"/>
                </a:lnTo>
                <a:lnTo>
                  <a:pt x="5525" y="412"/>
                </a:lnTo>
                <a:lnTo>
                  <a:pt x="5514" y="415"/>
                </a:lnTo>
                <a:lnTo>
                  <a:pt x="5528" y="430"/>
                </a:lnTo>
                <a:lnTo>
                  <a:pt x="5539" y="439"/>
                </a:lnTo>
                <a:lnTo>
                  <a:pt x="5551" y="450"/>
                </a:lnTo>
                <a:lnTo>
                  <a:pt x="5567" y="465"/>
                </a:lnTo>
                <a:lnTo>
                  <a:pt x="5531" y="450"/>
                </a:lnTo>
                <a:lnTo>
                  <a:pt x="5497" y="437"/>
                </a:lnTo>
                <a:lnTo>
                  <a:pt x="5465" y="426"/>
                </a:lnTo>
                <a:lnTo>
                  <a:pt x="5433" y="414"/>
                </a:lnTo>
                <a:lnTo>
                  <a:pt x="5419" y="407"/>
                </a:lnTo>
                <a:lnTo>
                  <a:pt x="5404" y="400"/>
                </a:lnTo>
                <a:lnTo>
                  <a:pt x="5388" y="392"/>
                </a:lnTo>
                <a:lnTo>
                  <a:pt x="5374" y="383"/>
                </a:lnTo>
                <a:lnTo>
                  <a:pt x="5360" y="373"/>
                </a:lnTo>
                <a:lnTo>
                  <a:pt x="5344" y="362"/>
                </a:lnTo>
                <a:lnTo>
                  <a:pt x="5330" y="350"/>
                </a:lnTo>
                <a:lnTo>
                  <a:pt x="5315" y="336"/>
                </a:lnTo>
                <a:lnTo>
                  <a:pt x="5109" y="336"/>
                </a:lnTo>
                <a:lnTo>
                  <a:pt x="5104" y="337"/>
                </a:lnTo>
                <a:lnTo>
                  <a:pt x="5099" y="339"/>
                </a:lnTo>
                <a:lnTo>
                  <a:pt x="5094" y="343"/>
                </a:lnTo>
                <a:lnTo>
                  <a:pt x="5090" y="348"/>
                </a:lnTo>
                <a:lnTo>
                  <a:pt x="5009" y="354"/>
                </a:lnTo>
                <a:lnTo>
                  <a:pt x="5003" y="353"/>
                </a:lnTo>
                <a:lnTo>
                  <a:pt x="4996" y="353"/>
                </a:lnTo>
                <a:lnTo>
                  <a:pt x="4991" y="351"/>
                </a:lnTo>
                <a:lnTo>
                  <a:pt x="4986" y="349"/>
                </a:lnTo>
                <a:lnTo>
                  <a:pt x="4979" y="344"/>
                </a:lnTo>
                <a:lnTo>
                  <a:pt x="4972" y="339"/>
                </a:lnTo>
                <a:lnTo>
                  <a:pt x="4964" y="332"/>
                </a:lnTo>
                <a:lnTo>
                  <a:pt x="4956" y="327"/>
                </a:lnTo>
                <a:lnTo>
                  <a:pt x="4951" y="325"/>
                </a:lnTo>
                <a:lnTo>
                  <a:pt x="4945" y="324"/>
                </a:lnTo>
                <a:lnTo>
                  <a:pt x="4938" y="323"/>
                </a:lnTo>
                <a:lnTo>
                  <a:pt x="4929" y="323"/>
                </a:lnTo>
                <a:lnTo>
                  <a:pt x="4924" y="323"/>
                </a:lnTo>
                <a:lnTo>
                  <a:pt x="4918" y="324"/>
                </a:lnTo>
                <a:lnTo>
                  <a:pt x="4916" y="326"/>
                </a:lnTo>
                <a:lnTo>
                  <a:pt x="4913" y="329"/>
                </a:lnTo>
                <a:lnTo>
                  <a:pt x="4911" y="331"/>
                </a:lnTo>
                <a:lnTo>
                  <a:pt x="4907" y="333"/>
                </a:lnTo>
                <a:lnTo>
                  <a:pt x="4903" y="334"/>
                </a:lnTo>
                <a:lnTo>
                  <a:pt x="4896" y="336"/>
                </a:lnTo>
                <a:lnTo>
                  <a:pt x="4884" y="334"/>
                </a:lnTo>
                <a:lnTo>
                  <a:pt x="4873" y="332"/>
                </a:lnTo>
                <a:lnTo>
                  <a:pt x="4863" y="328"/>
                </a:lnTo>
                <a:lnTo>
                  <a:pt x="4853" y="324"/>
                </a:lnTo>
                <a:lnTo>
                  <a:pt x="4836" y="314"/>
                </a:lnTo>
                <a:lnTo>
                  <a:pt x="4816" y="304"/>
                </a:lnTo>
                <a:lnTo>
                  <a:pt x="4830" y="292"/>
                </a:lnTo>
                <a:lnTo>
                  <a:pt x="4826" y="290"/>
                </a:lnTo>
                <a:lnTo>
                  <a:pt x="4816" y="286"/>
                </a:lnTo>
                <a:lnTo>
                  <a:pt x="4808" y="284"/>
                </a:lnTo>
                <a:lnTo>
                  <a:pt x="4799" y="282"/>
                </a:lnTo>
                <a:lnTo>
                  <a:pt x="4789" y="281"/>
                </a:lnTo>
                <a:lnTo>
                  <a:pt x="4777" y="279"/>
                </a:lnTo>
                <a:lnTo>
                  <a:pt x="4766" y="281"/>
                </a:lnTo>
                <a:lnTo>
                  <a:pt x="4757" y="281"/>
                </a:lnTo>
                <a:lnTo>
                  <a:pt x="4748" y="283"/>
                </a:lnTo>
                <a:lnTo>
                  <a:pt x="4740" y="285"/>
                </a:lnTo>
                <a:lnTo>
                  <a:pt x="4728" y="290"/>
                </a:lnTo>
                <a:lnTo>
                  <a:pt x="4717" y="295"/>
                </a:lnTo>
                <a:lnTo>
                  <a:pt x="4710" y="301"/>
                </a:lnTo>
                <a:lnTo>
                  <a:pt x="4701" y="306"/>
                </a:lnTo>
                <a:lnTo>
                  <a:pt x="4698" y="308"/>
                </a:lnTo>
                <a:lnTo>
                  <a:pt x="4693" y="309"/>
                </a:lnTo>
                <a:lnTo>
                  <a:pt x="4689" y="310"/>
                </a:lnTo>
                <a:lnTo>
                  <a:pt x="4683" y="310"/>
                </a:lnTo>
                <a:lnTo>
                  <a:pt x="4670" y="310"/>
                </a:lnTo>
                <a:lnTo>
                  <a:pt x="4657" y="310"/>
                </a:lnTo>
                <a:lnTo>
                  <a:pt x="4657" y="279"/>
                </a:lnTo>
                <a:lnTo>
                  <a:pt x="4650" y="275"/>
                </a:lnTo>
                <a:lnTo>
                  <a:pt x="4644" y="272"/>
                </a:lnTo>
                <a:lnTo>
                  <a:pt x="4638" y="271"/>
                </a:lnTo>
                <a:lnTo>
                  <a:pt x="4633" y="270"/>
                </a:lnTo>
                <a:lnTo>
                  <a:pt x="4627" y="271"/>
                </a:lnTo>
                <a:lnTo>
                  <a:pt x="4621" y="272"/>
                </a:lnTo>
                <a:lnTo>
                  <a:pt x="4613" y="275"/>
                </a:lnTo>
                <a:lnTo>
                  <a:pt x="4604" y="279"/>
                </a:lnTo>
                <a:lnTo>
                  <a:pt x="4603" y="277"/>
                </a:lnTo>
                <a:lnTo>
                  <a:pt x="4601" y="275"/>
                </a:lnTo>
                <a:lnTo>
                  <a:pt x="4599" y="273"/>
                </a:lnTo>
                <a:lnTo>
                  <a:pt x="4597" y="272"/>
                </a:lnTo>
                <a:lnTo>
                  <a:pt x="4589" y="270"/>
                </a:lnTo>
                <a:lnTo>
                  <a:pt x="4579" y="268"/>
                </a:lnTo>
                <a:lnTo>
                  <a:pt x="4557" y="267"/>
                </a:lnTo>
                <a:lnTo>
                  <a:pt x="4532" y="267"/>
                </a:lnTo>
                <a:lnTo>
                  <a:pt x="4486" y="271"/>
                </a:lnTo>
                <a:lnTo>
                  <a:pt x="4465" y="273"/>
                </a:lnTo>
                <a:lnTo>
                  <a:pt x="4398" y="273"/>
                </a:lnTo>
                <a:lnTo>
                  <a:pt x="4399" y="276"/>
                </a:lnTo>
                <a:lnTo>
                  <a:pt x="4400" y="279"/>
                </a:lnTo>
                <a:lnTo>
                  <a:pt x="4402" y="283"/>
                </a:lnTo>
                <a:lnTo>
                  <a:pt x="4405" y="285"/>
                </a:lnTo>
                <a:lnTo>
                  <a:pt x="4409" y="288"/>
                </a:lnTo>
                <a:lnTo>
                  <a:pt x="4412" y="290"/>
                </a:lnTo>
                <a:lnTo>
                  <a:pt x="4415" y="292"/>
                </a:lnTo>
                <a:lnTo>
                  <a:pt x="4418" y="292"/>
                </a:lnTo>
                <a:lnTo>
                  <a:pt x="4420" y="299"/>
                </a:lnTo>
                <a:lnTo>
                  <a:pt x="4425" y="307"/>
                </a:lnTo>
                <a:lnTo>
                  <a:pt x="4432" y="316"/>
                </a:lnTo>
                <a:lnTo>
                  <a:pt x="4438" y="323"/>
                </a:lnTo>
                <a:lnTo>
                  <a:pt x="4429" y="323"/>
                </a:lnTo>
                <a:lnTo>
                  <a:pt x="4420" y="324"/>
                </a:lnTo>
                <a:lnTo>
                  <a:pt x="4412" y="326"/>
                </a:lnTo>
                <a:lnTo>
                  <a:pt x="4403" y="329"/>
                </a:lnTo>
                <a:lnTo>
                  <a:pt x="4394" y="331"/>
                </a:lnTo>
                <a:lnTo>
                  <a:pt x="4383" y="333"/>
                </a:lnTo>
                <a:lnTo>
                  <a:pt x="4373" y="334"/>
                </a:lnTo>
                <a:lnTo>
                  <a:pt x="4358" y="336"/>
                </a:lnTo>
                <a:lnTo>
                  <a:pt x="4337" y="334"/>
                </a:lnTo>
                <a:lnTo>
                  <a:pt x="4317" y="331"/>
                </a:lnTo>
                <a:lnTo>
                  <a:pt x="4295" y="327"/>
                </a:lnTo>
                <a:lnTo>
                  <a:pt x="4272" y="323"/>
                </a:lnTo>
                <a:lnTo>
                  <a:pt x="4250" y="318"/>
                </a:lnTo>
                <a:lnTo>
                  <a:pt x="4228" y="314"/>
                </a:lnTo>
                <a:lnTo>
                  <a:pt x="4206" y="311"/>
                </a:lnTo>
                <a:lnTo>
                  <a:pt x="4186" y="310"/>
                </a:lnTo>
                <a:lnTo>
                  <a:pt x="4176" y="310"/>
                </a:lnTo>
                <a:lnTo>
                  <a:pt x="4166" y="310"/>
                </a:lnTo>
                <a:lnTo>
                  <a:pt x="4166" y="348"/>
                </a:lnTo>
                <a:lnTo>
                  <a:pt x="4139" y="348"/>
                </a:lnTo>
                <a:lnTo>
                  <a:pt x="4131" y="345"/>
                </a:lnTo>
                <a:lnTo>
                  <a:pt x="4122" y="342"/>
                </a:lnTo>
                <a:lnTo>
                  <a:pt x="4113" y="340"/>
                </a:lnTo>
                <a:lnTo>
                  <a:pt x="4102" y="338"/>
                </a:lnTo>
                <a:lnTo>
                  <a:pt x="4082" y="333"/>
                </a:lnTo>
                <a:lnTo>
                  <a:pt x="4060" y="330"/>
                </a:lnTo>
                <a:lnTo>
                  <a:pt x="4039" y="326"/>
                </a:lnTo>
                <a:lnTo>
                  <a:pt x="4019" y="321"/>
                </a:lnTo>
                <a:lnTo>
                  <a:pt x="4009" y="318"/>
                </a:lnTo>
                <a:lnTo>
                  <a:pt x="4000" y="314"/>
                </a:lnTo>
                <a:lnTo>
                  <a:pt x="3993" y="310"/>
                </a:lnTo>
                <a:lnTo>
                  <a:pt x="3986" y="304"/>
                </a:lnTo>
                <a:lnTo>
                  <a:pt x="3946" y="304"/>
                </a:lnTo>
                <a:lnTo>
                  <a:pt x="3953" y="317"/>
                </a:lnTo>
                <a:lnTo>
                  <a:pt x="3960" y="329"/>
                </a:lnTo>
                <a:lnTo>
                  <a:pt x="3941" y="318"/>
                </a:lnTo>
                <a:lnTo>
                  <a:pt x="3920" y="305"/>
                </a:lnTo>
                <a:lnTo>
                  <a:pt x="3898" y="294"/>
                </a:lnTo>
                <a:lnTo>
                  <a:pt x="3880" y="286"/>
                </a:lnTo>
                <a:lnTo>
                  <a:pt x="3820" y="286"/>
                </a:lnTo>
                <a:lnTo>
                  <a:pt x="3820" y="287"/>
                </a:lnTo>
                <a:lnTo>
                  <a:pt x="3819" y="288"/>
                </a:lnTo>
                <a:lnTo>
                  <a:pt x="3818" y="288"/>
                </a:lnTo>
                <a:lnTo>
                  <a:pt x="3816" y="287"/>
                </a:lnTo>
                <a:lnTo>
                  <a:pt x="3809" y="286"/>
                </a:lnTo>
                <a:lnTo>
                  <a:pt x="3800" y="283"/>
                </a:lnTo>
                <a:lnTo>
                  <a:pt x="3777" y="274"/>
                </a:lnTo>
                <a:lnTo>
                  <a:pt x="3752" y="265"/>
                </a:lnTo>
                <a:lnTo>
                  <a:pt x="3727" y="256"/>
                </a:lnTo>
                <a:lnTo>
                  <a:pt x="3706" y="249"/>
                </a:lnTo>
                <a:lnTo>
                  <a:pt x="3698" y="247"/>
                </a:lnTo>
                <a:lnTo>
                  <a:pt x="3694" y="246"/>
                </a:lnTo>
                <a:lnTo>
                  <a:pt x="3693" y="246"/>
                </a:lnTo>
                <a:lnTo>
                  <a:pt x="3692" y="247"/>
                </a:lnTo>
                <a:lnTo>
                  <a:pt x="3693" y="248"/>
                </a:lnTo>
                <a:lnTo>
                  <a:pt x="3694" y="249"/>
                </a:lnTo>
                <a:lnTo>
                  <a:pt x="3677" y="249"/>
                </a:lnTo>
                <a:lnTo>
                  <a:pt x="3663" y="251"/>
                </a:lnTo>
                <a:lnTo>
                  <a:pt x="3650" y="253"/>
                </a:lnTo>
                <a:lnTo>
                  <a:pt x="3637" y="255"/>
                </a:lnTo>
                <a:lnTo>
                  <a:pt x="3624" y="257"/>
                </a:lnTo>
                <a:lnTo>
                  <a:pt x="3608" y="259"/>
                </a:lnTo>
                <a:lnTo>
                  <a:pt x="3593" y="261"/>
                </a:lnTo>
                <a:lnTo>
                  <a:pt x="3574" y="261"/>
                </a:lnTo>
                <a:lnTo>
                  <a:pt x="3559" y="261"/>
                </a:lnTo>
                <a:lnTo>
                  <a:pt x="3544" y="260"/>
                </a:lnTo>
                <a:lnTo>
                  <a:pt x="3528" y="258"/>
                </a:lnTo>
                <a:lnTo>
                  <a:pt x="3515" y="256"/>
                </a:lnTo>
                <a:lnTo>
                  <a:pt x="3488" y="252"/>
                </a:lnTo>
                <a:lnTo>
                  <a:pt x="3461" y="246"/>
                </a:lnTo>
                <a:lnTo>
                  <a:pt x="3435" y="240"/>
                </a:lnTo>
                <a:lnTo>
                  <a:pt x="3408" y="236"/>
                </a:lnTo>
                <a:lnTo>
                  <a:pt x="3394" y="234"/>
                </a:lnTo>
                <a:lnTo>
                  <a:pt x="3379" y="232"/>
                </a:lnTo>
                <a:lnTo>
                  <a:pt x="3365" y="231"/>
                </a:lnTo>
                <a:lnTo>
                  <a:pt x="3348" y="231"/>
                </a:lnTo>
                <a:lnTo>
                  <a:pt x="3334" y="227"/>
                </a:lnTo>
                <a:lnTo>
                  <a:pt x="3313" y="219"/>
                </a:lnTo>
                <a:lnTo>
                  <a:pt x="3304" y="216"/>
                </a:lnTo>
                <a:lnTo>
                  <a:pt x="3296" y="214"/>
                </a:lnTo>
                <a:lnTo>
                  <a:pt x="3293" y="214"/>
                </a:lnTo>
                <a:lnTo>
                  <a:pt x="3291" y="215"/>
                </a:lnTo>
                <a:lnTo>
                  <a:pt x="3289" y="216"/>
                </a:lnTo>
                <a:lnTo>
                  <a:pt x="3289" y="218"/>
                </a:lnTo>
                <a:lnTo>
                  <a:pt x="3289" y="221"/>
                </a:lnTo>
                <a:lnTo>
                  <a:pt x="3290" y="226"/>
                </a:lnTo>
                <a:lnTo>
                  <a:pt x="3292" y="229"/>
                </a:lnTo>
                <a:lnTo>
                  <a:pt x="3295" y="233"/>
                </a:lnTo>
                <a:lnTo>
                  <a:pt x="3302" y="240"/>
                </a:lnTo>
                <a:lnTo>
                  <a:pt x="3310" y="247"/>
                </a:lnTo>
                <a:lnTo>
                  <a:pt x="3320" y="252"/>
                </a:lnTo>
                <a:lnTo>
                  <a:pt x="3328" y="257"/>
                </a:lnTo>
                <a:lnTo>
                  <a:pt x="3336" y="260"/>
                </a:lnTo>
                <a:lnTo>
                  <a:pt x="3341" y="261"/>
                </a:lnTo>
                <a:lnTo>
                  <a:pt x="3332" y="260"/>
                </a:lnTo>
                <a:lnTo>
                  <a:pt x="3323" y="257"/>
                </a:lnTo>
                <a:lnTo>
                  <a:pt x="3314" y="255"/>
                </a:lnTo>
                <a:lnTo>
                  <a:pt x="3305" y="251"/>
                </a:lnTo>
                <a:lnTo>
                  <a:pt x="3290" y="244"/>
                </a:lnTo>
                <a:lnTo>
                  <a:pt x="3273" y="235"/>
                </a:lnTo>
                <a:lnTo>
                  <a:pt x="3257" y="225"/>
                </a:lnTo>
                <a:lnTo>
                  <a:pt x="3239" y="213"/>
                </a:lnTo>
                <a:lnTo>
                  <a:pt x="3219" y="203"/>
                </a:lnTo>
                <a:lnTo>
                  <a:pt x="3195" y="193"/>
                </a:lnTo>
                <a:lnTo>
                  <a:pt x="3198" y="192"/>
                </a:lnTo>
                <a:lnTo>
                  <a:pt x="3200" y="190"/>
                </a:lnTo>
                <a:lnTo>
                  <a:pt x="3201" y="186"/>
                </a:lnTo>
                <a:lnTo>
                  <a:pt x="3201" y="181"/>
                </a:lnTo>
                <a:lnTo>
                  <a:pt x="3202" y="173"/>
                </a:lnTo>
                <a:lnTo>
                  <a:pt x="3202" y="169"/>
                </a:lnTo>
                <a:lnTo>
                  <a:pt x="3169" y="169"/>
                </a:lnTo>
                <a:lnTo>
                  <a:pt x="3164" y="170"/>
                </a:lnTo>
                <a:lnTo>
                  <a:pt x="3159" y="173"/>
                </a:lnTo>
                <a:lnTo>
                  <a:pt x="3154" y="177"/>
                </a:lnTo>
                <a:lnTo>
                  <a:pt x="3149" y="181"/>
                </a:lnTo>
                <a:lnTo>
                  <a:pt x="3153" y="187"/>
                </a:lnTo>
                <a:lnTo>
                  <a:pt x="3156" y="193"/>
                </a:lnTo>
                <a:lnTo>
                  <a:pt x="3144" y="196"/>
                </a:lnTo>
                <a:lnTo>
                  <a:pt x="3133" y="199"/>
                </a:lnTo>
                <a:lnTo>
                  <a:pt x="3122" y="203"/>
                </a:lnTo>
                <a:lnTo>
                  <a:pt x="3112" y="206"/>
                </a:lnTo>
                <a:lnTo>
                  <a:pt x="3093" y="215"/>
                </a:lnTo>
                <a:lnTo>
                  <a:pt x="3076" y="225"/>
                </a:lnTo>
                <a:lnTo>
                  <a:pt x="3058" y="235"/>
                </a:lnTo>
                <a:lnTo>
                  <a:pt x="3040" y="245"/>
                </a:lnTo>
                <a:lnTo>
                  <a:pt x="3030" y="249"/>
                </a:lnTo>
                <a:lnTo>
                  <a:pt x="3020" y="253"/>
                </a:lnTo>
                <a:lnTo>
                  <a:pt x="3008" y="257"/>
                </a:lnTo>
                <a:lnTo>
                  <a:pt x="2997" y="261"/>
                </a:lnTo>
                <a:lnTo>
                  <a:pt x="2997" y="257"/>
                </a:lnTo>
                <a:lnTo>
                  <a:pt x="2998" y="252"/>
                </a:lnTo>
                <a:lnTo>
                  <a:pt x="2999" y="248"/>
                </a:lnTo>
                <a:lnTo>
                  <a:pt x="3002" y="243"/>
                </a:lnTo>
                <a:lnTo>
                  <a:pt x="3008" y="235"/>
                </a:lnTo>
                <a:lnTo>
                  <a:pt x="3016" y="226"/>
                </a:lnTo>
                <a:lnTo>
                  <a:pt x="3026" y="217"/>
                </a:lnTo>
                <a:lnTo>
                  <a:pt x="3038" y="209"/>
                </a:lnTo>
                <a:lnTo>
                  <a:pt x="3052" y="201"/>
                </a:lnTo>
                <a:lnTo>
                  <a:pt x="3065" y="193"/>
                </a:lnTo>
                <a:lnTo>
                  <a:pt x="3093" y="179"/>
                </a:lnTo>
                <a:lnTo>
                  <a:pt x="3122" y="165"/>
                </a:lnTo>
                <a:lnTo>
                  <a:pt x="3148" y="154"/>
                </a:lnTo>
                <a:lnTo>
                  <a:pt x="3169" y="144"/>
                </a:lnTo>
                <a:lnTo>
                  <a:pt x="3157" y="136"/>
                </a:lnTo>
                <a:lnTo>
                  <a:pt x="3144" y="129"/>
                </a:lnTo>
                <a:lnTo>
                  <a:pt x="3130" y="122"/>
                </a:lnTo>
                <a:lnTo>
                  <a:pt x="3114" y="115"/>
                </a:lnTo>
                <a:lnTo>
                  <a:pt x="3098" y="107"/>
                </a:lnTo>
                <a:lnTo>
                  <a:pt x="3080" y="102"/>
                </a:lnTo>
                <a:lnTo>
                  <a:pt x="3063" y="96"/>
                </a:lnTo>
                <a:lnTo>
                  <a:pt x="3044" y="91"/>
                </a:lnTo>
                <a:lnTo>
                  <a:pt x="3024" y="86"/>
                </a:lnTo>
                <a:lnTo>
                  <a:pt x="3004" y="82"/>
                </a:lnTo>
                <a:lnTo>
                  <a:pt x="2985" y="79"/>
                </a:lnTo>
                <a:lnTo>
                  <a:pt x="2965" y="76"/>
                </a:lnTo>
                <a:lnTo>
                  <a:pt x="2944" y="74"/>
                </a:lnTo>
                <a:lnTo>
                  <a:pt x="2923" y="72"/>
                </a:lnTo>
                <a:lnTo>
                  <a:pt x="2903" y="71"/>
                </a:lnTo>
                <a:lnTo>
                  <a:pt x="2884" y="70"/>
                </a:lnTo>
                <a:lnTo>
                  <a:pt x="2875" y="71"/>
                </a:lnTo>
                <a:lnTo>
                  <a:pt x="2867" y="72"/>
                </a:lnTo>
                <a:lnTo>
                  <a:pt x="2862" y="74"/>
                </a:lnTo>
                <a:lnTo>
                  <a:pt x="2856" y="76"/>
                </a:lnTo>
                <a:lnTo>
                  <a:pt x="2850" y="79"/>
                </a:lnTo>
                <a:lnTo>
                  <a:pt x="2843" y="81"/>
                </a:lnTo>
                <a:lnTo>
                  <a:pt x="2834" y="82"/>
                </a:lnTo>
                <a:lnTo>
                  <a:pt x="2823" y="83"/>
                </a:lnTo>
                <a:lnTo>
                  <a:pt x="2723" y="64"/>
                </a:lnTo>
                <a:lnTo>
                  <a:pt x="2724" y="58"/>
                </a:lnTo>
                <a:lnTo>
                  <a:pt x="2726" y="52"/>
                </a:lnTo>
                <a:lnTo>
                  <a:pt x="2729" y="47"/>
                </a:lnTo>
                <a:lnTo>
                  <a:pt x="2731" y="42"/>
                </a:lnTo>
                <a:lnTo>
                  <a:pt x="2738" y="33"/>
                </a:lnTo>
                <a:lnTo>
                  <a:pt x="2744" y="21"/>
                </a:lnTo>
                <a:lnTo>
                  <a:pt x="2743" y="19"/>
                </a:lnTo>
                <a:lnTo>
                  <a:pt x="2742" y="17"/>
                </a:lnTo>
                <a:lnTo>
                  <a:pt x="2739" y="15"/>
                </a:lnTo>
                <a:lnTo>
                  <a:pt x="2735" y="13"/>
                </a:lnTo>
                <a:lnTo>
                  <a:pt x="2727" y="10"/>
                </a:lnTo>
                <a:lnTo>
                  <a:pt x="2717" y="9"/>
                </a:lnTo>
                <a:lnTo>
                  <a:pt x="2712" y="5"/>
                </a:lnTo>
                <a:lnTo>
                  <a:pt x="2707" y="1"/>
                </a:lnTo>
                <a:lnTo>
                  <a:pt x="2701" y="0"/>
                </a:lnTo>
                <a:lnTo>
                  <a:pt x="2696" y="0"/>
                </a:lnTo>
                <a:lnTo>
                  <a:pt x="2691" y="3"/>
                </a:lnTo>
                <a:lnTo>
                  <a:pt x="2687" y="7"/>
                </a:lnTo>
                <a:lnTo>
                  <a:pt x="2685" y="13"/>
                </a:lnTo>
                <a:lnTo>
                  <a:pt x="2684" y="21"/>
                </a:lnTo>
                <a:lnTo>
                  <a:pt x="2667" y="24"/>
                </a:lnTo>
                <a:lnTo>
                  <a:pt x="2653" y="29"/>
                </a:lnTo>
                <a:lnTo>
                  <a:pt x="2641" y="34"/>
                </a:lnTo>
                <a:lnTo>
                  <a:pt x="2630" y="40"/>
                </a:lnTo>
                <a:lnTo>
                  <a:pt x="2610" y="53"/>
                </a:lnTo>
                <a:lnTo>
                  <a:pt x="2590" y="64"/>
                </a:lnTo>
                <a:lnTo>
                  <a:pt x="2618" y="83"/>
                </a:lnTo>
                <a:lnTo>
                  <a:pt x="2611" y="83"/>
                </a:lnTo>
                <a:lnTo>
                  <a:pt x="2597" y="83"/>
                </a:lnTo>
                <a:lnTo>
                  <a:pt x="2575" y="83"/>
                </a:lnTo>
                <a:lnTo>
                  <a:pt x="2551" y="83"/>
                </a:lnTo>
                <a:lnTo>
                  <a:pt x="2567" y="97"/>
                </a:lnTo>
                <a:lnTo>
                  <a:pt x="2587" y="118"/>
                </a:lnTo>
                <a:lnTo>
                  <a:pt x="2598" y="128"/>
                </a:lnTo>
                <a:lnTo>
                  <a:pt x="2610" y="136"/>
                </a:lnTo>
                <a:lnTo>
                  <a:pt x="2617" y="140"/>
                </a:lnTo>
                <a:lnTo>
                  <a:pt x="2623" y="142"/>
                </a:lnTo>
                <a:lnTo>
                  <a:pt x="2630" y="144"/>
                </a:lnTo>
                <a:lnTo>
                  <a:pt x="2638" y="144"/>
                </a:lnTo>
                <a:lnTo>
                  <a:pt x="2630" y="144"/>
                </a:lnTo>
                <a:lnTo>
                  <a:pt x="2623" y="142"/>
                </a:lnTo>
                <a:lnTo>
                  <a:pt x="2618" y="140"/>
                </a:lnTo>
                <a:lnTo>
                  <a:pt x="2611" y="137"/>
                </a:lnTo>
                <a:lnTo>
                  <a:pt x="2600" y="130"/>
                </a:lnTo>
                <a:lnTo>
                  <a:pt x="2590" y="121"/>
                </a:lnTo>
                <a:lnTo>
                  <a:pt x="2579" y="110"/>
                </a:lnTo>
                <a:lnTo>
                  <a:pt x="2567" y="100"/>
                </a:lnTo>
                <a:lnTo>
                  <a:pt x="2561" y="95"/>
                </a:lnTo>
                <a:lnTo>
                  <a:pt x="2554" y="90"/>
                </a:lnTo>
                <a:lnTo>
                  <a:pt x="2547" y="86"/>
                </a:lnTo>
                <a:lnTo>
                  <a:pt x="2538" y="83"/>
                </a:lnTo>
                <a:lnTo>
                  <a:pt x="2465" y="114"/>
                </a:lnTo>
                <a:lnTo>
                  <a:pt x="2462" y="110"/>
                </a:lnTo>
                <a:lnTo>
                  <a:pt x="2455" y="104"/>
                </a:lnTo>
                <a:lnTo>
                  <a:pt x="2451" y="100"/>
                </a:lnTo>
                <a:lnTo>
                  <a:pt x="2446" y="98"/>
                </a:lnTo>
                <a:lnTo>
                  <a:pt x="2439" y="95"/>
                </a:lnTo>
                <a:lnTo>
                  <a:pt x="2431" y="95"/>
                </a:lnTo>
                <a:lnTo>
                  <a:pt x="2410" y="95"/>
                </a:lnTo>
                <a:lnTo>
                  <a:pt x="2391" y="98"/>
                </a:lnTo>
                <a:lnTo>
                  <a:pt x="2372" y="101"/>
                </a:lnTo>
                <a:lnTo>
                  <a:pt x="2354" y="105"/>
                </a:lnTo>
                <a:lnTo>
                  <a:pt x="2319" y="117"/>
                </a:lnTo>
                <a:lnTo>
                  <a:pt x="2284" y="129"/>
                </a:lnTo>
                <a:lnTo>
                  <a:pt x="2250" y="141"/>
                </a:lnTo>
                <a:lnTo>
                  <a:pt x="2214" y="152"/>
                </a:lnTo>
                <a:lnTo>
                  <a:pt x="2195" y="156"/>
                </a:lnTo>
                <a:lnTo>
                  <a:pt x="2175" y="159"/>
                </a:lnTo>
                <a:lnTo>
                  <a:pt x="2155" y="161"/>
                </a:lnTo>
                <a:lnTo>
                  <a:pt x="2133" y="162"/>
                </a:lnTo>
                <a:lnTo>
                  <a:pt x="2134" y="167"/>
                </a:lnTo>
                <a:lnTo>
                  <a:pt x="2137" y="173"/>
                </a:lnTo>
                <a:lnTo>
                  <a:pt x="2142" y="178"/>
                </a:lnTo>
                <a:lnTo>
                  <a:pt x="2149" y="183"/>
                </a:lnTo>
                <a:lnTo>
                  <a:pt x="2157" y="187"/>
                </a:lnTo>
                <a:lnTo>
                  <a:pt x="2167" y="190"/>
                </a:lnTo>
                <a:lnTo>
                  <a:pt x="2175" y="193"/>
                </a:lnTo>
                <a:lnTo>
                  <a:pt x="2185" y="193"/>
                </a:lnTo>
                <a:lnTo>
                  <a:pt x="2186" y="198"/>
                </a:lnTo>
                <a:lnTo>
                  <a:pt x="2187" y="203"/>
                </a:lnTo>
                <a:lnTo>
                  <a:pt x="2190" y="208"/>
                </a:lnTo>
                <a:lnTo>
                  <a:pt x="2192" y="213"/>
                </a:lnTo>
                <a:lnTo>
                  <a:pt x="2198" y="225"/>
                </a:lnTo>
                <a:lnTo>
                  <a:pt x="2207" y="235"/>
                </a:lnTo>
                <a:lnTo>
                  <a:pt x="2216" y="244"/>
                </a:lnTo>
                <a:lnTo>
                  <a:pt x="2225" y="251"/>
                </a:lnTo>
                <a:lnTo>
                  <a:pt x="2233" y="257"/>
                </a:lnTo>
                <a:lnTo>
                  <a:pt x="2239" y="261"/>
                </a:lnTo>
                <a:lnTo>
                  <a:pt x="2233" y="261"/>
                </a:lnTo>
                <a:lnTo>
                  <a:pt x="2227" y="260"/>
                </a:lnTo>
                <a:lnTo>
                  <a:pt x="2223" y="259"/>
                </a:lnTo>
                <a:lnTo>
                  <a:pt x="2217" y="257"/>
                </a:lnTo>
                <a:lnTo>
                  <a:pt x="2214" y="254"/>
                </a:lnTo>
                <a:lnTo>
                  <a:pt x="2209" y="251"/>
                </a:lnTo>
                <a:lnTo>
                  <a:pt x="2206" y="248"/>
                </a:lnTo>
                <a:lnTo>
                  <a:pt x="2203" y="244"/>
                </a:lnTo>
                <a:lnTo>
                  <a:pt x="2198" y="236"/>
                </a:lnTo>
                <a:lnTo>
                  <a:pt x="2195" y="225"/>
                </a:lnTo>
                <a:lnTo>
                  <a:pt x="2193" y="213"/>
                </a:lnTo>
                <a:lnTo>
                  <a:pt x="2192" y="200"/>
                </a:lnTo>
                <a:lnTo>
                  <a:pt x="2190" y="201"/>
                </a:lnTo>
                <a:lnTo>
                  <a:pt x="2186" y="202"/>
                </a:lnTo>
                <a:lnTo>
                  <a:pt x="2182" y="202"/>
                </a:lnTo>
                <a:lnTo>
                  <a:pt x="2179" y="202"/>
                </a:lnTo>
                <a:lnTo>
                  <a:pt x="2169" y="200"/>
                </a:lnTo>
                <a:lnTo>
                  <a:pt x="2159" y="200"/>
                </a:lnTo>
                <a:lnTo>
                  <a:pt x="2150" y="200"/>
                </a:lnTo>
                <a:lnTo>
                  <a:pt x="2141" y="202"/>
                </a:lnTo>
                <a:lnTo>
                  <a:pt x="2134" y="205"/>
                </a:lnTo>
                <a:lnTo>
                  <a:pt x="2126" y="209"/>
                </a:lnTo>
                <a:lnTo>
                  <a:pt x="2118" y="212"/>
                </a:lnTo>
                <a:lnTo>
                  <a:pt x="2111" y="215"/>
                </a:lnTo>
                <a:lnTo>
                  <a:pt x="2102" y="217"/>
                </a:lnTo>
                <a:lnTo>
                  <a:pt x="2093" y="218"/>
                </a:lnTo>
                <a:lnTo>
                  <a:pt x="2083" y="217"/>
                </a:lnTo>
                <a:lnTo>
                  <a:pt x="2073" y="214"/>
                </a:lnTo>
                <a:lnTo>
                  <a:pt x="2066" y="210"/>
                </a:lnTo>
                <a:lnTo>
                  <a:pt x="2059" y="206"/>
                </a:lnTo>
                <a:lnTo>
                  <a:pt x="2020" y="218"/>
                </a:lnTo>
                <a:lnTo>
                  <a:pt x="2013" y="218"/>
                </a:lnTo>
                <a:lnTo>
                  <a:pt x="2000" y="219"/>
                </a:lnTo>
                <a:lnTo>
                  <a:pt x="1992" y="221"/>
                </a:lnTo>
                <a:lnTo>
                  <a:pt x="1985" y="223"/>
                </a:lnTo>
                <a:lnTo>
                  <a:pt x="1983" y="225"/>
                </a:lnTo>
                <a:lnTo>
                  <a:pt x="1981" y="227"/>
                </a:lnTo>
                <a:lnTo>
                  <a:pt x="1980" y="229"/>
                </a:lnTo>
                <a:lnTo>
                  <a:pt x="1980" y="231"/>
                </a:lnTo>
                <a:lnTo>
                  <a:pt x="1980" y="234"/>
                </a:lnTo>
                <a:lnTo>
                  <a:pt x="1982" y="238"/>
                </a:lnTo>
                <a:lnTo>
                  <a:pt x="1984" y="242"/>
                </a:lnTo>
                <a:lnTo>
                  <a:pt x="1988" y="245"/>
                </a:lnTo>
                <a:lnTo>
                  <a:pt x="1996" y="253"/>
                </a:lnTo>
                <a:lnTo>
                  <a:pt x="2009" y="261"/>
                </a:lnTo>
                <a:lnTo>
                  <a:pt x="2023" y="270"/>
                </a:lnTo>
                <a:lnTo>
                  <a:pt x="2038" y="278"/>
                </a:lnTo>
                <a:lnTo>
                  <a:pt x="2056" y="287"/>
                </a:lnTo>
                <a:lnTo>
                  <a:pt x="2074" y="295"/>
                </a:lnTo>
                <a:lnTo>
                  <a:pt x="2112" y="311"/>
                </a:lnTo>
                <a:lnTo>
                  <a:pt x="2148" y="324"/>
                </a:lnTo>
                <a:lnTo>
                  <a:pt x="2178" y="334"/>
                </a:lnTo>
                <a:lnTo>
                  <a:pt x="2198" y="342"/>
                </a:lnTo>
                <a:lnTo>
                  <a:pt x="2200" y="352"/>
                </a:lnTo>
                <a:lnTo>
                  <a:pt x="2202" y="361"/>
                </a:lnTo>
                <a:lnTo>
                  <a:pt x="2204" y="369"/>
                </a:lnTo>
                <a:lnTo>
                  <a:pt x="2207" y="376"/>
                </a:lnTo>
                <a:lnTo>
                  <a:pt x="2216" y="389"/>
                </a:lnTo>
                <a:lnTo>
                  <a:pt x="2226" y="403"/>
                </a:lnTo>
                <a:lnTo>
                  <a:pt x="2214" y="405"/>
                </a:lnTo>
                <a:lnTo>
                  <a:pt x="2203" y="404"/>
                </a:lnTo>
                <a:lnTo>
                  <a:pt x="2193" y="402"/>
                </a:lnTo>
                <a:lnTo>
                  <a:pt x="2184" y="399"/>
                </a:lnTo>
                <a:lnTo>
                  <a:pt x="2177" y="394"/>
                </a:lnTo>
                <a:lnTo>
                  <a:pt x="2169" y="387"/>
                </a:lnTo>
                <a:lnTo>
                  <a:pt x="2161" y="381"/>
                </a:lnTo>
                <a:lnTo>
                  <a:pt x="2155" y="374"/>
                </a:lnTo>
                <a:lnTo>
                  <a:pt x="2142" y="360"/>
                </a:lnTo>
                <a:lnTo>
                  <a:pt x="2129" y="345"/>
                </a:lnTo>
                <a:lnTo>
                  <a:pt x="2123" y="339"/>
                </a:lnTo>
                <a:lnTo>
                  <a:pt x="2115" y="332"/>
                </a:lnTo>
                <a:lnTo>
                  <a:pt x="2107" y="327"/>
                </a:lnTo>
                <a:lnTo>
                  <a:pt x="2100" y="323"/>
                </a:lnTo>
                <a:lnTo>
                  <a:pt x="2065" y="315"/>
                </a:lnTo>
                <a:lnTo>
                  <a:pt x="2020" y="305"/>
                </a:lnTo>
                <a:lnTo>
                  <a:pt x="2009" y="302"/>
                </a:lnTo>
                <a:lnTo>
                  <a:pt x="1999" y="298"/>
                </a:lnTo>
                <a:lnTo>
                  <a:pt x="1989" y="293"/>
                </a:lnTo>
                <a:lnTo>
                  <a:pt x="1980" y="288"/>
                </a:lnTo>
                <a:lnTo>
                  <a:pt x="1972" y="281"/>
                </a:lnTo>
                <a:lnTo>
                  <a:pt x="1967" y="273"/>
                </a:lnTo>
                <a:lnTo>
                  <a:pt x="1964" y="269"/>
                </a:lnTo>
                <a:lnTo>
                  <a:pt x="1962" y="265"/>
                </a:lnTo>
                <a:lnTo>
                  <a:pt x="1960" y="260"/>
                </a:lnTo>
                <a:lnTo>
                  <a:pt x="1960" y="255"/>
                </a:lnTo>
                <a:lnTo>
                  <a:pt x="1947" y="255"/>
                </a:lnTo>
                <a:lnTo>
                  <a:pt x="1940" y="255"/>
                </a:lnTo>
                <a:lnTo>
                  <a:pt x="1933" y="256"/>
                </a:lnTo>
                <a:lnTo>
                  <a:pt x="1927" y="258"/>
                </a:lnTo>
                <a:lnTo>
                  <a:pt x="1922" y="261"/>
                </a:lnTo>
                <a:lnTo>
                  <a:pt x="1916" y="264"/>
                </a:lnTo>
                <a:lnTo>
                  <a:pt x="1910" y="267"/>
                </a:lnTo>
                <a:lnTo>
                  <a:pt x="1903" y="270"/>
                </a:lnTo>
                <a:lnTo>
                  <a:pt x="1895" y="272"/>
                </a:lnTo>
                <a:lnTo>
                  <a:pt x="1887" y="273"/>
                </a:lnTo>
                <a:lnTo>
                  <a:pt x="1882" y="287"/>
                </a:lnTo>
                <a:lnTo>
                  <a:pt x="1879" y="297"/>
                </a:lnTo>
                <a:lnTo>
                  <a:pt x="1877" y="301"/>
                </a:lnTo>
                <a:lnTo>
                  <a:pt x="1875" y="305"/>
                </a:lnTo>
                <a:lnTo>
                  <a:pt x="1871" y="308"/>
                </a:lnTo>
                <a:lnTo>
                  <a:pt x="1867" y="310"/>
                </a:lnTo>
                <a:lnTo>
                  <a:pt x="1871" y="316"/>
                </a:lnTo>
                <a:lnTo>
                  <a:pt x="1876" y="320"/>
                </a:lnTo>
                <a:lnTo>
                  <a:pt x="1882" y="325"/>
                </a:lnTo>
                <a:lnTo>
                  <a:pt x="1889" y="328"/>
                </a:lnTo>
                <a:lnTo>
                  <a:pt x="1903" y="334"/>
                </a:lnTo>
                <a:lnTo>
                  <a:pt x="1921" y="340"/>
                </a:lnTo>
                <a:lnTo>
                  <a:pt x="1959" y="349"/>
                </a:lnTo>
                <a:lnTo>
                  <a:pt x="2000" y="360"/>
                </a:lnTo>
                <a:lnTo>
                  <a:pt x="1954" y="360"/>
                </a:lnTo>
                <a:lnTo>
                  <a:pt x="1929" y="354"/>
                </a:lnTo>
                <a:lnTo>
                  <a:pt x="1906" y="349"/>
                </a:lnTo>
                <a:lnTo>
                  <a:pt x="1886" y="344"/>
                </a:lnTo>
                <a:lnTo>
                  <a:pt x="1866" y="338"/>
                </a:lnTo>
                <a:lnTo>
                  <a:pt x="1857" y="333"/>
                </a:lnTo>
                <a:lnTo>
                  <a:pt x="1849" y="328"/>
                </a:lnTo>
                <a:lnTo>
                  <a:pt x="1842" y="322"/>
                </a:lnTo>
                <a:lnTo>
                  <a:pt x="1835" y="315"/>
                </a:lnTo>
                <a:lnTo>
                  <a:pt x="1828" y="307"/>
                </a:lnTo>
                <a:lnTo>
                  <a:pt x="1823" y="298"/>
                </a:lnTo>
                <a:lnTo>
                  <a:pt x="1817" y="287"/>
                </a:lnTo>
                <a:lnTo>
                  <a:pt x="1814" y="273"/>
                </a:lnTo>
                <a:lnTo>
                  <a:pt x="1787" y="273"/>
                </a:lnTo>
                <a:lnTo>
                  <a:pt x="1787" y="282"/>
                </a:lnTo>
                <a:lnTo>
                  <a:pt x="1786" y="288"/>
                </a:lnTo>
                <a:lnTo>
                  <a:pt x="1785" y="293"/>
                </a:lnTo>
                <a:lnTo>
                  <a:pt x="1782" y="298"/>
                </a:lnTo>
                <a:lnTo>
                  <a:pt x="1776" y="306"/>
                </a:lnTo>
                <a:lnTo>
                  <a:pt x="1767" y="316"/>
                </a:lnTo>
                <a:lnTo>
                  <a:pt x="1771" y="323"/>
                </a:lnTo>
                <a:lnTo>
                  <a:pt x="1775" y="328"/>
                </a:lnTo>
                <a:lnTo>
                  <a:pt x="1779" y="332"/>
                </a:lnTo>
                <a:lnTo>
                  <a:pt x="1785" y="336"/>
                </a:lnTo>
                <a:lnTo>
                  <a:pt x="1793" y="342"/>
                </a:lnTo>
                <a:lnTo>
                  <a:pt x="1803" y="346"/>
                </a:lnTo>
                <a:lnTo>
                  <a:pt x="1813" y="351"/>
                </a:lnTo>
                <a:lnTo>
                  <a:pt x="1823" y="358"/>
                </a:lnTo>
                <a:lnTo>
                  <a:pt x="1827" y="363"/>
                </a:lnTo>
                <a:lnTo>
                  <a:pt x="1832" y="369"/>
                </a:lnTo>
                <a:lnTo>
                  <a:pt x="1836" y="376"/>
                </a:lnTo>
                <a:lnTo>
                  <a:pt x="1841" y="384"/>
                </a:lnTo>
                <a:lnTo>
                  <a:pt x="1842" y="389"/>
                </a:lnTo>
                <a:lnTo>
                  <a:pt x="1843" y="396"/>
                </a:lnTo>
                <a:lnTo>
                  <a:pt x="1844" y="402"/>
                </a:lnTo>
                <a:lnTo>
                  <a:pt x="1844" y="409"/>
                </a:lnTo>
                <a:lnTo>
                  <a:pt x="1844" y="415"/>
                </a:lnTo>
                <a:lnTo>
                  <a:pt x="1844" y="420"/>
                </a:lnTo>
                <a:lnTo>
                  <a:pt x="1845" y="424"/>
                </a:lnTo>
                <a:lnTo>
                  <a:pt x="1847" y="427"/>
                </a:lnTo>
                <a:lnTo>
                  <a:pt x="1859" y="436"/>
                </a:lnTo>
                <a:lnTo>
                  <a:pt x="1868" y="444"/>
                </a:lnTo>
                <a:lnTo>
                  <a:pt x="1872" y="448"/>
                </a:lnTo>
                <a:lnTo>
                  <a:pt x="1878" y="451"/>
                </a:lnTo>
                <a:lnTo>
                  <a:pt x="1884" y="452"/>
                </a:lnTo>
                <a:lnTo>
                  <a:pt x="1893" y="453"/>
                </a:lnTo>
                <a:lnTo>
                  <a:pt x="1902" y="452"/>
                </a:lnTo>
                <a:lnTo>
                  <a:pt x="1910" y="450"/>
                </a:lnTo>
                <a:lnTo>
                  <a:pt x="1917" y="446"/>
                </a:lnTo>
                <a:lnTo>
                  <a:pt x="1923" y="443"/>
                </a:lnTo>
                <a:lnTo>
                  <a:pt x="1929" y="439"/>
                </a:lnTo>
                <a:lnTo>
                  <a:pt x="1936" y="436"/>
                </a:lnTo>
                <a:lnTo>
                  <a:pt x="1944" y="434"/>
                </a:lnTo>
                <a:lnTo>
                  <a:pt x="1954" y="433"/>
                </a:lnTo>
                <a:lnTo>
                  <a:pt x="1961" y="434"/>
                </a:lnTo>
                <a:lnTo>
                  <a:pt x="1970" y="435"/>
                </a:lnTo>
                <a:lnTo>
                  <a:pt x="1978" y="437"/>
                </a:lnTo>
                <a:lnTo>
                  <a:pt x="1985" y="439"/>
                </a:lnTo>
                <a:lnTo>
                  <a:pt x="1999" y="445"/>
                </a:lnTo>
                <a:lnTo>
                  <a:pt x="2013" y="453"/>
                </a:lnTo>
                <a:lnTo>
                  <a:pt x="2027" y="459"/>
                </a:lnTo>
                <a:lnTo>
                  <a:pt x="2041" y="465"/>
                </a:lnTo>
                <a:lnTo>
                  <a:pt x="2048" y="467"/>
                </a:lnTo>
                <a:lnTo>
                  <a:pt x="2056" y="469"/>
                </a:lnTo>
                <a:lnTo>
                  <a:pt x="2065" y="470"/>
                </a:lnTo>
                <a:lnTo>
                  <a:pt x="2073" y="471"/>
                </a:lnTo>
                <a:lnTo>
                  <a:pt x="2076" y="482"/>
                </a:lnTo>
                <a:lnTo>
                  <a:pt x="2078" y="492"/>
                </a:lnTo>
                <a:lnTo>
                  <a:pt x="2082" y="503"/>
                </a:lnTo>
                <a:lnTo>
                  <a:pt x="2086" y="511"/>
                </a:lnTo>
                <a:lnTo>
                  <a:pt x="2090" y="515"/>
                </a:lnTo>
                <a:lnTo>
                  <a:pt x="2093" y="518"/>
                </a:lnTo>
                <a:lnTo>
                  <a:pt x="2097" y="522"/>
                </a:lnTo>
                <a:lnTo>
                  <a:pt x="2102" y="525"/>
                </a:lnTo>
                <a:lnTo>
                  <a:pt x="2106" y="527"/>
                </a:lnTo>
                <a:lnTo>
                  <a:pt x="2113" y="529"/>
                </a:lnTo>
                <a:lnTo>
                  <a:pt x="2118" y="531"/>
                </a:lnTo>
                <a:lnTo>
                  <a:pt x="2126" y="532"/>
                </a:lnTo>
                <a:lnTo>
                  <a:pt x="2111" y="532"/>
                </a:lnTo>
                <a:lnTo>
                  <a:pt x="2100" y="532"/>
                </a:lnTo>
                <a:lnTo>
                  <a:pt x="2093" y="532"/>
                </a:lnTo>
                <a:lnTo>
                  <a:pt x="2086" y="531"/>
                </a:lnTo>
                <a:lnTo>
                  <a:pt x="2081" y="530"/>
                </a:lnTo>
                <a:lnTo>
                  <a:pt x="2076" y="529"/>
                </a:lnTo>
                <a:lnTo>
                  <a:pt x="2067" y="524"/>
                </a:lnTo>
                <a:lnTo>
                  <a:pt x="2059" y="519"/>
                </a:lnTo>
                <a:lnTo>
                  <a:pt x="2052" y="513"/>
                </a:lnTo>
                <a:lnTo>
                  <a:pt x="2046" y="506"/>
                </a:lnTo>
                <a:lnTo>
                  <a:pt x="2040" y="497"/>
                </a:lnTo>
                <a:lnTo>
                  <a:pt x="2035" y="489"/>
                </a:lnTo>
                <a:lnTo>
                  <a:pt x="2030" y="481"/>
                </a:lnTo>
                <a:lnTo>
                  <a:pt x="2024" y="473"/>
                </a:lnTo>
                <a:lnTo>
                  <a:pt x="2017" y="466"/>
                </a:lnTo>
                <a:lnTo>
                  <a:pt x="2011" y="460"/>
                </a:lnTo>
                <a:lnTo>
                  <a:pt x="2002" y="454"/>
                </a:lnTo>
                <a:lnTo>
                  <a:pt x="1992" y="450"/>
                </a:lnTo>
                <a:lnTo>
                  <a:pt x="1980" y="448"/>
                </a:lnTo>
                <a:lnTo>
                  <a:pt x="1967" y="446"/>
                </a:lnTo>
                <a:lnTo>
                  <a:pt x="1959" y="446"/>
                </a:lnTo>
                <a:lnTo>
                  <a:pt x="1953" y="449"/>
                </a:lnTo>
                <a:lnTo>
                  <a:pt x="1946" y="451"/>
                </a:lnTo>
                <a:lnTo>
                  <a:pt x="1939" y="453"/>
                </a:lnTo>
                <a:lnTo>
                  <a:pt x="1927" y="459"/>
                </a:lnTo>
                <a:lnTo>
                  <a:pt x="1913" y="465"/>
                </a:lnTo>
                <a:lnTo>
                  <a:pt x="1918" y="477"/>
                </a:lnTo>
                <a:lnTo>
                  <a:pt x="1932" y="499"/>
                </a:lnTo>
                <a:lnTo>
                  <a:pt x="1939" y="512"/>
                </a:lnTo>
                <a:lnTo>
                  <a:pt x="1947" y="523"/>
                </a:lnTo>
                <a:lnTo>
                  <a:pt x="1954" y="532"/>
                </a:lnTo>
                <a:lnTo>
                  <a:pt x="1960" y="538"/>
                </a:lnTo>
                <a:lnTo>
                  <a:pt x="1945" y="554"/>
                </a:lnTo>
                <a:lnTo>
                  <a:pt x="1929" y="573"/>
                </a:lnTo>
                <a:lnTo>
                  <a:pt x="1924" y="578"/>
                </a:lnTo>
                <a:lnTo>
                  <a:pt x="1918" y="581"/>
                </a:lnTo>
                <a:lnTo>
                  <a:pt x="1913" y="585"/>
                </a:lnTo>
                <a:lnTo>
                  <a:pt x="1906" y="588"/>
                </a:lnTo>
                <a:lnTo>
                  <a:pt x="1900" y="590"/>
                </a:lnTo>
                <a:lnTo>
                  <a:pt x="1892" y="592"/>
                </a:lnTo>
                <a:lnTo>
                  <a:pt x="1883" y="593"/>
                </a:lnTo>
                <a:lnTo>
                  <a:pt x="1873" y="594"/>
                </a:lnTo>
                <a:lnTo>
                  <a:pt x="1855" y="595"/>
                </a:lnTo>
                <a:lnTo>
                  <a:pt x="1838" y="597"/>
                </a:lnTo>
                <a:lnTo>
                  <a:pt x="1823" y="600"/>
                </a:lnTo>
                <a:lnTo>
                  <a:pt x="1810" y="603"/>
                </a:lnTo>
                <a:lnTo>
                  <a:pt x="1797" y="604"/>
                </a:lnTo>
                <a:lnTo>
                  <a:pt x="1785" y="604"/>
                </a:lnTo>
                <a:lnTo>
                  <a:pt x="1779" y="603"/>
                </a:lnTo>
                <a:lnTo>
                  <a:pt x="1772" y="601"/>
                </a:lnTo>
                <a:lnTo>
                  <a:pt x="1767" y="598"/>
                </a:lnTo>
                <a:lnTo>
                  <a:pt x="1760" y="594"/>
                </a:lnTo>
                <a:lnTo>
                  <a:pt x="1778" y="593"/>
                </a:lnTo>
                <a:lnTo>
                  <a:pt x="1793" y="591"/>
                </a:lnTo>
                <a:lnTo>
                  <a:pt x="1806" y="589"/>
                </a:lnTo>
                <a:lnTo>
                  <a:pt x="1821" y="588"/>
                </a:lnTo>
                <a:lnTo>
                  <a:pt x="1826" y="587"/>
                </a:lnTo>
                <a:lnTo>
                  <a:pt x="1832" y="586"/>
                </a:lnTo>
                <a:lnTo>
                  <a:pt x="1837" y="585"/>
                </a:lnTo>
                <a:lnTo>
                  <a:pt x="1843" y="583"/>
                </a:lnTo>
                <a:lnTo>
                  <a:pt x="1847" y="580"/>
                </a:lnTo>
                <a:lnTo>
                  <a:pt x="1852" y="577"/>
                </a:lnTo>
                <a:lnTo>
                  <a:pt x="1856" y="573"/>
                </a:lnTo>
                <a:lnTo>
                  <a:pt x="1859" y="569"/>
                </a:lnTo>
                <a:lnTo>
                  <a:pt x="1866" y="560"/>
                </a:lnTo>
                <a:lnTo>
                  <a:pt x="1870" y="548"/>
                </a:lnTo>
                <a:lnTo>
                  <a:pt x="1872" y="538"/>
                </a:lnTo>
                <a:lnTo>
                  <a:pt x="1873" y="526"/>
                </a:lnTo>
                <a:lnTo>
                  <a:pt x="1873" y="520"/>
                </a:lnTo>
                <a:lnTo>
                  <a:pt x="1873" y="512"/>
                </a:lnTo>
                <a:lnTo>
                  <a:pt x="1873" y="499"/>
                </a:lnTo>
                <a:lnTo>
                  <a:pt x="1873" y="483"/>
                </a:lnTo>
                <a:lnTo>
                  <a:pt x="1860" y="480"/>
                </a:lnTo>
                <a:lnTo>
                  <a:pt x="1849" y="476"/>
                </a:lnTo>
                <a:lnTo>
                  <a:pt x="1839" y="470"/>
                </a:lnTo>
                <a:lnTo>
                  <a:pt x="1832" y="464"/>
                </a:lnTo>
                <a:lnTo>
                  <a:pt x="1824" y="457"/>
                </a:lnTo>
                <a:lnTo>
                  <a:pt x="1817" y="449"/>
                </a:lnTo>
                <a:lnTo>
                  <a:pt x="1812" y="440"/>
                </a:lnTo>
                <a:lnTo>
                  <a:pt x="1806" y="431"/>
                </a:lnTo>
                <a:lnTo>
                  <a:pt x="1796" y="413"/>
                </a:lnTo>
                <a:lnTo>
                  <a:pt x="1785" y="396"/>
                </a:lnTo>
                <a:lnTo>
                  <a:pt x="1778" y="387"/>
                </a:lnTo>
                <a:lnTo>
                  <a:pt x="1771" y="379"/>
                </a:lnTo>
                <a:lnTo>
                  <a:pt x="1764" y="372"/>
                </a:lnTo>
                <a:lnTo>
                  <a:pt x="1754" y="366"/>
                </a:lnTo>
                <a:lnTo>
                  <a:pt x="1708" y="348"/>
                </a:lnTo>
                <a:lnTo>
                  <a:pt x="1705" y="342"/>
                </a:lnTo>
                <a:lnTo>
                  <a:pt x="1707" y="333"/>
                </a:lnTo>
                <a:lnTo>
                  <a:pt x="1708" y="324"/>
                </a:lnTo>
                <a:lnTo>
                  <a:pt x="1709" y="313"/>
                </a:lnTo>
                <a:lnTo>
                  <a:pt x="1710" y="303"/>
                </a:lnTo>
                <a:lnTo>
                  <a:pt x="1709" y="294"/>
                </a:lnTo>
                <a:lnTo>
                  <a:pt x="1708" y="290"/>
                </a:lnTo>
                <a:lnTo>
                  <a:pt x="1707" y="286"/>
                </a:lnTo>
                <a:lnTo>
                  <a:pt x="1704" y="283"/>
                </a:lnTo>
                <a:lnTo>
                  <a:pt x="1701" y="279"/>
                </a:lnTo>
                <a:lnTo>
                  <a:pt x="1698" y="276"/>
                </a:lnTo>
                <a:lnTo>
                  <a:pt x="1693" y="273"/>
                </a:lnTo>
                <a:lnTo>
                  <a:pt x="1689" y="271"/>
                </a:lnTo>
                <a:lnTo>
                  <a:pt x="1682" y="269"/>
                </a:lnTo>
                <a:lnTo>
                  <a:pt x="1669" y="266"/>
                </a:lnTo>
                <a:lnTo>
                  <a:pt x="1654" y="263"/>
                </a:lnTo>
                <a:lnTo>
                  <a:pt x="1618" y="261"/>
                </a:lnTo>
                <a:lnTo>
                  <a:pt x="1581" y="261"/>
                </a:lnTo>
                <a:lnTo>
                  <a:pt x="1596" y="257"/>
                </a:lnTo>
                <a:lnTo>
                  <a:pt x="1609" y="253"/>
                </a:lnTo>
                <a:lnTo>
                  <a:pt x="1613" y="249"/>
                </a:lnTo>
                <a:lnTo>
                  <a:pt x="1618" y="245"/>
                </a:lnTo>
                <a:lnTo>
                  <a:pt x="1620" y="239"/>
                </a:lnTo>
                <a:lnTo>
                  <a:pt x="1621" y="231"/>
                </a:lnTo>
                <a:lnTo>
                  <a:pt x="1608" y="231"/>
                </a:lnTo>
                <a:lnTo>
                  <a:pt x="1596" y="231"/>
                </a:lnTo>
                <a:lnTo>
                  <a:pt x="1581" y="231"/>
                </a:lnTo>
                <a:lnTo>
                  <a:pt x="1562" y="231"/>
                </a:lnTo>
                <a:lnTo>
                  <a:pt x="1559" y="246"/>
                </a:lnTo>
                <a:lnTo>
                  <a:pt x="1555" y="263"/>
                </a:lnTo>
                <a:lnTo>
                  <a:pt x="1550" y="279"/>
                </a:lnTo>
                <a:lnTo>
                  <a:pt x="1548" y="292"/>
                </a:lnTo>
                <a:lnTo>
                  <a:pt x="1548" y="294"/>
                </a:lnTo>
                <a:lnTo>
                  <a:pt x="1550" y="295"/>
                </a:lnTo>
                <a:lnTo>
                  <a:pt x="1552" y="295"/>
                </a:lnTo>
                <a:lnTo>
                  <a:pt x="1555" y="295"/>
                </a:lnTo>
                <a:lnTo>
                  <a:pt x="1559" y="293"/>
                </a:lnTo>
                <a:lnTo>
                  <a:pt x="1562" y="292"/>
                </a:lnTo>
                <a:lnTo>
                  <a:pt x="1562" y="323"/>
                </a:lnTo>
                <a:lnTo>
                  <a:pt x="1552" y="327"/>
                </a:lnTo>
                <a:lnTo>
                  <a:pt x="1543" y="331"/>
                </a:lnTo>
                <a:lnTo>
                  <a:pt x="1537" y="332"/>
                </a:lnTo>
                <a:lnTo>
                  <a:pt x="1531" y="334"/>
                </a:lnTo>
                <a:lnTo>
                  <a:pt x="1524" y="334"/>
                </a:lnTo>
                <a:lnTo>
                  <a:pt x="1514" y="336"/>
                </a:lnTo>
                <a:lnTo>
                  <a:pt x="1514" y="345"/>
                </a:lnTo>
                <a:lnTo>
                  <a:pt x="1514" y="354"/>
                </a:lnTo>
                <a:lnTo>
                  <a:pt x="1532" y="375"/>
                </a:lnTo>
                <a:lnTo>
                  <a:pt x="1555" y="404"/>
                </a:lnTo>
                <a:lnTo>
                  <a:pt x="1562" y="411"/>
                </a:lnTo>
                <a:lnTo>
                  <a:pt x="1569" y="418"/>
                </a:lnTo>
                <a:lnTo>
                  <a:pt x="1577" y="424"/>
                </a:lnTo>
                <a:lnTo>
                  <a:pt x="1585" y="429"/>
                </a:lnTo>
                <a:lnTo>
                  <a:pt x="1593" y="433"/>
                </a:lnTo>
                <a:lnTo>
                  <a:pt x="1602" y="437"/>
                </a:lnTo>
                <a:lnTo>
                  <a:pt x="1611" y="439"/>
                </a:lnTo>
                <a:lnTo>
                  <a:pt x="1621" y="439"/>
                </a:lnTo>
                <a:lnTo>
                  <a:pt x="1622" y="445"/>
                </a:lnTo>
                <a:lnTo>
                  <a:pt x="1623" y="451"/>
                </a:lnTo>
                <a:lnTo>
                  <a:pt x="1625" y="455"/>
                </a:lnTo>
                <a:lnTo>
                  <a:pt x="1629" y="458"/>
                </a:lnTo>
                <a:lnTo>
                  <a:pt x="1636" y="465"/>
                </a:lnTo>
                <a:lnTo>
                  <a:pt x="1645" y="471"/>
                </a:lnTo>
                <a:lnTo>
                  <a:pt x="1654" y="477"/>
                </a:lnTo>
                <a:lnTo>
                  <a:pt x="1663" y="483"/>
                </a:lnTo>
                <a:lnTo>
                  <a:pt x="1667" y="487"/>
                </a:lnTo>
                <a:lnTo>
                  <a:pt x="1670" y="491"/>
                </a:lnTo>
                <a:lnTo>
                  <a:pt x="1673" y="496"/>
                </a:lnTo>
                <a:lnTo>
                  <a:pt x="1674" y="501"/>
                </a:lnTo>
                <a:lnTo>
                  <a:pt x="1667" y="501"/>
                </a:lnTo>
                <a:lnTo>
                  <a:pt x="1654" y="501"/>
                </a:lnTo>
                <a:lnTo>
                  <a:pt x="1645" y="499"/>
                </a:lnTo>
                <a:lnTo>
                  <a:pt x="1625" y="494"/>
                </a:lnTo>
                <a:lnTo>
                  <a:pt x="1599" y="487"/>
                </a:lnTo>
                <a:lnTo>
                  <a:pt x="1568" y="478"/>
                </a:lnTo>
                <a:lnTo>
                  <a:pt x="1539" y="468"/>
                </a:lnTo>
                <a:lnTo>
                  <a:pt x="1513" y="458"/>
                </a:lnTo>
                <a:lnTo>
                  <a:pt x="1502" y="453"/>
                </a:lnTo>
                <a:lnTo>
                  <a:pt x="1495" y="448"/>
                </a:lnTo>
                <a:lnTo>
                  <a:pt x="1492" y="445"/>
                </a:lnTo>
                <a:lnTo>
                  <a:pt x="1490" y="443"/>
                </a:lnTo>
                <a:lnTo>
                  <a:pt x="1488" y="441"/>
                </a:lnTo>
                <a:lnTo>
                  <a:pt x="1488" y="439"/>
                </a:lnTo>
                <a:lnTo>
                  <a:pt x="1467" y="439"/>
                </a:lnTo>
                <a:lnTo>
                  <a:pt x="1432" y="436"/>
                </a:lnTo>
                <a:lnTo>
                  <a:pt x="1389" y="432"/>
                </a:lnTo>
                <a:lnTo>
                  <a:pt x="1343" y="425"/>
                </a:lnTo>
                <a:lnTo>
                  <a:pt x="1320" y="421"/>
                </a:lnTo>
                <a:lnTo>
                  <a:pt x="1298" y="417"/>
                </a:lnTo>
                <a:lnTo>
                  <a:pt x="1277" y="412"/>
                </a:lnTo>
                <a:lnTo>
                  <a:pt x="1260" y="406"/>
                </a:lnTo>
                <a:lnTo>
                  <a:pt x="1251" y="403"/>
                </a:lnTo>
                <a:lnTo>
                  <a:pt x="1244" y="400"/>
                </a:lnTo>
                <a:lnTo>
                  <a:pt x="1238" y="397"/>
                </a:lnTo>
                <a:lnTo>
                  <a:pt x="1232" y="394"/>
                </a:lnTo>
                <a:lnTo>
                  <a:pt x="1228" y="389"/>
                </a:lnTo>
                <a:lnTo>
                  <a:pt x="1225" y="386"/>
                </a:lnTo>
                <a:lnTo>
                  <a:pt x="1223" y="382"/>
                </a:lnTo>
                <a:lnTo>
                  <a:pt x="1222" y="378"/>
                </a:lnTo>
                <a:lnTo>
                  <a:pt x="1210" y="381"/>
                </a:lnTo>
                <a:lnTo>
                  <a:pt x="1203" y="384"/>
                </a:lnTo>
                <a:lnTo>
                  <a:pt x="1203" y="389"/>
                </a:lnTo>
                <a:lnTo>
                  <a:pt x="1204" y="395"/>
                </a:lnTo>
                <a:lnTo>
                  <a:pt x="1205" y="399"/>
                </a:lnTo>
                <a:lnTo>
                  <a:pt x="1207" y="403"/>
                </a:lnTo>
                <a:lnTo>
                  <a:pt x="1211" y="410"/>
                </a:lnTo>
                <a:lnTo>
                  <a:pt x="1218" y="416"/>
                </a:lnTo>
                <a:lnTo>
                  <a:pt x="1225" y="421"/>
                </a:lnTo>
                <a:lnTo>
                  <a:pt x="1233" y="425"/>
                </a:lnTo>
                <a:lnTo>
                  <a:pt x="1243" y="429"/>
                </a:lnTo>
                <a:lnTo>
                  <a:pt x="1253" y="433"/>
                </a:lnTo>
                <a:lnTo>
                  <a:pt x="1274" y="442"/>
                </a:lnTo>
                <a:lnTo>
                  <a:pt x="1295" y="452"/>
                </a:lnTo>
                <a:lnTo>
                  <a:pt x="1305" y="458"/>
                </a:lnTo>
                <a:lnTo>
                  <a:pt x="1313" y="465"/>
                </a:lnTo>
                <a:lnTo>
                  <a:pt x="1322" y="473"/>
                </a:lnTo>
                <a:lnTo>
                  <a:pt x="1329" y="483"/>
                </a:lnTo>
                <a:lnTo>
                  <a:pt x="1319" y="483"/>
                </a:lnTo>
                <a:lnTo>
                  <a:pt x="1309" y="483"/>
                </a:lnTo>
                <a:lnTo>
                  <a:pt x="1297" y="481"/>
                </a:lnTo>
                <a:lnTo>
                  <a:pt x="1281" y="477"/>
                </a:lnTo>
                <a:lnTo>
                  <a:pt x="1272" y="475"/>
                </a:lnTo>
                <a:lnTo>
                  <a:pt x="1262" y="473"/>
                </a:lnTo>
                <a:lnTo>
                  <a:pt x="1252" y="471"/>
                </a:lnTo>
                <a:lnTo>
                  <a:pt x="1242" y="471"/>
                </a:lnTo>
                <a:lnTo>
                  <a:pt x="1232" y="471"/>
                </a:lnTo>
                <a:lnTo>
                  <a:pt x="1221" y="473"/>
                </a:lnTo>
                <a:lnTo>
                  <a:pt x="1210" y="475"/>
                </a:lnTo>
                <a:lnTo>
                  <a:pt x="1198" y="477"/>
                </a:lnTo>
                <a:lnTo>
                  <a:pt x="1174" y="484"/>
                </a:lnTo>
                <a:lnTo>
                  <a:pt x="1149" y="492"/>
                </a:lnTo>
                <a:lnTo>
                  <a:pt x="1122" y="500"/>
                </a:lnTo>
                <a:lnTo>
                  <a:pt x="1097" y="508"/>
                </a:lnTo>
                <a:lnTo>
                  <a:pt x="1085" y="510"/>
                </a:lnTo>
                <a:lnTo>
                  <a:pt x="1073" y="512"/>
                </a:lnTo>
                <a:lnTo>
                  <a:pt x="1061" y="514"/>
                </a:lnTo>
                <a:lnTo>
                  <a:pt x="1050" y="514"/>
                </a:lnTo>
                <a:lnTo>
                  <a:pt x="1046" y="513"/>
                </a:lnTo>
                <a:lnTo>
                  <a:pt x="1042" y="511"/>
                </a:lnTo>
                <a:lnTo>
                  <a:pt x="1040" y="507"/>
                </a:lnTo>
                <a:lnTo>
                  <a:pt x="1040" y="503"/>
                </a:lnTo>
                <a:lnTo>
                  <a:pt x="1040" y="496"/>
                </a:lnTo>
                <a:lnTo>
                  <a:pt x="1042" y="490"/>
                </a:lnTo>
                <a:lnTo>
                  <a:pt x="1046" y="484"/>
                </a:lnTo>
                <a:lnTo>
                  <a:pt x="1050" y="477"/>
                </a:lnTo>
                <a:lnTo>
                  <a:pt x="1040" y="473"/>
                </a:lnTo>
                <a:lnTo>
                  <a:pt x="1030" y="472"/>
                </a:lnTo>
                <a:lnTo>
                  <a:pt x="1019" y="471"/>
                </a:lnTo>
                <a:lnTo>
                  <a:pt x="1009" y="471"/>
                </a:lnTo>
                <a:lnTo>
                  <a:pt x="1007" y="475"/>
                </a:lnTo>
                <a:lnTo>
                  <a:pt x="1004" y="477"/>
                </a:lnTo>
                <a:lnTo>
                  <a:pt x="999" y="479"/>
                </a:lnTo>
                <a:lnTo>
                  <a:pt x="994" y="480"/>
                </a:lnTo>
                <a:lnTo>
                  <a:pt x="984" y="480"/>
                </a:lnTo>
                <a:lnTo>
                  <a:pt x="972" y="479"/>
                </a:lnTo>
                <a:lnTo>
                  <a:pt x="961" y="477"/>
                </a:lnTo>
                <a:lnTo>
                  <a:pt x="949" y="477"/>
                </a:lnTo>
                <a:lnTo>
                  <a:pt x="943" y="477"/>
                </a:lnTo>
                <a:lnTo>
                  <a:pt x="939" y="478"/>
                </a:lnTo>
                <a:lnTo>
                  <a:pt x="934" y="480"/>
                </a:lnTo>
                <a:lnTo>
                  <a:pt x="930" y="483"/>
                </a:lnTo>
                <a:lnTo>
                  <a:pt x="924" y="489"/>
                </a:lnTo>
                <a:lnTo>
                  <a:pt x="916" y="495"/>
                </a:lnTo>
                <a:lnTo>
                  <a:pt x="908" y="500"/>
                </a:lnTo>
                <a:lnTo>
                  <a:pt x="900" y="505"/>
                </a:lnTo>
                <a:lnTo>
                  <a:pt x="882" y="513"/>
                </a:lnTo>
                <a:lnTo>
                  <a:pt x="864" y="522"/>
                </a:lnTo>
                <a:lnTo>
                  <a:pt x="857" y="526"/>
                </a:lnTo>
                <a:lnTo>
                  <a:pt x="849" y="532"/>
                </a:lnTo>
                <a:lnTo>
                  <a:pt x="841" y="538"/>
                </a:lnTo>
                <a:lnTo>
                  <a:pt x="836" y="545"/>
                </a:lnTo>
                <a:lnTo>
                  <a:pt x="830" y="553"/>
                </a:lnTo>
                <a:lnTo>
                  <a:pt x="827" y="564"/>
                </a:lnTo>
                <a:lnTo>
                  <a:pt x="825" y="575"/>
                </a:lnTo>
                <a:lnTo>
                  <a:pt x="824" y="588"/>
                </a:lnTo>
                <a:lnTo>
                  <a:pt x="810" y="584"/>
                </a:lnTo>
                <a:lnTo>
                  <a:pt x="797" y="581"/>
                </a:lnTo>
                <a:lnTo>
                  <a:pt x="791" y="581"/>
                </a:lnTo>
                <a:lnTo>
                  <a:pt x="784" y="582"/>
                </a:lnTo>
                <a:lnTo>
                  <a:pt x="778" y="584"/>
                </a:lnTo>
                <a:lnTo>
                  <a:pt x="771" y="588"/>
                </a:lnTo>
                <a:lnTo>
                  <a:pt x="758" y="582"/>
                </a:lnTo>
                <a:lnTo>
                  <a:pt x="740" y="575"/>
                </a:lnTo>
                <a:lnTo>
                  <a:pt x="732" y="571"/>
                </a:lnTo>
                <a:lnTo>
                  <a:pt x="724" y="566"/>
                </a:lnTo>
                <a:lnTo>
                  <a:pt x="716" y="562"/>
                </a:lnTo>
                <a:lnTo>
                  <a:pt x="711" y="556"/>
                </a:lnTo>
                <a:lnTo>
                  <a:pt x="711" y="526"/>
                </a:lnTo>
                <a:lnTo>
                  <a:pt x="721" y="526"/>
                </a:lnTo>
                <a:lnTo>
                  <a:pt x="730" y="526"/>
                </a:lnTo>
                <a:lnTo>
                  <a:pt x="738" y="526"/>
                </a:lnTo>
                <a:lnTo>
                  <a:pt x="744" y="526"/>
                </a:lnTo>
                <a:lnTo>
                  <a:pt x="740" y="516"/>
                </a:lnTo>
                <a:lnTo>
                  <a:pt x="736" y="507"/>
                </a:lnTo>
                <a:lnTo>
                  <a:pt x="730" y="499"/>
                </a:lnTo>
                <a:lnTo>
                  <a:pt x="723" y="493"/>
                </a:lnTo>
                <a:lnTo>
                  <a:pt x="714" y="488"/>
                </a:lnTo>
                <a:lnTo>
                  <a:pt x="704" y="485"/>
                </a:lnTo>
                <a:lnTo>
                  <a:pt x="692" y="483"/>
                </a:lnTo>
                <a:lnTo>
                  <a:pt x="678" y="483"/>
                </a:lnTo>
                <a:lnTo>
                  <a:pt x="668" y="483"/>
                </a:lnTo>
                <a:lnTo>
                  <a:pt x="656" y="483"/>
                </a:lnTo>
                <a:lnTo>
                  <a:pt x="643" y="483"/>
                </a:lnTo>
                <a:lnTo>
                  <a:pt x="624" y="483"/>
                </a:lnTo>
                <a:lnTo>
                  <a:pt x="627" y="487"/>
                </a:lnTo>
                <a:lnTo>
                  <a:pt x="632" y="491"/>
                </a:lnTo>
                <a:lnTo>
                  <a:pt x="636" y="495"/>
                </a:lnTo>
                <a:lnTo>
                  <a:pt x="640" y="498"/>
                </a:lnTo>
                <a:lnTo>
                  <a:pt x="645" y="501"/>
                </a:lnTo>
                <a:lnTo>
                  <a:pt x="648" y="506"/>
                </a:lnTo>
                <a:lnTo>
                  <a:pt x="650" y="510"/>
                </a:lnTo>
                <a:lnTo>
                  <a:pt x="651" y="514"/>
                </a:lnTo>
                <a:lnTo>
                  <a:pt x="650" y="519"/>
                </a:lnTo>
                <a:lnTo>
                  <a:pt x="649" y="523"/>
                </a:lnTo>
                <a:lnTo>
                  <a:pt x="648" y="525"/>
                </a:lnTo>
                <a:lnTo>
                  <a:pt x="646" y="528"/>
                </a:lnTo>
                <a:lnTo>
                  <a:pt x="643" y="530"/>
                </a:lnTo>
                <a:lnTo>
                  <a:pt x="638" y="532"/>
                </a:lnTo>
                <a:lnTo>
                  <a:pt x="647" y="541"/>
                </a:lnTo>
                <a:lnTo>
                  <a:pt x="656" y="550"/>
                </a:lnTo>
                <a:lnTo>
                  <a:pt x="661" y="554"/>
                </a:lnTo>
                <a:lnTo>
                  <a:pt x="668" y="557"/>
                </a:lnTo>
                <a:lnTo>
                  <a:pt x="676" y="561"/>
                </a:lnTo>
                <a:lnTo>
                  <a:pt x="684" y="564"/>
                </a:lnTo>
                <a:lnTo>
                  <a:pt x="684" y="619"/>
                </a:lnTo>
                <a:lnTo>
                  <a:pt x="677" y="619"/>
                </a:lnTo>
                <a:lnTo>
                  <a:pt x="665" y="619"/>
                </a:lnTo>
                <a:lnTo>
                  <a:pt x="659" y="610"/>
                </a:lnTo>
                <a:lnTo>
                  <a:pt x="654" y="604"/>
                </a:lnTo>
                <a:lnTo>
                  <a:pt x="647" y="599"/>
                </a:lnTo>
                <a:lnTo>
                  <a:pt x="639" y="595"/>
                </a:lnTo>
                <a:lnTo>
                  <a:pt x="623" y="589"/>
                </a:lnTo>
                <a:lnTo>
                  <a:pt x="604" y="582"/>
                </a:lnTo>
                <a:lnTo>
                  <a:pt x="602" y="585"/>
                </a:lnTo>
                <a:lnTo>
                  <a:pt x="599" y="589"/>
                </a:lnTo>
                <a:lnTo>
                  <a:pt x="594" y="593"/>
                </a:lnTo>
                <a:lnTo>
                  <a:pt x="588" y="597"/>
                </a:lnTo>
                <a:lnTo>
                  <a:pt x="575" y="606"/>
                </a:lnTo>
                <a:lnTo>
                  <a:pt x="559" y="615"/>
                </a:lnTo>
                <a:lnTo>
                  <a:pt x="544" y="624"/>
                </a:lnTo>
                <a:lnTo>
                  <a:pt x="531" y="631"/>
                </a:lnTo>
                <a:lnTo>
                  <a:pt x="525" y="635"/>
                </a:lnTo>
                <a:lnTo>
                  <a:pt x="522" y="638"/>
                </a:lnTo>
                <a:lnTo>
                  <a:pt x="519" y="641"/>
                </a:lnTo>
                <a:lnTo>
                  <a:pt x="519" y="643"/>
                </a:lnTo>
                <a:lnTo>
                  <a:pt x="519" y="647"/>
                </a:lnTo>
                <a:lnTo>
                  <a:pt x="520" y="651"/>
                </a:lnTo>
                <a:lnTo>
                  <a:pt x="521" y="655"/>
                </a:lnTo>
                <a:lnTo>
                  <a:pt x="523" y="658"/>
                </a:lnTo>
                <a:lnTo>
                  <a:pt x="528" y="663"/>
                </a:lnTo>
                <a:lnTo>
                  <a:pt x="536" y="667"/>
                </a:lnTo>
                <a:lnTo>
                  <a:pt x="543" y="673"/>
                </a:lnTo>
                <a:lnTo>
                  <a:pt x="549" y="678"/>
                </a:lnTo>
                <a:lnTo>
                  <a:pt x="551" y="681"/>
                </a:lnTo>
                <a:lnTo>
                  <a:pt x="555" y="685"/>
                </a:lnTo>
                <a:lnTo>
                  <a:pt x="557" y="688"/>
                </a:lnTo>
                <a:lnTo>
                  <a:pt x="558" y="693"/>
                </a:lnTo>
                <a:lnTo>
                  <a:pt x="471" y="693"/>
                </a:lnTo>
                <a:lnTo>
                  <a:pt x="467" y="705"/>
                </a:lnTo>
                <a:lnTo>
                  <a:pt x="464" y="721"/>
                </a:lnTo>
                <a:lnTo>
                  <a:pt x="460" y="730"/>
                </a:lnTo>
                <a:lnTo>
                  <a:pt x="457" y="736"/>
                </a:lnTo>
                <a:lnTo>
                  <a:pt x="454" y="739"/>
                </a:lnTo>
                <a:lnTo>
                  <a:pt x="452" y="740"/>
                </a:lnTo>
                <a:lnTo>
                  <a:pt x="448" y="742"/>
                </a:lnTo>
                <a:lnTo>
                  <a:pt x="445" y="742"/>
                </a:lnTo>
                <a:lnTo>
                  <a:pt x="433" y="742"/>
                </a:lnTo>
                <a:lnTo>
                  <a:pt x="420" y="741"/>
                </a:lnTo>
                <a:lnTo>
                  <a:pt x="407" y="739"/>
                </a:lnTo>
                <a:lnTo>
                  <a:pt x="393" y="736"/>
                </a:lnTo>
                <a:lnTo>
                  <a:pt x="380" y="733"/>
                </a:lnTo>
                <a:lnTo>
                  <a:pt x="367" y="729"/>
                </a:lnTo>
                <a:lnTo>
                  <a:pt x="355" y="723"/>
                </a:lnTo>
                <a:lnTo>
                  <a:pt x="344" y="718"/>
                </a:lnTo>
                <a:lnTo>
                  <a:pt x="333" y="711"/>
                </a:lnTo>
                <a:lnTo>
                  <a:pt x="323" y="704"/>
                </a:lnTo>
                <a:lnTo>
                  <a:pt x="314" y="696"/>
                </a:lnTo>
                <a:lnTo>
                  <a:pt x="307" y="687"/>
                </a:lnTo>
                <a:lnTo>
                  <a:pt x="301" y="678"/>
                </a:lnTo>
                <a:lnTo>
                  <a:pt x="296" y="666"/>
                </a:lnTo>
                <a:lnTo>
                  <a:pt x="293" y="655"/>
                </a:lnTo>
                <a:lnTo>
                  <a:pt x="292" y="643"/>
                </a:lnTo>
                <a:lnTo>
                  <a:pt x="289" y="636"/>
                </a:lnTo>
                <a:lnTo>
                  <a:pt x="286" y="625"/>
                </a:lnTo>
                <a:lnTo>
                  <a:pt x="273" y="622"/>
                </a:lnTo>
                <a:lnTo>
                  <a:pt x="254" y="616"/>
                </a:lnTo>
                <a:lnTo>
                  <a:pt x="232" y="609"/>
                </a:lnTo>
                <a:lnTo>
                  <a:pt x="209" y="601"/>
                </a:lnTo>
                <a:lnTo>
                  <a:pt x="188" y="592"/>
                </a:lnTo>
                <a:lnTo>
                  <a:pt x="169" y="582"/>
                </a:lnTo>
                <a:lnTo>
                  <a:pt x="163" y="578"/>
                </a:lnTo>
                <a:lnTo>
                  <a:pt x="157" y="573"/>
                </a:lnTo>
                <a:lnTo>
                  <a:pt x="154" y="568"/>
                </a:lnTo>
                <a:lnTo>
                  <a:pt x="153" y="564"/>
                </a:lnTo>
                <a:lnTo>
                  <a:pt x="162" y="567"/>
                </a:lnTo>
                <a:lnTo>
                  <a:pt x="183" y="574"/>
                </a:lnTo>
                <a:lnTo>
                  <a:pt x="211" y="582"/>
                </a:lnTo>
                <a:lnTo>
                  <a:pt x="244" y="590"/>
                </a:lnTo>
                <a:lnTo>
                  <a:pt x="277" y="598"/>
                </a:lnTo>
                <a:lnTo>
                  <a:pt x="308" y="605"/>
                </a:lnTo>
                <a:lnTo>
                  <a:pt x="332" y="610"/>
                </a:lnTo>
                <a:lnTo>
                  <a:pt x="345" y="612"/>
                </a:lnTo>
                <a:lnTo>
                  <a:pt x="368" y="612"/>
                </a:lnTo>
                <a:lnTo>
                  <a:pt x="390" y="612"/>
                </a:lnTo>
                <a:lnTo>
                  <a:pt x="414" y="612"/>
                </a:lnTo>
                <a:lnTo>
                  <a:pt x="445" y="612"/>
                </a:lnTo>
                <a:lnTo>
                  <a:pt x="454" y="612"/>
                </a:lnTo>
                <a:lnTo>
                  <a:pt x="461" y="611"/>
                </a:lnTo>
                <a:lnTo>
                  <a:pt x="469" y="609"/>
                </a:lnTo>
                <a:lnTo>
                  <a:pt x="477" y="607"/>
                </a:lnTo>
                <a:lnTo>
                  <a:pt x="490" y="601"/>
                </a:lnTo>
                <a:lnTo>
                  <a:pt x="502" y="594"/>
                </a:lnTo>
                <a:lnTo>
                  <a:pt x="514" y="585"/>
                </a:lnTo>
                <a:lnTo>
                  <a:pt x="524" y="576"/>
                </a:lnTo>
                <a:lnTo>
                  <a:pt x="535" y="567"/>
                </a:lnTo>
                <a:lnTo>
                  <a:pt x="545" y="556"/>
                </a:lnTo>
                <a:lnTo>
                  <a:pt x="536" y="547"/>
                </a:lnTo>
                <a:lnTo>
                  <a:pt x="527" y="536"/>
                </a:lnTo>
                <a:lnTo>
                  <a:pt x="523" y="531"/>
                </a:lnTo>
                <a:lnTo>
                  <a:pt x="517" y="527"/>
                </a:lnTo>
                <a:lnTo>
                  <a:pt x="512" y="523"/>
                </a:lnTo>
                <a:lnTo>
                  <a:pt x="505" y="520"/>
                </a:lnTo>
                <a:lnTo>
                  <a:pt x="500" y="518"/>
                </a:lnTo>
                <a:lnTo>
                  <a:pt x="484" y="511"/>
                </a:lnTo>
                <a:lnTo>
                  <a:pt x="459" y="499"/>
                </a:lnTo>
                <a:lnTo>
                  <a:pt x="424" y="487"/>
                </a:lnTo>
                <a:lnTo>
                  <a:pt x="403" y="481"/>
                </a:lnTo>
                <a:lnTo>
                  <a:pt x="379" y="475"/>
                </a:lnTo>
                <a:lnTo>
                  <a:pt x="352" y="469"/>
                </a:lnTo>
                <a:lnTo>
                  <a:pt x="323" y="463"/>
                </a:lnTo>
                <a:lnTo>
                  <a:pt x="291" y="458"/>
                </a:lnTo>
                <a:lnTo>
                  <a:pt x="256" y="453"/>
                </a:lnTo>
                <a:lnTo>
                  <a:pt x="219" y="449"/>
                </a:lnTo>
                <a:lnTo>
                  <a:pt x="179" y="446"/>
                </a:lnTo>
                <a:lnTo>
                  <a:pt x="172" y="446"/>
                </a:lnTo>
                <a:lnTo>
                  <a:pt x="165" y="445"/>
                </a:lnTo>
                <a:lnTo>
                  <a:pt x="158" y="444"/>
                </a:lnTo>
                <a:lnTo>
                  <a:pt x="152" y="442"/>
                </a:lnTo>
                <a:lnTo>
                  <a:pt x="150" y="440"/>
                </a:lnTo>
                <a:lnTo>
                  <a:pt x="146" y="438"/>
                </a:lnTo>
                <a:lnTo>
                  <a:pt x="144" y="436"/>
                </a:lnTo>
                <a:lnTo>
                  <a:pt x="143" y="433"/>
                </a:lnTo>
                <a:lnTo>
                  <a:pt x="141" y="425"/>
                </a:lnTo>
                <a:lnTo>
                  <a:pt x="140" y="415"/>
                </a:lnTo>
                <a:lnTo>
                  <a:pt x="120" y="420"/>
                </a:lnTo>
                <a:lnTo>
                  <a:pt x="99" y="425"/>
                </a:lnTo>
                <a:lnTo>
                  <a:pt x="77" y="431"/>
                </a:lnTo>
                <a:lnTo>
                  <a:pt x="53" y="439"/>
                </a:lnTo>
                <a:lnTo>
                  <a:pt x="50" y="441"/>
                </a:lnTo>
                <a:lnTo>
                  <a:pt x="43" y="445"/>
                </a:lnTo>
                <a:lnTo>
                  <a:pt x="40" y="446"/>
                </a:lnTo>
                <a:lnTo>
                  <a:pt x="37" y="448"/>
                </a:lnTo>
                <a:lnTo>
                  <a:pt x="34" y="448"/>
                </a:lnTo>
                <a:lnTo>
                  <a:pt x="33" y="446"/>
                </a:lnTo>
                <a:lnTo>
                  <a:pt x="0" y="483"/>
                </a:lnTo>
                <a:lnTo>
                  <a:pt x="4" y="488"/>
                </a:lnTo>
                <a:lnTo>
                  <a:pt x="8" y="493"/>
                </a:lnTo>
                <a:lnTo>
                  <a:pt x="13" y="498"/>
                </a:lnTo>
                <a:lnTo>
                  <a:pt x="18" y="503"/>
                </a:lnTo>
                <a:lnTo>
                  <a:pt x="29" y="509"/>
                </a:lnTo>
                <a:lnTo>
                  <a:pt x="40" y="515"/>
                </a:lnTo>
                <a:lnTo>
                  <a:pt x="62" y="524"/>
                </a:lnTo>
                <a:lnTo>
                  <a:pt x="79" y="532"/>
                </a:lnTo>
                <a:lnTo>
                  <a:pt x="77" y="540"/>
                </a:lnTo>
                <a:lnTo>
                  <a:pt x="74" y="547"/>
                </a:lnTo>
                <a:lnTo>
                  <a:pt x="71" y="552"/>
                </a:lnTo>
                <a:lnTo>
                  <a:pt x="67" y="556"/>
                </a:lnTo>
                <a:lnTo>
                  <a:pt x="64" y="562"/>
                </a:lnTo>
                <a:lnTo>
                  <a:pt x="62" y="567"/>
                </a:lnTo>
                <a:lnTo>
                  <a:pt x="61" y="574"/>
                </a:lnTo>
                <a:lnTo>
                  <a:pt x="60" y="582"/>
                </a:lnTo>
                <a:lnTo>
                  <a:pt x="61" y="589"/>
                </a:lnTo>
                <a:lnTo>
                  <a:pt x="65" y="597"/>
                </a:lnTo>
                <a:lnTo>
                  <a:pt x="71" y="605"/>
                </a:lnTo>
                <a:lnTo>
                  <a:pt x="77" y="614"/>
                </a:lnTo>
                <a:lnTo>
                  <a:pt x="84" y="621"/>
                </a:lnTo>
                <a:lnTo>
                  <a:pt x="90" y="626"/>
                </a:lnTo>
                <a:lnTo>
                  <a:pt x="96" y="630"/>
                </a:lnTo>
                <a:lnTo>
                  <a:pt x="99" y="631"/>
                </a:lnTo>
                <a:lnTo>
                  <a:pt x="100" y="647"/>
                </a:lnTo>
                <a:lnTo>
                  <a:pt x="102" y="662"/>
                </a:lnTo>
                <a:lnTo>
                  <a:pt x="106" y="677"/>
                </a:lnTo>
                <a:lnTo>
                  <a:pt x="111" y="689"/>
                </a:lnTo>
                <a:lnTo>
                  <a:pt x="117" y="700"/>
                </a:lnTo>
                <a:lnTo>
                  <a:pt x="123" y="710"/>
                </a:lnTo>
                <a:lnTo>
                  <a:pt x="131" y="719"/>
                </a:lnTo>
                <a:lnTo>
                  <a:pt x="140" y="728"/>
                </a:lnTo>
                <a:lnTo>
                  <a:pt x="149" y="736"/>
                </a:lnTo>
                <a:lnTo>
                  <a:pt x="158" y="743"/>
                </a:lnTo>
                <a:lnTo>
                  <a:pt x="168" y="750"/>
                </a:lnTo>
                <a:lnTo>
                  <a:pt x="178" y="756"/>
                </a:lnTo>
                <a:lnTo>
                  <a:pt x="199" y="767"/>
                </a:lnTo>
                <a:lnTo>
                  <a:pt x="219" y="778"/>
                </a:lnTo>
                <a:lnTo>
                  <a:pt x="184" y="815"/>
                </a:lnTo>
                <a:lnTo>
                  <a:pt x="146" y="856"/>
                </a:lnTo>
                <a:lnTo>
                  <a:pt x="128" y="875"/>
                </a:lnTo>
                <a:lnTo>
                  <a:pt x="109" y="892"/>
                </a:lnTo>
                <a:lnTo>
                  <a:pt x="100" y="899"/>
                </a:lnTo>
                <a:lnTo>
                  <a:pt x="90" y="905"/>
                </a:lnTo>
                <a:lnTo>
                  <a:pt x="82" y="910"/>
                </a:lnTo>
                <a:lnTo>
                  <a:pt x="73" y="914"/>
                </a:lnTo>
                <a:lnTo>
                  <a:pt x="74" y="917"/>
                </a:lnTo>
                <a:lnTo>
                  <a:pt x="75" y="920"/>
                </a:lnTo>
                <a:lnTo>
                  <a:pt x="77" y="923"/>
                </a:lnTo>
                <a:lnTo>
                  <a:pt x="80" y="926"/>
                </a:lnTo>
                <a:lnTo>
                  <a:pt x="88" y="934"/>
                </a:lnTo>
                <a:lnTo>
                  <a:pt x="96" y="942"/>
                </a:lnTo>
                <a:lnTo>
                  <a:pt x="105" y="951"/>
                </a:lnTo>
                <a:lnTo>
                  <a:pt x="112" y="958"/>
                </a:lnTo>
                <a:lnTo>
                  <a:pt x="118" y="965"/>
                </a:lnTo>
                <a:lnTo>
                  <a:pt x="120" y="970"/>
                </a:lnTo>
                <a:lnTo>
                  <a:pt x="116" y="976"/>
                </a:lnTo>
                <a:lnTo>
                  <a:pt x="112" y="981"/>
                </a:lnTo>
                <a:lnTo>
                  <a:pt x="110" y="987"/>
                </a:lnTo>
                <a:lnTo>
                  <a:pt x="109" y="993"/>
                </a:lnTo>
                <a:lnTo>
                  <a:pt x="109" y="1005"/>
                </a:lnTo>
                <a:lnTo>
                  <a:pt x="111" y="1017"/>
                </a:lnTo>
                <a:lnTo>
                  <a:pt x="113" y="1029"/>
                </a:lnTo>
                <a:lnTo>
                  <a:pt x="116" y="1042"/>
                </a:lnTo>
                <a:lnTo>
                  <a:pt x="117" y="1048"/>
                </a:lnTo>
                <a:lnTo>
                  <a:pt x="116" y="1054"/>
                </a:lnTo>
                <a:lnTo>
                  <a:pt x="114" y="1062"/>
                </a:lnTo>
                <a:lnTo>
                  <a:pt x="113" y="1069"/>
                </a:lnTo>
                <a:lnTo>
                  <a:pt x="120" y="1090"/>
                </a:lnTo>
                <a:lnTo>
                  <a:pt x="130" y="1115"/>
                </a:lnTo>
                <a:lnTo>
                  <a:pt x="142" y="1139"/>
                </a:lnTo>
                <a:lnTo>
                  <a:pt x="153" y="1160"/>
                </a:lnTo>
                <a:lnTo>
                  <a:pt x="192" y="1180"/>
                </a:lnTo>
                <a:lnTo>
                  <a:pt x="232" y="1180"/>
                </a:lnTo>
                <a:lnTo>
                  <a:pt x="240" y="1204"/>
                </a:lnTo>
                <a:lnTo>
                  <a:pt x="279" y="1192"/>
                </a:lnTo>
                <a:lnTo>
                  <a:pt x="312" y="1204"/>
                </a:lnTo>
                <a:lnTo>
                  <a:pt x="319" y="1253"/>
                </a:lnTo>
                <a:lnTo>
                  <a:pt x="365" y="1291"/>
                </a:lnTo>
                <a:lnTo>
                  <a:pt x="399" y="1309"/>
                </a:lnTo>
                <a:lnTo>
                  <a:pt x="425" y="1327"/>
                </a:lnTo>
                <a:lnTo>
                  <a:pt x="399" y="1346"/>
                </a:lnTo>
                <a:lnTo>
                  <a:pt x="352" y="1333"/>
                </a:lnTo>
                <a:lnTo>
                  <a:pt x="358" y="1358"/>
                </a:lnTo>
                <a:lnTo>
                  <a:pt x="373" y="1370"/>
                </a:lnTo>
                <a:lnTo>
                  <a:pt x="373" y="1401"/>
                </a:lnTo>
                <a:lnTo>
                  <a:pt x="365" y="1401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6" name="Freeform 23"/>
          <p:cNvSpPr>
            <a:spLocks/>
          </p:cNvSpPr>
          <p:nvPr userDrawn="1">
            <p:custDataLst>
              <p:tags r:id="rId18"/>
            </p:custDataLst>
          </p:nvPr>
        </p:nvSpPr>
        <p:spPr bwMode="auto">
          <a:xfrm>
            <a:off x="3867159" y="1894294"/>
            <a:ext cx="280987" cy="185738"/>
          </a:xfrm>
          <a:custGeom>
            <a:avLst/>
            <a:gdLst>
              <a:gd name="T0" fmla="*/ 76575687 w 647"/>
              <a:gd name="T1" fmla="*/ 7496418 h 470"/>
              <a:gd name="T2" fmla="*/ 80724913 w 647"/>
              <a:gd name="T3" fmla="*/ 12493680 h 470"/>
              <a:gd name="T4" fmla="*/ 86383302 w 647"/>
              <a:gd name="T5" fmla="*/ 16658414 h 470"/>
              <a:gd name="T6" fmla="*/ 96568317 w 647"/>
              <a:gd name="T7" fmla="*/ 21655678 h 470"/>
              <a:gd name="T8" fmla="*/ 101471908 w 647"/>
              <a:gd name="T9" fmla="*/ 22488730 h 470"/>
              <a:gd name="T10" fmla="*/ 105998533 w 647"/>
              <a:gd name="T11" fmla="*/ 27486517 h 470"/>
              <a:gd name="T12" fmla="*/ 106941815 w 647"/>
              <a:gd name="T13" fmla="*/ 26931148 h 470"/>
              <a:gd name="T14" fmla="*/ 108450545 w 647"/>
              <a:gd name="T15" fmla="*/ 23599466 h 470"/>
              <a:gd name="T16" fmla="*/ 109959275 w 647"/>
              <a:gd name="T17" fmla="*/ 21655678 h 470"/>
              <a:gd name="T18" fmla="*/ 113731535 w 647"/>
              <a:gd name="T19" fmla="*/ 22211046 h 470"/>
              <a:gd name="T20" fmla="*/ 117692305 w 647"/>
              <a:gd name="T21" fmla="*/ 21933362 h 470"/>
              <a:gd name="T22" fmla="*/ 120710200 w 647"/>
              <a:gd name="T23" fmla="*/ 23321782 h 470"/>
              <a:gd name="T24" fmla="*/ 121841965 w 647"/>
              <a:gd name="T25" fmla="*/ 28596726 h 470"/>
              <a:gd name="T26" fmla="*/ 121841965 w 647"/>
              <a:gd name="T27" fmla="*/ 34149881 h 470"/>
              <a:gd name="T28" fmla="*/ 116560975 w 647"/>
              <a:gd name="T29" fmla="*/ 36370834 h 470"/>
              <a:gd name="T30" fmla="*/ 110525158 w 647"/>
              <a:gd name="T31" fmla="*/ 40535569 h 470"/>
              <a:gd name="T32" fmla="*/ 105621567 w 647"/>
              <a:gd name="T33" fmla="*/ 45810512 h 470"/>
              <a:gd name="T34" fmla="*/ 95059153 w 647"/>
              <a:gd name="T35" fmla="*/ 59414924 h 470"/>
              <a:gd name="T36" fmla="*/ 92230175 w 647"/>
              <a:gd name="T37" fmla="*/ 63024291 h 470"/>
              <a:gd name="T38" fmla="*/ 89400763 w 647"/>
              <a:gd name="T39" fmla="*/ 70520196 h 470"/>
              <a:gd name="T40" fmla="*/ 89212280 w 647"/>
              <a:gd name="T41" fmla="*/ 78294297 h 470"/>
              <a:gd name="T42" fmla="*/ 89212280 w 647"/>
              <a:gd name="T43" fmla="*/ 86346081 h 470"/>
              <a:gd name="T44" fmla="*/ 87326150 w 647"/>
              <a:gd name="T45" fmla="*/ 94397339 h 470"/>
              <a:gd name="T46" fmla="*/ 84874138 w 647"/>
              <a:gd name="T47" fmla="*/ 98284389 h 470"/>
              <a:gd name="T48" fmla="*/ 77518535 w 647"/>
              <a:gd name="T49" fmla="*/ 106613330 h 470"/>
              <a:gd name="T50" fmla="*/ 72237545 w 647"/>
              <a:gd name="T51" fmla="*/ 114109746 h 470"/>
              <a:gd name="T52" fmla="*/ 70539898 w 647"/>
              <a:gd name="T53" fmla="*/ 117996797 h 470"/>
              <a:gd name="T54" fmla="*/ 69597050 w 647"/>
              <a:gd name="T55" fmla="*/ 119940058 h 470"/>
              <a:gd name="T56" fmla="*/ 58469187 w 647"/>
              <a:gd name="T57" fmla="*/ 119107006 h 470"/>
              <a:gd name="T58" fmla="*/ 48472641 w 647"/>
              <a:gd name="T59" fmla="*/ 120495426 h 470"/>
              <a:gd name="T60" fmla="*/ 42248369 w 647"/>
              <a:gd name="T61" fmla="*/ 123827108 h 470"/>
              <a:gd name="T62" fmla="*/ 36401497 w 647"/>
              <a:gd name="T63" fmla="*/ 129657420 h 470"/>
              <a:gd name="T64" fmla="*/ 33761001 w 647"/>
              <a:gd name="T65" fmla="*/ 130212788 h 470"/>
              <a:gd name="T66" fmla="*/ 31874872 w 647"/>
              <a:gd name="T67" fmla="*/ 127991843 h 470"/>
              <a:gd name="T68" fmla="*/ 28857411 w 647"/>
              <a:gd name="T69" fmla="*/ 119940058 h 470"/>
              <a:gd name="T70" fmla="*/ 26405392 w 647"/>
              <a:gd name="T71" fmla="*/ 114942799 h 470"/>
              <a:gd name="T72" fmla="*/ 23010532 w 647"/>
              <a:gd name="T73" fmla="*/ 111055749 h 470"/>
              <a:gd name="T74" fmla="*/ 21501367 w 647"/>
              <a:gd name="T75" fmla="*/ 105225437 h 470"/>
              <a:gd name="T76" fmla="*/ 23764897 w 647"/>
              <a:gd name="T77" fmla="*/ 93286602 h 470"/>
              <a:gd name="T78" fmla="*/ 23953379 w 647"/>
              <a:gd name="T79" fmla="*/ 74129562 h 470"/>
              <a:gd name="T80" fmla="*/ 27725639 w 647"/>
              <a:gd name="T81" fmla="*/ 57193452 h 470"/>
              <a:gd name="T82" fmla="*/ 31686389 w 647"/>
              <a:gd name="T83" fmla="*/ 41368094 h 470"/>
              <a:gd name="T84" fmla="*/ 32440754 w 647"/>
              <a:gd name="T85" fmla="*/ 36370834 h 470"/>
              <a:gd name="T86" fmla="*/ 21878767 w 647"/>
              <a:gd name="T87" fmla="*/ 34149881 h 470"/>
              <a:gd name="T88" fmla="*/ 11693749 w 647"/>
              <a:gd name="T89" fmla="*/ 30262830 h 470"/>
              <a:gd name="T90" fmla="*/ 3206378 w 647"/>
              <a:gd name="T91" fmla="*/ 25820412 h 470"/>
              <a:gd name="T92" fmla="*/ 0 w 647"/>
              <a:gd name="T93" fmla="*/ 10550418 h 470"/>
              <a:gd name="T94" fmla="*/ 4338144 w 647"/>
              <a:gd name="T95" fmla="*/ 9439682 h 470"/>
              <a:gd name="T96" fmla="*/ 9619136 w 647"/>
              <a:gd name="T97" fmla="*/ 5552630 h 470"/>
              <a:gd name="T98" fmla="*/ 13768361 w 647"/>
              <a:gd name="T99" fmla="*/ 1110737 h 470"/>
              <a:gd name="T100" fmla="*/ 16220377 w 647"/>
              <a:gd name="T101" fmla="*/ 0 h 470"/>
              <a:gd name="T102" fmla="*/ 24896662 w 647"/>
              <a:gd name="T103" fmla="*/ 1943262 h 470"/>
              <a:gd name="T104" fmla="*/ 32252271 w 647"/>
              <a:gd name="T105" fmla="*/ 4720104 h 470"/>
              <a:gd name="T106" fmla="*/ 39419391 w 647"/>
              <a:gd name="T107" fmla="*/ 5552630 h 470"/>
              <a:gd name="T108" fmla="*/ 44323416 w 647"/>
              <a:gd name="T109" fmla="*/ 8051786 h 470"/>
              <a:gd name="T110" fmla="*/ 48661124 w 647"/>
              <a:gd name="T111" fmla="*/ 10272734 h 470"/>
              <a:gd name="T112" fmla="*/ 72614510 w 647"/>
              <a:gd name="T113" fmla="*/ 7218734 h 47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647"/>
              <a:gd name="T172" fmla="*/ 0 h 470"/>
              <a:gd name="T173" fmla="*/ 647 w 647"/>
              <a:gd name="T174" fmla="*/ 470 h 470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647" h="470">
                <a:moveTo>
                  <a:pt x="399" y="14"/>
                </a:moveTo>
                <a:lnTo>
                  <a:pt x="402" y="20"/>
                </a:lnTo>
                <a:lnTo>
                  <a:pt x="406" y="27"/>
                </a:lnTo>
                <a:lnTo>
                  <a:pt x="413" y="33"/>
                </a:lnTo>
                <a:lnTo>
                  <a:pt x="421" y="39"/>
                </a:lnTo>
                <a:lnTo>
                  <a:pt x="428" y="45"/>
                </a:lnTo>
                <a:lnTo>
                  <a:pt x="438" y="51"/>
                </a:lnTo>
                <a:lnTo>
                  <a:pt x="448" y="56"/>
                </a:lnTo>
                <a:lnTo>
                  <a:pt x="458" y="60"/>
                </a:lnTo>
                <a:lnTo>
                  <a:pt x="480" y="70"/>
                </a:lnTo>
                <a:lnTo>
                  <a:pt x="501" y="76"/>
                </a:lnTo>
                <a:lnTo>
                  <a:pt x="512" y="78"/>
                </a:lnTo>
                <a:lnTo>
                  <a:pt x="521" y="80"/>
                </a:lnTo>
                <a:lnTo>
                  <a:pt x="530" y="81"/>
                </a:lnTo>
                <a:lnTo>
                  <a:pt x="538" y="81"/>
                </a:lnTo>
                <a:lnTo>
                  <a:pt x="548" y="88"/>
                </a:lnTo>
                <a:lnTo>
                  <a:pt x="561" y="99"/>
                </a:lnTo>
                <a:lnTo>
                  <a:pt x="562" y="99"/>
                </a:lnTo>
                <a:lnTo>
                  <a:pt x="564" y="99"/>
                </a:lnTo>
                <a:lnTo>
                  <a:pt x="566" y="98"/>
                </a:lnTo>
                <a:lnTo>
                  <a:pt x="567" y="97"/>
                </a:lnTo>
                <a:lnTo>
                  <a:pt x="570" y="93"/>
                </a:lnTo>
                <a:lnTo>
                  <a:pt x="572" y="89"/>
                </a:lnTo>
                <a:lnTo>
                  <a:pt x="575" y="85"/>
                </a:lnTo>
                <a:lnTo>
                  <a:pt x="578" y="81"/>
                </a:lnTo>
                <a:lnTo>
                  <a:pt x="580" y="79"/>
                </a:lnTo>
                <a:lnTo>
                  <a:pt x="583" y="78"/>
                </a:lnTo>
                <a:lnTo>
                  <a:pt x="590" y="80"/>
                </a:lnTo>
                <a:lnTo>
                  <a:pt x="596" y="80"/>
                </a:lnTo>
                <a:lnTo>
                  <a:pt x="603" y="80"/>
                </a:lnTo>
                <a:lnTo>
                  <a:pt x="609" y="80"/>
                </a:lnTo>
                <a:lnTo>
                  <a:pt x="617" y="79"/>
                </a:lnTo>
                <a:lnTo>
                  <a:pt x="624" y="79"/>
                </a:lnTo>
                <a:lnTo>
                  <a:pt x="631" y="80"/>
                </a:lnTo>
                <a:lnTo>
                  <a:pt x="638" y="81"/>
                </a:lnTo>
                <a:lnTo>
                  <a:pt x="640" y="84"/>
                </a:lnTo>
                <a:lnTo>
                  <a:pt x="642" y="89"/>
                </a:lnTo>
                <a:lnTo>
                  <a:pt x="645" y="95"/>
                </a:lnTo>
                <a:lnTo>
                  <a:pt x="646" y="103"/>
                </a:lnTo>
                <a:lnTo>
                  <a:pt x="647" y="111"/>
                </a:lnTo>
                <a:lnTo>
                  <a:pt x="647" y="118"/>
                </a:lnTo>
                <a:lnTo>
                  <a:pt x="646" y="123"/>
                </a:lnTo>
                <a:lnTo>
                  <a:pt x="645" y="124"/>
                </a:lnTo>
                <a:lnTo>
                  <a:pt x="631" y="127"/>
                </a:lnTo>
                <a:lnTo>
                  <a:pt x="618" y="131"/>
                </a:lnTo>
                <a:lnTo>
                  <a:pt x="607" y="135"/>
                </a:lnTo>
                <a:lnTo>
                  <a:pt x="596" y="140"/>
                </a:lnTo>
                <a:lnTo>
                  <a:pt x="586" y="146"/>
                </a:lnTo>
                <a:lnTo>
                  <a:pt x="577" y="152"/>
                </a:lnTo>
                <a:lnTo>
                  <a:pt x="569" y="158"/>
                </a:lnTo>
                <a:lnTo>
                  <a:pt x="560" y="165"/>
                </a:lnTo>
                <a:lnTo>
                  <a:pt x="533" y="191"/>
                </a:lnTo>
                <a:lnTo>
                  <a:pt x="512" y="210"/>
                </a:lnTo>
                <a:lnTo>
                  <a:pt x="504" y="214"/>
                </a:lnTo>
                <a:lnTo>
                  <a:pt x="499" y="218"/>
                </a:lnTo>
                <a:lnTo>
                  <a:pt x="493" y="222"/>
                </a:lnTo>
                <a:lnTo>
                  <a:pt x="489" y="227"/>
                </a:lnTo>
                <a:lnTo>
                  <a:pt x="481" y="236"/>
                </a:lnTo>
                <a:lnTo>
                  <a:pt x="477" y="245"/>
                </a:lnTo>
                <a:lnTo>
                  <a:pt x="474" y="254"/>
                </a:lnTo>
                <a:lnTo>
                  <a:pt x="473" y="263"/>
                </a:lnTo>
                <a:lnTo>
                  <a:pt x="472" y="272"/>
                </a:lnTo>
                <a:lnTo>
                  <a:pt x="473" y="282"/>
                </a:lnTo>
                <a:lnTo>
                  <a:pt x="473" y="292"/>
                </a:lnTo>
                <a:lnTo>
                  <a:pt x="474" y="301"/>
                </a:lnTo>
                <a:lnTo>
                  <a:pt x="473" y="311"/>
                </a:lnTo>
                <a:lnTo>
                  <a:pt x="472" y="320"/>
                </a:lnTo>
                <a:lnTo>
                  <a:pt x="469" y="330"/>
                </a:lnTo>
                <a:lnTo>
                  <a:pt x="463" y="340"/>
                </a:lnTo>
                <a:lnTo>
                  <a:pt x="460" y="345"/>
                </a:lnTo>
                <a:lnTo>
                  <a:pt x="456" y="349"/>
                </a:lnTo>
                <a:lnTo>
                  <a:pt x="450" y="354"/>
                </a:lnTo>
                <a:lnTo>
                  <a:pt x="445" y="358"/>
                </a:lnTo>
                <a:lnTo>
                  <a:pt x="426" y="372"/>
                </a:lnTo>
                <a:lnTo>
                  <a:pt x="411" y="384"/>
                </a:lnTo>
                <a:lnTo>
                  <a:pt x="399" y="394"/>
                </a:lnTo>
                <a:lnTo>
                  <a:pt x="390" y="404"/>
                </a:lnTo>
                <a:lnTo>
                  <a:pt x="383" y="411"/>
                </a:lnTo>
                <a:lnTo>
                  <a:pt x="379" y="417"/>
                </a:lnTo>
                <a:lnTo>
                  <a:pt x="376" y="422"/>
                </a:lnTo>
                <a:lnTo>
                  <a:pt x="374" y="425"/>
                </a:lnTo>
                <a:lnTo>
                  <a:pt x="373" y="430"/>
                </a:lnTo>
                <a:lnTo>
                  <a:pt x="373" y="432"/>
                </a:lnTo>
                <a:lnTo>
                  <a:pt x="369" y="432"/>
                </a:lnTo>
                <a:lnTo>
                  <a:pt x="358" y="432"/>
                </a:lnTo>
                <a:lnTo>
                  <a:pt x="333" y="430"/>
                </a:lnTo>
                <a:lnTo>
                  <a:pt x="310" y="429"/>
                </a:lnTo>
                <a:lnTo>
                  <a:pt x="290" y="429"/>
                </a:lnTo>
                <a:lnTo>
                  <a:pt x="272" y="431"/>
                </a:lnTo>
                <a:lnTo>
                  <a:pt x="257" y="434"/>
                </a:lnTo>
                <a:lnTo>
                  <a:pt x="245" y="437"/>
                </a:lnTo>
                <a:lnTo>
                  <a:pt x="234" y="441"/>
                </a:lnTo>
                <a:lnTo>
                  <a:pt x="224" y="446"/>
                </a:lnTo>
                <a:lnTo>
                  <a:pt x="209" y="456"/>
                </a:lnTo>
                <a:lnTo>
                  <a:pt x="198" y="464"/>
                </a:lnTo>
                <a:lnTo>
                  <a:pt x="193" y="467"/>
                </a:lnTo>
                <a:lnTo>
                  <a:pt x="189" y="469"/>
                </a:lnTo>
                <a:lnTo>
                  <a:pt x="183" y="470"/>
                </a:lnTo>
                <a:lnTo>
                  <a:pt x="179" y="469"/>
                </a:lnTo>
                <a:lnTo>
                  <a:pt x="176" y="468"/>
                </a:lnTo>
                <a:lnTo>
                  <a:pt x="172" y="465"/>
                </a:lnTo>
                <a:lnTo>
                  <a:pt x="169" y="461"/>
                </a:lnTo>
                <a:lnTo>
                  <a:pt x="166" y="456"/>
                </a:lnTo>
                <a:lnTo>
                  <a:pt x="159" y="444"/>
                </a:lnTo>
                <a:lnTo>
                  <a:pt x="153" y="432"/>
                </a:lnTo>
                <a:lnTo>
                  <a:pt x="148" y="426"/>
                </a:lnTo>
                <a:lnTo>
                  <a:pt x="144" y="420"/>
                </a:lnTo>
                <a:lnTo>
                  <a:pt x="140" y="414"/>
                </a:lnTo>
                <a:lnTo>
                  <a:pt x="134" y="409"/>
                </a:lnTo>
                <a:lnTo>
                  <a:pt x="129" y="404"/>
                </a:lnTo>
                <a:lnTo>
                  <a:pt x="122" y="400"/>
                </a:lnTo>
                <a:lnTo>
                  <a:pt x="114" y="397"/>
                </a:lnTo>
                <a:lnTo>
                  <a:pt x="107" y="396"/>
                </a:lnTo>
                <a:lnTo>
                  <a:pt x="114" y="379"/>
                </a:lnTo>
                <a:lnTo>
                  <a:pt x="121" y="365"/>
                </a:lnTo>
                <a:lnTo>
                  <a:pt x="124" y="351"/>
                </a:lnTo>
                <a:lnTo>
                  <a:pt x="126" y="336"/>
                </a:lnTo>
                <a:lnTo>
                  <a:pt x="126" y="309"/>
                </a:lnTo>
                <a:lnTo>
                  <a:pt x="126" y="278"/>
                </a:lnTo>
                <a:lnTo>
                  <a:pt x="127" y="267"/>
                </a:lnTo>
                <a:lnTo>
                  <a:pt x="132" y="250"/>
                </a:lnTo>
                <a:lnTo>
                  <a:pt x="138" y="229"/>
                </a:lnTo>
                <a:lnTo>
                  <a:pt x="147" y="206"/>
                </a:lnTo>
                <a:lnTo>
                  <a:pt x="155" y="184"/>
                </a:lnTo>
                <a:lnTo>
                  <a:pt x="163" y="163"/>
                </a:lnTo>
                <a:lnTo>
                  <a:pt x="168" y="149"/>
                </a:lnTo>
                <a:lnTo>
                  <a:pt x="172" y="143"/>
                </a:lnTo>
                <a:lnTo>
                  <a:pt x="172" y="137"/>
                </a:lnTo>
                <a:lnTo>
                  <a:pt x="172" y="131"/>
                </a:lnTo>
                <a:lnTo>
                  <a:pt x="153" y="130"/>
                </a:lnTo>
                <a:lnTo>
                  <a:pt x="135" y="127"/>
                </a:lnTo>
                <a:lnTo>
                  <a:pt x="116" y="123"/>
                </a:lnTo>
                <a:lnTo>
                  <a:pt x="99" y="118"/>
                </a:lnTo>
                <a:lnTo>
                  <a:pt x="80" y="113"/>
                </a:lnTo>
                <a:lnTo>
                  <a:pt x="62" y="109"/>
                </a:lnTo>
                <a:lnTo>
                  <a:pt x="42" y="106"/>
                </a:lnTo>
                <a:lnTo>
                  <a:pt x="20" y="105"/>
                </a:lnTo>
                <a:lnTo>
                  <a:pt x="17" y="93"/>
                </a:lnTo>
                <a:lnTo>
                  <a:pt x="10" y="72"/>
                </a:lnTo>
                <a:lnTo>
                  <a:pt x="3" y="50"/>
                </a:lnTo>
                <a:lnTo>
                  <a:pt x="0" y="38"/>
                </a:lnTo>
                <a:lnTo>
                  <a:pt x="8" y="37"/>
                </a:lnTo>
                <a:lnTo>
                  <a:pt x="15" y="36"/>
                </a:lnTo>
                <a:lnTo>
                  <a:pt x="23" y="34"/>
                </a:lnTo>
                <a:lnTo>
                  <a:pt x="29" y="32"/>
                </a:lnTo>
                <a:lnTo>
                  <a:pt x="41" y="26"/>
                </a:lnTo>
                <a:lnTo>
                  <a:pt x="51" y="20"/>
                </a:lnTo>
                <a:lnTo>
                  <a:pt x="59" y="13"/>
                </a:lnTo>
                <a:lnTo>
                  <a:pt x="68" y="7"/>
                </a:lnTo>
                <a:lnTo>
                  <a:pt x="73" y="4"/>
                </a:lnTo>
                <a:lnTo>
                  <a:pt x="77" y="2"/>
                </a:lnTo>
                <a:lnTo>
                  <a:pt x="81" y="1"/>
                </a:lnTo>
                <a:lnTo>
                  <a:pt x="86" y="0"/>
                </a:lnTo>
                <a:lnTo>
                  <a:pt x="102" y="1"/>
                </a:lnTo>
                <a:lnTo>
                  <a:pt x="118" y="3"/>
                </a:lnTo>
                <a:lnTo>
                  <a:pt x="132" y="7"/>
                </a:lnTo>
                <a:lnTo>
                  <a:pt x="145" y="11"/>
                </a:lnTo>
                <a:lnTo>
                  <a:pt x="158" y="14"/>
                </a:lnTo>
                <a:lnTo>
                  <a:pt x="171" y="17"/>
                </a:lnTo>
                <a:lnTo>
                  <a:pt x="185" y="19"/>
                </a:lnTo>
                <a:lnTo>
                  <a:pt x="199" y="20"/>
                </a:lnTo>
                <a:lnTo>
                  <a:pt x="209" y="20"/>
                </a:lnTo>
                <a:lnTo>
                  <a:pt x="217" y="22"/>
                </a:lnTo>
                <a:lnTo>
                  <a:pt x="226" y="25"/>
                </a:lnTo>
                <a:lnTo>
                  <a:pt x="235" y="29"/>
                </a:lnTo>
                <a:lnTo>
                  <a:pt x="243" y="32"/>
                </a:lnTo>
                <a:lnTo>
                  <a:pt x="250" y="35"/>
                </a:lnTo>
                <a:lnTo>
                  <a:pt x="258" y="37"/>
                </a:lnTo>
                <a:lnTo>
                  <a:pt x="266" y="38"/>
                </a:lnTo>
                <a:lnTo>
                  <a:pt x="372" y="38"/>
                </a:lnTo>
                <a:lnTo>
                  <a:pt x="385" y="26"/>
                </a:lnTo>
                <a:lnTo>
                  <a:pt x="399" y="14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7" name="Freeform 24"/>
          <p:cNvSpPr>
            <a:spLocks/>
          </p:cNvSpPr>
          <p:nvPr userDrawn="1">
            <p:custDataLst>
              <p:tags r:id="rId19"/>
            </p:custDataLst>
          </p:nvPr>
        </p:nvSpPr>
        <p:spPr bwMode="auto">
          <a:xfrm>
            <a:off x="6499228" y="2447928"/>
            <a:ext cx="207962" cy="341710"/>
          </a:xfrm>
          <a:custGeom>
            <a:avLst/>
            <a:gdLst>
              <a:gd name="T0" fmla="*/ 71439080 w 479"/>
              <a:gd name="T1" fmla="*/ 98360448 h 868"/>
              <a:gd name="T2" fmla="*/ 62768500 w 479"/>
              <a:gd name="T3" fmla="*/ 101942363 h 868"/>
              <a:gd name="T4" fmla="*/ 59187126 w 479"/>
              <a:gd name="T5" fmla="*/ 107452759 h 868"/>
              <a:gd name="T6" fmla="*/ 59563976 w 479"/>
              <a:gd name="T7" fmla="*/ 117922407 h 868"/>
              <a:gd name="T8" fmla="*/ 66349874 w 479"/>
              <a:gd name="T9" fmla="*/ 135555885 h 868"/>
              <a:gd name="T10" fmla="*/ 67669282 w 479"/>
              <a:gd name="T11" fmla="*/ 146025566 h 868"/>
              <a:gd name="T12" fmla="*/ 68988690 w 479"/>
              <a:gd name="T13" fmla="*/ 152913299 h 868"/>
              <a:gd name="T14" fmla="*/ 60883384 w 479"/>
              <a:gd name="T15" fmla="*/ 144923277 h 868"/>
              <a:gd name="T16" fmla="*/ 58244568 w 479"/>
              <a:gd name="T17" fmla="*/ 135555885 h 868"/>
              <a:gd name="T18" fmla="*/ 50704957 w 479"/>
              <a:gd name="T19" fmla="*/ 128667627 h 868"/>
              <a:gd name="T20" fmla="*/ 39583551 w 479"/>
              <a:gd name="T21" fmla="*/ 120953178 h 868"/>
              <a:gd name="T22" fmla="*/ 36379461 w 479"/>
              <a:gd name="T23" fmla="*/ 111860866 h 868"/>
              <a:gd name="T24" fmla="*/ 29405138 w 479"/>
              <a:gd name="T25" fmla="*/ 131422825 h 868"/>
              <a:gd name="T26" fmla="*/ 29405138 w 479"/>
              <a:gd name="T27" fmla="*/ 144372657 h 868"/>
              <a:gd name="T28" fmla="*/ 24881199 w 479"/>
              <a:gd name="T29" fmla="*/ 158423695 h 868"/>
              <a:gd name="T30" fmla="*/ 24127066 w 479"/>
              <a:gd name="T31" fmla="*/ 171097921 h 868"/>
              <a:gd name="T32" fmla="*/ 29027854 w 479"/>
              <a:gd name="T33" fmla="*/ 179087943 h 868"/>
              <a:gd name="T34" fmla="*/ 32986512 w 479"/>
              <a:gd name="T35" fmla="*/ 188730874 h 868"/>
              <a:gd name="T36" fmla="*/ 34871194 w 479"/>
              <a:gd name="T37" fmla="*/ 201129528 h 868"/>
              <a:gd name="T38" fmla="*/ 42599651 w 479"/>
              <a:gd name="T39" fmla="*/ 214905519 h 868"/>
              <a:gd name="T40" fmla="*/ 52966923 w 479"/>
              <a:gd name="T41" fmla="*/ 227303648 h 868"/>
              <a:gd name="T42" fmla="*/ 64087908 w 479"/>
              <a:gd name="T43" fmla="*/ 234191905 h 868"/>
              <a:gd name="T44" fmla="*/ 56171013 w 479"/>
              <a:gd name="T45" fmla="*/ 238875585 h 868"/>
              <a:gd name="T46" fmla="*/ 50704957 w 479"/>
              <a:gd name="T47" fmla="*/ 238048868 h 868"/>
              <a:gd name="T48" fmla="*/ 43164925 w 479"/>
              <a:gd name="T49" fmla="*/ 231712280 h 868"/>
              <a:gd name="T50" fmla="*/ 37698869 w 479"/>
              <a:gd name="T51" fmla="*/ 226753028 h 868"/>
              <a:gd name="T52" fmla="*/ 25823758 w 479"/>
              <a:gd name="T53" fmla="*/ 209119550 h 868"/>
              <a:gd name="T54" fmla="*/ 15644910 w 479"/>
              <a:gd name="T55" fmla="*/ 201129528 h 868"/>
              <a:gd name="T56" fmla="*/ 13948649 w 479"/>
              <a:gd name="T57" fmla="*/ 189557591 h 868"/>
              <a:gd name="T58" fmla="*/ 15079636 w 479"/>
              <a:gd name="T59" fmla="*/ 179914660 h 868"/>
              <a:gd name="T60" fmla="*/ 16587468 w 479"/>
              <a:gd name="T61" fmla="*/ 169995632 h 868"/>
              <a:gd name="T62" fmla="*/ 22619233 w 479"/>
              <a:gd name="T63" fmla="*/ 137208794 h 868"/>
              <a:gd name="T64" fmla="*/ 20357267 w 479"/>
              <a:gd name="T65" fmla="*/ 111310247 h 868"/>
              <a:gd name="T66" fmla="*/ 11686683 w 479"/>
              <a:gd name="T67" fmla="*/ 87890800 h 868"/>
              <a:gd name="T68" fmla="*/ 12063533 w 479"/>
              <a:gd name="T69" fmla="*/ 78522917 h 868"/>
              <a:gd name="T70" fmla="*/ 13948649 w 479"/>
              <a:gd name="T71" fmla="*/ 73012520 h 868"/>
              <a:gd name="T72" fmla="*/ 10555700 w 479"/>
              <a:gd name="T73" fmla="*/ 55655123 h 868"/>
              <a:gd name="T74" fmla="*/ 4335509 w 479"/>
              <a:gd name="T75" fmla="*/ 43532042 h 868"/>
              <a:gd name="T76" fmla="*/ 188425 w 479"/>
              <a:gd name="T77" fmla="*/ 28103134 h 868"/>
              <a:gd name="T78" fmla="*/ 2073542 w 479"/>
              <a:gd name="T79" fmla="*/ 12123086 h 868"/>
              <a:gd name="T80" fmla="*/ 9236292 w 479"/>
              <a:gd name="T81" fmla="*/ 4408109 h 868"/>
              <a:gd name="T82" fmla="*/ 22619233 w 479"/>
              <a:gd name="T83" fmla="*/ 0 h 868"/>
              <a:gd name="T84" fmla="*/ 29405138 w 479"/>
              <a:gd name="T85" fmla="*/ 7714452 h 868"/>
              <a:gd name="T86" fmla="*/ 33740211 w 479"/>
              <a:gd name="T87" fmla="*/ 9918507 h 868"/>
              <a:gd name="T88" fmla="*/ 37133160 w 479"/>
              <a:gd name="T89" fmla="*/ 37470501 h 868"/>
              <a:gd name="T90" fmla="*/ 40149260 w 479"/>
              <a:gd name="T91" fmla="*/ 45736095 h 868"/>
              <a:gd name="T92" fmla="*/ 43542209 w 479"/>
              <a:gd name="T93" fmla="*/ 42705325 h 868"/>
              <a:gd name="T94" fmla="*/ 48631416 w 479"/>
              <a:gd name="T95" fmla="*/ 34715303 h 868"/>
              <a:gd name="T96" fmla="*/ 52966923 w 479"/>
              <a:gd name="T97" fmla="*/ 38848362 h 868"/>
              <a:gd name="T98" fmla="*/ 56171013 w 479"/>
              <a:gd name="T99" fmla="*/ 37470501 h 868"/>
              <a:gd name="T100" fmla="*/ 59563976 w 479"/>
              <a:gd name="T101" fmla="*/ 29756043 h 868"/>
              <a:gd name="T102" fmla="*/ 65218891 w 479"/>
              <a:gd name="T103" fmla="*/ 29756043 h 868"/>
              <a:gd name="T104" fmla="*/ 72946913 w 479"/>
              <a:gd name="T105" fmla="*/ 43256469 h 868"/>
              <a:gd name="T106" fmla="*/ 85576151 w 479"/>
              <a:gd name="T107" fmla="*/ 67777680 h 868"/>
              <a:gd name="T108" fmla="*/ 90100083 w 479"/>
              <a:gd name="T109" fmla="*/ 84584457 h 868"/>
              <a:gd name="T110" fmla="*/ 88214967 w 479"/>
              <a:gd name="T111" fmla="*/ 93125624 h 86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479"/>
              <a:gd name="T169" fmla="*/ 0 h 868"/>
              <a:gd name="T170" fmla="*/ 479 w 479"/>
              <a:gd name="T171" fmla="*/ 868 h 868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479" h="868">
                <a:moveTo>
                  <a:pt x="445" y="357"/>
                </a:moveTo>
                <a:lnTo>
                  <a:pt x="425" y="357"/>
                </a:lnTo>
                <a:lnTo>
                  <a:pt x="408" y="357"/>
                </a:lnTo>
                <a:lnTo>
                  <a:pt x="391" y="357"/>
                </a:lnTo>
                <a:lnTo>
                  <a:pt x="379" y="357"/>
                </a:lnTo>
                <a:lnTo>
                  <a:pt x="370" y="358"/>
                </a:lnTo>
                <a:lnTo>
                  <a:pt x="360" y="359"/>
                </a:lnTo>
                <a:lnTo>
                  <a:pt x="349" y="362"/>
                </a:lnTo>
                <a:lnTo>
                  <a:pt x="338" y="367"/>
                </a:lnTo>
                <a:lnTo>
                  <a:pt x="333" y="370"/>
                </a:lnTo>
                <a:lnTo>
                  <a:pt x="329" y="374"/>
                </a:lnTo>
                <a:lnTo>
                  <a:pt x="324" y="377"/>
                </a:lnTo>
                <a:lnTo>
                  <a:pt x="320" y="381"/>
                </a:lnTo>
                <a:lnTo>
                  <a:pt x="316" y="385"/>
                </a:lnTo>
                <a:lnTo>
                  <a:pt x="314" y="390"/>
                </a:lnTo>
                <a:lnTo>
                  <a:pt x="313" y="395"/>
                </a:lnTo>
                <a:lnTo>
                  <a:pt x="312" y="400"/>
                </a:lnTo>
                <a:lnTo>
                  <a:pt x="313" y="410"/>
                </a:lnTo>
                <a:lnTo>
                  <a:pt x="314" y="419"/>
                </a:lnTo>
                <a:lnTo>
                  <a:pt x="316" y="428"/>
                </a:lnTo>
                <a:lnTo>
                  <a:pt x="320" y="436"/>
                </a:lnTo>
                <a:lnTo>
                  <a:pt x="327" y="451"/>
                </a:lnTo>
                <a:lnTo>
                  <a:pt x="336" y="464"/>
                </a:lnTo>
                <a:lnTo>
                  <a:pt x="344" y="477"/>
                </a:lnTo>
                <a:lnTo>
                  <a:pt x="352" y="492"/>
                </a:lnTo>
                <a:lnTo>
                  <a:pt x="355" y="499"/>
                </a:lnTo>
                <a:lnTo>
                  <a:pt x="357" y="507"/>
                </a:lnTo>
                <a:lnTo>
                  <a:pt x="358" y="515"/>
                </a:lnTo>
                <a:lnTo>
                  <a:pt x="359" y="523"/>
                </a:lnTo>
                <a:lnTo>
                  <a:pt x="359" y="530"/>
                </a:lnTo>
                <a:lnTo>
                  <a:pt x="359" y="539"/>
                </a:lnTo>
                <a:lnTo>
                  <a:pt x="360" y="544"/>
                </a:lnTo>
                <a:lnTo>
                  <a:pt x="361" y="548"/>
                </a:lnTo>
                <a:lnTo>
                  <a:pt x="364" y="552"/>
                </a:lnTo>
                <a:lnTo>
                  <a:pt x="366" y="555"/>
                </a:lnTo>
                <a:lnTo>
                  <a:pt x="354" y="552"/>
                </a:lnTo>
                <a:lnTo>
                  <a:pt x="344" y="547"/>
                </a:lnTo>
                <a:lnTo>
                  <a:pt x="336" y="541"/>
                </a:lnTo>
                <a:lnTo>
                  <a:pt x="329" y="533"/>
                </a:lnTo>
                <a:lnTo>
                  <a:pt x="323" y="526"/>
                </a:lnTo>
                <a:lnTo>
                  <a:pt x="319" y="517"/>
                </a:lnTo>
                <a:lnTo>
                  <a:pt x="315" y="508"/>
                </a:lnTo>
                <a:lnTo>
                  <a:pt x="312" y="499"/>
                </a:lnTo>
                <a:lnTo>
                  <a:pt x="311" y="495"/>
                </a:lnTo>
                <a:lnTo>
                  <a:pt x="309" y="492"/>
                </a:lnTo>
                <a:lnTo>
                  <a:pt x="307" y="489"/>
                </a:lnTo>
                <a:lnTo>
                  <a:pt x="303" y="486"/>
                </a:lnTo>
                <a:lnTo>
                  <a:pt x="297" y="479"/>
                </a:lnTo>
                <a:lnTo>
                  <a:pt x="288" y="475"/>
                </a:lnTo>
                <a:lnTo>
                  <a:pt x="269" y="467"/>
                </a:lnTo>
                <a:lnTo>
                  <a:pt x="247" y="459"/>
                </a:lnTo>
                <a:lnTo>
                  <a:pt x="237" y="455"/>
                </a:lnTo>
                <a:lnTo>
                  <a:pt x="228" y="450"/>
                </a:lnTo>
                <a:lnTo>
                  <a:pt x="218" y="445"/>
                </a:lnTo>
                <a:lnTo>
                  <a:pt x="210" y="439"/>
                </a:lnTo>
                <a:lnTo>
                  <a:pt x="202" y="431"/>
                </a:lnTo>
                <a:lnTo>
                  <a:pt x="198" y="422"/>
                </a:lnTo>
                <a:lnTo>
                  <a:pt x="196" y="417"/>
                </a:lnTo>
                <a:lnTo>
                  <a:pt x="195" y="412"/>
                </a:lnTo>
                <a:lnTo>
                  <a:pt x="193" y="406"/>
                </a:lnTo>
                <a:lnTo>
                  <a:pt x="192" y="400"/>
                </a:lnTo>
                <a:lnTo>
                  <a:pt x="153" y="394"/>
                </a:lnTo>
                <a:lnTo>
                  <a:pt x="153" y="450"/>
                </a:lnTo>
                <a:lnTo>
                  <a:pt x="154" y="463"/>
                </a:lnTo>
                <a:lnTo>
                  <a:pt x="156" y="477"/>
                </a:lnTo>
                <a:lnTo>
                  <a:pt x="158" y="492"/>
                </a:lnTo>
                <a:lnTo>
                  <a:pt x="159" y="505"/>
                </a:lnTo>
                <a:lnTo>
                  <a:pt x="159" y="512"/>
                </a:lnTo>
                <a:lnTo>
                  <a:pt x="158" y="518"/>
                </a:lnTo>
                <a:lnTo>
                  <a:pt x="156" y="524"/>
                </a:lnTo>
                <a:lnTo>
                  <a:pt x="154" y="529"/>
                </a:lnTo>
                <a:lnTo>
                  <a:pt x="150" y="539"/>
                </a:lnTo>
                <a:lnTo>
                  <a:pt x="143" y="551"/>
                </a:lnTo>
                <a:lnTo>
                  <a:pt x="136" y="562"/>
                </a:lnTo>
                <a:lnTo>
                  <a:pt x="132" y="575"/>
                </a:lnTo>
                <a:lnTo>
                  <a:pt x="130" y="583"/>
                </a:lnTo>
                <a:lnTo>
                  <a:pt x="128" y="591"/>
                </a:lnTo>
                <a:lnTo>
                  <a:pt x="127" y="600"/>
                </a:lnTo>
                <a:lnTo>
                  <a:pt x="127" y="610"/>
                </a:lnTo>
                <a:lnTo>
                  <a:pt x="128" y="621"/>
                </a:lnTo>
                <a:lnTo>
                  <a:pt x="130" y="630"/>
                </a:lnTo>
                <a:lnTo>
                  <a:pt x="134" y="637"/>
                </a:lnTo>
                <a:lnTo>
                  <a:pt x="140" y="643"/>
                </a:lnTo>
                <a:lnTo>
                  <a:pt x="146" y="647"/>
                </a:lnTo>
                <a:lnTo>
                  <a:pt x="154" y="650"/>
                </a:lnTo>
                <a:lnTo>
                  <a:pt x="163" y="653"/>
                </a:lnTo>
                <a:lnTo>
                  <a:pt x="173" y="653"/>
                </a:lnTo>
                <a:lnTo>
                  <a:pt x="173" y="667"/>
                </a:lnTo>
                <a:lnTo>
                  <a:pt x="174" y="679"/>
                </a:lnTo>
                <a:lnTo>
                  <a:pt x="175" y="685"/>
                </a:lnTo>
                <a:lnTo>
                  <a:pt x="176" y="689"/>
                </a:lnTo>
                <a:lnTo>
                  <a:pt x="177" y="693"/>
                </a:lnTo>
                <a:lnTo>
                  <a:pt x="179" y="696"/>
                </a:lnTo>
                <a:lnTo>
                  <a:pt x="179" y="721"/>
                </a:lnTo>
                <a:lnTo>
                  <a:pt x="185" y="730"/>
                </a:lnTo>
                <a:lnTo>
                  <a:pt x="191" y="740"/>
                </a:lnTo>
                <a:lnTo>
                  <a:pt x="199" y="750"/>
                </a:lnTo>
                <a:lnTo>
                  <a:pt x="208" y="760"/>
                </a:lnTo>
                <a:lnTo>
                  <a:pt x="217" y="771"/>
                </a:lnTo>
                <a:lnTo>
                  <a:pt x="226" y="780"/>
                </a:lnTo>
                <a:lnTo>
                  <a:pt x="236" y="790"/>
                </a:lnTo>
                <a:lnTo>
                  <a:pt x="247" y="799"/>
                </a:lnTo>
                <a:lnTo>
                  <a:pt x="258" y="808"/>
                </a:lnTo>
                <a:lnTo>
                  <a:pt x="269" y="816"/>
                </a:lnTo>
                <a:lnTo>
                  <a:pt x="281" y="825"/>
                </a:lnTo>
                <a:lnTo>
                  <a:pt x="292" y="832"/>
                </a:lnTo>
                <a:lnTo>
                  <a:pt x="304" y="838"/>
                </a:lnTo>
                <a:lnTo>
                  <a:pt x="316" y="843"/>
                </a:lnTo>
                <a:lnTo>
                  <a:pt x="327" y="847"/>
                </a:lnTo>
                <a:lnTo>
                  <a:pt x="340" y="850"/>
                </a:lnTo>
                <a:lnTo>
                  <a:pt x="333" y="854"/>
                </a:lnTo>
                <a:lnTo>
                  <a:pt x="327" y="858"/>
                </a:lnTo>
                <a:lnTo>
                  <a:pt x="320" y="861"/>
                </a:lnTo>
                <a:lnTo>
                  <a:pt x="312" y="864"/>
                </a:lnTo>
                <a:lnTo>
                  <a:pt x="298" y="867"/>
                </a:lnTo>
                <a:lnTo>
                  <a:pt x="286" y="868"/>
                </a:lnTo>
                <a:lnTo>
                  <a:pt x="281" y="868"/>
                </a:lnTo>
                <a:lnTo>
                  <a:pt x="277" y="867"/>
                </a:lnTo>
                <a:lnTo>
                  <a:pt x="273" y="866"/>
                </a:lnTo>
                <a:lnTo>
                  <a:pt x="269" y="864"/>
                </a:lnTo>
                <a:lnTo>
                  <a:pt x="262" y="859"/>
                </a:lnTo>
                <a:lnTo>
                  <a:pt x="254" y="853"/>
                </a:lnTo>
                <a:lnTo>
                  <a:pt x="245" y="848"/>
                </a:lnTo>
                <a:lnTo>
                  <a:pt x="234" y="843"/>
                </a:lnTo>
                <a:lnTo>
                  <a:pt x="229" y="841"/>
                </a:lnTo>
                <a:lnTo>
                  <a:pt x="222" y="839"/>
                </a:lnTo>
                <a:lnTo>
                  <a:pt x="214" y="838"/>
                </a:lnTo>
                <a:lnTo>
                  <a:pt x="207" y="838"/>
                </a:lnTo>
                <a:lnTo>
                  <a:pt x="203" y="830"/>
                </a:lnTo>
                <a:lnTo>
                  <a:pt x="200" y="823"/>
                </a:lnTo>
                <a:lnTo>
                  <a:pt x="196" y="815"/>
                </a:lnTo>
                <a:lnTo>
                  <a:pt x="191" y="809"/>
                </a:lnTo>
                <a:lnTo>
                  <a:pt x="180" y="797"/>
                </a:lnTo>
                <a:lnTo>
                  <a:pt x="168" y="785"/>
                </a:lnTo>
                <a:lnTo>
                  <a:pt x="137" y="759"/>
                </a:lnTo>
                <a:lnTo>
                  <a:pt x="100" y="727"/>
                </a:lnTo>
                <a:lnTo>
                  <a:pt x="95" y="728"/>
                </a:lnTo>
                <a:lnTo>
                  <a:pt x="89" y="729"/>
                </a:lnTo>
                <a:lnTo>
                  <a:pt x="86" y="730"/>
                </a:lnTo>
                <a:lnTo>
                  <a:pt x="83" y="730"/>
                </a:lnTo>
                <a:lnTo>
                  <a:pt x="78" y="729"/>
                </a:lnTo>
                <a:lnTo>
                  <a:pt x="74" y="727"/>
                </a:lnTo>
                <a:lnTo>
                  <a:pt x="74" y="714"/>
                </a:lnTo>
                <a:lnTo>
                  <a:pt x="74" y="700"/>
                </a:lnTo>
                <a:lnTo>
                  <a:pt x="74" y="688"/>
                </a:lnTo>
                <a:lnTo>
                  <a:pt x="74" y="678"/>
                </a:lnTo>
                <a:lnTo>
                  <a:pt x="74" y="671"/>
                </a:lnTo>
                <a:lnTo>
                  <a:pt x="75" y="665"/>
                </a:lnTo>
                <a:lnTo>
                  <a:pt x="77" y="659"/>
                </a:lnTo>
                <a:lnTo>
                  <a:pt x="80" y="653"/>
                </a:lnTo>
                <a:lnTo>
                  <a:pt x="83" y="645"/>
                </a:lnTo>
                <a:lnTo>
                  <a:pt x="85" y="638"/>
                </a:lnTo>
                <a:lnTo>
                  <a:pt x="86" y="631"/>
                </a:lnTo>
                <a:lnTo>
                  <a:pt x="87" y="622"/>
                </a:lnTo>
                <a:lnTo>
                  <a:pt x="88" y="617"/>
                </a:lnTo>
                <a:lnTo>
                  <a:pt x="92" y="604"/>
                </a:lnTo>
                <a:lnTo>
                  <a:pt x="99" y="583"/>
                </a:lnTo>
                <a:lnTo>
                  <a:pt x="107" y="558"/>
                </a:lnTo>
                <a:lnTo>
                  <a:pt x="113" y="528"/>
                </a:lnTo>
                <a:lnTo>
                  <a:pt x="120" y="498"/>
                </a:lnTo>
                <a:lnTo>
                  <a:pt x="123" y="481"/>
                </a:lnTo>
                <a:lnTo>
                  <a:pt x="124" y="466"/>
                </a:lnTo>
                <a:lnTo>
                  <a:pt x="127" y="452"/>
                </a:lnTo>
                <a:lnTo>
                  <a:pt x="127" y="438"/>
                </a:lnTo>
                <a:lnTo>
                  <a:pt x="108" y="404"/>
                </a:lnTo>
                <a:lnTo>
                  <a:pt x="86" y="369"/>
                </a:lnTo>
                <a:lnTo>
                  <a:pt x="76" y="352"/>
                </a:lnTo>
                <a:lnTo>
                  <a:pt x="67" y="335"/>
                </a:lnTo>
                <a:lnTo>
                  <a:pt x="64" y="327"/>
                </a:lnTo>
                <a:lnTo>
                  <a:pt x="62" y="319"/>
                </a:lnTo>
                <a:lnTo>
                  <a:pt x="61" y="310"/>
                </a:lnTo>
                <a:lnTo>
                  <a:pt x="60" y="302"/>
                </a:lnTo>
                <a:lnTo>
                  <a:pt x="61" y="295"/>
                </a:lnTo>
                <a:lnTo>
                  <a:pt x="62" y="290"/>
                </a:lnTo>
                <a:lnTo>
                  <a:pt x="64" y="285"/>
                </a:lnTo>
                <a:lnTo>
                  <a:pt x="66" y="281"/>
                </a:lnTo>
                <a:lnTo>
                  <a:pt x="69" y="277"/>
                </a:lnTo>
                <a:lnTo>
                  <a:pt x="72" y="274"/>
                </a:lnTo>
                <a:lnTo>
                  <a:pt x="73" y="270"/>
                </a:lnTo>
                <a:lnTo>
                  <a:pt x="74" y="265"/>
                </a:lnTo>
                <a:lnTo>
                  <a:pt x="73" y="249"/>
                </a:lnTo>
                <a:lnTo>
                  <a:pt x="71" y="236"/>
                </a:lnTo>
                <a:lnTo>
                  <a:pt x="66" y="224"/>
                </a:lnTo>
                <a:lnTo>
                  <a:pt x="62" y="213"/>
                </a:lnTo>
                <a:lnTo>
                  <a:pt x="56" y="202"/>
                </a:lnTo>
                <a:lnTo>
                  <a:pt x="50" y="193"/>
                </a:lnTo>
                <a:lnTo>
                  <a:pt x="43" y="184"/>
                </a:lnTo>
                <a:lnTo>
                  <a:pt x="36" y="176"/>
                </a:lnTo>
                <a:lnTo>
                  <a:pt x="30" y="167"/>
                </a:lnTo>
                <a:lnTo>
                  <a:pt x="23" y="158"/>
                </a:lnTo>
                <a:lnTo>
                  <a:pt x="17" y="148"/>
                </a:lnTo>
                <a:lnTo>
                  <a:pt x="11" y="138"/>
                </a:lnTo>
                <a:lnTo>
                  <a:pt x="7" y="127"/>
                </a:lnTo>
                <a:lnTo>
                  <a:pt x="4" y="115"/>
                </a:lnTo>
                <a:lnTo>
                  <a:pt x="1" y="102"/>
                </a:lnTo>
                <a:lnTo>
                  <a:pt x="0" y="86"/>
                </a:lnTo>
                <a:lnTo>
                  <a:pt x="1" y="73"/>
                </a:lnTo>
                <a:lnTo>
                  <a:pt x="4" y="62"/>
                </a:lnTo>
                <a:lnTo>
                  <a:pt x="7" y="52"/>
                </a:lnTo>
                <a:lnTo>
                  <a:pt x="11" y="44"/>
                </a:lnTo>
                <a:lnTo>
                  <a:pt x="17" y="35"/>
                </a:lnTo>
                <a:lnTo>
                  <a:pt x="24" y="29"/>
                </a:lnTo>
                <a:lnTo>
                  <a:pt x="32" y="24"/>
                </a:lnTo>
                <a:lnTo>
                  <a:pt x="40" y="20"/>
                </a:lnTo>
                <a:lnTo>
                  <a:pt x="49" y="16"/>
                </a:lnTo>
                <a:lnTo>
                  <a:pt x="58" y="13"/>
                </a:lnTo>
                <a:lnTo>
                  <a:pt x="68" y="11"/>
                </a:lnTo>
                <a:lnTo>
                  <a:pt x="78" y="8"/>
                </a:lnTo>
                <a:lnTo>
                  <a:pt x="99" y="4"/>
                </a:lnTo>
                <a:lnTo>
                  <a:pt x="120" y="0"/>
                </a:lnTo>
                <a:lnTo>
                  <a:pt x="129" y="5"/>
                </a:lnTo>
                <a:lnTo>
                  <a:pt x="136" y="11"/>
                </a:lnTo>
                <a:lnTo>
                  <a:pt x="143" y="17"/>
                </a:lnTo>
                <a:lnTo>
                  <a:pt x="150" y="23"/>
                </a:lnTo>
                <a:lnTo>
                  <a:pt x="156" y="28"/>
                </a:lnTo>
                <a:lnTo>
                  <a:pt x="163" y="32"/>
                </a:lnTo>
                <a:lnTo>
                  <a:pt x="166" y="34"/>
                </a:lnTo>
                <a:lnTo>
                  <a:pt x="170" y="35"/>
                </a:lnTo>
                <a:lnTo>
                  <a:pt x="175" y="36"/>
                </a:lnTo>
                <a:lnTo>
                  <a:pt x="179" y="36"/>
                </a:lnTo>
                <a:lnTo>
                  <a:pt x="184" y="55"/>
                </a:lnTo>
                <a:lnTo>
                  <a:pt x="188" y="75"/>
                </a:lnTo>
                <a:lnTo>
                  <a:pt x="190" y="97"/>
                </a:lnTo>
                <a:lnTo>
                  <a:pt x="193" y="118"/>
                </a:lnTo>
                <a:lnTo>
                  <a:pt x="197" y="136"/>
                </a:lnTo>
                <a:lnTo>
                  <a:pt x="201" y="153"/>
                </a:lnTo>
                <a:lnTo>
                  <a:pt x="203" y="158"/>
                </a:lnTo>
                <a:lnTo>
                  <a:pt x="207" y="163"/>
                </a:lnTo>
                <a:lnTo>
                  <a:pt x="209" y="166"/>
                </a:lnTo>
                <a:lnTo>
                  <a:pt x="213" y="166"/>
                </a:lnTo>
                <a:lnTo>
                  <a:pt x="217" y="166"/>
                </a:lnTo>
                <a:lnTo>
                  <a:pt x="220" y="165"/>
                </a:lnTo>
                <a:lnTo>
                  <a:pt x="223" y="163"/>
                </a:lnTo>
                <a:lnTo>
                  <a:pt x="225" y="161"/>
                </a:lnTo>
                <a:lnTo>
                  <a:pt x="231" y="155"/>
                </a:lnTo>
                <a:lnTo>
                  <a:pt x="234" y="147"/>
                </a:lnTo>
                <a:lnTo>
                  <a:pt x="241" y="132"/>
                </a:lnTo>
                <a:lnTo>
                  <a:pt x="246" y="123"/>
                </a:lnTo>
                <a:lnTo>
                  <a:pt x="253" y="124"/>
                </a:lnTo>
                <a:lnTo>
                  <a:pt x="258" y="126"/>
                </a:lnTo>
                <a:lnTo>
                  <a:pt x="264" y="129"/>
                </a:lnTo>
                <a:lnTo>
                  <a:pt x="268" y="132"/>
                </a:lnTo>
                <a:lnTo>
                  <a:pt x="273" y="136"/>
                </a:lnTo>
                <a:lnTo>
                  <a:pt x="277" y="138"/>
                </a:lnTo>
                <a:lnTo>
                  <a:pt x="281" y="141"/>
                </a:lnTo>
                <a:lnTo>
                  <a:pt x="286" y="141"/>
                </a:lnTo>
                <a:lnTo>
                  <a:pt x="289" y="141"/>
                </a:lnTo>
                <a:lnTo>
                  <a:pt x="292" y="140"/>
                </a:lnTo>
                <a:lnTo>
                  <a:pt x="296" y="138"/>
                </a:lnTo>
                <a:lnTo>
                  <a:pt x="298" y="136"/>
                </a:lnTo>
                <a:lnTo>
                  <a:pt x="302" y="130"/>
                </a:lnTo>
                <a:lnTo>
                  <a:pt x="305" y="123"/>
                </a:lnTo>
                <a:lnTo>
                  <a:pt x="310" y="116"/>
                </a:lnTo>
                <a:lnTo>
                  <a:pt x="314" y="111"/>
                </a:lnTo>
                <a:lnTo>
                  <a:pt x="316" y="108"/>
                </a:lnTo>
                <a:lnTo>
                  <a:pt x="319" y="107"/>
                </a:lnTo>
                <a:lnTo>
                  <a:pt x="322" y="105"/>
                </a:lnTo>
                <a:lnTo>
                  <a:pt x="325" y="105"/>
                </a:lnTo>
                <a:lnTo>
                  <a:pt x="337" y="106"/>
                </a:lnTo>
                <a:lnTo>
                  <a:pt x="346" y="108"/>
                </a:lnTo>
                <a:lnTo>
                  <a:pt x="354" y="111"/>
                </a:lnTo>
                <a:lnTo>
                  <a:pt x="359" y="116"/>
                </a:lnTo>
                <a:lnTo>
                  <a:pt x="367" y="125"/>
                </a:lnTo>
                <a:lnTo>
                  <a:pt x="372" y="135"/>
                </a:lnTo>
                <a:lnTo>
                  <a:pt x="387" y="157"/>
                </a:lnTo>
                <a:lnTo>
                  <a:pt x="403" y="178"/>
                </a:lnTo>
                <a:lnTo>
                  <a:pt x="421" y="200"/>
                </a:lnTo>
                <a:lnTo>
                  <a:pt x="438" y="223"/>
                </a:lnTo>
                <a:lnTo>
                  <a:pt x="446" y="235"/>
                </a:lnTo>
                <a:lnTo>
                  <a:pt x="454" y="246"/>
                </a:lnTo>
                <a:lnTo>
                  <a:pt x="460" y="258"/>
                </a:lnTo>
                <a:lnTo>
                  <a:pt x="467" y="271"/>
                </a:lnTo>
                <a:lnTo>
                  <a:pt x="471" y="283"/>
                </a:lnTo>
                <a:lnTo>
                  <a:pt x="476" y="295"/>
                </a:lnTo>
                <a:lnTo>
                  <a:pt x="478" y="307"/>
                </a:lnTo>
                <a:lnTo>
                  <a:pt x="479" y="321"/>
                </a:lnTo>
                <a:lnTo>
                  <a:pt x="478" y="325"/>
                </a:lnTo>
                <a:lnTo>
                  <a:pt x="476" y="330"/>
                </a:lnTo>
                <a:lnTo>
                  <a:pt x="472" y="334"/>
                </a:lnTo>
                <a:lnTo>
                  <a:pt x="468" y="338"/>
                </a:lnTo>
                <a:lnTo>
                  <a:pt x="459" y="345"/>
                </a:lnTo>
                <a:lnTo>
                  <a:pt x="452" y="351"/>
                </a:lnTo>
                <a:lnTo>
                  <a:pt x="445" y="357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8" name="Freeform 25"/>
          <p:cNvSpPr>
            <a:spLocks/>
          </p:cNvSpPr>
          <p:nvPr userDrawn="1">
            <p:custDataLst>
              <p:tags r:id="rId20"/>
            </p:custDataLst>
          </p:nvPr>
        </p:nvSpPr>
        <p:spPr bwMode="auto">
          <a:xfrm>
            <a:off x="2608270" y="4238637"/>
            <a:ext cx="23813" cy="42863"/>
          </a:xfrm>
          <a:custGeom>
            <a:avLst/>
            <a:gdLst>
              <a:gd name="T0" fmla="*/ 0 w 53"/>
              <a:gd name="T1" fmla="*/ 72378965 h 19"/>
              <a:gd name="T2" fmla="*/ 1413054 w 53"/>
              <a:gd name="T3" fmla="*/ 117617708 h 19"/>
              <a:gd name="T4" fmla="*/ 2826109 w 53"/>
              <a:gd name="T5" fmla="*/ 153805675 h 19"/>
              <a:gd name="T6" fmla="*/ 4441350 w 53"/>
              <a:gd name="T7" fmla="*/ 171901162 h 19"/>
              <a:gd name="T8" fmla="*/ 5854404 w 53"/>
              <a:gd name="T9" fmla="*/ 171901162 h 19"/>
              <a:gd name="T10" fmla="*/ 7065721 w 53"/>
              <a:gd name="T11" fmla="*/ 162853418 h 19"/>
              <a:gd name="T12" fmla="*/ 8478777 w 53"/>
              <a:gd name="T13" fmla="*/ 135710187 h 19"/>
              <a:gd name="T14" fmla="*/ 9487909 w 53"/>
              <a:gd name="T15" fmla="*/ 108569964 h 19"/>
              <a:gd name="T16" fmla="*/ 10699226 w 53"/>
              <a:gd name="T17" fmla="*/ 72378965 h 19"/>
              <a:gd name="T18" fmla="*/ 9487909 w 53"/>
              <a:gd name="T19" fmla="*/ 45235723 h 19"/>
              <a:gd name="T20" fmla="*/ 8478777 w 53"/>
              <a:gd name="T21" fmla="*/ 18095493 h 19"/>
              <a:gd name="T22" fmla="*/ 7065721 w 53"/>
              <a:gd name="T23" fmla="*/ 9047747 h 19"/>
              <a:gd name="T24" fmla="*/ 5854404 w 53"/>
              <a:gd name="T25" fmla="*/ 0 h 19"/>
              <a:gd name="T26" fmla="*/ 4441350 w 53"/>
              <a:gd name="T27" fmla="*/ 0 h 19"/>
              <a:gd name="T28" fmla="*/ 2826109 w 53"/>
              <a:gd name="T29" fmla="*/ 9047747 h 19"/>
              <a:gd name="T30" fmla="*/ 1413054 w 53"/>
              <a:gd name="T31" fmla="*/ 27143243 h 19"/>
              <a:gd name="T32" fmla="*/ 0 w 53"/>
              <a:gd name="T33" fmla="*/ 72378965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53"/>
              <a:gd name="T52" fmla="*/ 0 h 19"/>
              <a:gd name="T53" fmla="*/ 53 w 53"/>
              <a:gd name="T54" fmla="*/ 19 h 19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9" name="Line 26" descr="Horizontal dunkel"/>
          <p:cNvSpPr>
            <a:spLocks noChangeShapeType="1"/>
          </p:cNvSpPr>
          <p:nvPr userDrawn="1">
            <p:custDataLst>
              <p:tags r:id="rId21"/>
            </p:custDataLst>
          </p:nvPr>
        </p:nvSpPr>
        <p:spPr bwMode="auto">
          <a:xfrm>
            <a:off x="1069985" y="1930015"/>
            <a:ext cx="3175" cy="7144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0" name="Freeform 27"/>
          <p:cNvSpPr>
            <a:spLocks/>
          </p:cNvSpPr>
          <p:nvPr userDrawn="1">
            <p:custDataLst>
              <p:tags r:id="rId22"/>
            </p:custDataLst>
          </p:nvPr>
        </p:nvSpPr>
        <p:spPr bwMode="auto">
          <a:xfrm>
            <a:off x="1073160" y="1927633"/>
            <a:ext cx="3175" cy="41672"/>
          </a:xfrm>
          <a:custGeom>
            <a:avLst/>
            <a:gdLst>
              <a:gd name="T0" fmla="*/ 0 w 6"/>
              <a:gd name="T1" fmla="*/ 128630655 h 24"/>
              <a:gd name="T2" fmla="*/ 0 w 6"/>
              <a:gd name="T3" fmla="*/ 101833574 h 24"/>
              <a:gd name="T4" fmla="*/ 279929 w 6"/>
              <a:gd name="T5" fmla="*/ 75034160 h 24"/>
              <a:gd name="T6" fmla="*/ 840317 w 6"/>
              <a:gd name="T7" fmla="*/ 42877663 h 24"/>
              <a:gd name="T8" fmla="*/ 1680104 w 6"/>
              <a:gd name="T9" fmla="*/ 0 h 2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24"/>
              <a:gd name="T17" fmla="*/ 6 w 6"/>
              <a:gd name="T18" fmla="*/ 24 h 2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24">
                <a:moveTo>
                  <a:pt x="0" y="24"/>
                </a:moveTo>
                <a:lnTo>
                  <a:pt x="0" y="19"/>
                </a:lnTo>
                <a:lnTo>
                  <a:pt x="1" y="14"/>
                </a:lnTo>
                <a:lnTo>
                  <a:pt x="3" y="8"/>
                </a:lnTo>
                <a:lnTo>
                  <a:pt x="6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1" name="Freeform 28"/>
          <p:cNvSpPr>
            <a:spLocks/>
          </p:cNvSpPr>
          <p:nvPr userDrawn="1">
            <p:custDataLst>
              <p:tags r:id="rId23"/>
            </p:custDataLst>
          </p:nvPr>
        </p:nvSpPr>
        <p:spPr bwMode="auto">
          <a:xfrm>
            <a:off x="1049346" y="1968115"/>
            <a:ext cx="23813" cy="42863"/>
          </a:xfrm>
          <a:custGeom>
            <a:avLst/>
            <a:gdLst>
              <a:gd name="T0" fmla="*/ 0 w 47"/>
              <a:gd name="T1" fmla="*/ 17462309 h 67"/>
              <a:gd name="T2" fmla="*/ 0 w 47"/>
              <a:gd name="T3" fmla="*/ 21827885 h 67"/>
              <a:gd name="T4" fmla="*/ 513246 w 47"/>
              <a:gd name="T5" fmla="*/ 26192607 h 67"/>
              <a:gd name="T6" fmla="*/ 770123 w 47"/>
              <a:gd name="T7" fmla="*/ 30558190 h 67"/>
              <a:gd name="T8" fmla="*/ 1283369 w 47"/>
              <a:gd name="T9" fmla="*/ 34196169 h 67"/>
              <a:gd name="T10" fmla="*/ 2310368 w 47"/>
              <a:gd name="T11" fmla="*/ 42199725 h 67"/>
              <a:gd name="T12" fmla="*/ 3593736 w 47"/>
              <a:gd name="T13" fmla="*/ 48748088 h 67"/>
              <a:gd name="T14" fmla="*/ 12065084 w 47"/>
              <a:gd name="T15" fmla="*/ 48748088 h 67"/>
              <a:gd name="T16" fmla="*/ 12065084 w 47"/>
              <a:gd name="T17" fmla="*/ 0 h 67"/>
              <a:gd name="T18" fmla="*/ 9241472 w 47"/>
              <a:gd name="T19" fmla="*/ 1455192 h 67"/>
              <a:gd name="T20" fmla="*/ 6674226 w 47"/>
              <a:gd name="T21" fmla="*/ 2910385 h 67"/>
              <a:gd name="T22" fmla="*/ 4620736 w 47"/>
              <a:gd name="T23" fmla="*/ 5093173 h 67"/>
              <a:gd name="T24" fmla="*/ 2823614 w 47"/>
              <a:gd name="T25" fmla="*/ 6548365 h 67"/>
              <a:gd name="T26" fmla="*/ 1540245 w 47"/>
              <a:gd name="T27" fmla="*/ 8731155 h 67"/>
              <a:gd name="T28" fmla="*/ 770123 w 47"/>
              <a:gd name="T29" fmla="*/ 11641538 h 67"/>
              <a:gd name="T30" fmla="*/ 0 w 47"/>
              <a:gd name="T31" fmla="*/ 14551925 h 67"/>
              <a:gd name="T32" fmla="*/ 0 w 47"/>
              <a:gd name="T33" fmla="*/ 17462309 h 67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47"/>
              <a:gd name="T52" fmla="*/ 0 h 67"/>
              <a:gd name="T53" fmla="*/ 47 w 47"/>
              <a:gd name="T54" fmla="*/ 67 h 67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47" h="67">
                <a:moveTo>
                  <a:pt x="0" y="24"/>
                </a:moveTo>
                <a:lnTo>
                  <a:pt x="0" y="30"/>
                </a:lnTo>
                <a:lnTo>
                  <a:pt x="2" y="36"/>
                </a:lnTo>
                <a:lnTo>
                  <a:pt x="3" y="42"/>
                </a:lnTo>
                <a:lnTo>
                  <a:pt x="5" y="47"/>
                </a:lnTo>
                <a:lnTo>
                  <a:pt x="9" y="58"/>
                </a:lnTo>
                <a:lnTo>
                  <a:pt x="14" y="67"/>
                </a:lnTo>
                <a:lnTo>
                  <a:pt x="47" y="67"/>
                </a:lnTo>
                <a:lnTo>
                  <a:pt x="47" y="0"/>
                </a:lnTo>
                <a:lnTo>
                  <a:pt x="36" y="2"/>
                </a:lnTo>
                <a:lnTo>
                  <a:pt x="26" y="4"/>
                </a:lnTo>
                <a:lnTo>
                  <a:pt x="18" y="7"/>
                </a:lnTo>
                <a:lnTo>
                  <a:pt x="11" y="9"/>
                </a:lnTo>
                <a:lnTo>
                  <a:pt x="6" y="12"/>
                </a:lnTo>
                <a:lnTo>
                  <a:pt x="3" y="16"/>
                </a:lnTo>
                <a:lnTo>
                  <a:pt x="0" y="20"/>
                </a:lnTo>
                <a:lnTo>
                  <a:pt x="0" y="24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2" name="Freeform 29"/>
          <p:cNvSpPr>
            <a:spLocks/>
          </p:cNvSpPr>
          <p:nvPr userDrawn="1">
            <p:custDataLst>
              <p:tags r:id="rId24"/>
            </p:custDataLst>
          </p:nvPr>
        </p:nvSpPr>
        <p:spPr bwMode="auto">
          <a:xfrm>
            <a:off x="2374900" y="1964543"/>
            <a:ext cx="49212" cy="42863"/>
          </a:xfrm>
          <a:custGeom>
            <a:avLst/>
            <a:gdLst>
              <a:gd name="T0" fmla="*/ 0 w 112"/>
              <a:gd name="T1" fmla="*/ 90725611 h 36"/>
              <a:gd name="T2" fmla="*/ 11390821 w 112"/>
              <a:gd name="T3" fmla="*/ 90725611 h 36"/>
              <a:gd name="T4" fmla="*/ 12935286 w 112"/>
              <a:gd name="T5" fmla="*/ 75604680 h 36"/>
              <a:gd name="T6" fmla="*/ 14479755 w 112"/>
              <a:gd name="T7" fmla="*/ 65524060 h 36"/>
              <a:gd name="T8" fmla="*/ 16217553 w 112"/>
              <a:gd name="T9" fmla="*/ 57962800 h 36"/>
              <a:gd name="T10" fmla="*/ 17569125 w 112"/>
              <a:gd name="T11" fmla="*/ 50403116 h 36"/>
              <a:gd name="T12" fmla="*/ 18920698 w 112"/>
              <a:gd name="T13" fmla="*/ 42843444 h 36"/>
              <a:gd name="T14" fmla="*/ 20078937 w 112"/>
              <a:gd name="T15" fmla="*/ 32761236 h 36"/>
              <a:gd name="T16" fmla="*/ 20658056 w 112"/>
              <a:gd name="T17" fmla="*/ 27720926 h 36"/>
              <a:gd name="T18" fmla="*/ 21044283 w 112"/>
              <a:gd name="T19" fmla="*/ 20161248 h 36"/>
              <a:gd name="T20" fmla="*/ 21430509 w 112"/>
              <a:gd name="T21" fmla="*/ 10080624 h 36"/>
              <a:gd name="T22" fmla="*/ 21623402 w 112"/>
              <a:gd name="T23" fmla="*/ 0 h 36"/>
              <a:gd name="T24" fmla="*/ 19306484 w 112"/>
              <a:gd name="T25" fmla="*/ 0 h 36"/>
              <a:gd name="T26" fmla="*/ 16410447 w 112"/>
              <a:gd name="T27" fmla="*/ 2520950 h 36"/>
              <a:gd name="T28" fmla="*/ 12935286 w 112"/>
              <a:gd name="T29" fmla="*/ 7559675 h 36"/>
              <a:gd name="T30" fmla="*/ 9267236 w 112"/>
              <a:gd name="T31" fmla="*/ 17640299 h 36"/>
              <a:gd name="T32" fmla="*/ 7722770 w 112"/>
              <a:gd name="T33" fmla="*/ 22682197 h 36"/>
              <a:gd name="T34" fmla="*/ 5984970 w 112"/>
              <a:gd name="T35" fmla="*/ 27720926 h 36"/>
              <a:gd name="T36" fmla="*/ 4440505 w 112"/>
              <a:gd name="T37" fmla="*/ 35282185 h 36"/>
              <a:gd name="T38" fmla="*/ 3282265 w 112"/>
              <a:gd name="T39" fmla="*/ 45362806 h 36"/>
              <a:gd name="T40" fmla="*/ 1930693 w 112"/>
              <a:gd name="T41" fmla="*/ 55443439 h 36"/>
              <a:gd name="T42" fmla="*/ 1158240 w 112"/>
              <a:gd name="T43" fmla="*/ 65524060 h 36"/>
              <a:gd name="T44" fmla="*/ 192893 w 112"/>
              <a:gd name="T45" fmla="*/ 78124042 h 36"/>
              <a:gd name="T46" fmla="*/ 0 w 112"/>
              <a:gd name="T47" fmla="*/ 90725611 h 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12"/>
              <a:gd name="T73" fmla="*/ 0 h 36"/>
              <a:gd name="T74" fmla="*/ 112 w 112"/>
              <a:gd name="T75" fmla="*/ 36 h 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112" h="36">
                <a:moveTo>
                  <a:pt x="0" y="36"/>
                </a:moveTo>
                <a:lnTo>
                  <a:pt x="59" y="36"/>
                </a:lnTo>
                <a:lnTo>
                  <a:pt x="67" y="30"/>
                </a:lnTo>
                <a:lnTo>
                  <a:pt x="75" y="26"/>
                </a:lnTo>
                <a:lnTo>
                  <a:pt x="84" y="23"/>
                </a:lnTo>
                <a:lnTo>
                  <a:pt x="91" y="20"/>
                </a:lnTo>
                <a:lnTo>
                  <a:pt x="98" y="17"/>
                </a:lnTo>
                <a:lnTo>
                  <a:pt x="104" y="13"/>
                </a:lnTo>
                <a:lnTo>
                  <a:pt x="107" y="11"/>
                </a:lnTo>
                <a:lnTo>
                  <a:pt x="109" y="8"/>
                </a:lnTo>
                <a:lnTo>
                  <a:pt x="111" y="4"/>
                </a:lnTo>
                <a:lnTo>
                  <a:pt x="112" y="0"/>
                </a:lnTo>
                <a:lnTo>
                  <a:pt x="100" y="0"/>
                </a:lnTo>
                <a:lnTo>
                  <a:pt x="85" y="1"/>
                </a:lnTo>
                <a:lnTo>
                  <a:pt x="67" y="3"/>
                </a:lnTo>
                <a:lnTo>
                  <a:pt x="48" y="7"/>
                </a:lnTo>
                <a:lnTo>
                  <a:pt x="40" y="9"/>
                </a:lnTo>
                <a:lnTo>
                  <a:pt x="31" y="11"/>
                </a:lnTo>
                <a:lnTo>
                  <a:pt x="23" y="14"/>
                </a:lnTo>
                <a:lnTo>
                  <a:pt x="17" y="18"/>
                </a:lnTo>
                <a:lnTo>
                  <a:pt x="10" y="22"/>
                </a:lnTo>
                <a:lnTo>
                  <a:pt x="6" y="26"/>
                </a:lnTo>
                <a:lnTo>
                  <a:pt x="1" y="31"/>
                </a:lnTo>
                <a:lnTo>
                  <a:pt x="0" y="36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3" name="Freeform 30"/>
          <p:cNvSpPr>
            <a:spLocks/>
          </p:cNvSpPr>
          <p:nvPr userDrawn="1">
            <p:custDataLst>
              <p:tags r:id="rId25"/>
            </p:custDataLst>
          </p:nvPr>
        </p:nvSpPr>
        <p:spPr bwMode="auto">
          <a:xfrm>
            <a:off x="5075241" y="1632358"/>
            <a:ext cx="874713" cy="339328"/>
          </a:xfrm>
          <a:custGeom>
            <a:avLst/>
            <a:gdLst>
              <a:gd name="T0" fmla="*/ 82329861 w 2006"/>
              <a:gd name="T1" fmla="*/ 210259486 h 863"/>
              <a:gd name="T2" fmla="*/ 78336967 w 2006"/>
              <a:gd name="T3" fmla="*/ 209984773 h 863"/>
              <a:gd name="T4" fmla="*/ 74153956 w 2006"/>
              <a:gd name="T5" fmla="*/ 218230343 h 863"/>
              <a:gd name="T6" fmla="*/ 71301765 w 2006"/>
              <a:gd name="T7" fmla="*/ 217680394 h 863"/>
              <a:gd name="T8" fmla="*/ 70351180 w 2006"/>
              <a:gd name="T9" fmla="*/ 206411937 h 863"/>
              <a:gd name="T10" fmla="*/ 61604924 w 2006"/>
              <a:gd name="T11" fmla="*/ 198991029 h 863"/>
              <a:gd name="T12" fmla="*/ 59323083 w 2006"/>
              <a:gd name="T13" fmla="*/ 194593531 h 863"/>
              <a:gd name="T14" fmla="*/ 54759825 w 2006"/>
              <a:gd name="T15" fmla="*/ 190195509 h 863"/>
              <a:gd name="T16" fmla="*/ 47724622 w 2006"/>
              <a:gd name="T17" fmla="*/ 176178354 h 863"/>
              <a:gd name="T18" fmla="*/ 44111963 w 2006"/>
              <a:gd name="T19" fmla="*/ 167658072 h 863"/>
              <a:gd name="T20" fmla="*/ 48104856 w 2006"/>
              <a:gd name="T21" fmla="*/ 163260574 h 863"/>
              <a:gd name="T22" fmla="*/ 53048771 w 2006"/>
              <a:gd name="T23" fmla="*/ 157488465 h 863"/>
              <a:gd name="T24" fmla="*/ 64266562 w 2006"/>
              <a:gd name="T25" fmla="*/ 149518132 h 863"/>
              <a:gd name="T26" fmla="*/ 60653903 w 2006"/>
              <a:gd name="T27" fmla="*/ 133851620 h 863"/>
              <a:gd name="T28" fmla="*/ 49055878 w 2006"/>
              <a:gd name="T29" fmla="*/ 130553497 h 863"/>
              <a:gd name="T30" fmla="*/ 39738835 w 2006"/>
              <a:gd name="T31" fmla="*/ 129179410 h 863"/>
              <a:gd name="T32" fmla="*/ 29851877 w 2006"/>
              <a:gd name="T33" fmla="*/ 136050369 h 863"/>
              <a:gd name="T34" fmla="*/ 20154593 w 2006"/>
              <a:gd name="T35" fmla="*/ 138799100 h 863"/>
              <a:gd name="T36" fmla="*/ 5133598 w 2006"/>
              <a:gd name="T37" fmla="*/ 113512931 h 863"/>
              <a:gd name="T38" fmla="*/ 3802778 w 2006"/>
              <a:gd name="T39" fmla="*/ 77782477 h 863"/>
              <a:gd name="T40" fmla="*/ 21485412 w 2006"/>
              <a:gd name="T41" fmla="*/ 71186230 h 863"/>
              <a:gd name="T42" fmla="*/ 55520293 w 2006"/>
              <a:gd name="T43" fmla="*/ 61016607 h 863"/>
              <a:gd name="T44" fmla="*/ 94688777 w 2006"/>
              <a:gd name="T45" fmla="*/ 69536906 h 863"/>
              <a:gd name="T46" fmla="*/ 136329231 w 2006"/>
              <a:gd name="T47" fmla="*/ 69536906 h 863"/>
              <a:gd name="T48" fmla="*/ 125111018 w 2006"/>
              <a:gd name="T49" fmla="*/ 50847001 h 863"/>
              <a:gd name="T50" fmla="*/ 157814637 w 2006"/>
              <a:gd name="T51" fmla="*/ 18689898 h 863"/>
              <a:gd name="T52" fmla="*/ 199645181 w 2006"/>
              <a:gd name="T53" fmla="*/ 3572837 h 863"/>
              <a:gd name="T54" fmla="*/ 223602544 w 2006"/>
              <a:gd name="T55" fmla="*/ 16765857 h 863"/>
              <a:gd name="T56" fmla="*/ 246419259 w 2006"/>
              <a:gd name="T57" fmla="*/ 30508304 h 863"/>
              <a:gd name="T58" fmla="*/ 274179399 w 2006"/>
              <a:gd name="T59" fmla="*/ 27210180 h 863"/>
              <a:gd name="T60" fmla="*/ 313157752 w 2006"/>
              <a:gd name="T61" fmla="*/ 74484353 h 863"/>
              <a:gd name="T62" fmla="*/ 340917892 w 2006"/>
              <a:gd name="T63" fmla="*/ 72835030 h 863"/>
              <a:gd name="T64" fmla="*/ 380276479 w 2006"/>
              <a:gd name="T65" fmla="*/ 93173718 h 863"/>
              <a:gd name="T66" fmla="*/ 380656713 w 2006"/>
              <a:gd name="T67" fmla="*/ 104717412 h 863"/>
              <a:gd name="T68" fmla="*/ 376663819 w 2006"/>
              <a:gd name="T69" fmla="*/ 109664859 h 863"/>
              <a:gd name="T70" fmla="*/ 372670925 w 2006"/>
              <a:gd name="T71" fmla="*/ 111038946 h 863"/>
              <a:gd name="T72" fmla="*/ 373241276 w 2006"/>
              <a:gd name="T73" fmla="*/ 116811055 h 863"/>
              <a:gd name="T74" fmla="*/ 377424287 w 2006"/>
              <a:gd name="T75" fmla="*/ 128079511 h 863"/>
              <a:gd name="T76" fmla="*/ 376283585 w 2006"/>
              <a:gd name="T77" fmla="*/ 131378159 h 863"/>
              <a:gd name="T78" fmla="*/ 368678031 w 2006"/>
              <a:gd name="T79" fmla="*/ 132202296 h 863"/>
              <a:gd name="T80" fmla="*/ 359931775 w 2006"/>
              <a:gd name="T81" fmla="*/ 130278784 h 863"/>
              <a:gd name="T82" fmla="*/ 354417509 w 2006"/>
              <a:gd name="T83" fmla="*/ 130278784 h 863"/>
              <a:gd name="T84" fmla="*/ 357079584 w 2006"/>
              <a:gd name="T85" fmla="*/ 150617506 h 863"/>
              <a:gd name="T86" fmla="*/ 357459818 w 2006"/>
              <a:gd name="T87" fmla="*/ 161061825 h 863"/>
              <a:gd name="T88" fmla="*/ 340157423 w 2006"/>
              <a:gd name="T89" fmla="*/ 161611250 h 863"/>
              <a:gd name="T90" fmla="*/ 336164530 w 2006"/>
              <a:gd name="T91" fmla="*/ 166009272 h 863"/>
              <a:gd name="T92" fmla="*/ 341298126 w 2006"/>
              <a:gd name="T93" fmla="*/ 170131533 h 863"/>
              <a:gd name="T94" fmla="*/ 344910785 w 2006"/>
              <a:gd name="T95" fmla="*/ 178651816 h 863"/>
              <a:gd name="T96" fmla="*/ 348713562 w 2006"/>
              <a:gd name="T97" fmla="*/ 189371372 h 863"/>
              <a:gd name="T98" fmla="*/ 349283913 w 2006"/>
              <a:gd name="T99" fmla="*/ 194043582 h 863"/>
              <a:gd name="T100" fmla="*/ 349283913 w 2006"/>
              <a:gd name="T101" fmla="*/ 207236599 h 863"/>
              <a:gd name="T102" fmla="*/ 331030498 w 2006"/>
              <a:gd name="T103" fmla="*/ 203388526 h 863"/>
              <a:gd name="T104" fmla="*/ 280453697 w 2006"/>
              <a:gd name="T105" fmla="*/ 209984773 h 863"/>
              <a:gd name="T106" fmla="*/ 250222036 w 2006"/>
              <a:gd name="T107" fmla="*/ 218505056 h 863"/>
              <a:gd name="T108" fmla="*/ 217137693 w 2006"/>
              <a:gd name="T109" fmla="*/ 230323462 h 863"/>
              <a:gd name="T110" fmla="*/ 183103255 w 2006"/>
              <a:gd name="T111" fmla="*/ 191570120 h 863"/>
              <a:gd name="T112" fmla="*/ 130054497 w 2006"/>
              <a:gd name="T113" fmla="*/ 161061825 h 863"/>
              <a:gd name="T114" fmla="*/ 111040586 w 2006"/>
              <a:gd name="T115" fmla="*/ 228674662 h 863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2006"/>
              <a:gd name="T175" fmla="*/ 0 h 863"/>
              <a:gd name="T176" fmla="*/ 2006 w 2006"/>
              <a:gd name="T177" fmla="*/ 863 h 863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2006" h="863">
                <a:moveTo>
                  <a:pt x="571" y="826"/>
                </a:moveTo>
                <a:lnTo>
                  <a:pt x="538" y="826"/>
                </a:lnTo>
                <a:lnTo>
                  <a:pt x="512" y="789"/>
                </a:lnTo>
                <a:lnTo>
                  <a:pt x="438" y="764"/>
                </a:lnTo>
                <a:lnTo>
                  <a:pt x="433" y="765"/>
                </a:lnTo>
                <a:lnTo>
                  <a:pt x="427" y="766"/>
                </a:lnTo>
                <a:lnTo>
                  <a:pt x="424" y="767"/>
                </a:lnTo>
                <a:lnTo>
                  <a:pt x="421" y="767"/>
                </a:lnTo>
                <a:lnTo>
                  <a:pt x="416" y="766"/>
                </a:lnTo>
                <a:lnTo>
                  <a:pt x="412" y="764"/>
                </a:lnTo>
                <a:lnTo>
                  <a:pt x="405" y="772"/>
                </a:lnTo>
                <a:lnTo>
                  <a:pt x="397" y="778"/>
                </a:lnTo>
                <a:lnTo>
                  <a:pt x="393" y="782"/>
                </a:lnTo>
                <a:lnTo>
                  <a:pt x="391" y="786"/>
                </a:lnTo>
                <a:lnTo>
                  <a:pt x="390" y="794"/>
                </a:lnTo>
                <a:lnTo>
                  <a:pt x="392" y="802"/>
                </a:lnTo>
                <a:lnTo>
                  <a:pt x="386" y="800"/>
                </a:lnTo>
                <a:lnTo>
                  <a:pt x="381" y="798"/>
                </a:lnTo>
                <a:lnTo>
                  <a:pt x="378" y="795"/>
                </a:lnTo>
                <a:lnTo>
                  <a:pt x="375" y="792"/>
                </a:lnTo>
                <a:lnTo>
                  <a:pt x="372" y="787"/>
                </a:lnTo>
                <a:lnTo>
                  <a:pt x="371" y="783"/>
                </a:lnTo>
                <a:lnTo>
                  <a:pt x="370" y="778"/>
                </a:lnTo>
                <a:lnTo>
                  <a:pt x="369" y="773"/>
                </a:lnTo>
                <a:lnTo>
                  <a:pt x="370" y="751"/>
                </a:lnTo>
                <a:lnTo>
                  <a:pt x="372" y="727"/>
                </a:lnTo>
                <a:lnTo>
                  <a:pt x="352" y="727"/>
                </a:lnTo>
                <a:lnTo>
                  <a:pt x="332" y="726"/>
                </a:lnTo>
                <a:lnTo>
                  <a:pt x="327" y="725"/>
                </a:lnTo>
                <a:lnTo>
                  <a:pt x="324" y="724"/>
                </a:lnTo>
                <a:lnTo>
                  <a:pt x="321" y="722"/>
                </a:lnTo>
                <a:lnTo>
                  <a:pt x="318" y="719"/>
                </a:lnTo>
                <a:lnTo>
                  <a:pt x="315" y="716"/>
                </a:lnTo>
                <a:lnTo>
                  <a:pt x="313" y="712"/>
                </a:lnTo>
                <a:lnTo>
                  <a:pt x="312" y="708"/>
                </a:lnTo>
                <a:lnTo>
                  <a:pt x="312" y="703"/>
                </a:lnTo>
                <a:lnTo>
                  <a:pt x="305" y="702"/>
                </a:lnTo>
                <a:lnTo>
                  <a:pt x="299" y="700"/>
                </a:lnTo>
                <a:lnTo>
                  <a:pt x="293" y="697"/>
                </a:lnTo>
                <a:lnTo>
                  <a:pt x="288" y="692"/>
                </a:lnTo>
                <a:lnTo>
                  <a:pt x="280" y="682"/>
                </a:lnTo>
                <a:lnTo>
                  <a:pt x="273" y="668"/>
                </a:lnTo>
                <a:lnTo>
                  <a:pt x="265" y="656"/>
                </a:lnTo>
                <a:lnTo>
                  <a:pt x="256" y="646"/>
                </a:lnTo>
                <a:lnTo>
                  <a:pt x="251" y="641"/>
                </a:lnTo>
                <a:lnTo>
                  <a:pt x="245" y="638"/>
                </a:lnTo>
                <a:lnTo>
                  <a:pt x="240" y="636"/>
                </a:lnTo>
                <a:lnTo>
                  <a:pt x="232" y="635"/>
                </a:lnTo>
                <a:lnTo>
                  <a:pt x="232" y="623"/>
                </a:lnTo>
                <a:lnTo>
                  <a:pt x="232" y="610"/>
                </a:lnTo>
                <a:lnTo>
                  <a:pt x="239" y="608"/>
                </a:lnTo>
                <a:lnTo>
                  <a:pt x="245" y="604"/>
                </a:lnTo>
                <a:lnTo>
                  <a:pt x="251" y="600"/>
                </a:lnTo>
                <a:lnTo>
                  <a:pt x="253" y="598"/>
                </a:lnTo>
                <a:lnTo>
                  <a:pt x="253" y="594"/>
                </a:lnTo>
                <a:lnTo>
                  <a:pt x="254" y="591"/>
                </a:lnTo>
                <a:lnTo>
                  <a:pt x="256" y="588"/>
                </a:lnTo>
                <a:lnTo>
                  <a:pt x="259" y="585"/>
                </a:lnTo>
                <a:lnTo>
                  <a:pt x="268" y="578"/>
                </a:lnTo>
                <a:lnTo>
                  <a:pt x="279" y="573"/>
                </a:lnTo>
                <a:lnTo>
                  <a:pt x="292" y="568"/>
                </a:lnTo>
                <a:lnTo>
                  <a:pt x="309" y="564"/>
                </a:lnTo>
                <a:lnTo>
                  <a:pt x="326" y="561"/>
                </a:lnTo>
                <a:lnTo>
                  <a:pt x="345" y="561"/>
                </a:lnTo>
                <a:lnTo>
                  <a:pt x="338" y="544"/>
                </a:lnTo>
                <a:lnTo>
                  <a:pt x="330" y="529"/>
                </a:lnTo>
                <a:lnTo>
                  <a:pt x="325" y="520"/>
                </a:lnTo>
                <a:lnTo>
                  <a:pt x="322" y="511"/>
                </a:lnTo>
                <a:lnTo>
                  <a:pt x="320" y="499"/>
                </a:lnTo>
                <a:lnTo>
                  <a:pt x="319" y="487"/>
                </a:lnTo>
                <a:lnTo>
                  <a:pt x="307" y="486"/>
                </a:lnTo>
                <a:lnTo>
                  <a:pt x="293" y="484"/>
                </a:lnTo>
                <a:lnTo>
                  <a:pt x="281" y="481"/>
                </a:lnTo>
                <a:lnTo>
                  <a:pt x="269" y="478"/>
                </a:lnTo>
                <a:lnTo>
                  <a:pt x="258" y="475"/>
                </a:lnTo>
                <a:lnTo>
                  <a:pt x="247" y="472"/>
                </a:lnTo>
                <a:lnTo>
                  <a:pt x="236" y="470"/>
                </a:lnTo>
                <a:lnTo>
                  <a:pt x="225" y="469"/>
                </a:lnTo>
                <a:lnTo>
                  <a:pt x="218" y="469"/>
                </a:lnTo>
                <a:lnTo>
                  <a:pt x="209" y="470"/>
                </a:lnTo>
                <a:lnTo>
                  <a:pt x="201" y="472"/>
                </a:lnTo>
                <a:lnTo>
                  <a:pt x="195" y="474"/>
                </a:lnTo>
                <a:lnTo>
                  <a:pt x="180" y="480"/>
                </a:lnTo>
                <a:lnTo>
                  <a:pt x="168" y="487"/>
                </a:lnTo>
                <a:lnTo>
                  <a:pt x="157" y="495"/>
                </a:lnTo>
                <a:lnTo>
                  <a:pt x="146" y="505"/>
                </a:lnTo>
                <a:lnTo>
                  <a:pt x="136" y="515"/>
                </a:lnTo>
                <a:lnTo>
                  <a:pt x="127" y="524"/>
                </a:lnTo>
                <a:lnTo>
                  <a:pt x="133" y="512"/>
                </a:lnTo>
                <a:lnTo>
                  <a:pt x="106" y="505"/>
                </a:lnTo>
                <a:lnTo>
                  <a:pt x="133" y="487"/>
                </a:lnTo>
                <a:lnTo>
                  <a:pt x="106" y="463"/>
                </a:lnTo>
                <a:lnTo>
                  <a:pt x="79" y="438"/>
                </a:lnTo>
                <a:lnTo>
                  <a:pt x="40" y="438"/>
                </a:lnTo>
                <a:lnTo>
                  <a:pt x="27" y="413"/>
                </a:lnTo>
                <a:lnTo>
                  <a:pt x="7" y="401"/>
                </a:lnTo>
                <a:lnTo>
                  <a:pt x="0" y="370"/>
                </a:lnTo>
                <a:lnTo>
                  <a:pt x="0" y="333"/>
                </a:lnTo>
                <a:lnTo>
                  <a:pt x="13" y="308"/>
                </a:lnTo>
                <a:lnTo>
                  <a:pt x="20" y="283"/>
                </a:lnTo>
                <a:lnTo>
                  <a:pt x="53" y="302"/>
                </a:lnTo>
                <a:lnTo>
                  <a:pt x="86" y="314"/>
                </a:lnTo>
                <a:lnTo>
                  <a:pt x="106" y="308"/>
                </a:lnTo>
                <a:lnTo>
                  <a:pt x="79" y="277"/>
                </a:lnTo>
                <a:lnTo>
                  <a:pt x="113" y="259"/>
                </a:lnTo>
                <a:lnTo>
                  <a:pt x="146" y="228"/>
                </a:lnTo>
                <a:lnTo>
                  <a:pt x="179" y="222"/>
                </a:lnTo>
                <a:lnTo>
                  <a:pt x="219" y="222"/>
                </a:lnTo>
                <a:lnTo>
                  <a:pt x="246" y="210"/>
                </a:lnTo>
                <a:lnTo>
                  <a:pt x="292" y="222"/>
                </a:lnTo>
                <a:lnTo>
                  <a:pt x="338" y="241"/>
                </a:lnTo>
                <a:lnTo>
                  <a:pt x="379" y="277"/>
                </a:lnTo>
                <a:lnTo>
                  <a:pt x="425" y="271"/>
                </a:lnTo>
                <a:lnTo>
                  <a:pt x="465" y="253"/>
                </a:lnTo>
                <a:lnTo>
                  <a:pt x="498" y="253"/>
                </a:lnTo>
                <a:lnTo>
                  <a:pt x="538" y="247"/>
                </a:lnTo>
                <a:lnTo>
                  <a:pt x="578" y="265"/>
                </a:lnTo>
                <a:lnTo>
                  <a:pt x="624" y="277"/>
                </a:lnTo>
                <a:lnTo>
                  <a:pt x="671" y="271"/>
                </a:lnTo>
                <a:lnTo>
                  <a:pt x="717" y="253"/>
                </a:lnTo>
                <a:lnTo>
                  <a:pt x="717" y="228"/>
                </a:lnTo>
                <a:lnTo>
                  <a:pt x="684" y="222"/>
                </a:lnTo>
                <a:lnTo>
                  <a:pt x="645" y="210"/>
                </a:lnTo>
                <a:lnTo>
                  <a:pt x="617" y="198"/>
                </a:lnTo>
                <a:lnTo>
                  <a:pt x="658" y="185"/>
                </a:lnTo>
                <a:lnTo>
                  <a:pt x="651" y="148"/>
                </a:lnTo>
                <a:lnTo>
                  <a:pt x="704" y="142"/>
                </a:lnTo>
                <a:lnTo>
                  <a:pt x="638" y="93"/>
                </a:lnTo>
                <a:lnTo>
                  <a:pt x="744" y="75"/>
                </a:lnTo>
                <a:lnTo>
                  <a:pt x="830" y="68"/>
                </a:lnTo>
                <a:lnTo>
                  <a:pt x="844" y="43"/>
                </a:lnTo>
                <a:lnTo>
                  <a:pt x="904" y="37"/>
                </a:lnTo>
                <a:lnTo>
                  <a:pt x="963" y="25"/>
                </a:lnTo>
                <a:lnTo>
                  <a:pt x="983" y="0"/>
                </a:lnTo>
                <a:lnTo>
                  <a:pt x="1050" y="13"/>
                </a:lnTo>
                <a:lnTo>
                  <a:pt x="1089" y="6"/>
                </a:lnTo>
                <a:lnTo>
                  <a:pt x="1116" y="25"/>
                </a:lnTo>
                <a:lnTo>
                  <a:pt x="1122" y="75"/>
                </a:lnTo>
                <a:lnTo>
                  <a:pt x="1163" y="75"/>
                </a:lnTo>
                <a:lnTo>
                  <a:pt x="1176" y="61"/>
                </a:lnTo>
                <a:lnTo>
                  <a:pt x="1196" y="75"/>
                </a:lnTo>
                <a:lnTo>
                  <a:pt x="1235" y="81"/>
                </a:lnTo>
                <a:lnTo>
                  <a:pt x="1255" y="81"/>
                </a:lnTo>
                <a:lnTo>
                  <a:pt x="1255" y="117"/>
                </a:lnTo>
                <a:lnTo>
                  <a:pt x="1296" y="111"/>
                </a:lnTo>
                <a:lnTo>
                  <a:pt x="1335" y="93"/>
                </a:lnTo>
                <a:lnTo>
                  <a:pt x="1375" y="61"/>
                </a:lnTo>
                <a:lnTo>
                  <a:pt x="1401" y="49"/>
                </a:lnTo>
                <a:lnTo>
                  <a:pt x="1401" y="81"/>
                </a:lnTo>
                <a:lnTo>
                  <a:pt x="1442" y="99"/>
                </a:lnTo>
                <a:lnTo>
                  <a:pt x="1488" y="117"/>
                </a:lnTo>
                <a:lnTo>
                  <a:pt x="1528" y="160"/>
                </a:lnTo>
                <a:lnTo>
                  <a:pt x="1581" y="204"/>
                </a:lnTo>
                <a:lnTo>
                  <a:pt x="1627" y="241"/>
                </a:lnTo>
                <a:lnTo>
                  <a:pt x="1647" y="271"/>
                </a:lnTo>
                <a:lnTo>
                  <a:pt x="1660" y="241"/>
                </a:lnTo>
                <a:lnTo>
                  <a:pt x="1688" y="235"/>
                </a:lnTo>
                <a:lnTo>
                  <a:pt x="1708" y="259"/>
                </a:lnTo>
                <a:lnTo>
                  <a:pt x="1747" y="271"/>
                </a:lnTo>
                <a:lnTo>
                  <a:pt x="1793" y="265"/>
                </a:lnTo>
                <a:lnTo>
                  <a:pt x="1821" y="253"/>
                </a:lnTo>
                <a:lnTo>
                  <a:pt x="1860" y="283"/>
                </a:lnTo>
                <a:lnTo>
                  <a:pt x="1906" y="308"/>
                </a:lnTo>
                <a:lnTo>
                  <a:pt x="1947" y="333"/>
                </a:lnTo>
                <a:lnTo>
                  <a:pt x="2000" y="339"/>
                </a:lnTo>
                <a:lnTo>
                  <a:pt x="2006" y="346"/>
                </a:lnTo>
                <a:lnTo>
                  <a:pt x="2005" y="358"/>
                </a:lnTo>
                <a:lnTo>
                  <a:pt x="2004" y="373"/>
                </a:lnTo>
                <a:lnTo>
                  <a:pt x="2004" y="377"/>
                </a:lnTo>
                <a:lnTo>
                  <a:pt x="2002" y="381"/>
                </a:lnTo>
                <a:lnTo>
                  <a:pt x="2000" y="385"/>
                </a:lnTo>
                <a:lnTo>
                  <a:pt x="1996" y="388"/>
                </a:lnTo>
                <a:lnTo>
                  <a:pt x="1993" y="392"/>
                </a:lnTo>
                <a:lnTo>
                  <a:pt x="1988" y="395"/>
                </a:lnTo>
                <a:lnTo>
                  <a:pt x="1981" y="399"/>
                </a:lnTo>
                <a:lnTo>
                  <a:pt x="1973" y="401"/>
                </a:lnTo>
                <a:lnTo>
                  <a:pt x="1969" y="401"/>
                </a:lnTo>
                <a:lnTo>
                  <a:pt x="1965" y="402"/>
                </a:lnTo>
                <a:lnTo>
                  <a:pt x="1962" y="403"/>
                </a:lnTo>
                <a:lnTo>
                  <a:pt x="1960" y="404"/>
                </a:lnTo>
                <a:lnTo>
                  <a:pt x="1959" y="406"/>
                </a:lnTo>
                <a:lnTo>
                  <a:pt x="1958" y="408"/>
                </a:lnTo>
                <a:lnTo>
                  <a:pt x="1958" y="410"/>
                </a:lnTo>
                <a:lnTo>
                  <a:pt x="1958" y="413"/>
                </a:lnTo>
                <a:lnTo>
                  <a:pt x="1963" y="425"/>
                </a:lnTo>
                <a:lnTo>
                  <a:pt x="1972" y="438"/>
                </a:lnTo>
                <a:lnTo>
                  <a:pt x="1977" y="445"/>
                </a:lnTo>
                <a:lnTo>
                  <a:pt x="1981" y="452"/>
                </a:lnTo>
                <a:lnTo>
                  <a:pt x="1983" y="460"/>
                </a:lnTo>
                <a:lnTo>
                  <a:pt x="1985" y="466"/>
                </a:lnTo>
                <a:lnTo>
                  <a:pt x="1985" y="469"/>
                </a:lnTo>
                <a:lnTo>
                  <a:pt x="1984" y="471"/>
                </a:lnTo>
                <a:lnTo>
                  <a:pt x="1983" y="474"/>
                </a:lnTo>
                <a:lnTo>
                  <a:pt x="1982" y="476"/>
                </a:lnTo>
                <a:lnTo>
                  <a:pt x="1979" y="478"/>
                </a:lnTo>
                <a:lnTo>
                  <a:pt x="1976" y="479"/>
                </a:lnTo>
                <a:lnTo>
                  <a:pt x="1971" y="480"/>
                </a:lnTo>
                <a:lnTo>
                  <a:pt x="1967" y="481"/>
                </a:lnTo>
                <a:lnTo>
                  <a:pt x="1954" y="481"/>
                </a:lnTo>
                <a:lnTo>
                  <a:pt x="1939" y="481"/>
                </a:lnTo>
                <a:lnTo>
                  <a:pt x="1932" y="481"/>
                </a:lnTo>
                <a:lnTo>
                  <a:pt x="1923" y="480"/>
                </a:lnTo>
                <a:lnTo>
                  <a:pt x="1913" y="478"/>
                </a:lnTo>
                <a:lnTo>
                  <a:pt x="1903" y="476"/>
                </a:lnTo>
                <a:lnTo>
                  <a:pt x="1893" y="474"/>
                </a:lnTo>
                <a:lnTo>
                  <a:pt x="1883" y="471"/>
                </a:lnTo>
                <a:lnTo>
                  <a:pt x="1875" y="467"/>
                </a:lnTo>
                <a:lnTo>
                  <a:pt x="1867" y="463"/>
                </a:lnTo>
                <a:lnTo>
                  <a:pt x="1865" y="468"/>
                </a:lnTo>
                <a:lnTo>
                  <a:pt x="1864" y="474"/>
                </a:lnTo>
                <a:lnTo>
                  <a:pt x="1865" y="482"/>
                </a:lnTo>
                <a:lnTo>
                  <a:pt x="1865" y="490"/>
                </a:lnTo>
                <a:lnTo>
                  <a:pt x="1869" y="508"/>
                </a:lnTo>
                <a:lnTo>
                  <a:pt x="1873" y="529"/>
                </a:lnTo>
                <a:lnTo>
                  <a:pt x="1878" y="548"/>
                </a:lnTo>
                <a:lnTo>
                  <a:pt x="1882" y="564"/>
                </a:lnTo>
                <a:lnTo>
                  <a:pt x="1882" y="572"/>
                </a:lnTo>
                <a:lnTo>
                  <a:pt x="1882" y="578"/>
                </a:lnTo>
                <a:lnTo>
                  <a:pt x="1882" y="583"/>
                </a:lnTo>
                <a:lnTo>
                  <a:pt x="1880" y="586"/>
                </a:lnTo>
                <a:lnTo>
                  <a:pt x="1854" y="584"/>
                </a:lnTo>
                <a:lnTo>
                  <a:pt x="1816" y="584"/>
                </a:lnTo>
                <a:lnTo>
                  <a:pt x="1806" y="585"/>
                </a:lnTo>
                <a:lnTo>
                  <a:pt x="1798" y="586"/>
                </a:lnTo>
                <a:lnTo>
                  <a:pt x="1789" y="588"/>
                </a:lnTo>
                <a:lnTo>
                  <a:pt x="1782" y="591"/>
                </a:lnTo>
                <a:lnTo>
                  <a:pt x="1776" y="594"/>
                </a:lnTo>
                <a:lnTo>
                  <a:pt x="1771" y="598"/>
                </a:lnTo>
                <a:lnTo>
                  <a:pt x="1769" y="601"/>
                </a:lnTo>
                <a:lnTo>
                  <a:pt x="1768" y="604"/>
                </a:lnTo>
                <a:lnTo>
                  <a:pt x="1767" y="607"/>
                </a:lnTo>
                <a:lnTo>
                  <a:pt x="1767" y="610"/>
                </a:lnTo>
                <a:lnTo>
                  <a:pt x="1778" y="612"/>
                </a:lnTo>
                <a:lnTo>
                  <a:pt x="1788" y="615"/>
                </a:lnTo>
                <a:lnTo>
                  <a:pt x="1795" y="619"/>
                </a:lnTo>
                <a:lnTo>
                  <a:pt x="1801" y="625"/>
                </a:lnTo>
                <a:lnTo>
                  <a:pt x="1805" y="631"/>
                </a:lnTo>
                <a:lnTo>
                  <a:pt x="1809" y="637"/>
                </a:lnTo>
                <a:lnTo>
                  <a:pt x="1812" y="644"/>
                </a:lnTo>
                <a:lnTo>
                  <a:pt x="1814" y="650"/>
                </a:lnTo>
                <a:lnTo>
                  <a:pt x="1817" y="664"/>
                </a:lnTo>
                <a:lnTo>
                  <a:pt x="1822" y="676"/>
                </a:lnTo>
                <a:lnTo>
                  <a:pt x="1824" y="682"/>
                </a:lnTo>
                <a:lnTo>
                  <a:pt x="1828" y="686"/>
                </a:lnTo>
                <a:lnTo>
                  <a:pt x="1834" y="689"/>
                </a:lnTo>
                <a:lnTo>
                  <a:pt x="1840" y="691"/>
                </a:lnTo>
                <a:lnTo>
                  <a:pt x="1838" y="695"/>
                </a:lnTo>
                <a:lnTo>
                  <a:pt x="1837" y="699"/>
                </a:lnTo>
                <a:lnTo>
                  <a:pt x="1837" y="702"/>
                </a:lnTo>
                <a:lnTo>
                  <a:pt x="1837" y="706"/>
                </a:lnTo>
                <a:lnTo>
                  <a:pt x="1839" y="713"/>
                </a:lnTo>
                <a:lnTo>
                  <a:pt x="1840" y="721"/>
                </a:lnTo>
                <a:lnTo>
                  <a:pt x="1840" y="735"/>
                </a:lnTo>
                <a:lnTo>
                  <a:pt x="1838" y="748"/>
                </a:lnTo>
                <a:lnTo>
                  <a:pt x="1837" y="754"/>
                </a:lnTo>
                <a:lnTo>
                  <a:pt x="1835" y="760"/>
                </a:lnTo>
                <a:lnTo>
                  <a:pt x="1832" y="765"/>
                </a:lnTo>
                <a:lnTo>
                  <a:pt x="1827" y="770"/>
                </a:lnTo>
                <a:lnTo>
                  <a:pt x="1814" y="764"/>
                </a:lnTo>
                <a:lnTo>
                  <a:pt x="1741" y="740"/>
                </a:lnTo>
                <a:lnTo>
                  <a:pt x="1674" y="740"/>
                </a:lnTo>
                <a:lnTo>
                  <a:pt x="1614" y="734"/>
                </a:lnTo>
                <a:lnTo>
                  <a:pt x="1534" y="727"/>
                </a:lnTo>
                <a:lnTo>
                  <a:pt x="1488" y="715"/>
                </a:lnTo>
                <a:lnTo>
                  <a:pt x="1475" y="764"/>
                </a:lnTo>
                <a:lnTo>
                  <a:pt x="1414" y="740"/>
                </a:lnTo>
                <a:lnTo>
                  <a:pt x="1368" y="734"/>
                </a:lnTo>
                <a:lnTo>
                  <a:pt x="1342" y="758"/>
                </a:lnTo>
                <a:lnTo>
                  <a:pt x="1342" y="770"/>
                </a:lnTo>
                <a:lnTo>
                  <a:pt x="1316" y="795"/>
                </a:lnTo>
                <a:lnTo>
                  <a:pt x="1282" y="808"/>
                </a:lnTo>
                <a:lnTo>
                  <a:pt x="1255" y="838"/>
                </a:lnTo>
                <a:lnTo>
                  <a:pt x="1235" y="863"/>
                </a:lnTo>
                <a:lnTo>
                  <a:pt x="1196" y="832"/>
                </a:lnTo>
                <a:lnTo>
                  <a:pt x="1142" y="838"/>
                </a:lnTo>
                <a:lnTo>
                  <a:pt x="1122" y="808"/>
                </a:lnTo>
                <a:lnTo>
                  <a:pt x="1083" y="746"/>
                </a:lnTo>
                <a:lnTo>
                  <a:pt x="1050" y="715"/>
                </a:lnTo>
                <a:lnTo>
                  <a:pt x="1003" y="685"/>
                </a:lnTo>
                <a:lnTo>
                  <a:pt x="963" y="697"/>
                </a:lnTo>
                <a:lnTo>
                  <a:pt x="917" y="691"/>
                </a:lnTo>
                <a:lnTo>
                  <a:pt x="857" y="697"/>
                </a:lnTo>
                <a:lnTo>
                  <a:pt x="730" y="616"/>
                </a:lnTo>
                <a:lnTo>
                  <a:pt x="682" y="595"/>
                </a:lnTo>
                <a:lnTo>
                  <a:pt x="684" y="586"/>
                </a:lnTo>
                <a:lnTo>
                  <a:pt x="638" y="548"/>
                </a:lnTo>
                <a:lnTo>
                  <a:pt x="610" y="580"/>
                </a:lnTo>
                <a:lnTo>
                  <a:pt x="525" y="604"/>
                </a:lnTo>
                <a:lnTo>
                  <a:pt x="565" y="826"/>
                </a:lnTo>
                <a:lnTo>
                  <a:pt x="584" y="832"/>
                </a:lnTo>
                <a:lnTo>
                  <a:pt x="571" y="826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4" name="Freeform 31"/>
          <p:cNvSpPr>
            <a:spLocks/>
          </p:cNvSpPr>
          <p:nvPr userDrawn="1">
            <p:custDataLst>
              <p:tags r:id="rId26"/>
            </p:custDataLst>
          </p:nvPr>
        </p:nvSpPr>
        <p:spPr bwMode="auto">
          <a:xfrm>
            <a:off x="5343528" y="1859768"/>
            <a:ext cx="409575" cy="186929"/>
          </a:xfrm>
          <a:custGeom>
            <a:avLst/>
            <a:gdLst>
              <a:gd name="T0" fmla="*/ 118587938 w 950"/>
              <a:gd name="T1" fmla="*/ 125643646 h 468"/>
              <a:gd name="T2" fmla="*/ 103717755 w 950"/>
              <a:gd name="T3" fmla="*/ 118553146 h 468"/>
              <a:gd name="T4" fmla="*/ 87546876 w 950"/>
              <a:gd name="T5" fmla="*/ 106641383 h 468"/>
              <a:gd name="T6" fmla="*/ 72862970 w 950"/>
              <a:gd name="T7" fmla="*/ 87071412 h 468"/>
              <a:gd name="T8" fmla="*/ 56691659 w 950"/>
              <a:gd name="T9" fmla="*/ 73173735 h 468"/>
              <a:gd name="T10" fmla="*/ 47026109 w 950"/>
              <a:gd name="T11" fmla="*/ 59276573 h 468"/>
              <a:gd name="T12" fmla="*/ 34572446 w 950"/>
              <a:gd name="T13" fmla="*/ 48782484 h 468"/>
              <a:gd name="T14" fmla="*/ 24721516 w 950"/>
              <a:gd name="T15" fmla="*/ 53887601 h 468"/>
              <a:gd name="T16" fmla="*/ 18401560 w 950"/>
              <a:gd name="T17" fmla="*/ 68068601 h 468"/>
              <a:gd name="T18" fmla="*/ 7434866 w 950"/>
              <a:gd name="T19" fmla="*/ 69770662 h 468"/>
              <a:gd name="T20" fmla="*/ 0 w 950"/>
              <a:gd name="T21" fmla="*/ 6806647 h 468"/>
              <a:gd name="T22" fmla="*/ 14683913 w 950"/>
              <a:gd name="T23" fmla="*/ 1701529 h 468"/>
              <a:gd name="T24" fmla="*/ 24721516 w 950"/>
              <a:gd name="T25" fmla="*/ 15599210 h 468"/>
              <a:gd name="T26" fmla="*/ 29182440 w 950"/>
              <a:gd name="T27" fmla="*/ 4254088 h 468"/>
              <a:gd name="T28" fmla="*/ 61710461 w 950"/>
              <a:gd name="T29" fmla="*/ 33183803 h 468"/>
              <a:gd name="T30" fmla="*/ 81413169 w 950"/>
              <a:gd name="T31" fmla="*/ 33183803 h 468"/>
              <a:gd name="T32" fmla="*/ 97584048 w 950"/>
              <a:gd name="T33" fmla="*/ 38288928 h 468"/>
              <a:gd name="T34" fmla="*/ 110967231 w 950"/>
              <a:gd name="T35" fmla="*/ 64665544 h 468"/>
              <a:gd name="T36" fmla="*/ 124721645 w 950"/>
              <a:gd name="T37" fmla="*/ 71472207 h 468"/>
              <a:gd name="T38" fmla="*/ 135688336 w 950"/>
              <a:gd name="T39" fmla="*/ 73173735 h 468"/>
              <a:gd name="T40" fmla="*/ 147026663 w 950"/>
              <a:gd name="T41" fmla="*/ 60978101 h 468"/>
              <a:gd name="T42" fmla="*/ 156692199 w 950"/>
              <a:gd name="T43" fmla="*/ 55589662 h 468"/>
              <a:gd name="T44" fmla="*/ 153160370 w 950"/>
              <a:gd name="T45" fmla="*/ 71472207 h 468"/>
              <a:gd name="T46" fmla="*/ 161710569 w 950"/>
              <a:gd name="T47" fmla="*/ 68068601 h 468"/>
              <a:gd name="T48" fmla="*/ 176580725 w 950"/>
              <a:gd name="T49" fmla="*/ 80264234 h 468"/>
              <a:gd name="T50" fmla="*/ 164127061 w 950"/>
              <a:gd name="T51" fmla="*/ 90758323 h 468"/>
              <a:gd name="T52" fmla="*/ 153160370 w 950"/>
              <a:gd name="T53" fmla="*/ 80264234 h 468"/>
              <a:gd name="T54" fmla="*/ 142008293 w 950"/>
              <a:gd name="T55" fmla="*/ 78562706 h 468"/>
              <a:gd name="T56" fmla="*/ 136989491 w 950"/>
              <a:gd name="T57" fmla="*/ 90758323 h 468"/>
              <a:gd name="T58" fmla="*/ 127138137 w 950"/>
              <a:gd name="T59" fmla="*/ 101252412 h 468"/>
              <a:gd name="T60" fmla="*/ 131970690 w 950"/>
              <a:gd name="T61" fmla="*/ 110044440 h 468"/>
              <a:gd name="T62" fmla="*/ 138104828 w 950"/>
              <a:gd name="T63" fmla="*/ 123942117 h 468"/>
              <a:gd name="T64" fmla="*/ 133271844 w 950"/>
              <a:gd name="T65" fmla="*/ 132734145 h 468"/>
              <a:gd name="T66" fmla="*/ 130669966 w 950"/>
              <a:gd name="T67" fmla="*/ 131883115 h 468"/>
              <a:gd name="T68" fmla="*/ 127138137 w 950"/>
              <a:gd name="T69" fmla="*/ 130748763 h 468"/>
              <a:gd name="T70" fmla="*/ 122305584 w 950"/>
              <a:gd name="T71" fmla="*/ 130748763 h 46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950"/>
              <a:gd name="T109" fmla="*/ 0 h 468"/>
              <a:gd name="T110" fmla="*/ 950 w 950"/>
              <a:gd name="T111" fmla="*/ 468 h 468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950" h="468">
                <a:moveTo>
                  <a:pt x="664" y="455"/>
                </a:moveTo>
                <a:lnTo>
                  <a:pt x="638" y="443"/>
                </a:lnTo>
                <a:lnTo>
                  <a:pt x="604" y="431"/>
                </a:lnTo>
                <a:lnTo>
                  <a:pt x="558" y="418"/>
                </a:lnTo>
                <a:lnTo>
                  <a:pt x="512" y="388"/>
                </a:lnTo>
                <a:lnTo>
                  <a:pt x="471" y="376"/>
                </a:lnTo>
                <a:lnTo>
                  <a:pt x="425" y="345"/>
                </a:lnTo>
                <a:lnTo>
                  <a:pt x="392" y="307"/>
                </a:lnTo>
                <a:lnTo>
                  <a:pt x="345" y="258"/>
                </a:lnTo>
                <a:lnTo>
                  <a:pt x="305" y="258"/>
                </a:lnTo>
                <a:lnTo>
                  <a:pt x="266" y="246"/>
                </a:lnTo>
                <a:lnTo>
                  <a:pt x="253" y="209"/>
                </a:lnTo>
                <a:lnTo>
                  <a:pt x="219" y="190"/>
                </a:lnTo>
                <a:lnTo>
                  <a:pt x="186" y="172"/>
                </a:lnTo>
                <a:lnTo>
                  <a:pt x="153" y="166"/>
                </a:lnTo>
                <a:lnTo>
                  <a:pt x="133" y="190"/>
                </a:lnTo>
                <a:lnTo>
                  <a:pt x="92" y="209"/>
                </a:lnTo>
                <a:lnTo>
                  <a:pt x="99" y="240"/>
                </a:lnTo>
                <a:lnTo>
                  <a:pt x="59" y="252"/>
                </a:lnTo>
                <a:lnTo>
                  <a:pt x="40" y="246"/>
                </a:lnTo>
                <a:lnTo>
                  <a:pt x="46" y="240"/>
                </a:lnTo>
                <a:lnTo>
                  <a:pt x="0" y="24"/>
                </a:lnTo>
                <a:lnTo>
                  <a:pt x="85" y="0"/>
                </a:lnTo>
                <a:lnTo>
                  <a:pt x="79" y="6"/>
                </a:lnTo>
                <a:lnTo>
                  <a:pt x="86" y="55"/>
                </a:lnTo>
                <a:lnTo>
                  <a:pt x="133" y="55"/>
                </a:lnTo>
                <a:lnTo>
                  <a:pt x="153" y="30"/>
                </a:lnTo>
                <a:lnTo>
                  <a:pt x="157" y="15"/>
                </a:lnTo>
                <a:lnTo>
                  <a:pt x="205" y="36"/>
                </a:lnTo>
                <a:lnTo>
                  <a:pt x="332" y="117"/>
                </a:lnTo>
                <a:lnTo>
                  <a:pt x="392" y="111"/>
                </a:lnTo>
                <a:lnTo>
                  <a:pt x="438" y="117"/>
                </a:lnTo>
                <a:lnTo>
                  <a:pt x="478" y="105"/>
                </a:lnTo>
                <a:lnTo>
                  <a:pt x="525" y="135"/>
                </a:lnTo>
                <a:lnTo>
                  <a:pt x="558" y="166"/>
                </a:lnTo>
                <a:lnTo>
                  <a:pt x="597" y="228"/>
                </a:lnTo>
                <a:lnTo>
                  <a:pt x="617" y="258"/>
                </a:lnTo>
                <a:lnTo>
                  <a:pt x="671" y="252"/>
                </a:lnTo>
                <a:lnTo>
                  <a:pt x="710" y="283"/>
                </a:lnTo>
                <a:lnTo>
                  <a:pt x="730" y="258"/>
                </a:lnTo>
                <a:lnTo>
                  <a:pt x="757" y="228"/>
                </a:lnTo>
                <a:lnTo>
                  <a:pt x="791" y="215"/>
                </a:lnTo>
                <a:lnTo>
                  <a:pt x="817" y="190"/>
                </a:lnTo>
                <a:lnTo>
                  <a:pt x="843" y="196"/>
                </a:lnTo>
                <a:lnTo>
                  <a:pt x="810" y="228"/>
                </a:lnTo>
                <a:lnTo>
                  <a:pt x="824" y="252"/>
                </a:lnTo>
                <a:lnTo>
                  <a:pt x="850" y="258"/>
                </a:lnTo>
                <a:lnTo>
                  <a:pt x="870" y="240"/>
                </a:lnTo>
                <a:lnTo>
                  <a:pt x="910" y="258"/>
                </a:lnTo>
                <a:lnTo>
                  <a:pt x="950" y="283"/>
                </a:lnTo>
                <a:lnTo>
                  <a:pt x="917" y="313"/>
                </a:lnTo>
                <a:lnTo>
                  <a:pt x="883" y="320"/>
                </a:lnTo>
                <a:lnTo>
                  <a:pt x="837" y="313"/>
                </a:lnTo>
                <a:lnTo>
                  <a:pt x="824" y="283"/>
                </a:lnTo>
                <a:lnTo>
                  <a:pt x="804" y="271"/>
                </a:lnTo>
                <a:lnTo>
                  <a:pt x="764" y="277"/>
                </a:lnTo>
                <a:lnTo>
                  <a:pt x="757" y="301"/>
                </a:lnTo>
                <a:lnTo>
                  <a:pt x="737" y="320"/>
                </a:lnTo>
                <a:lnTo>
                  <a:pt x="724" y="351"/>
                </a:lnTo>
                <a:lnTo>
                  <a:pt x="684" y="357"/>
                </a:lnTo>
                <a:lnTo>
                  <a:pt x="671" y="369"/>
                </a:lnTo>
                <a:lnTo>
                  <a:pt x="710" y="388"/>
                </a:lnTo>
                <a:lnTo>
                  <a:pt x="730" y="406"/>
                </a:lnTo>
                <a:lnTo>
                  <a:pt x="743" y="437"/>
                </a:lnTo>
                <a:lnTo>
                  <a:pt x="730" y="468"/>
                </a:lnTo>
                <a:lnTo>
                  <a:pt x="717" y="468"/>
                </a:lnTo>
                <a:lnTo>
                  <a:pt x="712" y="467"/>
                </a:lnTo>
                <a:lnTo>
                  <a:pt x="703" y="465"/>
                </a:lnTo>
                <a:lnTo>
                  <a:pt x="694" y="462"/>
                </a:lnTo>
                <a:lnTo>
                  <a:pt x="684" y="461"/>
                </a:lnTo>
                <a:lnTo>
                  <a:pt x="669" y="461"/>
                </a:lnTo>
                <a:lnTo>
                  <a:pt x="658" y="461"/>
                </a:lnTo>
                <a:lnTo>
                  <a:pt x="664" y="455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5" name="Freeform 32"/>
          <p:cNvSpPr>
            <a:spLocks/>
          </p:cNvSpPr>
          <p:nvPr userDrawn="1">
            <p:custDataLst>
              <p:tags r:id="rId27"/>
            </p:custDataLst>
          </p:nvPr>
        </p:nvSpPr>
        <p:spPr bwMode="auto">
          <a:xfrm>
            <a:off x="4151320" y="2612237"/>
            <a:ext cx="296863" cy="216694"/>
          </a:xfrm>
          <a:custGeom>
            <a:avLst/>
            <a:gdLst>
              <a:gd name="T0" fmla="*/ 1174622 w 671"/>
              <a:gd name="T1" fmla="*/ 106077563 h 549"/>
              <a:gd name="T2" fmla="*/ 1565720 w 671"/>
              <a:gd name="T3" fmla="*/ 87521113 h 549"/>
              <a:gd name="T4" fmla="*/ 3327431 w 671"/>
              <a:gd name="T5" fmla="*/ 79489107 h 549"/>
              <a:gd name="T6" fmla="*/ 10178286 w 671"/>
              <a:gd name="T7" fmla="*/ 65917515 h 549"/>
              <a:gd name="T8" fmla="*/ 13897257 w 671"/>
              <a:gd name="T9" fmla="*/ 56777701 h 549"/>
              <a:gd name="T10" fmla="*/ 14288798 w 671"/>
              <a:gd name="T11" fmla="*/ 46253257 h 549"/>
              <a:gd name="T12" fmla="*/ 14288798 w 671"/>
              <a:gd name="T13" fmla="*/ 37944430 h 549"/>
              <a:gd name="T14" fmla="*/ 10569827 w 671"/>
              <a:gd name="T15" fmla="*/ 29912416 h 549"/>
              <a:gd name="T16" fmla="*/ 11939997 w 671"/>
              <a:gd name="T17" fmla="*/ 21880410 h 549"/>
              <a:gd name="T18" fmla="*/ 14875890 w 671"/>
              <a:gd name="T19" fmla="*/ 13848400 h 549"/>
              <a:gd name="T20" fmla="*/ 18790410 w 671"/>
              <a:gd name="T21" fmla="*/ 6924200 h 549"/>
              <a:gd name="T22" fmla="*/ 23488011 w 671"/>
              <a:gd name="T23" fmla="*/ 1938797 h 549"/>
              <a:gd name="T24" fmla="*/ 28577153 w 671"/>
              <a:gd name="T25" fmla="*/ 0 h 549"/>
              <a:gd name="T26" fmla="*/ 33861850 w 671"/>
              <a:gd name="T27" fmla="*/ 1384630 h 549"/>
              <a:gd name="T28" fmla="*/ 40321162 w 671"/>
              <a:gd name="T29" fmla="*/ 7201020 h 549"/>
              <a:gd name="T30" fmla="*/ 46193384 w 671"/>
              <a:gd name="T31" fmla="*/ 12463244 h 549"/>
              <a:gd name="T32" fmla="*/ 50694993 w 671"/>
              <a:gd name="T33" fmla="*/ 13848400 h 549"/>
              <a:gd name="T34" fmla="*/ 53239785 w 671"/>
              <a:gd name="T35" fmla="*/ 12186424 h 549"/>
              <a:gd name="T36" fmla="*/ 55588586 w 671"/>
              <a:gd name="T37" fmla="*/ 9693986 h 549"/>
              <a:gd name="T38" fmla="*/ 58720481 w 671"/>
              <a:gd name="T39" fmla="*/ 8862998 h 549"/>
              <a:gd name="T40" fmla="*/ 62243460 w 671"/>
              <a:gd name="T41" fmla="*/ 10801795 h 549"/>
              <a:gd name="T42" fmla="*/ 65962431 w 671"/>
              <a:gd name="T43" fmla="*/ 18002817 h 549"/>
              <a:gd name="T44" fmla="*/ 69094313 w 671"/>
              <a:gd name="T45" fmla="*/ 21880410 h 549"/>
              <a:gd name="T46" fmla="*/ 72421743 w 671"/>
              <a:gd name="T47" fmla="*/ 22434051 h 549"/>
              <a:gd name="T48" fmla="*/ 74574995 w 671"/>
              <a:gd name="T49" fmla="*/ 20772601 h 549"/>
              <a:gd name="T50" fmla="*/ 77706434 w 671"/>
              <a:gd name="T51" fmla="*/ 15509849 h 549"/>
              <a:gd name="T52" fmla="*/ 82012494 w 671"/>
              <a:gd name="T53" fmla="*/ 10524448 h 549"/>
              <a:gd name="T54" fmla="*/ 89646427 w 671"/>
              <a:gd name="T55" fmla="*/ 6093212 h 549"/>
              <a:gd name="T56" fmla="*/ 95322658 w 671"/>
              <a:gd name="T57" fmla="*/ 6924200 h 549"/>
              <a:gd name="T58" fmla="*/ 100020259 w 671"/>
              <a:gd name="T59" fmla="*/ 9693986 h 549"/>
              <a:gd name="T60" fmla="*/ 105109400 w 671"/>
              <a:gd name="T61" fmla="*/ 11909603 h 549"/>
              <a:gd name="T62" fmla="*/ 111764261 w 671"/>
              <a:gd name="T63" fmla="*/ 10801795 h 549"/>
              <a:gd name="T64" fmla="*/ 126444623 w 671"/>
              <a:gd name="T65" fmla="*/ 18556458 h 549"/>
              <a:gd name="T66" fmla="*/ 130163152 w 671"/>
              <a:gd name="T67" fmla="*/ 29081428 h 549"/>
              <a:gd name="T68" fmla="*/ 121942571 w 671"/>
              <a:gd name="T69" fmla="*/ 50684491 h 549"/>
              <a:gd name="T70" fmla="*/ 116070349 w 671"/>
              <a:gd name="T71" fmla="*/ 64532886 h 549"/>
              <a:gd name="T72" fmla="*/ 111568712 w 671"/>
              <a:gd name="T73" fmla="*/ 80596915 h 549"/>
              <a:gd name="T74" fmla="*/ 107653750 w 671"/>
              <a:gd name="T75" fmla="*/ 94998952 h 549"/>
              <a:gd name="T76" fmla="*/ 102760600 w 671"/>
              <a:gd name="T77" fmla="*/ 112724940 h 549"/>
              <a:gd name="T78" fmla="*/ 100998889 w 671"/>
              <a:gd name="T79" fmla="*/ 116879353 h 549"/>
              <a:gd name="T80" fmla="*/ 97867007 w 671"/>
              <a:gd name="T81" fmla="*/ 121587934 h 549"/>
              <a:gd name="T82" fmla="*/ 94344028 w 671"/>
              <a:gd name="T83" fmla="*/ 122695742 h 549"/>
              <a:gd name="T84" fmla="*/ 89841976 w 671"/>
              <a:gd name="T85" fmla="*/ 119649138 h 549"/>
              <a:gd name="T86" fmla="*/ 86123005 w 671"/>
              <a:gd name="T87" fmla="*/ 116602533 h 549"/>
              <a:gd name="T88" fmla="*/ 79859685 w 671"/>
              <a:gd name="T89" fmla="*/ 117433521 h 549"/>
              <a:gd name="T90" fmla="*/ 74574995 w 671"/>
              <a:gd name="T91" fmla="*/ 122141575 h 549"/>
              <a:gd name="T92" fmla="*/ 71247122 w 671"/>
              <a:gd name="T93" fmla="*/ 129896761 h 549"/>
              <a:gd name="T94" fmla="*/ 66941061 w 671"/>
              <a:gd name="T95" fmla="*/ 144298830 h 549"/>
              <a:gd name="T96" fmla="*/ 63613631 w 671"/>
              <a:gd name="T97" fmla="*/ 152054016 h 549"/>
              <a:gd name="T98" fmla="*/ 44823214 w 671"/>
              <a:gd name="T99" fmla="*/ 151223028 h 549"/>
              <a:gd name="T100" fmla="*/ 42474413 w 671"/>
              <a:gd name="T101" fmla="*/ 151777195 h 549"/>
              <a:gd name="T102" fmla="*/ 35036471 w 671"/>
              <a:gd name="T103" fmla="*/ 150392040 h 549"/>
              <a:gd name="T104" fmla="*/ 31513049 w 671"/>
              <a:gd name="T105" fmla="*/ 149561578 h 549"/>
              <a:gd name="T106" fmla="*/ 28185612 w 671"/>
              <a:gd name="T107" fmla="*/ 147068614 h 549"/>
              <a:gd name="T108" fmla="*/ 25249722 w 671"/>
              <a:gd name="T109" fmla="*/ 142637380 h 549"/>
              <a:gd name="T110" fmla="*/ 23292462 w 671"/>
              <a:gd name="T111" fmla="*/ 137374599 h 549"/>
              <a:gd name="T112" fmla="*/ 22117841 w 671"/>
              <a:gd name="T113" fmla="*/ 130727749 h 549"/>
              <a:gd name="T114" fmla="*/ 19573491 w 671"/>
              <a:gd name="T115" fmla="*/ 127403797 h 549"/>
              <a:gd name="T116" fmla="*/ 16246061 w 671"/>
              <a:gd name="T117" fmla="*/ 123803551 h 549"/>
              <a:gd name="T118" fmla="*/ 12331095 w 671"/>
              <a:gd name="T119" fmla="*/ 119649138 h 549"/>
              <a:gd name="T120" fmla="*/ 7633494 w 671"/>
              <a:gd name="T121" fmla="*/ 118818150 h 549"/>
              <a:gd name="T122" fmla="*/ 0 w 671"/>
              <a:gd name="T123" fmla="*/ 121310587 h 549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671"/>
              <a:gd name="T187" fmla="*/ 0 h 549"/>
              <a:gd name="T188" fmla="*/ 671 w 671"/>
              <a:gd name="T189" fmla="*/ 549 h 549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671" h="549">
                <a:moveTo>
                  <a:pt x="0" y="438"/>
                </a:moveTo>
                <a:lnTo>
                  <a:pt x="4" y="405"/>
                </a:lnTo>
                <a:lnTo>
                  <a:pt x="6" y="383"/>
                </a:lnTo>
                <a:lnTo>
                  <a:pt x="7" y="360"/>
                </a:lnTo>
                <a:lnTo>
                  <a:pt x="7" y="327"/>
                </a:lnTo>
                <a:lnTo>
                  <a:pt x="8" y="316"/>
                </a:lnTo>
                <a:lnTo>
                  <a:pt x="9" y="306"/>
                </a:lnTo>
                <a:lnTo>
                  <a:pt x="12" y="296"/>
                </a:lnTo>
                <a:lnTo>
                  <a:pt x="17" y="287"/>
                </a:lnTo>
                <a:lnTo>
                  <a:pt x="28" y="270"/>
                </a:lnTo>
                <a:lnTo>
                  <a:pt x="40" y="254"/>
                </a:lnTo>
                <a:lnTo>
                  <a:pt x="52" y="238"/>
                </a:lnTo>
                <a:lnTo>
                  <a:pt x="63" y="222"/>
                </a:lnTo>
                <a:lnTo>
                  <a:pt x="67" y="214"/>
                </a:lnTo>
                <a:lnTo>
                  <a:pt x="71" y="205"/>
                </a:lnTo>
                <a:lnTo>
                  <a:pt x="73" y="196"/>
                </a:lnTo>
                <a:lnTo>
                  <a:pt x="73" y="185"/>
                </a:lnTo>
                <a:lnTo>
                  <a:pt x="73" y="167"/>
                </a:lnTo>
                <a:lnTo>
                  <a:pt x="73" y="156"/>
                </a:lnTo>
                <a:lnTo>
                  <a:pt x="73" y="148"/>
                </a:lnTo>
                <a:lnTo>
                  <a:pt x="73" y="137"/>
                </a:lnTo>
                <a:lnTo>
                  <a:pt x="63" y="126"/>
                </a:lnTo>
                <a:lnTo>
                  <a:pt x="53" y="117"/>
                </a:lnTo>
                <a:lnTo>
                  <a:pt x="54" y="108"/>
                </a:lnTo>
                <a:lnTo>
                  <a:pt x="55" y="99"/>
                </a:lnTo>
                <a:lnTo>
                  <a:pt x="57" y="89"/>
                </a:lnTo>
                <a:lnTo>
                  <a:pt x="61" y="79"/>
                </a:lnTo>
                <a:lnTo>
                  <a:pt x="65" y="68"/>
                </a:lnTo>
                <a:lnTo>
                  <a:pt x="71" y="59"/>
                </a:lnTo>
                <a:lnTo>
                  <a:pt x="76" y="50"/>
                </a:lnTo>
                <a:lnTo>
                  <a:pt x="83" y="41"/>
                </a:lnTo>
                <a:lnTo>
                  <a:pt x="89" y="33"/>
                </a:lnTo>
                <a:lnTo>
                  <a:pt x="96" y="25"/>
                </a:lnTo>
                <a:lnTo>
                  <a:pt x="104" y="17"/>
                </a:lnTo>
                <a:lnTo>
                  <a:pt x="112" y="12"/>
                </a:lnTo>
                <a:lnTo>
                  <a:pt x="120" y="7"/>
                </a:lnTo>
                <a:lnTo>
                  <a:pt x="129" y="3"/>
                </a:lnTo>
                <a:lnTo>
                  <a:pt x="138" y="1"/>
                </a:lnTo>
                <a:lnTo>
                  <a:pt x="146" y="0"/>
                </a:lnTo>
                <a:lnTo>
                  <a:pt x="156" y="1"/>
                </a:lnTo>
                <a:lnTo>
                  <a:pt x="164" y="3"/>
                </a:lnTo>
                <a:lnTo>
                  <a:pt x="173" y="5"/>
                </a:lnTo>
                <a:lnTo>
                  <a:pt x="179" y="8"/>
                </a:lnTo>
                <a:lnTo>
                  <a:pt x="194" y="16"/>
                </a:lnTo>
                <a:lnTo>
                  <a:pt x="206" y="26"/>
                </a:lnTo>
                <a:lnTo>
                  <a:pt x="217" y="35"/>
                </a:lnTo>
                <a:lnTo>
                  <a:pt x="230" y="42"/>
                </a:lnTo>
                <a:lnTo>
                  <a:pt x="236" y="45"/>
                </a:lnTo>
                <a:lnTo>
                  <a:pt x="243" y="48"/>
                </a:lnTo>
                <a:lnTo>
                  <a:pt x="251" y="49"/>
                </a:lnTo>
                <a:lnTo>
                  <a:pt x="259" y="50"/>
                </a:lnTo>
                <a:lnTo>
                  <a:pt x="264" y="49"/>
                </a:lnTo>
                <a:lnTo>
                  <a:pt x="268" y="47"/>
                </a:lnTo>
                <a:lnTo>
                  <a:pt x="272" y="44"/>
                </a:lnTo>
                <a:lnTo>
                  <a:pt x="276" y="41"/>
                </a:lnTo>
                <a:lnTo>
                  <a:pt x="279" y="37"/>
                </a:lnTo>
                <a:lnTo>
                  <a:pt x="284" y="35"/>
                </a:lnTo>
                <a:lnTo>
                  <a:pt x="288" y="32"/>
                </a:lnTo>
                <a:lnTo>
                  <a:pt x="292" y="32"/>
                </a:lnTo>
                <a:lnTo>
                  <a:pt x="300" y="32"/>
                </a:lnTo>
                <a:lnTo>
                  <a:pt x="308" y="34"/>
                </a:lnTo>
                <a:lnTo>
                  <a:pt x="313" y="36"/>
                </a:lnTo>
                <a:lnTo>
                  <a:pt x="318" y="39"/>
                </a:lnTo>
                <a:lnTo>
                  <a:pt x="325" y="47"/>
                </a:lnTo>
                <a:lnTo>
                  <a:pt x="332" y="56"/>
                </a:lnTo>
                <a:lnTo>
                  <a:pt x="337" y="65"/>
                </a:lnTo>
                <a:lnTo>
                  <a:pt x="344" y="73"/>
                </a:lnTo>
                <a:lnTo>
                  <a:pt x="348" y="76"/>
                </a:lnTo>
                <a:lnTo>
                  <a:pt x="353" y="79"/>
                </a:lnTo>
                <a:lnTo>
                  <a:pt x="358" y="81"/>
                </a:lnTo>
                <a:lnTo>
                  <a:pt x="366" y="81"/>
                </a:lnTo>
                <a:lnTo>
                  <a:pt x="370" y="81"/>
                </a:lnTo>
                <a:lnTo>
                  <a:pt x="375" y="80"/>
                </a:lnTo>
                <a:lnTo>
                  <a:pt x="378" y="77"/>
                </a:lnTo>
                <a:lnTo>
                  <a:pt x="381" y="75"/>
                </a:lnTo>
                <a:lnTo>
                  <a:pt x="387" y="70"/>
                </a:lnTo>
                <a:lnTo>
                  <a:pt x="392" y="63"/>
                </a:lnTo>
                <a:lnTo>
                  <a:pt x="397" y="56"/>
                </a:lnTo>
                <a:lnTo>
                  <a:pt x="403" y="49"/>
                </a:lnTo>
                <a:lnTo>
                  <a:pt x="410" y="43"/>
                </a:lnTo>
                <a:lnTo>
                  <a:pt x="419" y="38"/>
                </a:lnTo>
                <a:lnTo>
                  <a:pt x="433" y="30"/>
                </a:lnTo>
                <a:lnTo>
                  <a:pt x="446" y="25"/>
                </a:lnTo>
                <a:lnTo>
                  <a:pt x="458" y="22"/>
                </a:lnTo>
                <a:lnTo>
                  <a:pt x="468" y="21"/>
                </a:lnTo>
                <a:lnTo>
                  <a:pt x="478" y="22"/>
                </a:lnTo>
                <a:lnTo>
                  <a:pt x="487" y="25"/>
                </a:lnTo>
                <a:lnTo>
                  <a:pt x="496" y="28"/>
                </a:lnTo>
                <a:lnTo>
                  <a:pt x="503" y="31"/>
                </a:lnTo>
                <a:lnTo>
                  <a:pt x="511" y="35"/>
                </a:lnTo>
                <a:lnTo>
                  <a:pt x="520" y="38"/>
                </a:lnTo>
                <a:lnTo>
                  <a:pt x="528" y="41"/>
                </a:lnTo>
                <a:lnTo>
                  <a:pt x="537" y="43"/>
                </a:lnTo>
                <a:lnTo>
                  <a:pt x="547" y="43"/>
                </a:lnTo>
                <a:lnTo>
                  <a:pt x="559" y="42"/>
                </a:lnTo>
                <a:lnTo>
                  <a:pt x="571" y="39"/>
                </a:lnTo>
                <a:lnTo>
                  <a:pt x="586" y="33"/>
                </a:lnTo>
                <a:lnTo>
                  <a:pt x="632" y="74"/>
                </a:lnTo>
                <a:lnTo>
                  <a:pt x="646" y="67"/>
                </a:lnTo>
                <a:lnTo>
                  <a:pt x="651" y="81"/>
                </a:lnTo>
                <a:lnTo>
                  <a:pt x="658" y="93"/>
                </a:lnTo>
                <a:lnTo>
                  <a:pt x="665" y="105"/>
                </a:lnTo>
                <a:lnTo>
                  <a:pt x="671" y="117"/>
                </a:lnTo>
                <a:lnTo>
                  <a:pt x="646" y="152"/>
                </a:lnTo>
                <a:lnTo>
                  <a:pt x="623" y="183"/>
                </a:lnTo>
                <a:lnTo>
                  <a:pt x="612" y="199"/>
                </a:lnTo>
                <a:lnTo>
                  <a:pt x="602" y="216"/>
                </a:lnTo>
                <a:lnTo>
                  <a:pt x="593" y="233"/>
                </a:lnTo>
                <a:lnTo>
                  <a:pt x="584" y="254"/>
                </a:lnTo>
                <a:lnTo>
                  <a:pt x="578" y="273"/>
                </a:lnTo>
                <a:lnTo>
                  <a:pt x="570" y="291"/>
                </a:lnTo>
                <a:lnTo>
                  <a:pt x="564" y="309"/>
                </a:lnTo>
                <a:lnTo>
                  <a:pt x="557" y="326"/>
                </a:lnTo>
                <a:lnTo>
                  <a:pt x="550" y="343"/>
                </a:lnTo>
                <a:lnTo>
                  <a:pt x="543" y="363"/>
                </a:lnTo>
                <a:lnTo>
                  <a:pt x="534" y="383"/>
                </a:lnTo>
                <a:lnTo>
                  <a:pt x="525" y="407"/>
                </a:lnTo>
                <a:lnTo>
                  <a:pt x="524" y="410"/>
                </a:lnTo>
                <a:lnTo>
                  <a:pt x="521" y="416"/>
                </a:lnTo>
                <a:lnTo>
                  <a:pt x="516" y="422"/>
                </a:lnTo>
                <a:lnTo>
                  <a:pt x="511" y="428"/>
                </a:lnTo>
                <a:lnTo>
                  <a:pt x="505" y="434"/>
                </a:lnTo>
                <a:lnTo>
                  <a:pt x="500" y="439"/>
                </a:lnTo>
                <a:lnTo>
                  <a:pt x="496" y="443"/>
                </a:lnTo>
                <a:lnTo>
                  <a:pt x="492" y="444"/>
                </a:lnTo>
                <a:lnTo>
                  <a:pt x="482" y="443"/>
                </a:lnTo>
                <a:lnTo>
                  <a:pt x="474" y="440"/>
                </a:lnTo>
                <a:lnTo>
                  <a:pt x="466" y="436"/>
                </a:lnTo>
                <a:lnTo>
                  <a:pt x="459" y="432"/>
                </a:lnTo>
                <a:lnTo>
                  <a:pt x="453" y="428"/>
                </a:lnTo>
                <a:lnTo>
                  <a:pt x="446" y="424"/>
                </a:lnTo>
                <a:lnTo>
                  <a:pt x="440" y="421"/>
                </a:lnTo>
                <a:lnTo>
                  <a:pt x="432" y="420"/>
                </a:lnTo>
                <a:lnTo>
                  <a:pt x="419" y="421"/>
                </a:lnTo>
                <a:lnTo>
                  <a:pt x="408" y="424"/>
                </a:lnTo>
                <a:lnTo>
                  <a:pt x="398" y="428"/>
                </a:lnTo>
                <a:lnTo>
                  <a:pt x="389" y="434"/>
                </a:lnTo>
                <a:lnTo>
                  <a:pt x="381" y="441"/>
                </a:lnTo>
                <a:lnTo>
                  <a:pt x="375" y="449"/>
                </a:lnTo>
                <a:lnTo>
                  <a:pt x="369" y="458"/>
                </a:lnTo>
                <a:lnTo>
                  <a:pt x="364" y="469"/>
                </a:lnTo>
                <a:lnTo>
                  <a:pt x="355" y="489"/>
                </a:lnTo>
                <a:lnTo>
                  <a:pt x="346" y="510"/>
                </a:lnTo>
                <a:lnTo>
                  <a:pt x="342" y="521"/>
                </a:lnTo>
                <a:lnTo>
                  <a:pt x="336" y="531"/>
                </a:lnTo>
                <a:lnTo>
                  <a:pt x="332" y="541"/>
                </a:lnTo>
                <a:lnTo>
                  <a:pt x="325" y="549"/>
                </a:lnTo>
                <a:lnTo>
                  <a:pt x="233" y="543"/>
                </a:lnTo>
                <a:lnTo>
                  <a:pt x="231" y="545"/>
                </a:lnTo>
                <a:lnTo>
                  <a:pt x="229" y="546"/>
                </a:lnTo>
                <a:lnTo>
                  <a:pt x="227" y="547"/>
                </a:lnTo>
                <a:lnTo>
                  <a:pt x="223" y="548"/>
                </a:lnTo>
                <a:lnTo>
                  <a:pt x="217" y="548"/>
                </a:lnTo>
                <a:lnTo>
                  <a:pt x="209" y="547"/>
                </a:lnTo>
                <a:lnTo>
                  <a:pt x="193" y="545"/>
                </a:lnTo>
                <a:lnTo>
                  <a:pt x="179" y="543"/>
                </a:lnTo>
                <a:lnTo>
                  <a:pt x="173" y="543"/>
                </a:lnTo>
                <a:lnTo>
                  <a:pt x="167" y="542"/>
                </a:lnTo>
                <a:lnTo>
                  <a:pt x="161" y="540"/>
                </a:lnTo>
                <a:lnTo>
                  <a:pt x="155" y="537"/>
                </a:lnTo>
                <a:lnTo>
                  <a:pt x="150" y="534"/>
                </a:lnTo>
                <a:lnTo>
                  <a:pt x="144" y="531"/>
                </a:lnTo>
                <a:lnTo>
                  <a:pt x="139" y="527"/>
                </a:lnTo>
                <a:lnTo>
                  <a:pt x="134" y="521"/>
                </a:lnTo>
                <a:lnTo>
                  <a:pt x="129" y="515"/>
                </a:lnTo>
                <a:lnTo>
                  <a:pt x="126" y="509"/>
                </a:lnTo>
                <a:lnTo>
                  <a:pt x="122" y="503"/>
                </a:lnTo>
                <a:lnTo>
                  <a:pt x="119" y="496"/>
                </a:lnTo>
                <a:lnTo>
                  <a:pt x="117" y="489"/>
                </a:lnTo>
                <a:lnTo>
                  <a:pt x="115" y="481"/>
                </a:lnTo>
                <a:lnTo>
                  <a:pt x="113" y="472"/>
                </a:lnTo>
                <a:lnTo>
                  <a:pt x="113" y="462"/>
                </a:lnTo>
                <a:lnTo>
                  <a:pt x="106" y="462"/>
                </a:lnTo>
                <a:lnTo>
                  <a:pt x="100" y="460"/>
                </a:lnTo>
                <a:lnTo>
                  <a:pt x="95" y="457"/>
                </a:lnTo>
                <a:lnTo>
                  <a:pt x="90" y="454"/>
                </a:lnTo>
                <a:lnTo>
                  <a:pt x="83" y="447"/>
                </a:lnTo>
                <a:lnTo>
                  <a:pt x="74" y="439"/>
                </a:lnTo>
                <a:lnTo>
                  <a:pt x="70" y="435"/>
                </a:lnTo>
                <a:lnTo>
                  <a:pt x="63" y="432"/>
                </a:lnTo>
                <a:lnTo>
                  <a:pt x="56" y="430"/>
                </a:lnTo>
                <a:lnTo>
                  <a:pt x="49" y="429"/>
                </a:lnTo>
                <a:lnTo>
                  <a:pt x="39" y="429"/>
                </a:lnTo>
                <a:lnTo>
                  <a:pt x="28" y="430"/>
                </a:lnTo>
                <a:lnTo>
                  <a:pt x="15" y="433"/>
                </a:lnTo>
                <a:lnTo>
                  <a:pt x="0" y="438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6" name="Freeform 33"/>
          <p:cNvSpPr>
            <a:spLocks/>
          </p:cNvSpPr>
          <p:nvPr userDrawn="1">
            <p:custDataLst>
              <p:tags r:id="rId28"/>
            </p:custDataLst>
          </p:nvPr>
        </p:nvSpPr>
        <p:spPr bwMode="auto">
          <a:xfrm>
            <a:off x="4994276" y="2511036"/>
            <a:ext cx="152400" cy="127397"/>
          </a:xfrm>
          <a:custGeom>
            <a:avLst/>
            <a:gdLst>
              <a:gd name="T0" fmla="*/ 59077568 w 358"/>
              <a:gd name="T1" fmla="*/ 87426465 h 327"/>
              <a:gd name="T2" fmla="*/ 59983454 w 358"/>
              <a:gd name="T3" fmla="*/ 86616634 h 327"/>
              <a:gd name="T4" fmla="*/ 61070687 w 358"/>
              <a:gd name="T5" fmla="*/ 85807322 h 327"/>
              <a:gd name="T6" fmla="*/ 62701963 w 358"/>
              <a:gd name="T7" fmla="*/ 85807322 h 327"/>
              <a:gd name="T8" fmla="*/ 64514160 w 358"/>
              <a:gd name="T9" fmla="*/ 87426465 h 327"/>
              <a:gd name="T10" fmla="*/ 57808988 w 358"/>
              <a:gd name="T11" fmla="*/ 76902817 h 327"/>
              <a:gd name="T12" fmla="*/ 50378839 w 358"/>
              <a:gd name="T13" fmla="*/ 63410984 h 327"/>
              <a:gd name="T14" fmla="*/ 45848559 w 358"/>
              <a:gd name="T15" fmla="*/ 55046192 h 327"/>
              <a:gd name="T16" fmla="*/ 42042817 w 358"/>
              <a:gd name="T17" fmla="*/ 50189284 h 327"/>
              <a:gd name="T18" fmla="*/ 39687003 w 358"/>
              <a:gd name="T19" fmla="*/ 48839738 h 327"/>
              <a:gd name="T20" fmla="*/ 37693459 w 358"/>
              <a:gd name="T21" fmla="*/ 48570141 h 327"/>
              <a:gd name="T22" fmla="*/ 36424878 w 358"/>
              <a:gd name="T23" fmla="*/ 48300544 h 327"/>
              <a:gd name="T24" fmla="*/ 36062609 w 358"/>
              <a:gd name="T25" fmla="*/ 46950998 h 327"/>
              <a:gd name="T26" fmla="*/ 35881261 w 358"/>
              <a:gd name="T27" fmla="*/ 45871570 h 327"/>
              <a:gd name="T28" fmla="*/ 35337645 w 358"/>
              <a:gd name="T29" fmla="*/ 45601972 h 327"/>
              <a:gd name="T30" fmla="*/ 33344100 w 358"/>
              <a:gd name="T31" fmla="*/ 46411284 h 327"/>
              <a:gd name="T32" fmla="*/ 30988287 w 358"/>
              <a:gd name="T33" fmla="*/ 46411284 h 327"/>
              <a:gd name="T34" fmla="*/ 29901053 w 358"/>
              <a:gd name="T35" fmla="*/ 45332375 h 327"/>
              <a:gd name="T36" fmla="*/ 28995168 w 358"/>
              <a:gd name="T37" fmla="*/ 43443116 h 327"/>
              <a:gd name="T38" fmla="*/ 27545233 w 358"/>
              <a:gd name="T39" fmla="*/ 38856324 h 327"/>
              <a:gd name="T40" fmla="*/ 25914383 w 358"/>
              <a:gd name="T41" fmla="*/ 35348441 h 327"/>
              <a:gd name="T42" fmla="*/ 24102186 w 358"/>
              <a:gd name="T43" fmla="*/ 32110148 h 327"/>
              <a:gd name="T44" fmla="*/ 23014953 w 358"/>
              <a:gd name="T45" fmla="*/ 28332667 h 327"/>
              <a:gd name="T46" fmla="*/ 22108642 w 358"/>
              <a:gd name="T47" fmla="*/ 22665928 h 327"/>
              <a:gd name="T48" fmla="*/ 21565025 w 358"/>
              <a:gd name="T49" fmla="*/ 14301132 h 327"/>
              <a:gd name="T50" fmla="*/ 21202756 w 358"/>
              <a:gd name="T51" fmla="*/ 6205936 h 327"/>
              <a:gd name="T52" fmla="*/ 20296444 w 358"/>
              <a:gd name="T53" fmla="*/ 0 h 327"/>
              <a:gd name="T54" fmla="*/ 13229000 w 358"/>
              <a:gd name="T55" fmla="*/ 7015768 h 327"/>
              <a:gd name="T56" fmla="*/ 11054534 w 358"/>
              <a:gd name="T57" fmla="*/ 8904510 h 327"/>
              <a:gd name="T58" fmla="*/ 5980210 w 358"/>
              <a:gd name="T59" fmla="*/ 13491821 h 327"/>
              <a:gd name="T60" fmla="*/ 3805743 w 358"/>
              <a:gd name="T61" fmla="*/ 16459989 h 327"/>
              <a:gd name="T62" fmla="*/ 3080779 w 358"/>
              <a:gd name="T63" fmla="*/ 19428162 h 327"/>
              <a:gd name="T64" fmla="*/ 2899431 w 358"/>
              <a:gd name="T65" fmla="*/ 22396330 h 327"/>
              <a:gd name="T66" fmla="*/ 3624396 w 358"/>
              <a:gd name="T67" fmla="*/ 25094382 h 327"/>
              <a:gd name="T68" fmla="*/ 3986665 w 358"/>
              <a:gd name="T69" fmla="*/ 26983642 h 327"/>
              <a:gd name="T70" fmla="*/ 3624396 w 358"/>
              <a:gd name="T71" fmla="*/ 29681693 h 327"/>
              <a:gd name="T72" fmla="*/ 2718084 w 358"/>
              <a:gd name="T73" fmla="*/ 33189576 h 327"/>
              <a:gd name="T74" fmla="*/ 1268581 w 358"/>
              <a:gd name="T75" fmla="*/ 36697467 h 327"/>
              <a:gd name="T76" fmla="*/ 0 w 358"/>
              <a:gd name="T77" fmla="*/ 41824492 h 327"/>
              <a:gd name="T78" fmla="*/ 0 w 358"/>
              <a:gd name="T79" fmla="*/ 46950998 h 327"/>
              <a:gd name="T80" fmla="*/ 905886 w 358"/>
              <a:gd name="T81" fmla="*/ 49109855 h 327"/>
              <a:gd name="T82" fmla="*/ 1993545 w 358"/>
              <a:gd name="T83" fmla="*/ 50458881 h 327"/>
              <a:gd name="T84" fmla="*/ 3624396 w 358"/>
              <a:gd name="T85" fmla="*/ 50189284 h 327"/>
              <a:gd name="T86" fmla="*/ 7973756 w 358"/>
              <a:gd name="T87" fmla="*/ 45332375 h 327"/>
              <a:gd name="T88" fmla="*/ 10873186 w 358"/>
              <a:gd name="T89" fmla="*/ 43443116 h 327"/>
              <a:gd name="T90" fmla="*/ 13772617 w 358"/>
              <a:gd name="T91" fmla="*/ 40474947 h 327"/>
              <a:gd name="T92" fmla="*/ 16853398 w 358"/>
              <a:gd name="T93" fmla="*/ 42903401 h 327"/>
              <a:gd name="T94" fmla="*/ 19934175 w 358"/>
              <a:gd name="T95" fmla="*/ 44252947 h 327"/>
              <a:gd name="T96" fmla="*/ 25733036 w 358"/>
              <a:gd name="T97" fmla="*/ 48570141 h 327"/>
              <a:gd name="T98" fmla="*/ 29538784 w 358"/>
              <a:gd name="T99" fmla="*/ 51268712 h 327"/>
              <a:gd name="T100" fmla="*/ 35518992 w 358"/>
              <a:gd name="T101" fmla="*/ 56395218 h 327"/>
              <a:gd name="T102" fmla="*/ 39687003 w 358"/>
              <a:gd name="T103" fmla="*/ 60712932 h 327"/>
              <a:gd name="T104" fmla="*/ 44398631 w 358"/>
              <a:gd name="T105" fmla="*/ 65839438 h 327"/>
              <a:gd name="T106" fmla="*/ 46392175 w 358"/>
              <a:gd name="T107" fmla="*/ 68538025 h 327"/>
              <a:gd name="T108" fmla="*/ 48385294 w 358"/>
              <a:gd name="T109" fmla="*/ 72855220 h 327"/>
              <a:gd name="T110" fmla="*/ 48747989 w 358"/>
              <a:gd name="T111" fmla="*/ 75283674 h 327"/>
              <a:gd name="T112" fmla="*/ 48747989 w 358"/>
              <a:gd name="T113" fmla="*/ 77172414 h 327"/>
              <a:gd name="T114" fmla="*/ 48929336 w 358"/>
              <a:gd name="T115" fmla="*/ 78251842 h 327"/>
              <a:gd name="T116" fmla="*/ 50016569 w 358"/>
              <a:gd name="T117" fmla="*/ 78791557 h 327"/>
              <a:gd name="T118" fmla="*/ 52916000 w 358"/>
              <a:gd name="T119" fmla="*/ 81490128 h 327"/>
              <a:gd name="T120" fmla="*/ 57627640 w 358"/>
              <a:gd name="T121" fmla="*/ 86616634 h 32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358"/>
              <a:gd name="T184" fmla="*/ 0 h 327"/>
              <a:gd name="T185" fmla="*/ 358 w 358"/>
              <a:gd name="T186" fmla="*/ 327 h 327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358" h="327">
                <a:moveTo>
                  <a:pt x="325" y="327"/>
                </a:moveTo>
                <a:lnTo>
                  <a:pt x="326" y="324"/>
                </a:lnTo>
                <a:lnTo>
                  <a:pt x="329" y="322"/>
                </a:lnTo>
                <a:lnTo>
                  <a:pt x="331" y="321"/>
                </a:lnTo>
                <a:lnTo>
                  <a:pt x="332" y="321"/>
                </a:lnTo>
                <a:lnTo>
                  <a:pt x="337" y="318"/>
                </a:lnTo>
                <a:lnTo>
                  <a:pt x="342" y="317"/>
                </a:lnTo>
                <a:lnTo>
                  <a:pt x="346" y="318"/>
                </a:lnTo>
                <a:lnTo>
                  <a:pt x="351" y="319"/>
                </a:lnTo>
                <a:lnTo>
                  <a:pt x="356" y="324"/>
                </a:lnTo>
                <a:lnTo>
                  <a:pt x="358" y="327"/>
                </a:lnTo>
                <a:lnTo>
                  <a:pt x="319" y="285"/>
                </a:lnTo>
                <a:lnTo>
                  <a:pt x="302" y="265"/>
                </a:lnTo>
                <a:lnTo>
                  <a:pt x="278" y="235"/>
                </a:lnTo>
                <a:lnTo>
                  <a:pt x="265" y="219"/>
                </a:lnTo>
                <a:lnTo>
                  <a:pt x="253" y="204"/>
                </a:lnTo>
                <a:lnTo>
                  <a:pt x="241" y="193"/>
                </a:lnTo>
                <a:lnTo>
                  <a:pt x="232" y="186"/>
                </a:lnTo>
                <a:lnTo>
                  <a:pt x="225" y="182"/>
                </a:lnTo>
                <a:lnTo>
                  <a:pt x="219" y="181"/>
                </a:lnTo>
                <a:lnTo>
                  <a:pt x="213" y="180"/>
                </a:lnTo>
                <a:lnTo>
                  <a:pt x="208" y="180"/>
                </a:lnTo>
                <a:lnTo>
                  <a:pt x="205" y="180"/>
                </a:lnTo>
                <a:lnTo>
                  <a:pt x="201" y="179"/>
                </a:lnTo>
                <a:lnTo>
                  <a:pt x="200" y="177"/>
                </a:lnTo>
                <a:lnTo>
                  <a:pt x="199" y="174"/>
                </a:lnTo>
                <a:lnTo>
                  <a:pt x="199" y="172"/>
                </a:lnTo>
                <a:lnTo>
                  <a:pt x="198" y="170"/>
                </a:lnTo>
                <a:lnTo>
                  <a:pt x="197" y="169"/>
                </a:lnTo>
                <a:lnTo>
                  <a:pt x="195" y="169"/>
                </a:lnTo>
                <a:lnTo>
                  <a:pt x="190" y="170"/>
                </a:lnTo>
                <a:lnTo>
                  <a:pt x="184" y="172"/>
                </a:lnTo>
                <a:lnTo>
                  <a:pt x="178" y="173"/>
                </a:lnTo>
                <a:lnTo>
                  <a:pt x="171" y="172"/>
                </a:lnTo>
                <a:lnTo>
                  <a:pt x="168" y="170"/>
                </a:lnTo>
                <a:lnTo>
                  <a:pt x="165" y="168"/>
                </a:lnTo>
                <a:lnTo>
                  <a:pt x="162" y="165"/>
                </a:lnTo>
                <a:lnTo>
                  <a:pt x="160" y="161"/>
                </a:lnTo>
                <a:lnTo>
                  <a:pt x="156" y="152"/>
                </a:lnTo>
                <a:lnTo>
                  <a:pt x="152" y="144"/>
                </a:lnTo>
                <a:lnTo>
                  <a:pt x="147" y="138"/>
                </a:lnTo>
                <a:lnTo>
                  <a:pt x="143" y="131"/>
                </a:lnTo>
                <a:lnTo>
                  <a:pt x="138" y="125"/>
                </a:lnTo>
                <a:lnTo>
                  <a:pt x="133" y="119"/>
                </a:lnTo>
                <a:lnTo>
                  <a:pt x="129" y="112"/>
                </a:lnTo>
                <a:lnTo>
                  <a:pt x="127" y="105"/>
                </a:lnTo>
                <a:lnTo>
                  <a:pt x="123" y="96"/>
                </a:lnTo>
                <a:lnTo>
                  <a:pt x="122" y="84"/>
                </a:lnTo>
                <a:lnTo>
                  <a:pt x="121" y="69"/>
                </a:lnTo>
                <a:lnTo>
                  <a:pt x="119" y="53"/>
                </a:lnTo>
                <a:lnTo>
                  <a:pt x="118" y="37"/>
                </a:lnTo>
                <a:lnTo>
                  <a:pt x="117" y="23"/>
                </a:lnTo>
                <a:lnTo>
                  <a:pt x="115" y="10"/>
                </a:lnTo>
                <a:lnTo>
                  <a:pt x="112" y="0"/>
                </a:lnTo>
                <a:lnTo>
                  <a:pt x="93" y="0"/>
                </a:lnTo>
                <a:lnTo>
                  <a:pt x="73" y="26"/>
                </a:lnTo>
                <a:lnTo>
                  <a:pt x="70" y="28"/>
                </a:lnTo>
                <a:lnTo>
                  <a:pt x="61" y="33"/>
                </a:lnTo>
                <a:lnTo>
                  <a:pt x="48" y="41"/>
                </a:lnTo>
                <a:lnTo>
                  <a:pt x="33" y="50"/>
                </a:lnTo>
                <a:lnTo>
                  <a:pt x="27" y="55"/>
                </a:lnTo>
                <a:lnTo>
                  <a:pt x="21" y="61"/>
                </a:lnTo>
                <a:lnTo>
                  <a:pt x="18" y="66"/>
                </a:lnTo>
                <a:lnTo>
                  <a:pt x="17" y="72"/>
                </a:lnTo>
                <a:lnTo>
                  <a:pt x="16" y="78"/>
                </a:lnTo>
                <a:lnTo>
                  <a:pt x="16" y="83"/>
                </a:lnTo>
                <a:lnTo>
                  <a:pt x="18" y="88"/>
                </a:lnTo>
                <a:lnTo>
                  <a:pt x="20" y="93"/>
                </a:lnTo>
                <a:lnTo>
                  <a:pt x="21" y="96"/>
                </a:lnTo>
                <a:lnTo>
                  <a:pt x="22" y="100"/>
                </a:lnTo>
                <a:lnTo>
                  <a:pt x="22" y="104"/>
                </a:lnTo>
                <a:lnTo>
                  <a:pt x="20" y="110"/>
                </a:lnTo>
                <a:lnTo>
                  <a:pt x="18" y="117"/>
                </a:lnTo>
                <a:lnTo>
                  <a:pt x="15" y="123"/>
                </a:lnTo>
                <a:lnTo>
                  <a:pt x="11" y="130"/>
                </a:lnTo>
                <a:lnTo>
                  <a:pt x="7" y="136"/>
                </a:lnTo>
                <a:lnTo>
                  <a:pt x="3" y="146"/>
                </a:lnTo>
                <a:lnTo>
                  <a:pt x="0" y="155"/>
                </a:lnTo>
                <a:lnTo>
                  <a:pt x="0" y="164"/>
                </a:lnTo>
                <a:lnTo>
                  <a:pt x="0" y="174"/>
                </a:lnTo>
                <a:lnTo>
                  <a:pt x="1" y="176"/>
                </a:lnTo>
                <a:lnTo>
                  <a:pt x="5" y="182"/>
                </a:lnTo>
                <a:lnTo>
                  <a:pt x="8" y="185"/>
                </a:lnTo>
                <a:lnTo>
                  <a:pt x="11" y="187"/>
                </a:lnTo>
                <a:lnTo>
                  <a:pt x="15" y="187"/>
                </a:lnTo>
                <a:lnTo>
                  <a:pt x="20" y="186"/>
                </a:lnTo>
                <a:lnTo>
                  <a:pt x="31" y="177"/>
                </a:lnTo>
                <a:lnTo>
                  <a:pt x="44" y="168"/>
                </a:lnTo>
                <a:lnTo>
                  <a:pt x="55" y="163"/>
                </a:lnTo>
                <a:lnTo>
                  <a:pt x="60" y="161"/>
                </a:lnTo>
                <a:lnTo>
                  <a:pt x="73" y="149"/>
                </a:lnTo>
                <a:lnTo>
                  <a:pt x="76" y="150"/>
                </a:lnTo>
                <a:lnTo>
                  <a:pt x="84" y="155"/>
                </a:lnTo>
                <a:lnTo>
                  <a:pt x="93" y="159"/>
                </a:lnTo>
                <a:lnTo>
                  <a:pt x="99" y="161"/>
                </a:lnTo>
                <a:lnTo>
                  <a:pt x="110" y="164"/>
                </a:lnTo>
                <a:lnTo>
                  <a:pt x="126" y="170"/>
                </a:lnTo>
                <a:lnTo>
                  <a:pt x="142" y="180"/>
                </a:lnTo>
                <a:lnTo>
                  <a:pt x="153" y="186"/>
                </a:lnTo>
                <a:lnTo>
                  <a:pt x="163" y="190"/>
                </a:lnTo>
                <a:lnTo>
                  <a:pt x="179" y="199"/>
                </a:lnTo>
                <a:lnTo>
                  <a:pt x="196" y="209"/>
                </a:lnTo>
                <a:lnTo>
                  <a:pt x="206" y="216"/>
                </a:lnTo>
                <a:lnTo>
                  <a:pt x="219" y="225"/>
                </a:lnTo>
                <a:lnTo>
                  <a:pt x="232" y="235"/>
                </a:lnTo>
                <a:lnTo>
                  <a:pt x="245" y="244"/>
                </a:lnTo>
                <a:lnTo>
                  <a:pt x="252" y="247"/>
                </a:lnTo>
                <a:lnTo>
                  <a:pt x="256" y="254"/>
                </a:lnTo>
                <a:lnTo>
                  <a:pt x="266" y="265"/>
                </a:lnTo>
                <a:lnTo>
                  <a:pt x="267" y="270"/>
                </a:lnTo>
                <a:lnTo>
                  <a:pt x="268" y="274"/>
                </a:lnTo>
                <a:lnTo>
                  <a:pt x="269" y="279"/>
                </a:lnTo>
                <a:lnTo>
                  <a:pt x="269" y="283"/>
                </a:lnTo>
                <a:lnTo>
                  <a:pt x="269" y="286"/>
                </a:lnTo>
                <a:lnTo>
                  <a:pt x="269" y="289"/>
                </a:lnTo>
                <a:lnTo>
                  <a:pt x="270" y="290"/>
                </a:lnTo>
                <a:lnTo>
                  <a:pt x="273" y="291"/>
                </a:lnTo>
                <a:lnTo>
                  <a:pt x="276" y="292"/>
                </a:lnTo>
                <a:lnTo>
                  <a:pt x="284" y="296"/>
                </a:lnTo>
                <a:lnTo>
                  <a:pt x="292" y="302"/>
                </a:lnTo>
                <a:lnTo>
                  <a:pt x="301" y="309"/>
                </a:lnTo>
                <a:lnTo>
                  <a:pt x="318" y="321"/>
                </a:lnTo>
                <a:lnTo>
                  <a:pt x="325" y="327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7" name="Freeform 34"/>
          <p:cNvSpPr>
            <a:spLocks/>
          </p:cNvSpPr>
          <p:nvPr userDrawn="1">
            <p:custDataLst>
              <p:tags r:id="rId29"/>
            </p:custDataLst>
          </p:nvPr>
        </p:nvSpPr>
        <p:spPr bwMode="auto">
          <a:xfrm>
            <a:off x="4418021" y="1764518"/>
            <a:ext cx="125413" cy="42863"/>
          </a:xfrm>
          <a:custGeom>
            <a:avLst/>
            <a:gdLst>
              <a:gd name="T0" fmla="*/ 23243063 w 292"/>
              <a:gd name="T1" fmla="*/ 0 h 99"/>
              <a:gd name="T2" fmla="*/ 28223510 w 292"/>
              <a:gd name="T3" fmla="*/ 0 h 99"/>
              <a:gd name="T4" fmla="*/ 36524387 w 292"/>
              <a:gd name="T5" fmla="*/ 333086 h 99"/>
              <a:gd name="T6" fmla="*/ 46116759 w 292"/>
              <a:gd name="T7" fmla="*/ 1999673 h 99"/>
              <a:gd name="T8" fmla="*/ 53864445 w 292"/>
              <a:gd name="T9" fmla="*/ 2332759 h 99"/>
              <a:gd name="T10" fmla="*/ 53495508 w 292"/>
              <a:gd name="T11" fmla="*/ 6664614 h 99"/>
              <a:gd name="T12" fmla="*/ 52573379 w 292"/>
              <a:gd name="T13" fmla="*/ 10997047 h 99"/>
              <a:gd name="T14" fmla="*/ 51466567 w 292"/>
              <a:gd name="T15" fmla="*/ 18328408 h 99"/>
              <a:gd name="T16" fmla="*/ 24903067 w 292"/>
              <a:gd name="T17" fmla="*/ 23327015 h 99"/>
              <a:gd name="T18" fmla="*/ 18262193 w 292"/>
              <a:gd name="T19" fmla="*/ 29658541 h 99"/>
              <a:gd name="T20" fmla="*/ 14572819 w 292"/>
              <a:gd name="T21" fmla="*/ 31991299 h 99"/>
              <a:gd name="T22" fmla="*/ 12174938 w 292"/>
              <a:gd name="T23" fmla="*/ 32658049 h 99"/>
              <a:gd name="T24" fmla="*/ 10145567 w 292"/>
              <a:gd name="T25" fmla="*/ 32658049 h 99"/>
              <a:gd name="T26" fmla="*/ 8300880 w 292"/>
              <a:gd name="T27" fmla="*/ 31325127 h 99"/>
              <a:gd name="T28" fmla="*/ 6087254 w 292"/>
              <a:gd name="T29" fmla="*/ 28658705 h 99"/>
              <a:gd name="T30" fmla="*/ 3689376 w 292"/>
              <a:gd name="T31" fmla="*/ 25659774 h 99"/>
              <a:gd name="T32" fmla="*/ 1291067 w 292"/>
              <a:gd name="T33" fmla="*/ 22993929 h 99"/>
              <a:gd name="T34" fmla="*/ 184254 w 292"/>
              <a:gd name="T35" fmla="*/ 18995162 h 99"/>
              <a:gd name="T36" fmla="*/ 0 w 292"/>
              <a:gd name="T37" fmla="*/ 13995977 h 99"/>
              <a:gd name="T38" fmla="*/ 184254 w 292"/>
              <a:gd name="T39" fmla="*/ 8331200 h 99"/>
              <a:gd name="T40" fmla="*/ 553192 w 292"/>
              <a:gd name="T41" fmla="*/ 6664614 h 99"/>
              <a:gd name="T42" fmla="*/ 1660004 w 292"/>
              <a:gd name="T43" fmla="*/ 5998441 h 99"/>
              <a:gd name="T44" fmla="*/ 2766817 w 292"/>
              <a:gd name="T45" fmla="*/ 6998277 h 99"/>
              <a:gd name="T46" fmla="*/ 4611504 w 292"/>
              <a:gd name="T47" fmla="*/ 9331036 h 99"/>
              <a:gd name="T48" fmla="*/ 6456191 w 292"/>
              <a:gd name="T49" fmla="*/ 10663960 h 99"/>
              <a:gd name="T50" fmla="*/ 8300880 w 292"/>
              <a:gd name="T51" fmla="*/ 11330133 h 99"/>
              <a:gd name="T52" fmla="*/ 9961313 w 292"/>
              <a:gd name="T53" fmla="*/ 10997047 h 99"/>
              <a:gd name="T54" fmla="*/ 12359192 w 292"/>
              <a:gd name="T55" fmla="*/ 9664124 h 99"/>
              <a:gd name="T56" fmla="*/ 14941757 w 292"/>
              <a:gd name="T57" fmla="*/ 6331528 h 99"/>
              <a:gd name="T58" fmla="*/ 16233252 w 292"/>
              <a:gd name="T59" fmla="*/ 3665682 h 99"/>
              <a:gd name="T60" fmla="*/ 17340065 w 292"/>
              <a:gd name="T61" fmla="*/ 1999673 h 99"/>
              <a:gd name="T62" fmla="*/ 20106880 w 292"/>
              <a:gd name="T63" fmla="*/ 333086 h 99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292"/>
              <a:gd name="T97" fmla="*/ 0 h 99"/>
              <a:gd name="T98" fmla="*/ 292 w 292"/>
              <a:gd name="T99" fmla="*/ 99 h 99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292" h="99">
                <a:moveTo>
                  <a:pt x="113" y="0"/>
                </a:moveTo>
                <a:lnTo>
                  <a:pt x="126" y="0"/>
                </a:lnTo>
                <a:lnTo>
                  <a:pt x="138" y="0"/>
                </a:lnTo>
                <a:lnTo>
                  <a:pt x="153" y="0"/>
                </a:lnTo>
                <a:lnTo>
                  <a:pt x="172" y="0"/>
                </a:lnTo>
                <a:lnTo>
                  <a:pt x="198" y="1"/>
                </a:lnTo>
                <a:lnTo>
                  <a:pt x="224" y="3"/>
                </a:lnTo>
                <a:lnTo>
                  <a:pt x="250" y="6"/>
                </a:lnTo>
                <a:lnTo>
                  <a:pt x="279" y="7"/>
                </a:lnTo>
                <a:lnTo>
                  <a:pt x="292" y="7"/>
                </a:lnTo>
                <a:lnTo>
                  <a:pt x="292" y="14"/>
                </a:lnTo>
                <a:lnTo>
                  <a:pt x="290" y="20"/>
                </a:lnTo>
                <a:lnTo>
                  <a:pt x="288" y="27"/>
                </a:lnTo>
                <a:lnTo>
                  <a:pt x="285" y="33"/>
                </a:lnTo>
                <a:lnTo>
                  <a:pt x="281" y="45"/>
                </a:lnTo>
                <a:lnTo>
                  <a:pt x="279" y="55"/>
                </a:lnTo>
                <a:lnTo>
                  <a:pt x="153" y="62"/>
                </a:lnTo>
                <a:lnTo>
                  <a:pt x="135" y="70"/>
                </a:lnTo>
                <a:lnTo>
                  <a:pt x="111" y="83"/>
                </a:lnTo>
                <a:lnTo>
                  <a:pt x="99" y="89"/>
                </a:lnTo>
                <a:lnTo>
                  <a:pt x="86" y="94"/>
                </a:lnTo>
                <a:lnTo>
                  <a:pt x="79" y="96"/>
                </a:lnTo>
                <a:lnTo>
                  <a:pt x="72" y="97"/>
                </a:lnTo>
                <a:lnTo>
                  <a:pt x="66" y="98"/>
                </a:lnTo>
                <a:lnTo>
                  <a:pt x="60" y="99"/>
                </a:lnTo>
                <a:lnTo>
                  <a:pt x="55" y="98"/>
                </a:lnTo>
                <a:lnTo>
                  <a:pt x="51" y="97"/>
                </a:lnTo>
                <a:lnTo>
                  <a:pt x="45" y="94"/>
                </a:lnTo>
                <a:lnTo>
                  <a:pt x="41" y="92"/>
                </a:lnTo>
                <a:lnTo>
                  <a:pt x="33" y="86"/>
                </a:lnTo>
                <a:lnTo>
                  <a:pt x="26" y="80"/>
                </a:lnTo>
                <a:lnTo>
                  <a:pt x="20" y="77"/>
                </a:lnTo>
                <a:lnTo>
                  <a:pt x="11" y="72"/>
                </a:lnTo>
                <a:lnTo>
                  <a:pt x="7" y="69"/>
                </a:lnTo>
                <a:lnTo>
                  <a:pt x="3" y="64"/>
                </a:lnTo>
                <a:lnTo>
                  <a:pt x="1" y="57"/>
                </a:lnTo>
                <a:lnTo>
                  <a:pt x="0" y="49"/>
                </a:lnTo>
                <a:lnTo>
                  <a:pt x="0" y="42"/>
                </a:lnTo>
                <a:lnTo>
                  <a:pt x="0" y="28"/>
                </a:lnTo>
                <a:lnTo>
                  <a:pt x="1" y="25"/>
                </a:lnTo>
                <a:lnTo>
                  <a:pt x="2" y="22"/>
                </a:lnTo>
                <a:lnTo>
                  <a:pt x="3" y="20"/>
                </a:lnTo>
                <a:lnTo>
                  <a:pt x="5" y="18"/>
                </a:lnTo>
                <a:lnTo>
                  <a:pt x="9" y="18"/>
                </a:lnTo>
                <a:lnTo>
                  <a:pt x="11" y="19"/>
                </a:lnTo>
                <a:lnTo>
                  <a:pt x="15" y="21"/>
                </a:lnTo>
                <a:lnTo>
                  <a:pt x="20" y="25"/>
                </a:lnTo>
                <a:lnTo>
                  <a:pt x="25" y="28"/>
                </a:lnTo>
                <a:lnTo>
                  <a:pt x="30" y="30"/>
                </a:lnTo>
                <a:lnTo>
                  <a:pt x="35" y="32"/>
                </a:lnTo>
                <a:lnTo>
                  <a:pt x="40" y="33"/>
                </a:lnTo>
                <a:lnTo>
                  <a:pt x="45" y="34"/>
                </a:lnTo>
                <a:lnTo>
                  <a:pt x="49" y="34"/>
                </a:lnTo>
                <a:lnTo>
                  <a:pt x="54" y="33"/>
                </a:lnTo>
                <a:lnTo>
                  <a:pt x="58" y="32"/>
                </a:lnTo>
                <a:lnTo>
                  <a:pt x="67" y="29"/>
                </a:lnTo>
                <a:lnTo>
                  <a:pt x="75" y="25"/>
                </a:lnTo>
                <a:lnTo>
                  <a:pt x="81" y="19"/>
                </a:lnTo>
                <a:lnTo>
                  <a:pt x="87" y="13"/>
                </a:lnTo>
                <a:lnTo>
                  <a:pt x="88" y="11"/>
                </a:lnTo>
                <a:lnTo>
                  <a:pt x="91" y="8"/>
                </a:lnTo>
                <a:lnTo>
                  <a:pt x="94" y="6"/>
                </a:lnTo>
                <a:lnTo>
                  <a:pt x="100" y="3"/>
                </a:lnTo>
                <a:lnTo>
                  <a:pt x="109" y="1"/>
                </a:lnTo>
                <a:lnTo>
                  <a:pt x="113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8" name="Freeform 35"/>
          <p:cNvSpPr>
            <a:spLocks/>
          </p:cNvSpPr>
          <p:nvPr userDrawn="1">
            <p:custDataLst>
              <p:tags r:id="rId30"/>
            </p:custDataLst>
          </p:nvPr>
        </p:nvSpPr>
        <p:spPr bwMode="auto">
          <a:xfrm>
            <a:off x="5319713" y="2305062"/>
            <a:ext cx="19050" cy="42863"/>
          </a:xfrm>
          <a:custGeom>
            <a:avLst/>
            <a:gdLst>
              <a:gd name="T0" fmla="*/ 7654557 w 43"/>
              <a:gd name="T1" fmla="*/ 35119595 h 93"/>
              <a:gd name="T2" fmla="*/ 6084481 w 43"/>
              <a:gd name="T3" fmla="*/ 34364355 h 93"/>
              <a:gd name="T4" fmla="*/ 5103185 w 43"/>
              <a:gd name="T5" fmla="*/ 33609115 h 93"/>
              <a:gd name="T6" fmla="*/ 4121446 w 43"/>
              <a:gd name="T7" fmla="*/ 32853875 h 93"/>
              <a:gd name="T8" fmla="*/ 3532667 w 43"/>
              <a:gd name="T9" fmla="*/ 31720707 h 93"/>
              <a:gd name="T10" fmla="*/ 2943889 w 43"/>
              <a:gd name="T11" fmla="*/ 29832914 h 93"/>
              <a:gd name="T12" fmla="*/ 2747630 w 43"/>
              <a:gd name="T13" fmla="*/ 27567194 h 93"/>
              <a:gd name="T14" fmla="*/ 2551371 w 43"/>
              <a:gd name="T15" fmla="*/ 24546234 h 93"/>
              <a:gd name="T16" fmla="*/ 2158852 w 43"/>
              <a:gd name="T17" fmla="*/ 20769419 h 93"/>
              <a:gd name="T18" fmla="*/ 2158852 w 43"/>
              <a:gd name="T19" fmla="*/ 18126381 h 93"/>
              <a:gd name="T20" fmla="*/ 1766334 w 43"/>
              <a:gd name="T21" fmla="*/ 15860661 h 93"/>
              <a:gd name="T22" fmla="*/ 1177556 w 43"/>
              <a:gd name="T23" fmla="*/ 14350181 h 93"/>
              <a:gd name="T24" fmla="*/ 785037 w 43"/>
              <a:gd name="T25" fmla="*/ 13594941 h 93"/>
              <a:gd name="T26" fmla="*/ 392519 w 43"/>
              <a:gd name="T27" fmla="*/ 12839701 h 93"/>
              <a:gd name="T28" fmla="*/ 0 w 43"/>
              <a:gd name="T29" fmla="*/ 12084461 h 93"/>
              <a:gd name="T30" fmla="*/ 392519 w 43"/>
              <a:gd name="T31" fmla="*/ 10951293 h 93"/>
              <a:gd name="T32" fmla="*/ 981297 w 43"/>
              <a:gd name="T33" fmla="*/ 9062883 h 93"/>
              <a:gd name="T34" fmla="*/ 1177556 w 43"/>
              <a:gd name="T35" fmla="*/ 10573366 h 93"/>
              <a:gd name="T36" fmla="*/ 1373815 w 43"/>
              <a:gd name="T37" fmla="*/ 10951293 h 93"/>
              <a:gd name="T38" fmla="*/ 1570074 w 43"/>
              <a:gd name="T39" fmla="*/ 11328606 h 93"/>
              <a:gd name="T40" fmla="*/ 1766334 w 43"/>
              <a:gd name="T41" fmla="*/ 10951293 h 93"/>
              <a:gd name="T42" fmla="*/ 2158852 w 43"/>
              <a:gd name="T43" fmla="*/ 9440811 h 93"/>
              <a:gd name="T44" fmla="*/ 2747630 w 43"/>
              <a:gd name="T45" fmla="*/ 7175090 h 93"/>
              <a:gd name="T46" fmla="*/ 3140149 w 43"/>
              <a:gd name="T47" fmla="*/ 4531442 h 93"/>
              <a:gd name="T48" fmla="*/ 3925186 w 43"/>
              <a:gd name="T49" fmla="*/ 2265721 h 93"/>
              <a:gd name="T50" fmla="*/ 4318148 w 43"/>
              <a:gd name="T51" fmla="*/ 1510481 h 93"/>
              <a:gd name="T52" fmla="*/ 4906926 w 43"/>
              <a:gd name="T53" fmla="*/ 755240 h 93"/>
              <a:gd name="T54" fmla="*/ 5495703 w 43"/>
              <a:gd name="T55" fmla="*/ 0 h 93"/>
              <a:gd name="T56" fmla="*/ 6280740 w 43"/>
              <a:gd name="T57" fmla="*/ 0 h 93"/>
              <a:gd name="T58" fmla="*/ 6476999 w 43"/>
              <a:gd name="T59" fmla="*/ 3776202 h 93"/>
              <a:gd name="T60" fmla="*/ 6476999 w 43"/>
              <a:gd name="T61" fmla="*/ 6041923 h 93"/>
              <a:gd name="T62" fmla="*/ 6476999 w 43"/>
              <a:gd name="T63" fmla="*/ 7552403 h 93"/>
              <a:gd name="T64" fmla="*/ 6280740 w 43"/>
              <a:gd name="T65" fmla="*/ 8685571 h 93"/>
              <a:gd name="T66" fmla="*/ 6280740 w 43"/>
              <a:gd name="T67" fmla="*/ 10196053 h 93"/>
              <a:gd name="T68" fmla="*/ 6280740 w 43"/>
              <a:gd name="T69" fmla="*/ 11706533 h 93"/>
              <a:gd name="T70" fmla="*/ 6869518 w 43"/>
              <a:gd name="T71" fmla="*/ 13594941 h 93"/>
              <a:gd name="T72" fmla="*/ 7654557 w 43"/>
              <a:gd name="T73" fmla="*/ 16237974 h 93"/>
              <a:gd name="T74" fmla="*/ 7458297 w 43"/>
              <a:gd name="T75" fmla="*/ 16615901 h 93"/>
              <a:gd name="T76" fmla="*/ 7262038 w 43"/>
              <a:gd name="T77" fmla="*/ 16993214 h 93"/>
              <a:gd name="T78" fmla="*/ 7262038 w 43"/>
              <a:gd name="T79" fmla="*/ 18126381 h 93"/>
              <a:gd name="T80" fmla="*/ 7458297 w 43"/>
              <a:gd name="T81" fmla="*/ 19258934 h 93"/>
              <a:gd name="T82" fmla="*/ 7654557 w 43"/>
              <a:gd name="T83" fmla="*/ 22279899 h 93"/>
              <a:gd name="T84" fmla="*/ 8047075 w 43"/>
              <a:gd name="T85" fmla="*/ 25678787 h 93"/>
              <a:gd name="T86" fmla="*/ 8243334 w 43"/>
              <a:gd name="T87" fmla="*/ 28699747 h 93"/>
              <a:gd name="T88" fmla="*/ 8439593 w 43"/>
              <a:gd name="T89" fmla="*/ 32098635 h 93"/>
              <a:gd name="T90" fmla="*/ 8439593 w 43"/>
              <a:gd name="T91" fmla="*/ 33231187 h 93"/>
              <a:gd name="T92" fmla="*/ 8243334 w 43"/>
              <a:gd name="T93" fmla="*/ 34364355 h 93"/>
              <a:gd name="T94" fmla="*/ 7850816 w 43"/>
              <a:gd name="T95" fmla="*/ 34741668 h 93"/>
              <a:gd name="T96" fmla="*/ 7654557 w 43"/>
              <a:gd name="T97" fmla="*/ 35119595 h 93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43"/>
              <a:gd name="T148" fmla="*/ 0 h 93"/>
              <a:gd name="T149" fmla="*/ 43 w 43"/>
              <a:gd name="T150" fmla="*/ 93 h 93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43" h="93">
                <a:moveTo>
                  <a:pt x="39" y="93"/>
                </a:moveTo>
                <a:lnTo>
                  <a:pt x="31" y="91"/>
                </a:lnTo>
                <a:lnTo>
                  <a:pt x="26" y="89"/>
                </a:lnTo>
                <a:lnTo>
                  <a:pt x="21" y="87"/>
                </a:lnTo>
                <a:lnTo>
                  <a:pt x="18" y="84"/>
                </a:lnTo>
                <a:lnTo>
                  <a:pt x="15" y="79"/>
                </a:lnTo>
                <a:lnTo>
                  <a:pt x="14" y="73"/>
                </a:lnTo>
                <a:lnTo>
                  <a:pt x="13" y="65"/>
                </a:lnTo>
                <a:lnTo>
                  <a:pt x="11" y="55"/>
                </a:lnTo>
                <a:lnTo>
                  <a:pt x="11" y="48"/>
                </a:lnTo>
                <a:lnTo>
                  <a:pt x="9" y="42"/>
                </a:lnTo>
                <a:lnTo>
                  <a:pt x="6" y="38"/>
                </a:lnTo>
                <a:lnTo>
                  <a:pt x="4" y="36"/>
                </a:lnTo>
                <a:lnTo>
                  <a:pt x="2" y="34"/>
                </a:lnTo>
                <a:lnTo>
                  <a:pt x="0" y="32"/>
                </a:lnTo>
                <a:lnTo>
                  <a:pt x="2" y="29"/>
                </a:lnTo>
                <a:lnTo>
                  <a:pt x="5" y="24"/>
                </a:lnTo>
                <a:lnTo>
                  <a:pt x="6" y="28"/>
                </a:lnTo>
                <a:lnTo>
                  <a:pt x="7" y="29"/>
                </a:lnTo>
                <a:lnTo>
                  <a:pt x="8" y="30"/>
                </a:lnTo>
                <a:lnTo>
                  <a:pt x="9" y="29"/>
                </a:lnTo>
                <a:lnTo>
                  <a:pt x="11" y="25"/>
                </a:lnTo>
                <a:lnTo>
                  <a:pt x="14" y="19"/>
                </a:lnTo>
                <a:lnTo>
                  <a:pt x="16" y="12"/>
                </a:lnTo>
                <a:lnTo>
                  <a:pt x="20" y="6"/>
                </a:lnTo>
                <a:lnTo>
                  <a:pt x="22" y="4"/>
                </a:lnTo>
                <a:lnTo>
                  <a:pt x="25" y="2"/>
                </a:lnTo>
                <a:lnTo>
                  <a:pt x="28" y="0"/>
                </a:lnTo>
                <a:lnTo>
                  <a:pt x="32" y="0"/>
                </a:lnTo>
                <a:lnTo>
                  <a:pt x="33" y="10"/>
                </a:lnTo>
                <a:lnTo>
                  <a:pt x="33" y="16"/>
                </a:lnTo>
                <a:lnTo>
                  <a:pt x="33" y="20"/>
                </a:lnTo>
                <a:lnTo>
                  <a:pt x="32" y="23"/>
                </a:lnTo>
                <a:lnTo>
                  <a:pt x="32" y="27"/>
                </a:lnTo>
                <a:lnTo>
                  <a:pt x="32" y="31"/>
                </a:lnTo>
                <a:lnTo>
                  <a:pt x="35" y="36"/>
                </a:lnTo>
                <a:lnTo>
                  <a:pt x="39" y="43"/>
                </a:lnTo>
                <a:lnTo>
                  <a:pt x="38" y="44"/>
                </a:lnTo>
                <a:lnTo>
                  <a:pt x="37" y="45"/>
                </a:lnTo>
                <a:lnTo>
                  <a:pt x="37" y="48"/>
                </a:lnTo>
                <a:lnTo>
                  <a:pt x="38" y="51"/>
                </a:lnTo>
                <a:lnTo>
                  <a:pt x="39" y="59"/>
                </a:lnTo>
                <a:lnTo>
                  <a:pt x="41" y="68"/>
                </a:lnTo>
                <a:lnTo>
                  <a:pt x="42" y="76"/>
                </a:lnTo>
                <a:lnTo>
                  <a:pt x="43" y="85"/>
                </a:lnTo>
                <a:lnTo>
                  <a:pt x="43" y="88"/>
                </a:lnTo>
                <a:lnTo>
                  <a:pt x="42" y="91"/>
                </a:lnTo>
                <a:lnTo>
                  <a:pt x="40" y="92"/>
                </a:lnTo>
                <a:lnTo>
                  <a:pt x="39" y="93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9" name="Freeform 36"/>
          <p:cNvSpPr>
            <a:spLocks/>
          </p:cNvSpPr>
          <p:nvPr userDrawn="1">
            <p:custDataLst>
              <p:tags r:id="rId31"/>
            </p:custDataLst>
          </p:nvPr>
        </p:nvSpPr>
        <p:spPr bwMode="auto">
          <a:xfrm>
            <a:off x="5438784" y="2308634"/>
            <a:ext cx="14287" cy="42863"/>
          </a:xfrm>
          <a:custGeom>
            <a:avLst/>
            <a:gdLst>
              <a:gd name="T0" fmla="*/ 5102959 w 40"/>
              <a:gd name="T1" fmla="*/ 58323616 h 56"/>
              <a:gd name="T2" fmla="*/ 4720067 w 40"/>
              <a:gd name="T3" fmla="*/ 47909052 h 56"/>
              <a:gd name="T4" fmla="*/ 4210022 w 40"/>
              <a:gd name="T5" fmla="*/ 39576380 h 56"/>
              <a:gd name="T6" fmla="*/ 3572107 w 40"/>
              <a:gd name="T7" fmla="*/ 33327634 h 56"/>
              <a:gd name="T8" fmla="*/ 2934193 w 40"/>
              <a:gd name="T9" fmla="*/ 29161808 h 56"/>
              <a:gd name="T10" fmla="*/ 1403340 w 40"/>
              <a:gd name="T11" fmla="*/ 21871103 h 56"/>
              <a:gd name="T12" fmla="*/ 0 w 40"/>
              <a:gd name="T13" fmla="*/ 12497481 h 56"/>
              <a:gd name="T14" fmla="*/ 1658364 w 40"/>
              <a:gd name="T15" fmla="*/ 4165827 h 56"/>
              <a:gd name="T16" fmla="*/ 2551658 w 40"/>
              <a:gd name="T17" fmla="*/ 0 h 56"/>
              <a:gd name="T18" fmla="*/ 3572107 w 40"/>
              <a:gd name="T19" fmla="*/ 12497481 h 56"/>
              <a:gd name="T20" fmla="*/ 4465044 w 40"/>
              <a:gd name="T21" fmla="*/ 22913070 h 56"/>
              <a:gd name="T22" fmla="*/ 4720067 w 40"/>
              <a:gd name="T23" fmla="*/ 26036929 h 56"/>
              <a:gd name="T24" fmla="*/ 4975447 w 40"/>
              <a:gd name="T25" fmla="*/ 30203775 h 56"/>
              <a:gd name="T26" fmla="*/ 4975447 w 40"/>
              <a:gd name="T27" fmla="*/ 34369608 h 56"/>
              <a:gd name="T28" fmla="*/ 5102959 w 40"/>
              <a:gd name="T29" fmla="*/ 38535434 h 56"/>
              <a:gd name="T30" fmla="*/ 5102959 w 40"/>
              <a:gd name="T31" fmla="*/ 45826139 h 56"/>
              <a:gd name="T32" fmla="*/ 5102959 w 40"/>
              <a:gd name="T33" fmla="*/ 47909052 h 56"/>
              <a:gd name="T34" fmla="*/ 5102959 w 40"/>
              <a:gd name="T35" fmla="*/ 51032911 h 56"/>
              <a:gd name="T36" fmla="*/ 5102959 w 40"/>
              <a:gd name="T37" fmla="*/ 58323616 h 5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40"/>
              <a:gd name="T58" fmla="*/ 0 h 56"/>
              <a:gd name="T59" fmla="*/ 40 w 40"/>
              <a:gd name="T60" fmla="*/ 56 h 5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40" h="56">
                <a:moveTo>
                  <a:pt x="40" y="56"/>
                </a:moveTo>
                <a:lnTo>
                  <a:pt x="37" y="46"/>
                </a:lnTo>
                <a:lnTo>
                  <a:pt x="33" y="38"/>
                </a:lnTo>
                <a:lnTo>
                  <a:pt x="28" y="32"/>
                </a:lnTo>
                <a:lnTo>
                  <a:pt x="23" y="28"/>
                </a:lnTo>
                <a:lnTo>
                  <a:pt x="11" y="21"/>
                </a:lnTo>
                <a:lnTo>
                  <a:pt x="0" y="12"/>
                </a:lnTo>
                <a:lnTo>
                  <a:pt x="13" y="4"/>
                </a:lnTo>
                <a:lnTo>
                  <a:pt x="20" y="0"/>
                </a:lnTo>
                <a:lnTo>
                  <a:pt x="28" y="12"/>
                </a:lnTo>
                <a:lnTo>
                  <a:pt x="35" y="22"/>
                </a:lnTo>
                <a:lnTo>
                  <a:pt x="37" y="25"/>
                </a:lnTo>
                <a:lnTo>
                  <a:pt x="39" y="29"/>
                </a:lnTo>
                <a:lnTo>
                  <a:pt x="39" y="33"/>
                </a:lnTo>
                <a:lnTo>
                  <a:pt x="40" y="37"/>
                </a:lnTo>
                <a:lnTo>
                  <a:pt x="40" y="44"/>
                </a:lnTo>
                <a:lnTo>
                  <a:pt x="40" y="46"/>
                </a:lnTo>
                <a:lnTo>
                  <a:pt x="40" y="49"/>
                </a:lnTo>
                <a:lnTo>
                  <a:pt x="40" y="56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0" name="Freeform 37"/>
          <p:cNvSpPr>
            <a:spLocks/>
          </p:cNvSpPr>
          <p:nvPr userDrawn="1">
            <p:custDataLst>
              <p:tags r:id="rId32"/>
            </p:custDataLst>
          </p:nvPr>
        </p:nvSpPr>
        <p:spPr bwMode="auto">
          <a:xfrm>
            <a:off x="6926263" y="2803927"/>
            <a:ext cx="44450" cy="42863"/>
          </a:xfrm>
          <a:custGeom>
            <a:avLst/>
            <a:gdLst>
              <a:gd name="T0" fmla="*/ 0 w 106"/>
              <a:gd name="T1" fmla="*/ 4535778 h 71"/>
              <a:gd name="T2" fmla="*/ 2110117 w 106"/>
              <a:gd name="T3" fmla="*/ 6478877 h 71"/>
              <a:gd name="T4" fmla="*/ 4220234 w 106"/>
              <a:gd name="T5" fmla="*/ 7774815 h 71"/>
              <a:gd name="T6" fmla="*/ 6154648 w 106"/>
              <a:gd name="T7" fmla="*/ 8422783 h 71"/>
              <a:gd name="T8" fmla="*/ 7912940 w 106"/>
              <a:gd name="T9" fmla="*/ 8422783 h 71"/>
              <a:gd name="T10" fmla="*/ 9495527 w 106"/>
              <a:gd name="T11" fmla="*/ 7126847 h 71"/>
              <a:gd name="T12" fmla="*/ 10726708 w 106"/>
              <a:gd name="T13" fmla="*/ 5182941 h 71"/>
              <a:gd name="T14" fmla="*/ 11957469 w 106"/>
              <a:gd name="T15" fmla="*/ 3239841 h 71"/>
              <a:gd name="T16" fmla="*/ 13012527 w 106"/>
              <a:gd name="T17" fmla="*/ 0 h 71"/>
              <a:gd name="T18" fmla="*/ 14771241 w 106"/>
              <a:gd name="T19" fmla="*/ 10366687 h 71"/>
              <a:gd name="T20" fmla="*/ 16529531 w 106"/>
              <a:gd name="T21" fmla="*/ 19437437 h 71"/>
              <a:gd name="T22" fmla="*/ 17760292 w 106"/>
              <a:gd name="T23" fmla="*/ 28508191 h 71"/>
              <a:gd name="T24" fmla="*/ 18463944 w 106"/>
              <a:gd name="T25" fmla="*/ 35635035 h 71"/>
              <a:gd name="T26" fmla="*/ 18639647 w 106"/>
              <a:gd name="T27" fmla="*/ 38874875 h 71"/>
              <a:gd name="T28" fmla="*/ 18639647 w 106"/>
              <a:gd name="T29" fmla="*/ 40818779 h 71"/>
              <a:gd name="T30" fmla="*/ 18463944 w 106"/>
              <a:gd name="T31" fmla="*/ 43409846 h 71"/>
              <a:gd name="T32" fmla="*/ 18112118 w 106"/>
              <a:gd name="T33" fmla="*/ 44705782 h 71"/>
              <a:gd name="T34" fmla="*/ 17760292 w 106"/>
              <a:gd name="T35" fmla="*/ 45353750 h 71"/>
              <a:gd name="T36" fmla="*/ 17232763 w 106"/>
              <a:gd name="T37" fmla="*/ 45353750 h 71"/>
              <a:gd name="T38" fmla="*/ 16177705 w 106"/>
              <a:gd name="T39" fmla="*/ 45353750 h 71"/>
              <a:gd name="T40" fmla="*/ 15298770 w 106"/>
              <a:gd name="T41" fmla="*/ 44057814 h 71"/>
              <a:gd name="T42" fmla="*/ 13012527 w 106"/>
              <a:gd name="T43" fmla="*/ 45353750 h 71"/>
              <a:gd name="T44" fmla="*/ 11078114 w 106"/>
              <a:gd name="T45" fmla="*/ 46001718 h 71"/>
              <a:gd name="T46" fmla="*/ 9319824 w 106"/>
              <a:gd name="T47" fmla="*/ 44705782 h 71"/>
              <a:gd name="T48" fmla="*/ 7912940 w 106"/>
              <a:gd name="T49" fmla="*/ 42761878 h 71"/>
              <a:gd name="T50" fmla="*/ 6506473 w 106"/>
              <a:gd name="T51" fmla="*/ 40170811 h 71"/>
              <a:gd name="T52" fmla="*/ 5627118 w 106"/>
              <a:gd name="T53" fmla="*/ 36930971 h 71"/>
              <a:gd name="T54" fmla="*/ 4747763 w 106"/>
              <a:gd name="T55" fmla="*/ 33043162 h 71"/>
              <a:gd name="T56" fmla="*/ 4220234 w 106"/>
              <a:gd name="T57" fmla="*/ 29156159 h 71"/>
              <a:gd name="T58" fmla="*/ 3692705 w 106"/>
              <a:gd name="T59" fmla="*/ 24620377 h 71"/>
              <a:gd name="T60" fmla="*/ 3517002 w 106"/>
              <a:gd name="T61" fmla="*/ 19437437 h 71"/>
              <a:gd name="T62" fmla="*/ 3340879 w 106"/>
              <a:gd name="T63" fmla="*/ 15549629 h 71"/>
              <a:gd name="T64" fmla="*/ 3165175 w 106"/>
              <a:gd name="T65" fmla="*/ 12310591 h 71"/>
              <a:gd name="T66" fmla="*/ 3165175 w 106"/>
              <a:gd name="T67" fmla="*/ 9070751 h 71"/>
              <a:gd name="T68" fmla="*/ 3340879 w 106"/>
              <a:gd name="T69" fmla="*/ 6478877 h 71"/>
              <a:gd name="T70" fmla="*/ 3517002 w 106"/>
              <a:gd name="T71" fmla="*/ 4535778 h 71"/>
              <a:gd name="T72" fmla="*/ 3692705 w 106"/>
              <a:gd name="T73" fmla="*/ 4535778 h 71"/>
              <a:gd name="T74" fmla="*/ 3517002 w 106"/>
              <a:gd name="T75" fmla="*/ 6478877 h 71"/>
              <a:gd name="T76" fmla="*/ 3340879 w 106"/>
              <a:gd name="T77" fmla="*/ 10366687 h 71"/>
              <a:gd name="T78" fmla="*/ 3340879 w 106"/>
              <a:gd name="T79" fmla="*/ 11014655 h 71"/>
              <a:gd name="T80" fmla="*/ 3340879 w 106"/>
              <a:gd name="T81" fmla="*/ 11014655 h 71"/>
              <a:gd name="T82" fmla="*/ 3517002 w 106"/>
              <a:gd name="T83" fmla="*/ 11014655 h 71"/>
              <a:gd name="T84" fmla="*/ 3692705 w 106"/>
              <a:gd name="T85" fmla="*/ 11014655 h 71"/>
              <a:gd name="T86" fmla="*/ 4044531 w 106"/>
              <a:gd name="T87" fmla="*/ 8422783 h 71"/>
              <a:gd name="T88" fmla="*/ 4747763 w 106"/>
              <a:gd name="T89" fmla="*/ 4535778 h 71"/>
              <a:gd name="T90" fmla="*/ 0 w 106"/>
              <a:gd name="T91" fmla="*/ 4535778 h 71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106"/>
              <a:gd name="T139" fmla="*/ 0 h 71"/>
              <a:gd name="T140" fmla="*/ 106 w 106"/>
              <a:gd name="T141" fmla="*/ 71 h 71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106" h="71">
                <a:moveTo>
                  <a:pt x="0" y="7"/>
                </a:moveTo>
                <a:lnTo>
                  <a:pt x="12" y="10"/>
                </a:lnTo>
                <a:lnTo>
                  <a:pt x="24" y="12"/>
                </a:lnTo>
                <a:lnTo>
                  <a:pt x="35" y="13"/>
                </a:lnTo>
                <a:lnTo>
                  <a:pt x="45" y="13"/>
                </a:lnTo>
                <a:lnTo>
                  <a:pt x="54" y="11"/>
                </a:lnTo>
                <a:lnTo>
                  <a:pt x="61" y="8"/>
                </a:lnTo>
                <a:lnTo>
                  <a:pt x="68" y="5"/>
                </a:lnTo>
                <a:lnTo>
                  <a:pt x="74" y="0"/>
                </a:lnTo>
                <a:lnTo>
                  <a:pt x="84" y="16"/>
                </a:lnTo>
                <a:lnTo>
                  <a:pt x="94" y="30"/>
                </a:lnTo>
                <a:lnTo>
                  <a:pt x="101" y="44"/>
                </a:lnTo>
                <a:lnTo>
                  <a:pt x="105" y="55"/>
                </a:lnTo>
                <a:lnTo>
                  <a:pt x="106" y="60"/>
                </a:lnTo>
                <a:lnTo>
                  <a:pt x="106" y="63"/>
                </a:lnTo>
                <a:lnTo>
                  <a:pt x="105" y="67"/>
                </a:lnTo>
                <a:lnTo>
                  <a:pt x="103" y="69"/>
                </a:lnTo>
                <a:lnTo>
                  <a:pt x="101" y="70"/>
                </a:lnTo>
                <a:lnTo>
                  <a:pt x="98" y="70"/>
                </a:lnTo>
                <a:lnTo>
                  <a:pt x="92" y="70"/>
                </a:lnTo>
                <a:lnTo>
                  <a:pt x="87" y="68"/>
                </a:lnTo>
                <a:lnTo>
                  <a:pt x="74" y="70"/>
                </a:lnTo>
                <a:lnTo>
                  <a:pt x="63" y="71"/>
                </a:lnTo>
                <a:lnTo>
                  <a:pt x="53" y="69"/>
                </a:lnTo>
                <a:lnTo>
                  <a:pt x="45" y="66"/>
                </a:lnTo>
                <a:lnTo>
                  <a:pt x="37" y="62"/>
                </a:lnTo>
                <a:lnTo>
                  <a:pt x="32" y="57"/>
                </a:lnTo>
                <a:lnTo>
                  <a:pt x="27" y="51"/>
                </a:lnTo>
                <a:lnTo>
                  <a:pt x="24" y="45"/>
                </a:lnTo>
                <a:lnTo>
                  <a:pt x="21" y="38"/>
                </a:lnTo>
                <a:lnTo>
                  <a:pt x="20" y="30"/>
                </a:lnTo>
                <a:lnTo>
                  <a:pt x="19" y="24"/>
                </a:lnTo>
                <a:lnTo>
                  <a:pt x="18" y="19"/>
                </a:lnTo>
                <a:lnTo>
                  <a:pt x="18" y="14"/>
                </a:lnTo>
                <a:lnTo>
                  <a:pt x="19" y="10"/>
                </a:lnTo>
                <a:lnTo>
                  <a:pt x="20" y="7"/>
                </a:lnTo>
                <a:lnTo>
                  <a:pt x="21" y="7"/>
                </a:lnTo>
                <a:lnTo>
                  <a:pt x="20" y="10"/>
                </a:lnTo>
                <a:lnTo>
                  <a:pt x="19" y="16"/>
                </a:lnTo>
                <a:lnTo>
                  <a:pt x="19" y="17"/>
                </a:lnTo>
                <a:lnTo>
                  <a:pt x="20" y="17"/>
                </a:lnTo>
                <a:lnTo>
                  <a:pt x="21" y="17"/>
                </a:lnTo>
                <a:lnTo>
                  <a:pt x="23" y="13"/>
                </a:lnTo>
                <a:lnTo>
                  <a:pt x="27" y="7"/>
                </a:lnTo>
                <a:lnTo>
                  <a:pt x="0" y="7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grpSp>
        <p:nvGrpSpPr>
          <p:cNvPr id="4" name="Group 38"/>
          <p:cNvGrpSpPr>
            <a:grpSpLocks/>
          </p:cNvGrpSpPr>
          <p:nvPr userDrawn="1">
            <p:custDataLst>
              <p:tags r:id="rId33"/>
            </p:custDataLst>
          </p:nvPr>
        </p:nvGrpSpPr>
        <p:grpSpPr bwMode="auto">
          <a:xfrm>
            <a:off x="2778135" y="4160054"/>
            <a:ext cx="65087" cy="41672"/>
            <a:chOff x="1654" y="3671"/>
            <a:chExt cx="49" cy="17"/>
          </a:xfrm>
          <a:solidFill>
            <a:sysClr val="window" lastClr="FFFFFF">
              <a:lumMod val="85000"/>
            </a:sysClr>
          </a:solidFill>
        </p:grpSpPr>
        <p:sp>
          <p:nvSpPr>
            <p:cNvPr id="42" name="Freeform 39"/>
            <p:cNvSpPr>
              <a:spLocks/>
            </p:cNvSpPr>
            <p:nvPr/>
          </p:nvSpPr>
          <p:spPr bwMode="auto">
            <a:xfrm>
              <a:off x="1654" y="3672"/>
              <a:ext cx="20" cy="14"/>
            </a:xfrm>
            <a:custGeom>
              <a:avLst/>
              <a:gdLst>
                <a:gd name="T0" fmla="*/ 3 w 59"/>
                <a:gd name="T1" fmla="*/ 5 h 43"/>
                <a:gd name="T2" fmla="*/ 7 w 59"/>
                <a:gd name="T3" fmla="*/ 2 h 43"/>
                <a:gd name="T4" fmla="*/ 6 w 59"/>
                <a:gd name="T5" fmla="*/ 2 h 43"/>
                <a:gd name="T6" fmla="*/ 6 w 59"/>
                <a:gd name="T7" fmla="*/ 1 h 43"/>
                <a:gd name="T8" fmla="*/ 5 w 59"/>
                <a:gd name="T9" fmla="*/ 1 h 43"/>
                <a:gd name="T10" fmla="*/ 5 w 59"/>
                <a:gd name="T11" fmla="*/ 0 h 43"/>
                <a:gd name="T12" fmla="*/ 5 w 59"/>
                <a:gd name="T13" fmla="*/ 0 h 43"/>
                <a:gd name="T14" fmla="*/ 4 w 59"/>
                <a:gd name="T15" fmla="*/ 0 h 43"/>
                <a:gd name="T16" fmla="*/ 4 w 59"/>
                <a:gd name="T17" fmla="*/ 1 h 43"/>
                <a:gd name="T18" fmla="*/ 3 w 59"/>
                <a:gd name="T19" fmla="*/ 1 h 43"/>
                <a:gd name="T20" fmla="*/ 3 w 59"/>
                <a:gd name="T21" fmla="*/ 1 h 43"/>
                <a:gd name="T22" fmla="*/ 3 w 59"/>
                <a:gd name="T23" fmla="*/ 1 h 43"/>
                <a:gd name="T24" fmla="*/ 2 w 59"/>
                <a:gd name="T25" fmla="*/ 1 h 43"/>
                <a:gd name="T26" fmla="*/ 1 w 59"/>
                <a:gd name="T27" fmla="*/ 2 h 43"/>
                <a:gd name="T28" fmla="*/ 1 w 59"/>
                <a:gd name="T29" fmla="*/ 2 h 43"/>
                <a:gd name="T30" fmla="*/ 0 w 59"/>
                <a:gd name="T31" fmla="*/ 3 h 43"/>
                <a:gd name="T32" fmla="*/ 1 w 59"/>
                <a:gd name="T33" fmla="*/ 3 h 43"/>
                <a:gd name="T34" fmla="*/ 1 w 59"/>
                <a:gd name="T35" fmla="*/ 4 h 43"/>
                <a:gd name="T36" fmla="*/ 2 w 59"/>
                <a:gd name="T37" fmla="*/ 4 h 43"/>
                <a:gd name="T38" fmla="*/ 3 w 59"/>
                <a:gd name="T39" fmla="*/ 5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59"/>
                <a:gd name="T61" fmla="*/ 0 h 43"/>
                <a:gd name="T62" fmla="*/ 59 w 59"/>
                <a:gd name="T63" fmla="*/ 43 h 43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59" h="43">
                  <a:moveTo>
                    <a:pt x="26" y="43"/>
                  </a:moveTo>
                  <a:lnTo>
                    <a:pt x="59" y="18"/>
                  </a:lnTo>
                  <a:lnTo>
                    <a:pt x="55" y="14"/>
                  </a:lnTo>
                  <a:lnTo>
                    <a:pt x="51" y="9"/>
                  </a:lnTo>
                  <a:lnTo>
                    <a:pt x="47" y="5"/>
                  </a:lnTo>
                  <a:lnTo>
                    <a:pt x="46" y="0"/>
                  </a:lnTo>
                  <a:lnTo>
                    <a:pt x="41" y="1"/>
                  </a:lnTo>
                  <a:lnTo>
                    <a:pt x="34" y="4"/>
                  </a:lnTo>
                  <a:lnTo>
                    <a:pt x="31" y="6"/>
                  </a:lnTo>
                  <a:lnTo>
                    <a:pt x="29" y="8"/>
                  </a:lnTo>
                  <a:lnTo>
                    <a:pt x="26" y="10"/>
                  </a:lnTo>
                  <a:lnTo>
                    <a:pt x="26" y="12"/>
                  </a:lnTo>
                  <a:lnTo>
                    <a:pt x="20" y="13"/>
                  </a:lnTo>
                  <a:lnTo>
                    <a:pt x="13" y="16"/>
                  </a:lnTo>
                  <a:lnTo>
                    <a:pt x="6" y="20"/>
                  </a:lnTo>
                  <a:lnTo>
                    <a:pt x="0" y="24"/>
                  </a:lnTo>
                  <a:lnTo>
                    <a:pt x="5" y="29"/>
                  </a:lnTo>
                  <a:lnTo>
                    <a:pt x="10" y="34"/>
                  </a:lnTo>
                  <a:lnTo>
                    <a:pt x="18" y="39"/>
                  </a:lnTo>
                  <a:lnTo>
                    <a:pt x="26" y="43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3" name="Freeform 40"/>
            <p:cNvSpPr>
              <a:spLocks/>
            </p:cNvSpPr>
            <p:nvPr/>
          </p:nvSpPr>
          <p:spPr bwMode="auto">
            <a:xfrm>
              <a:off x="1681" y="3671"/>
              <a:ext cx="22" cy="17"/>
            </a:xfrm>
            <a:custGeom>
              <a:avLst/>
              <a:gdLst>
                <a:gd name="T0" fmla="*/ 0 w 67"/>
                <a:gd name="T1" fmla="*/ 0 h 51"/>
                <a:gd name="T2" fmla="*/ 3 w 67"/>
                <a:gd name="T3" fmla="*/ 0 h 51"/>
                <a:gd name="T4" fmla="*/ 4 w 67"/>
                <a:gd name="T5" fmla="*/ 0 h 51"/>
                <a:gd name="T6" fmla="*/ 5 w 67"/>
                <a:gd name="T7" fmla="*/ 0 h 51"/>
                <a:gd name="T8" fmla="*/ 6 w 67"/>
                <a:gd name="T9" fmla="*/ 0 h 51"/>
                <a:gd name="T10" fmla="*/ 6 w 67"/>
                <a:gd name="T11" fmla="*/ 0 h 51"/>
                <a:gd name="T12" fmla="*/ 7 w 67"/>
                <a:gd name="T13" fmla="*/ 1 h 51"/>
                <a:gd name="T14" fmla="*/ 6 w 67"/>
                <a:gd name="T15" fmla="*/ 1 h 51"/>
                <a:gd name="T16" fmla="*/ 5 w 67"/>
                <a:gd name="T17" fmla="*/ 2 h 51"/>
                <a:gd name="T18" fmla="*/ 5 w 67"/>
                <a:gd name="T19" fmla="*/ 2 h 51"/>
                <a:gd name="T20" fmla="*/ 4 w 67"/>
                <a:gd name="T21" fmla="*/ 3 h 51"/>
                <a:gd name="T22" fmla="*/ 3 w 67"/>
                <a:gd name="T23" fmla="*/ 3 h 51"/>
                <a:gd name="T24" fmla="*/ 2 w 67"/>
                <a:gd name="T25" fmla="*/ 3 h 51"/>
                <a:gd name="T26" fmla="*/ 3 w 67"/>
                <a:gd name="T27" fmla="*/ 3 h 51"/>
                <a:gd name="T28" fmla="*/ 4 w 67"/>
                <a:gd name="T29" fmla="*/ 3 h 51"/>
                <a:gd name="T30" fmla="*/ 3 w 67"/>
                <a:gd name="T31" fmla="*/ 4 h 51"/>
                <a:gd name="T32" fmla="*/ 3 w 67"/>
                <a:gd name="T33" fmla="*/ 4 h 51"/>
                <a:gd name="T34" fmla="*/ 2 w 67"/>
                <a:gd name="T35" fmla="*/ 5 h 51"/>
                <a:gd name="T36" fmla="*/ 2 w 67"/>
                <a:gd name="T37" fmla="*/ 5 h 51"/>
                <a:gd name="T38" fmla="*/ 1 w 67"/>
                <a:gd name="T39" fmla="*/ 5 h 51"/>
                <a:gd name="T40" fmla="*/ 0 w 67"/>
                <a:gd name="T41" fmla="*/ 6 h 51"/>
                <a:gd name="T42" fmla="*/ 0 w 67"/>
                <a:gd name="T43" fmla="*/ 0 h 51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67"/>
                <a:gd name="T67" fmla="*/ 0 h 51"/>
                <a:gd name="T68" fmla="*/ 67 w 67"/>
                <a:gd name="T69" fmla="*/ 51 h 51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67" h="51">
                  <a:moveTo>
                    <a:pt x="0" y="2"/>
                  </a:moveTo>
                  <a:lnTo>
                    <a:pt x="24" y="1"/>
                  </a:lnTo>
                  <a:lnTo>
                    <a:pt x="39" y="0"/>
                  </a:lnTo>
                  <a:lnTo>
                    <a:pt x="45" y="1"/>
                  </a:lnTo>
                  <a:lnTo>
                    <a:pt x="51" y="2"/>
                  </a:lnTo>
                  <a:lnTo>
                    <a:pt x="58" y="4"/>
                  </a:lnTo>
                  <a:lnTo>
                    <a:pt x="67" y="8"/>
                  </a:lnTo>
                  <a:lnTo>
                    <a:pt x="55" y="13"/>
                  </a:lnTo>
                  <a:lnTo>
                    <a:pt x="46" y="19"/>
                  </a:lnTo>
                  <a:lnTo>
                    <a:pt x="42" y="22"/>
                  </a:lnTo>
                  <a:lnTo>
                    <a:pt x="36" y="24"/>
                  </a:lnTo>
                  <a:lnTo>
                    <a:pt x="29" y="26"/>
                  </a:lnTo>
                  <a:lnTo>
                    <a:pt x="20" y="26"/>
                  </a:lnTo>
                  <a:lnTo>
                    <a:pt x="24" y="26"/>
                  </a:lnTo>
                  <a:lnTo>
                    <a:pt x="34" y="26"/>
                  </a:lnTo>
                  <a:lnTo>
                    <a:pt x="29" y="34"/>
                  </a:lnTo>
                  <a:lnTo>
                    <a:pt x="25" y="40"/>
                  </a:lnTo>
                  <a:lnTo>
                    <a:pt x="22" y="44"/>
                  </a:lnTo>
                  <a:lnTo>
                    <a:pt x="20" y="46"/>
                  </a:lnTo>
                  <a:lnTo>
                    <a:pt x="12" y="48"/>
                  </a:lnTo>
                  <a:lnTo>
                    <a:pt x="0" y="51"/>
                  </a:lnTo>
                  <a:lnTo>
                    <a:pt x="0" y="2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44" name="Freeform 41"/>
          <p:cNvSpPr>
            <a:spLocks/>
          </p:cNvSpPr>
          <p:nvPr userDrawn="1">
            <p:custDataLst>
              <p:tags r:id="rId34"/>
            </p:custDataLst>
          </p:nvPr>
        </p:nvSpPr>
        <p:spPr bwMode="auto">
          <a:xfrm>
            <a:off x="2425701" y="2506278"/>
            <a:ext cx="31750" cy="44053"/>
          </a:xfrm>
          <a:custGeom>
            <a:avLst/>
            <a:gdLst>
              <a:gd name="T0" fmla="*/ 0 w 80"/>
              <a:gd name="T1" fmla="*/ 44766225 h 34"/>
              <a:gd name="T2" fmla="*/ 157559 w 80"/>
              <a:gd name="T3" fmla="*/ 56705392 h 34"/>
              <a:gd name="T4" fmla="*/ 315119 w 80"/>
              <a:gd name="T5" fmla="*/ 62674105 h 34"/>
              <a:gd name="T6" fmla="*/ 630237 w 80"/>
              <a:gd name="T7" fmla="*/ 71626311 h 34"/>
              <a:gd name="T8" fmla="*/ 1102519 w 80"/>
              <a:gd name="T9" fmla="*/ 77596752 h 34"/>
              <a:gd name="T10" fmla="*/ 2047478 w 80"/>
              <a:gd name="T11" fmla="*/ 86548958 h 34"/>
              <a:gd name="T12" fmla="*/ 3465116 w 80"/>
              <a:gd name="T13" fmla="*/ 92517671 h 34"/>
              <a:gd name="T14" fmla="*/ 6300390 w 80"/>
              <a:gd name="T15" fmla="*/ 98486384 h 34"/>
              <a:gd name="T16" fmla="*/ 8505428 w 80"/>
              <a:gd name="T17" fmla="*/ 101471604 h 34"/>
              <a:gd name="T18" fmla="*/ 9135665 w 80"/>
              <a:gd name="T19" fmla="*/ 98486384 h 34"/>
              <a:gd name="T20" fmla="*/ 9765506 w 80"/>
              <a:gd name="T21" fmla="*/ 95502891 h 34"/>
              <a:gd name="T22" fmla="*/ 10238184 w 80"/>
              <a:gd name="T23" fmla="*/ 86548958 h 34"/>
              <a:gd name="T24" fmla="*/ 10553302 w 80"/>
              <a:gd name="T25" fmla="*/ 80580245 h 34"/>
              <a:gd name="T26" fmla="*/ 11498261 w 80"/>
              <a:gd name="T27" fmla="*/ 62674105 h 34"/>
              <a:gd name="T28" fmla="*/ 12600780 w 80"/>
              <a:gd name="T29" fmla="*/ 44766225 h 34"/>
              <a:gd name="T30" fmla="*/ 11813380 w 80"/>
              <a:gd name="T31" fmla="*/ 29845306 h 34"/>
              <a:gd name="T32" fmla="*/ 11025583 w 80"/>
              <a:gd name="T33" fmla="*/ 20891366 h 34"/>
              <a:gd name="T34" fmla="*/ 10238184 w 80"/>
              <a:gd name="T35" fmla="*/ 11937429 h 34"/>
              <a:gd name="T36" fmla="*/ 9450387 w 80"/>
              <a:gd name="T37" fmla="*/ 5968715 h 34"/>
              <a:gd name="T38" fmla="*/ 8662987 w 80"/>
              <a:gd name="T39" fmla="*/ 0 h 34"/>
              <a:gd name="T40" fmla="*/ 8033147 w 80"/>
              <a:gd name="T41" fmla="*/ 0 h 34"/>
              <a:gd name="T42" fmla="*/ 7087791 w 80"/>
              <a:gd name="T43" fmla="*/ 2985221 h 34"/>
              <a:gd name="T44" fmla="*/ 6457949 w 80"/>
              <a:gd name="T45" fmla="*/ 5968715 h 34"/>
              <a:gd name="T46" fmla="*/ 5355431 w 80"/>
              <a:gd name="T47" fmla="*/ 5968715 h 34"/>
              <a:gd name="T48" fmla="*/ 3307557 w 80"/>
              <a:gd name="T49" fmla="*/ 5968715 h 34"/>
              <a:gd name="T50" fmla="*/ 2047478 w 80"/>
              <a:gd name="T51" fmla="*/ 8953937 h 34"/>
              <a:gd name="T52" fmla="*/ 1102519 w 80"/>
              <a:gd name="T53" fmla="*/ 14922653 h 34"/>
              <a:gd name="T54" fmla="*/ 630237 w 80"/>
              <a:gd name="T55" fmla="*/ 20891366 h 34"/>
              <a:gd name="T56" fmla="*/ 315119 w 80"/>
              <a:gd name="T57" fmla="*/ 26860079 h 34"/>
              <a:gd name="T58" fmla="*/ 157559 w 80"/>
              <a:gd name="T59" fmla="*/ 32828799 h 34"/>
              <a:gd name="T60" fmla="*/ 0 w 80"/>
              <a:gd name="T61" fmla="*/ 44766225 h 34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80"/>
              <a:gd name="T94" fmla="*/ 0 h 34"/>
              <a:gd name="T95" fmla="*/ 80 w 80"/>
              <a:gd name="T96" fmla="*/ 34 h 34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80" h="34">
                <a:moveTo>
                  <a:pt x="0" y="15"/>
                </a:moveTo>
                <a:lnTo>
                  <a:pt x="1" y="19"/>
                </a:lnTo>
                <a:lnTo>
                  <a:pt x="2" y="21"/>
                </a:lnTo>
                <a:lnTo>
                  <a:pt x="4" y="24"/>
                </a:lnTo>
                <a:lnTo>
                  <a:pt x="7" y="26"/>
                </a:lnTo>
                <a:lnTo>
                  <a:pt x="13" y="29"/>
                </a:lnTo>
                <a:lnTo>
                  <a:pt x="22" y="31"/>
                </a:lnTo>
                <a:lnTo>
                  <a:pt x="40" y="33"/>
                </a:lnTo>
                <a:lnTo>
                  <a:pt x="54" y="34"/>
                </a:lnTo>
                <a:lnTo>
                  <a:pt x="58" y="33"/>
                </a:lnTo>
                <a:lnTo>
                  <a:pt x="62" y="32"/>
                </a:lnTo>
                <a:lnTo>
                  <a:pt x="65" y="29"/>
                </a:lnTo>
                <a:lnTo>
                  <a:pt x="67" y="27"/>
                </a:lnTo>
                <a:lnTo>
                  <a:pt x="73" y="21"/>
                </a:lnTo>
                <a:lnTo>
                  <a:pt x="80" y="15"/>
                </a:lnTo>
                <a:lnTo>
                  <a:pt x="75" y="10"/>
                </a:lnTo>
                <a:lnTo>
                  <a:pt x="70" y="7"/>
                </a:lnTo>
                <a:lnTo>
                  <a:pt x="65" y="4"/>
                </a:lnTo>
                <a:lnTo>
                  <a:pt x="60" y="2"/>
                </a:lnTo>
                <a:lnTo>
                  <a:pt x="55" y="0"/>
                </a:lnTo>
                <a:lnTo>
                  <a:pt x="51" y="0"/>
                </a:lnTo>
                <a:lnTo>
                  <a:pt x="45" y="1"/>
                </a:lnTo>
                <a:lnTo>
                  <a:pt x="41" y="2"/>
                </a:lnTo>
                <a:lnTo>
                  <a:pt x="34" y="2"/>
                </a:lnTo>
                <a:lnTo>
                  <a:pt x="21" y="2"/>
                </a:lnTo>
                <a:lnTo>
                  <a:pt x="13" y="3"/>
                </a:lnTo>
                <a:lnTo>
                  <a:pt x="7" y="5"/>
                </a:lnTo>
                <a:lnTo>
                  <a:pt x="4" y="7"/>
                </a:lnTo>
                <a:lnTo>
                  <a:pt x="2" y="9"/>
                </a:lnTo>
                <a:lnTo>
                  <a:pt x="1" y="11"/>
                </a:lnTo>
                <a:lnTo>
                  <a:pt x="0" y="15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5" name="Freeform 42"/>
          <p:cNvSpPr>
            <a:spLocks/>
          </p:cNvSpPr>
          <p:nvPr userDrawn="1">
            <p:custDataLst>
              <p:tags r:id="rId35"/>
            </p:custDataLst>
          </p:nvPr>
        </p:nvSpPr>
        <p:spPr bwMode="auto">
          <a:xfrm>
            <a:off x="2481264" y="2511041"/>
            <a:ext cx="1588" cy="44053"/>
          </a:xfrm>
          <a:custGeom>
            <a:avLst/>
            <a:gdLst>
              <a:gd name="T0" fmla="*/ 0 w 7"/>
              <a:gd name="T1" fmla="*/ 0 h 13"/>
              <a:gd name="T2" fmla="*/ 360249 w 7"/>
              <a:gd name="T3" fmla="*/ 265387313 h 13"/>
              <a:gd name="T4" fmla="*/ 360249 w 7"/>
              <a:gd name="T5" fmla="*/ 142902596 h 13"/>
              <a:gd name="T6" fmla="*/ 0 60000 65536"/>
              <a:gd name="T7" fmla="*/ 0 60000 65536"/>
              <a:gd name="T8" fmla="*/ 0 60000 65536"/>
              <a:gd name="T9" fmla="*/ 0 w 7"/>
              <a:gd name="T10" fmla="*/ 0 h 13"/>
              <a:gd name="T11" fmla="*/ 7 w 7"/>
              <a:gd name="T12" fmla="*/ 13 h 1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7" h="13">
                <a:moveTo>
                  <a:pt x="0" y="0"/>
                </a:moveTo>
                <a:lnTo>
                  <a:pt x="7" y="13"/>
                </a:lnTo>
                <a:lnTo>
                  <a:pt x="7" y="7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6" name="Freeform 43"/>
          <p:cNvSpPr>
            <a:spLocks/>
          </p:cNvSpPr>
          <p:nvPr userDrawn="1">
            <p:custDataLst>
              <p:tags r:id="rId36"/>
            </p:custDataLst>
          </p:nvPr>
        </p:nvSpPr>
        <p:spPr bwMode="auto">
          <a:xfrm>
            <a:off x="2493962" y="2512229"/>
            <a:ext cx="6350" cy="44054"/>
          </a:xfrm>
          <a:custGeom>
            <a:avLst/>
            <a:gdLst>
              <a:gd name="T0" fmla="*/ 0 w 20"/>
              <a:gd name="T1" fmla="*/ 0 h 6"/>
              <a:gd name="T2" fmla="*/ 705485 w 20"/>
              <a:gd name="T3" fmla="*/ 287512705 h 6"/>
              <a:gd name="T4" fmla="*/ 2016125 w 20"/>
              <a:gd name="T5" fmla="*/ 575025411 h 6"/>
              <a:gd name="T6" fmla="*/ 0 w 20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  <a:gd name="T12" fmla="*/ 0 w 20"/>
              <a:gd name="T13" fmla="*/ 0 h 6"/>
              <a:gd name="T14" fmla="*/ 20 w 20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0" h="6">
                <a:moveTo>
                  <a:pt x="0" y="0"/>
                </a:moveTo>
                <a:lnTo>
                  <a:pt x="7" y="3"/>
                </a:lnTo>
                <a:lnTo>
                  <a:pt x="20" y="6"/>
                </a:lnTo>
                <a:lnTo>
                  <a:pt x="0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7" name="Freeform 44"/>
          <p:cNvSpPr>
            <a:spLocks/>
          </p:cNvSpPr>
          <p:nvPr userDrawn="1">
            <p:custDataLst>
              <p:tags r:id="rId37"/>
            </p:custDataLst>
          </p:nvPr>
        </p:nvSpPr>
        <p:spPr bwMode="auto">
          <a:xfrm>
            <a:off x="2508260" y="2505087"/>
            <a:ext cx="7937" cy="42863"/>
          </a:xfrm>
          <a:custGeom>
            <a:avLst/>
            <a:gdLst>
              <a:gd name="T0" fmla="*/ 0 w 14"/>
              <a:gd name="T1" fmla="*/ 272176863 h 12"/>
              <a:gd name="T2" fmla="*/ 4499712 w 14"/>
              <a:gd name="T3" fmla="*/ 0 h 12"/>
              <a:gd name="T4" fmla="*/ 0 w 14"/>
              <a:gd name="T5" fmla="*/ 272176863 h 12"/>
              <a:gd name="T6" fmla="*/ 0 60000 65536"/>
              <a:gd name="T7" fmla="*/ 0 60000 65536"/>
              <a:gd name="T8" fmla="*/ 0 60000 65536"/>
              <a:gd name="T9" fmla="*/ 0 w 14"/>
              <a:gd name="T10" fmla="*/ 0 h 12"/>
              <a:gd name="T11" fmla="*/ 14 w 14"/>
              <a:gd name="T12" fmla="*/ 12 h 1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4" h="12">
                <a:moveTo>
                  <a:pt x="0" y="12"/>
                </a:moveTo>
                <a:lnTo>
                  <a:pt x="14" y="0"/>
                </a:lnTo>
                <a:lnTo>
                  <a:pt x="0" y="12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8" name="Freeform 45"/>
          <p:cNvSpPr>
            <a:spLocks/>
          </p:cNvSpPr>
          <p:nvPr userDrawn="1">
            <p:custDataLst>
              <p:tags r:id="rId38"/>
            </p:custDataLst>
          </p:nvPr>
        </p:nvSpPr>
        <p:spPr bwMode="auto">
          <a:xfrm>
            <a:off x="2487620" y="2499135"/>
            <a:ext cx="11113" cy="44053"/>
          </a:xfrm>
          <a:custGeom>
            <a:avLst/>
            <a:gdLst>
              <a:gd name="T0" fmla="*/ 0 w 27"/>
              <a:gd name="T1" fmla="*/ 0 h 7"/>
              <a:gd name="T2" fmla="*/ 0 w 27"/>
              <a:gd name="T3" fmla="*/ 281635578 h 7"/>
              <a:gd name="T4" fmla="*/ 338741 w 27"/>
              <a:gd name="T5" fmla="*/ 422453302 h 7"/>
              <a:gd name="T6" fmla="*/ 1185798 w 27"/>
              <a:gd name="T7" fmla="*/ 492862164 h 7"/>
              <a:gd name="T8" fmla="*/ 1694115 w 27"/>
              <a:gd name="T9" fmla="*/ 492862164 h 7"/>
              <a:gd name="T10" fmla="*/ 2541173 w 27"/>
              <a:gd name="T11" fmla="*/ 422453302 h 7"/>
              <a:gd name="T12" fmla="*/ 3218654 w 27"/>
              <a:gd name="T13" fmla="*/ 281635578 h 7"/>
              <a:gd name="T14" fmla="*/ 3896548 w 27"/>
              <a:gd name="T15" fmla="*/ 140817789 h 7"/>
              <a:gd name="T16" fmla="*/ 4574029 w 27"/>
              <a:gd name="T17" fmla="*/ 0 h 7"/>
              <a:gd name="T18" fmla="*/ 0 w 27"/>
              <a:gd name="T19" fmla="*/ 0 h 7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7"/>
              <a:gd name="T31" fmla="*/ 0 h 7"/>
              <a:gd name="T32" fmla="*/ 27 w 27"/>
              <a:gd name="T33" fmla="*/ 7 h 7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7" h="7">
                <a:moveTo>
                  <a:pt x="0" y="0"/>
                </a:moveTo>
                <a:lnTo>
                  <a:pt x="0" y="4"/>
                </a:lnTo>
                <a:lnTo>
                  <a:pt x="2" y="6"/>
                </a:lnTo>
                <a:lnTo>
                  <a:pt x="7" y="7"/>
                </a:lnTo>
                <a:lnTo>
                  <a:pt x="10" y="7"/>
                </a:lnTo>
                <a:lnTo>
                  <a:pt x="15" y="6"/>
                </a:lnTo>
                <a:lnTo>
                  <a:pt x="19" y="4"/>
                </a:lnTo>
                <a:lnTo>
                  <a:pt x="23" y="2"/>
                </a:lnTo>
                <a:lnTo>
                  <a:pt x="27" y="0"/>
                </a:lnTo>
                <a:lnTo>
                  <a:pt x="0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9" name="Freeform 46"/>
          <p:cNvSpPr>
            <a:spLocks/>
          </p:cNvSpPr>
          <p:nvPr userDrawn="1">
            <p:custDataLst>
              <p:tags r:id="rId39"/>
            </p:custDataLst>
          </p:nvPr>
        </p:nvSpPr>
        <p:spPr bwMode="auto">
          <a:xfrm>
            <a:off x="2536835" y="2520565"/>
            <a:ext cx="14287" cy="45244"/>
          </a:xfrm>
          <a:custGeom>
            <a:avLst/>
            <a:gdLst>
              <a:gd name="T0" fmla="*/ 0 w 27"/>
              <a:gd name="T1" fmla="*/ 0 h 6"/>
              <a:gd name="T2" fmla="*/ 3080172 w 27"/>
              <a:gd name="T3" fmla="*/ 303263811 h 6"/>
              <a:gd name="T4" fmla="*/ 7559940 w 27"/>
              <a:gd name="T5" fmla="*/ 606517568 h 6"/>
              <a:gd name="T6" fmla="*/ 0 60000 65536"/>
              <a:gd name="T7" fmla="*/ 0 60000 65536"/>
              <a:gd name="T8" fmla="*/ 0 60000 65536"/>
              <a:gd name="T9" fmla="*/ 0 w 27"/>
              <a:gd name="T10" fmla="*/ 0 h 6"/>
              <a:gd name="T11" fmla="*/ 27 w 27"/>
              <a:gd name="T12" fmla="*/ 6 h 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7" h="6">
                <a:moveTo>
                  <a:pt x="0" y="0"/>
                </a:moveTo>
                <a:lnTo>
                  <a:pt x="11" y="3"/>
                </a:lnTo>
                <a:lnTo>
                  <a:pt x="27" y="6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50" name="Line 47"/>
          <p:cNvSpPr>
            <a:spLocks noChangeShapeType="1"/>
          </p:cNvSpPr>
          <p:nvPr userDrawn="1">
            <p:custDataLst>
              <p:tags r:id="rId40"/>
            </p:custDataLst>
          </p:nvPr>
        </p:nvSpPr>
        <p:spPr bwMode="auto">
          <a:xfrm flipH="1" flipV="1">
            <a:off x="2544763" y="2518183"/>
            <a:ext cx="6350" cy="7144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51" name="Line 48"/>
          <p:cNvSpPr>
            <a:spLocks noChangeShapeType="1"/>
          </p:cNvSpPr>
          <p:nvPr userDrawn="1">
            <p:custDataLst>
              <p:tags r:id="rId41"/>
            </p:custDataLst>
          </p:nvPr>
        </p:nvSpPr>
        <p:spPr bwMode="auto">
          <a:xfrm flipH="1">
            <a:off x="2544763" y="2537222"/>
            <a:ext cx="6350" cy="8334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52" name="Freeform 49"/>
          <p:cNvSpPr>
            <a:spLocks/>
          </p:cNvSpPr>
          <p:nvPr userDrawn="1">
            <p:custDataLst>
              <p:tags r:id="rId42"/>
            </p:custDataLst>
          </p:nvPr>
        </p:nvSpPr>
        <p:spPr bwMode="auto">
          <a:xfrm>
            <a:off x="2544772" y="2533661"/>
            <a:ext cx="11113" cy="44054"/>
          </a:xfrm>
          <a:custGeom>
            <a:avLst/>
            <a:gdLst>
              <a:gd name="T0" fmla="*/ 0 w 20"/>
              <a:gd name="T1" fmla="*/ 143756353 h 24"/>
              <a:gd name="T2" fmla="*/ 617327 w 20"/>
              <a:gd name="T3" fmla="*/ 143756353 h 24"/>
              <a:gd name="T4" fmla="*/ 1852537 w 20"/>
              <a:gd name="T5" fmla="*/ 131776252 h 24"/>
              <a:gd name="T6" fmla="*/ 2778806 w 20"/>
              <a:gd name="T7" fmla="*/ 119796151 h 24"/>
              <a:gd name="T8" fmla="*/ 3705074 w 20"/>
              <a:gd name="T9" fmla="*/ 95838397 h 24"/>
              <a:gd name="T10" fmla="*/ 4631343 w 20"/>
              <a:gd name="T11" fmla="*/ 77867003 h 24"/>
              <a:gd name="T12" fmla="*/ 5557611 w 20"/>
              <a:gd name="T13" fmla="*/ 53909249 h 24"/>
              <a:gd name="T14" fmla="*/ 5865997 w 20"/>
              <a:gd name="T15" fmla="*/ 23960211 h 24"/>
              <a:gd name="T16" fmla="*/ 6174938 w 20"/>
              <a:gd name="T17" fmla="*/ 0 h 2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0"/>
              <a:gd name="T28" fmla="*/ 0 h 24"/>
              <a:gd name="T29" fmla="*/ 20 w 20"/>
              <a:gd name="T30" fmla="*/ 24 h 2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0" h="24">
                <a:moveTo>
                  <a:pt x="0" y="24"/>
                </a:moveTo>
                <a:lnTo>
                  <a:pt x="2" y="24"/>
                </a:lnTo>
                <a:lnTo>
                  <a:pt x="6" y="22"/>
                </a:lnTo>
                <a:lnTo>
                  <a:pt x="9" y="20"/>
                </a:lnTo>
                <a:lnTo>
                  <a:pt x="12" y="16"/>
                </a:lnTo>
                <a:lnTo>
                  <a:pt x="15" y="13"/>
                </a:lnTo>
                <a:lnTo>
                  <a:pt x="18" y="9"/>
                </a:lnTo>
                <a:lnTo>
                  <a:pt x="19" y="4"/>
                </a:lnTo>
                <a:lnTo>
                  <a:pt x="20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53" name="Freeform 50"/>
          <p:cNvSpPr>
            <a:spLocks/>
          </p:cNvSpPr>
          <p:nvPr userDrawn="1">
            <p:custDataLst>
              <p:tags r:id="rId43"/>
            </p:custDataLst>
          </p:nvPr>
        </p:nvSpPr>
        <p:spPr bwMode="auto">
          <a:xfrm>
            <a:off x="2551116" y="2555086"/>
            <a:ext cx="17463" cy="41672"/>
          </a:xfrm>
          <a:custGeom>
            <a:avLst/>
            <a:gdLst>
              <a:gd name="T0" fmla="*/ 3640241 w 33"/>
              <a:gd name="T1" fmla="*/ 34577964 h 25"/>
              <a:gd name="T2" fmla="*/ 0 w 33"/>
              <a:gd name="T3" fmla="*/ 93852581 h 25"/>
              <a:gd name="T4" fmla="*/ 2800430 w 33"/>
              <a:gd name="T5" fmla="*/ 98791019 h 25"/>
              <a:gd name="T6" fmla="*/ 5320394 w 33"/>
              <a:gd name="T7" fmla="*/ 108670117 h 25"/>
              <a:gd name="T8" fmla="*/ 7560948 w 33"/>
              <a:gd name="T9" fmla="*/ 123489876 h 25"/>
              <a:gd name="T10" fmla="*/ 9241102 w 33"/>
              <a:gd name="T11" fmla="*/ 123489876 h 25"/>
              <a:gd name="T12" fmla="*/ 9241102 w 33"/>
              <a:gd name="T13" fmla="*/ 0 h 25"/>
              <a:gd name="T14" fmla="*/ 7560948 w 33"/>
              <a:gd name="T15" fmla="*/ 0 h 25"/>
              <a:gd name="T16" fmla="*/ 3640241 w 33"/>
              <a:gd name="T17" fmla="*/ 34577964 h 2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3"/>
              <a:gd name="T28" fmla="*/ 0 h 25"/>
              <a:gd name="T29" fmla="*/ 33 w 33"/>
              <a:gd name="T30" fmla="*/ 25 h 25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3" h="25">
                <a:moveTo>
                  <a:pt x="13" y="7"/>
                </a:moveTo>
                <a:lnTo>
                  <a:pt x="0" y="19"/>
                </a:lnTo>
                <a:lnTo>
                  <a:pt x="10" y="20"/>
                </a:lnTo>
                <a:lnTo>
                  <a:pt x="19" y="22"/>
                </a:lnTo>
                <a:lnTo>
                  <a:pt x="27" y="25"/>
                </a:lnTo>
                <a:lnTo>
                  <a:pt x="33" y="25"/>
                </a:lnTo>
                <a:lnTo>
                  <a:pt x="33" y="0"/>
                </a:lnTo>
                <a:lnTo>
                  <a:pt x="27" y="0"/>
                </a:lnTo>
                <a:lnTo>
                  <a:pt x="13" y="7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54" name="Freeform 51"/>
          <p:cNvSpPr>
            <a:spLocks/>
          </p:cNvSpPr>
          <p:nvPr userDrawn="1">
            <p:custDataLst>
              <p:tags r:id="rId44"/>
            </p:custDataLst>
          </p:nvPr>
        </p:nvSpPr>
        <p:spPr bwMode="auto">
          <a:xfrm>
            <a:off x="2557472" y="2590806"/>
            <a:ext cx="15875" cy="42863"/>
          </a:xfrm>
          <a:custGeom>
            <a:avLst/>
            <a:gdLst>
              <a:gd name="T0" fmla="*/ 0 w 40"/>
              <a:gd name="T1" fmla="*/ 0 h 18"/>
              <a:gd name="T2" fmla="*/ 472678 w 40"/>
              <a:gd name="T3" fmla="*/ 60483749 h 18"/>
              <a:gd name="T4" fmla="*/ 944959 w 40"/>
              <a:gd name="T5" fmla="*/ 110886878 h 18"/>
              <a:gd name="T6" fmla="*/ 1575197 w 40"/>
              <a:gd name="T7" fmla="*/ 141128740 h 18"/>
              <a:gd name="T8" fmla="*/ 2362597 w 40"/>
              <a:gd name="T9" fmla="*/ 161289981 h 18"/>
              <a:gd name="T10" fmla="*/ 4252912 w 40"/>
              <a:gd name="T11" fmla="*/ 181451223 h 18"/>
              <a:gd name="T12" fmla="*/ 6300390 w 40"/>
              <a:gd name="T13" fmla="*/ 181451223 h 18"/>
              <a:gd name="T14" fmla="*/ 6300390 w 40"/>
              <a:gd name="T15" fmla="*/ 0 h 18"/>
              <a:gd name="T16" fmla="*/ 4725193 w 40"/>
              <a:gd name="T17" fmla="*/ 0 h 18"/>
              <a:gd name="T18" fmla="*/ 3150393 w 40"/>
              <a:gd name="T19" fmla="*/ 0 h 18"/>
              <a:gd name="T20" fmla="*/ 1575197 w 40"/>
              <a:gd name="T21" fmla="*/ 0 h 18"/>
              <a:gd name="T22" fmla="*/ 0 w 40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40"/>
              <a:gd name="T37" fmla="*/ 0 h 18"/>
              <a:gd name="T38" fmla="*/ 40 w 40"/>
              <a:gd name="T39" fmla="*/ 18 h 18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40" h="18">
                <a:moveTo>
                  <a:pt x="0" y="0"/>
                </a:moveTo>
                <a:lnTo>
                  <a:pt x="3" y="6"/>
                </a:lnTo>
                <a:lnTo>
                  <a:pt x="6" y="11"/>
                </a:lnTo>
                <a:lnTo>
                  <a:pt x="10" y="14"/>
                </a:lnTo>
                <a:lnTo>
                  <a:pt x="15" y="16"/>
                </a:lnTo>
                <a:lnTo>
                  <a:pt x="27" y="18"/>
                </a:lnTo>
                <a:lnTo>
                  <a:pt x="40" y="18"/>
                </a:lnTo>
                <a:lnTo>
                  <a:pt x="40" y="0"/>
                </a:lnTo>
                <a:lnTo>
                  <a:pt x="30" y="0"/>
                </a:lnTo>
                <a:lnTo>
                  <a:pt x="20" y="0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55" name="Freeform 52"/>
          <p:cNvSpPr>
            <a:spLocks/>
          </p:cNvSpPr>
          <p:nvPr userDrawn="1">
            <p:custDataLst>
              <p:tags r:id="rId45"/>
            </p:custDataLst>
          </p:nvPr>
        </p:nvSpPr>
        <p:spPr bwMode="auto">
          <a:xfrm>
            <a:off x="2566997" y="2609852"/>
            <a:ext cx="3175" cy="42863"/>
          </a:xfrm>
          <a:custGeom>
            <a:avLst/>
            <a:gdLst>
              <a:gd name="T0" fmla="*/ 333375 w 11"/>
              <a:gd name="T1" fmla="*/ 102066307 h 32"/>
              <a:gd name="T2" fmla="*/ 499918 w 11"/>
              <a:gd name="T3" fmla="*/ 89307576 h 32"/>
              <a:gd name="T4" fmla="*/ 666461 w 11"/>
              <a:gd name="T5" fmla="*/ 79738527 h 32"/>
              <a:gd name="T6" fmla="*/ 749877 w 11"/>
              <a:gd name="T7" fmla="*/ 70171265 h 32"/>
              <a:gd name="T8" fmla="*/ 833005 w 11"/>
              <a:gd name="T9" fmla="*/ 57412519 h 32"/>
              <a:gd name="T10" fmla="*/ 916420 w 11"/>
              <a:gd name="T11" fmla="*/ 28705367 h 32"/>
              <a:gd name="T12" fmla="*/ 916420 w 11"/>
              <a:gd name="T13" fmla="*/ 0 h 32"/>
              <a:gd name="T14" fmla="*/ 499918 w 11"/>
              <a:gd name="T15" fmla="*/ 9569052 h 32"/>
              <a:gd name="T16" fmla="*/ 249959 w 11"/>
              <a:gd name="T17" fmla="*/ 22327787 h 32"/>
              <a:gd name="T18" fmla="*/ 83416 w 11"/>
              <a:gd name="T19" fmla="*/ 35084739 h 32"/>
              <a:gd name="T20" fmla="*/ 0 w 11"/>
              <a:gd name="T21" fmla="*/ 51033154 h 32"/>
              <a:gd name="T22" fmla="*/ 0 w 11"/>
              <a:gd name="T23" fmla="*/ 63791899 h 32"/>
              <a:gd name="T24" fmla="*/ 83416 w 11"/>
              <a:gd name="T25" fmla="*/ 76548845 h 32"/>
              <a:gd name="T26" fmla="*/ 166543 w 11"/>
              <a:gd name="T27" fmla="*/ 89307576 h 32"/>
              <a:gd name="T28" fmla="*/ 333375 w 11"/>
              <a:gd name="T29" fmla="*/ 102066307 h 3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1"/>
              <a:gd name="T46" fmla="*/ 0 h 32"/>
              <a:gd name="T47" fmla="*/ 11 w 11"/>
              <a:gd name="T48" fmla="*/ 32 h 32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1" h="32">
                <a:moveTo>
                  <a:pt x="4" y="32"/>
                </a:moveTo>
                <a:lnTo>
                  <a:pt x="6" y="28"/>
                </a:lnTo>
                <a:lnTo>
                  <a:pt x="8" y="25"/>
                </a:lnTo>
                <a:lnTo>
                  <a:pt x="9" y="22"/>
                </a:lnTo>
                <a:lnTo>
                  <a:pt x="10" y="18"/>
                </a:lnTo>
                <a:lnTo>
                  <a:pt x="11" y="9"/>
                </a:lnTo>
                <a:lnTo>
                  <a:pt x="11" y="0"/>
                </a:lnTo>
                <a:lnTo>
                  <a:pt x="6" y="3"/>
                </a:lnTo>
                <a:lnTo>
                  <a:pt x="3" y="7"/>
                </a:lnTo>
                <a:lnTo>
                  <a:pt x="1" y="11"/>
                </a:lnTo>
                <a:lnTo>
                  <a:pt x="0" y="16"/>
                </a:lnTo>
                <a:lnTo>
                  <a:pt x="0" y="20"/>
                </a:lnTo>
                <a:lnTo>
                  <a:pt x="1" y="24"/>
                </a:lnTo>
                <a:lnTo>
                  <a:pt x="2" y="28"/>
                </a:lnTo>
                <a:lnTo>
                  <a:pt x="4" y="32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56" name="Freeform 53"/>
          <p:cNvSpPr>
            <a:spLocks/>
          </p:cNvSpPr>
          <p:nvPr userDrawn="1">
            <p:custDataLst>
              <p:tags r:id="rId46"/>
            </p:custDataLst>
          </p:nvPr>
        </p:nvSpPr>
        <p:spPr bwMode="auto">
          <a:xfrm>
            <a:off x="2589213" y="2632476"/>
            <a:ext cx="1588" cy="41672"/>
          </a:xfrm>
          <a:custGeom>
            <a:avLst/>
            <a:gdLst>
              <a:gd name="T0" fmla="*/ 0 w 14"/>
              <a:gd name="T1" fmla="*/ 0 h 24"/>
              <a:gd name="T2" fmla="*/ 0 w 14"/>
              <a:gd name="T3" fmla="*/ 128630655 h 24"/>
              <a:gd name="T4" fmla="*/ 180125 w 14"/>
              <a:gd name="T5" fmla="*/ 64315328 h 24"/>
              <a:gd name="T6" fmla="*/ 0 w 14"/>
              <a:gd name="T7" fmla="*/ 0 h 24"/>
              <a:gd name="T8" fmla="*/ 0 60000 65536"/>
              <a:gd name="T9" fmla="*/ 0 60000 65536"/>
              <a:gd name="T10" fmla="*/ 0 60000 65536"/>
              <a:gd name="T11" fmla="*/ 0 60000 65536"/>
              <a:gd name="T12" fmla="*/ 0 w 14"/>
              <a:gd name="T13" fmla="*/ 0 h 24"/>
              <a:gd name="T14" fmla="*/ 14 w 14"/>
              <a:gd name="T15" fmla="*/ 24 h 2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4" h="24">
                <a:moveTo>
                  <a:pt x="0" y="0"/>
                </a:moveTo>
                <a:lnTo>
                  <a:pt x="0" y="24"/>
                </a:lnTo>
                <a:lnTo>
                  <a:pt x="14" y="12"/>
                </a:lnTo>
                <a:lnTo>
                  <a:pt x="0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57" name="Freeform 54"/>
          <p:cNvSpPr>
            <a:spLocks/>
          </p:cNvSpPr>
          <p:nvPr userDrawn="1">
            <p:custDataLst>
              <p:tags r:id="rId47"/>
            </p:custDataLst>
          </p:nvPr>
        </p:nvSpPr>
        <p:spPr bwMode="auto">
          <a:xfrm>
            <a:off x="2551122" y="2642001"/>
            <a:ext cx="15875" cy="44053"/>
          </a:xfrm>
          <a:custGeom>
            <a:avLst/>
            <a:gdLst>
              <a:gd name="T0" fmla="*/ 0 w 27"/>
              <a:gd name="T1" fmla="*/ 127779077 h 18"/>
              <a:gd name="T2" fmla="*/ 2420056 w 27"/>
              <a:gd name="T3" fmla="*/ 159722202 h 18"/>
              <a:gd name="T4" fmla="*/ 4494389 w 27"/>
              <a:gd name="T5" fmla="*/ 191668590 h 18"/>
              <a:gd name="T6" fmla="*/ 7605301 w 27"/>
              <a:gd name="T7" fmla="*/ 74537247 h 18"/>
              <a:gd name="T8" fmla="*/ 9333912 w 27"/>
              <a:gd name="T9" fmla="*/ 0 h 18"/>
              <a:gd name="T10" fmla="*/ 7605301 w 27"/>
              <a:gd name="T11" fmla="*/ 0 h 18"/>
              <a:gd name="T12" fmla="*/ 6222413 w 27"/>
              <a:gd name="T13" fmla="*/ 10647712 h 18"/>
              <a:gd name="T14" fmla="*/ 4494389 w 27"/>
              <a:gd name="T15" fmla="*/ 21295423 h 18"/>
              <a:gd name="T16" fmla="*/ 3457222 w 27"/>
              <a:gd name="T17" fmla="*/ 42594109 h 18"/>
              <a:gd name="T18" fmla="*/ 1728611 w 27"/>
              <a:gd name="T19" fmla="*/ 85184955 h 18"/>
              <a:gd name="T20" fmla="*/ 0 w 27"/>
              <a:gd name="T21" fmla="*/ 127779077 h 1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27"/>
              <a:gd name="T34" fmla="*/ 0 h 18"/>
              <a:gd name="T35" fmla="*/ 27 w 27"/>
              <a:gd name="T36" fmla="*/ 18 h 18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27" h="18">
                <a:moveTo>
                  <a:pt x="0" y="12"/>
                </a:moveTo>
                <a:lnTo>
                  <a:pt x="7" y="15"/>
                </a:lnTo>
                <a:lnTo>
                  <a:pt x="13" y="18"/>
                </a:lnTo>
                <a:lnTo>
                  <a:pt x="22" y="7"/>
                </a:lnTo>
                <a:lnTo>
                  <a:pt x="27" y="0"/>
                </a:lnTo>
                <a:lnTo>
                  <a:pt x="22" y="0"/>
                </a:lnTo>
                <a:lnTo>
                  <a:pt x="18" y="1"/>
                </a:lnTo>
                <a:lnTo>
                  <a:pt x="13" y="2"/>
                </a:lnTo>
                <a:lnTo>
                  <a:pt x="10" y="4"/>
                </a:lnTo>
                <a:lnTo>
                  <a:pt x="5" y="8"/>
                </a:lnTo>
                <a:lnTo>
                  <a:pt x="0" y="12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58" name="Freeform 55"/>
          <p:cNvSpPr>
            <a:spLocks/>
          </p:cNvSpPr>
          <p:nvPr userDrawn="1">
            <p:custDataLst>
              <p:tags r:id="rId48"/>
            </p:custDataLst>
          </p:nvPr>
        </p:nvSpPr>
        <p:spPr bwMode="auto">
          <a:xfrm>
            <a:off x="2536827" y="2690814"/>
            <a:ext cx="23812" cy="42863"/>
          </a:xfrm>
          <a:custGeom>
            <a:avLst/>
            <a:gdLst>
              <a:gd name="T0" fmla="*/ 0 w 47"/>
              <a:gd name="T1" fmla="*/ 48971721 h 49"/>
              <a:gd name="T2" fmla="*/ 256866 w 47"/>
              <a:gd name="T3" fmla="*/ 53052697 h 49"/>
              <a:gd name="T4" fmla="*/ 513225 w 47"/>
              <a:gd name="T5" fmla="*/ 55772569 h 49"/>
              <a:gd name="T6" fmla="*/ 1026956 w 47"/>
              <a:gd name="T7" fmla="*/ 58493608 h 49"/>
              <a:gd name="T8" fmla="*/ 1540180 w 47"/>
              <a:gd name="T9" fmla="*/ 61214647 h 49"/>
              <a:gd name="T10" fmla="*/ 3080361 w 47"/>
              <a:gd name="T11" fmla="*/ 65295622 h 49"/>
              <a:gd name="T12" fmla="*/ 3593585 w 47"/>
              <a:gd name="T13" fmla="*/ 66655559 h 49"/>
              <a:gd name="T14" fmla="*/ 4620035 w 47"/>
              <a:gd name="T15" fmla="*/ 66655559 h 49"/>
              <a:gd name="T16" fmla="*/ 6160215 w 47"/>
              <a:gd name="T17" fmla="*/ 62574583 h 49"/>
              <a:gd name="T18" fmla="*/ 7444036 w 47"/>
              <a:gd name="T19" fmla="*/ 57133672 h 49"/>
              <a:gd name="T20" fmla="*/ 8983711 w 47"/>
              <a:gd name="T21" fmla="*/ 53052697 h 49"/>
              <a:gd name="T22" fmla="*/ 10010667 w 47"/>
              <a:gd name="T23" fmla="*/ 47610619 h 49"/>
              <a:gd name="T24" fmla="*/ 11293981 w 47"/>
              <a:gd name="T25" fmla="*/ 42169707 h 49"/>
              <a:gd name="T26" fmla="*/ 11807206 w 47"/>
              <a:gd name="T27" fmla="*/ 36728786 h 49"/>
              <a:gd name="T28" fmla="*/ 12064071 w 47"/>
              <a:gd name="T29" fmla="*/ 32647811 h 49"/>
              <a:gd name="T30" fmla="*/ 12064071 w 47"/>
              <a:gd name="T31" fmla="*/ 16323906 h 49"/>
              <a:gd name="T32" fmla="*/ 12064071 w 47"/>
              <a:gd name="T33" fmla="*/ 0 h 49"/>
              <a:gd name="T34" fmla="*/ 6930305 w 47"/>
              <a:gd name="T35" fmla="*/ 0 h 49"/>
              <a:gd name="T36" fmla="*/ 4363676 w 47"/>
              <a:gd name="T37" fmla="*/ 10882994 h 49"/>
              <a:gd name="T38" fmla="*/ 2310271 w 47"/>
              <a:gd name="T39" fmla="*/ 21764822 h 49"/>
              <a:gd name="T40" fmla="*/ 1283315 w 47"/>
              <a:gd name="T41" fmla="*/ 27206900 h 49"/>
              <a:gd name="T42" fmla="*/ 513225 w 47"/>
              <a:gd name="T43" fmla="*/ 34007748 h 49"/>
              <a:gd name="T44" fmla="*/ 256866 w 47"/>
              <a:gd name="T45" fmla="*/ 40809771 h 49"/>
              <a:gd name="T46" fmla="*/ 0 w 47"/>
              <a:gd name="T47" fmla="*/ 48971721 h 49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47"/>
              <a:gd name="T73" fmla="*/ 0 h 49"/>
              <a:gd name="T74" fmla="*/ 47 w 47"/>
              <a:gd name="T75" fmla="*/ 49 h 49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47" h="49">
                <a:moveTo>
                  <a:pt x="0" y="36"/>
                </a:moveTo>
                <a:lnTo>
                  <a:pt x="1" y="39"/>
                </a:lnTo>
                <a:lnTo>
                  <a:pt x="2" y="41"/>
                </a:lnTo>
                <a:lnTo>
                  <a:pt x="4" y="43"/>
                </a:lnTo>
                <a:lnTo>
                  <a:pt x="6" y="45"/>
                </a:lnTo>
                <a:lnTo>
                  <a:pt x="12" y="48"/>
                </a:lnTo>
                <a:lnTo>
                  <a:pt x="14" y="49"/>
                </a:lnTo>
                <a:lnTo>
                  <a:pt x="18" y="49"/>
                </a:lnTo>
                <a:lnTo>
                  <a:pt x="24" y="46"/>
                </a:lnTo>
                <a:lnTo>
                  <a:pt x="29" y="42"/>
                </a:lnTo>
                <a:lnTo>
                  <a:pt x="35" y="39"/>
                </a:lnTo>
                <a:lnTo>
                  <a:pt x="39" y="35"/>
                </a:lnTo>
                <a:lnTo>
                  <a:pt x="44" y="31"/>
                </a:lnTo>
                <a:lnTo>
                  <a:pt x="46" y="27"/>
                </a:lnTo>
                <a:lnTo>
                  <a:pt x="47" y="24"/>
                </a:lnTo>
                <a:lnTo>
                  <a:pt x="47" y="12"/>
                </a:lnTo>
                <a:lnTo>
                  <a:pt x="47" y="0"/>
                </a:lnTo>
                <a:lnTo>
                  <a:pt x="27" y="0"/>
                </a:lnTo>
                <a:lnTo>
                  <a:pt x="17" y="8"/>
                </a:lnTo>
                <a:lnTo>
                  <a:pt x="9" y="16"/>
                </a:lnTo>
                <a:lnTo>
                  <a:pt x="5" y="20"/>
                </a:lnTo>
                <a:lnTo>
                  <a:pt x="2" y="25"/>
                </a:lnTo>
                <a:lnTo>
                  <a:pt x="1" y="30"/>
                </a:lnTo>
                <a:lnTo>
                  <a:pt x="0" y="36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59" name="Freeform 56"/>
          <p:cNvSpPr>
            <a:spLocks/>
          </p:cNvSpPr>
          <p:nvPr userDrawn="1">
            <p:custDataLst>
              <p:tags r:id="rId49"/>
            </p:custDataLst>
          </p:nvPr>
        </p:nvSpPr>
        <p:spPr bwMode="auto">
          <a:xfrm>
            <a:off x="2555877" y="2672955"/>
            <a:ext cx="12700" cy="42863"/>
          </a:xfrm>
          <a:custGeom>
            <a:avLst/>
            <a:gdLst>
              <a:gd name="T0" fmla="*/ 0 w 26"/>
              <a:gd name="T1" fmla="*/ 0 h 9"/>
              <a:gd name="T2" fmla="*/ 0 w 26"/>
              <a:gd name="T3" fmla="*/ 161289981 h 9"/>
              <a:gd name="T4" fmla="*/ 715596 w 26"/>
              <a:gd name="T5" fmla="*/ 282257480 h 9"/>
              <a:gd name="T6" fmla="*/ 1431681 w 26"/>
              <a:gd name="T7" fmla="*/ 322579962 h 9"/>
              <a:gd name="T8" fmla="*/ 2624504 w 26"/>
              <a:gd name="T9" fmla="*/ 362902445 h 9"/>
              <a:gd name="T10" fmla="*/ 3578958 w 26"/>
              <a:gd name="T11" fmla="*/ 322579962 h 9"/>
              <a:gd name="T12" fmla="*/ 4771781 w 26"/>
              <a:gd name="T13" fmla="*/ 282257480 h 9"/>
              <a:gd name="T14" fmla="*/ 5487866 w 26"/>
              <a:gd name="T15" fmla="*/ 161289981 h 9"/>
              <a:gd name="T16" fmla="*/ 6203462 w 26"/>
              <a:gd name="T17" fmla="*/ 0 h 9"/>
              <a:gd name="T18" fmla="*/ 0 w 26"/>
              <a:gd name="T19" fmla="*/ 0 h 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6"/>
              <a:gd name="T31" fmla="*/ 0 h 9"/>
              <a:gd name="T32" fmla="*/ 26 w 26"/>
              <a:gd name="T33" fmla="*/ 9 h 9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6" h="9">
                <a:moveTo>
                  <a:pt x="0" y="0"/>
                </a:moveTo>
                <a:lnTo>
                  <a:pt x="0" y="4"/>
                </a:lnTo>
                <a:lnTo>
                  <a:pt x="3" y="7"/>
                </a:lnTo>
                <a:lnTo>
                  <a:pt x="6" y="8"/>
                </a:lnTo>
                <a:lnTo>
                  <a:pt x="11" y="9"/>
                </a:lnTo>
                <a:lnTo>
                  <a:pt x="15" y="8"/>
                </a:lnTo>
                <a:lnTo>
                  <a:pt x="20" y="7"/>
                </a:lnTo>
                <a:lnTo>
                  <a:pt x="23" y="4"/>
                </a:lnTo>
                <a:lnTo>
                  <a:pt x="26" y="0"/>
                </a:lnTo>
                <a:lnTo>
                  <a:pt x="0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60" name="Freeform 57"/>
          <p:cNvSpPr>
            <a:spLocks/>
          </p:cNvSpPr>
          <p:nvPr userDrawn="1">
            <p:custDataLst>
              <p:tags r:id="rId50"/>
            </p:custDataLst>
          </p:nvPr>
        </p:nvSpPr>
        <p:spPr bwMode="auto">
          <a:xfrm>
            <a:off x="2038360" y="2426506"/>
            <a:ext cx="15875" cy="42863"/>
          </a:xfrm>
          <a:custGeom>
            <a:avLst/>
            <a:gdLst>
              <a:gd name="T0" fmla="*/ 0 w 39"/>
              <a:gd name="T1" fmla="*/ 0 h 18"/>
              <a:gd name="T2" fmla="*/ 0 w 39"/>
              <a:gd name="T3" fmla="*/ 181451223 h 18"/>
              <a:gd name="T4" fmla="*/ 994019 w 39"/>
              <a:gd name="T5" fmla="*/ 181451223 h 18"/>
              <a:gd name="T6" fmla="*/ 2154115 w 39"/>
              <a:gd name="T7" fmla="*/ 181451223 h 18"/>
              <a:gd name="T8" fmla="*/ 3810814 w 39"/>
              <a:gd name="T9" fmla="*/ 171370602 h 18"/>
              <a:gd name="T10" fmla="*/ 4970910 w 39"/>
              <a:gd name="T11" fmla="*/ 141128740 h 18"/>
              <a:gd name="T12" fmla="*/ 5633589 w 39"/>
              <a:gd name="T13" fmla="*/ 120967498 h 18"/>
              <a:gd name="T14" fmla="*/ 6130599 w 39"/>
              <a:gd name="T15" fmla="*/ 100806232 h 18"/>
              <a:gd name="T16" fmla="*/ 6296268 w 39"/>
              <a:gd name="T17" fmla="*/ 80644991 h 18"/>
              <a:gd name="T18" fmla="*/ 6461938 w 39"/>
              <a:gd name="T19" fmla="*/ 60483749 h 18"/>
              <a:gd name="T20" fmla="*/ 4804833 w 39"/>
              <a:gd name="T21" fmla="*/ 50403116 h 18"/>
              <a:gd name="T22" fmla="*/ 3148134 w 39"/>
              <a:gd name="T23" fmla="*/ 30241875 h 18"/>
              <a:gd name="T24" fmla="*/ 1657106 w 39"/>
              <a:gd name="T25" fmla="*/ 0 h 18"/>
              <a:gd name="T26" fmla="*/ 0 w 39"/>
              <a:gd name="T27" fmla="*/ 0 h 18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39"/>
              <a:gd name="T43" fmla="*/ 0 h 18"/>
              <a:gd name="T44" fmla="*/ 39 w 39"/>
              <a:gd name="T45" fmla="*/ 18 h 18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39" h="18">
                <a:moveTo>
                  <a:pt x="0" y="0"/>
                </a:moveTo>
                <a:lnTo>
                  <a:pt x="0" y="18"/>
                </a:lnTo>
                <a:lnTo>
                  <a:pt x="6" y="18"/>
                </a:lnTo>
                <a:lnTo>
                  <a:pt x="13" y="18"/>
                </a:lnTo>
                <a:lnTo>
                  <a:pt x="23" y="17"/>
                </a:lnTo>
                <a:lnTo>
                  <a:pt x="30" y="14"/>
                </a:lnTo>
                <a:lnTo>
                  <a:pt x="34" y="12"/>
                </a:lnTo>
                <a:lnTo>
                  <a:pt x="37" y="10"/>
                </a:lnTo>
                <a:lnTo>
                  <a:pt x="38" y="8"/>
                </a:lnTo>
                <a:lnTo>
                  <a:pt x="39" y="6"/>
                </a:lnTo>
                <a:lnTo>
                  <a:pt x="29" y="5"/>
                </a:lnTo>
                <a:lnTo>
                  <a:pt x="19" y="3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grpSp>
        <p:nvGrpSpPr>
          <p:cNvPr id="6" name="Group 58"/>
          <p:cNvGrpSpPr>
            <a:grpSpLocks/>
          </p:cNvGrpSpPr>
          <p:nvPr userDrawn="1">
            <p:custDataLst>
              <p:tags r:id="rId51"/>
            </p:custDataLst>
          </p:nvPr>
        </p:nvGrpSpPr>
        <p:grpSpPr bwMode="auto">
          <a:xfrm>
            <a:off x="2163768" y="2301490"/>
            <a:ext cx="131763" cy="146447"/>
            <a:chOff x="1199" y="2121"/>
            <a:chExt cx="97" cy="123"/>
          </a:xfrm>
          <a:solidFill>
            <a:sysClr val="window" lastClr="FFFFFF">
              <a:lumMod val="85000"/>
            </a:sysClr>
          </a:solidFill>
        </p:grpSpPr>
        <p:sp>
          <p:nvSpPr>
            <p:cNvPr id="62" name="Freeform 59"/>
            <p:cNvSpPr>
              <a:spLocks/>
            </p:cNvSpPr>
            <p:nvPr/>
          </p:nvSpPr>
          <p:spPr bwMode="auto">
            <a:xfrm>
              <a:off x="1274" y="2236"/>
              <a:ext cx="16" cy="8"/>
            </a:xfrm>
            <a:custGeom>
              <a:avLst/>
              <a:gdLst>
                <a:gd name="T0" fmla="*/ 0 w 52"/>
                <a:gd name="T1" fmla="*/ 3 h 25"/>
                <a:gd name="T2" fmla="*/ 1 w 52"/>
                <a:gd name="T3" fmla="*/ 3 h 25"/>
                <a:gd name="T4" fmla="*/ 2 w 52"/>
                <a:gd name="T5" fmla="*/ 3 h 25"/>
                <a:gd name="T6" fmla="*/ 2 w 52"/>
                <a:gd name="T7" fmla="*/ 2 h 25"/>
                <a:gd name="T8" fmla="*/ 3 w 52"/>
                <a:gd name="T9" fmla="*/ 2 h 25"/>
                <a:gd name="T10" fmla="*/ 4 w 52"/>
                <a:gd name="T11" fmla="*/ 2 h 25"/>
                <a:gd name="T12" fmla="*/ 4 w 52"/>
                <a:gd name="T13" fmla="*/ 1 h 25"/>
                <a:gd name="T14" fmla="*/ 5 w 52"/>
                <a:gd name="T15" fmla="*/ 1 h 25"/>
                <a:gd name="T16" fmla="*/ 5 w 52"/>
                <a:gd name="T17" fmla="*/ 0 h 25"/>
                <a:gd name="T18" fmla="*/ 4 w 52"/>
                <a:gd name="T19" fmla="*/ 0 h 25"/>
                <a:gd name="T20" fmla="*/ 3 w 52"/>
                <a:gd name="T21" fmla="*/ 0 h 25"/>
                <a:gd name="T22" fmla="*/ 2 w 52"/>
                <a:gd name="T23" fmla="*/ 0 h 25"/>
                <a:gd name="T24" fmla="*/ 2 w 52"/>
                <a:gd name="T25" fmla="*/ 0 h 25"/>
                <a:gd name="T26" fmla="*/ 1 w 52"/>
                <a:gd name="T27" fmla="*/ 1 h 25"/>
                <a:gd name="T28" fmla="*/ 1 w 52"/>
                <a:gd name="T29" fmla="*/ 1 h 25"/>
                <a:gd name="T30" fmla="*/ 0 w 52"/>
                <a:gd name="T31" fmla="*/ 2 h 25"/>
                <a:gd name="T32" fmla="*/ 0 w 52"/>
                <a:gd name="T33" fmla="*/ 3 h 2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52"/>
                <a:gd name="T52" fmla="*/ 0 h 25"/>
                <a:gd name="T53" fmla="*/ 52 w 52"/>
                <a:gd name="T54" fmla="*/ 25 h 2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52" h="25">
                  <a:moveTo>
                    <a:pt x="0" y="25"/>
                  </a:moveTo>
                  <a:lnTo>
                    <a:pt x="7" y="25"/>
                  </a:lnTo>
                  <a:lnTo>
                    <a:pt x="15" y="24"/>
                  </a:lnTo>
                  <a:lnTo>
                    <a:pt x="23" y="22"/>
                  </a:lnTo>
                  <a:lnTo>
                    <a:pt x="30" y="19"/>
                  </a:lnTo>
                  <a:lnTo>
                    <a:pt x="38" y="15"/>
                  </a:lnTo>
                  <a:lnTo>
                    <a:pt x="43" y="11"/>
                  </a:lnTo>
                  <a:lnTo>
                    <a:pt x="49" y="6"/>
                  </a:lnTo>
                  <a:lnTo>
                    <a:pt x="52" y="0"/>
                  </a:lnTo>
                  <a:lnTo>
                    <a:pt x="40" y="0"/>
                  </a:lnTo>
                  <a:lnTo>
                    <a:pt x="31" y="0"/>
                  </a:lnTo>
                  <a:lnTo>
                    <a:pt x="23" y="1"/>
                  </a:lnTo>
                  <a:lnTo>
                    <a:pt x="16" y="3"/>
                  </a:lnTo>
                  <a:lnTo>
                    <a:pt x="11" y="6"/>
                  </a:lnTo>
                  <a:lnTo>
                    <a:pt x="5" y="10"/>
                  </a:lnTo>
                  <a:lnTo>
                    <a:pt x="2" y="16"/>
                  </a:lnTo>
                  <a:lnTo>
                    <a:pt x="0" y="25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3" name="Freeform 60"/>
            <p:cNvSpPr>
              <a:spLocks/>
            </p:cNvSpPr>
            <p:nvPr/>
          </p:nvSpPr>
          <p:spPr bwMode="auto">
            <a:xfrm>
              <a:off x="1199" y="2131"/>
              <a:ext cx="11" cy="4"/>
            </a:xfrm>
            <a:custGeom>
              <a:avLst/>
              <a:gdLst>
                <a:gd name="T0" fmla="*/ 0 w 33"/>
                <a:gd name="T1" fmla="*/ 0 h 13"/>
                <a:gd name="T2" fmla="*/ 0 w 33"/>
                <a:gd name="T3" fmla="*/ 1 h 13"/>
                <a:gd name="T4" fmla="*/ 0 w 33"/>
                <a:gd name="T5" fmla="*/ 1 h 13"/>
                <a:gd name="T6" fmla="*/ 1 w 33"/>
                <a:gd name="T7" fmla="*/ 1 h 13"/>
                <a:gd name="T8" fmla="*/ 2 w 33"/>
                <a:gd name="T9" fmla="*/ 1 h 13"/>
                <a:gd name="T10" fmla="*/ 3 w 33"/>
                <a:gd name="T11" fmla="*/ 1 h 13"/>
                <a:gd name="T12" fmla="*/ 4 w 33"/>
                <a:gd name="T13" fmla="*/ 1 h 13"/>
                <a:gd name="T14" fmla="*/ 3 w 33"/>
                <a:gd name="T15" fmla="*/ 0 h 13"/>
                <a:gd name="T16" fmla="*/ 2 w 33"/>
                <a:gd name="T17" fmla="*/ 0 h 13"/>
                <a:gd name="T18" fmla="*/ 1 w 33"/>
                <a:gd name="T19" fmla="*/ 0 h 13"/>
                <a:gd name="T20" fmla="*/ 0 w 33"/>
                <a:gd name="T21" fmla="*/ 0 h 1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3"/>
                <a:gd name="T34" fmla="*/ 0 h 13"/>
                <a:gd name="T35" fmla="*/ 33 w 33"/>
                <a:gd name="T36" fmla="*/ 13 h 1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3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  <a:lnTo>
                    <a:pt x="9" y="13"/>
                  </a:lnTo>
                  <a:lnTo>
                    <a:pt x="16" y="13"/>
                  </a:lnTo>
                  <a:lnTo>
                    <a:pt x="24" y="11"/>
                  </a:lnTo>
                  <a:lnTo>
                    <a:pt x="33" y="6"/>
                  </a:lnTo>
                  <a:lnTo>
                    <a:pt x="24" y="3"/>
                  </a:lnTo>
                  <a:lnTo>
                    <a:pt x="16" y="1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4" name="Freeform 61"/>
            <p:cNvSpPr>
              <a:spLocks/>
            </p:cNvSpPr>
            <p:nvPr/>
          </p:nvSpPr>
          <p:spPr bwMode="auto">
            <a:xfrm>
              <a:off x="1210" y="2121"/>
              <a:ext cx="20" cy="28"/>
            </a:xfrm>
            <a:custGeom>
              <a:avLst/>
              <a:gdLst>
                <a:gd name="T0" fmla="*/ 2 w 67"/>
                <a:gd name="T1" fmla="*/ 2 h 86"/>
                <a:gd name="T2" fmla="*/ 0 w 67"/>
                <a:gd name="T3" fmla="*/ 0 h 86"/>
                <a:gd name="T4" fmla="*/ 2 w 67"/>
                <a:gd name="T5" fmla="*/ 0 h 86"/>
                <a:gd name="T6" fmla="*/ 3 w 67"/>
                <a:gd name="T7" fmla="*/ 0 h 86"/>
                <a:gd name="T8" fmla="*/ 3 w 67"/>
                <a:gd name="T9" fmla="*/ 1 h 86"/>
                <a:gd name="T10" fmla="*/ 3 w 67"/>
                <a:gd name="T11" fmla="*/ 1 h 86"/>
                <a:gd name="T12" fmla="*/ 4 w 67"/>
                <a:gd name="T13" fmla="*/ 2 h 86"/>
                <a:gd name="T14" fmla="*/ 4 w 67"/>
                <a:gd name="T15" fmla="*/ 2 h 86"/>
                <a:gd name="T16" fmla="*/ 5 w 67"/>
                <a:gd name="T17" fmla="*/ 2 h 86"/>
                <a:gd name="T18" fmla="*/ 5 w 67"/>
                <a:gd name="T19" fmla="*/ 3 h 86"/>
                <a:gd name="T20" fmla="*/ 6 w 67"/>
                <a:gd name="T21" fmla="*/ 4 h 86"/>
                <a:gd name="T22" fmla="*/ 6 w 67"/>
                <a:gd name="T23" fmla="*/ 5 h 86"/>
                <a:gd name="T24" fmla="*/ 6 w 67"/>
                <a:gd name="T25" fmla="*/ 5 h 86"/>
                <a:gd name="T26" fmla="*/ 6 w 67"/>
                <a:gd name="T27" fmla="*/ 6 h 86"/>
                <a:gd name="T28" fmla="*/ 6 w 67"/>
                <a:gd name="T29" fmla="*/ 7 h 86"/>
                <a:gd name="T30" fmla="*/ 6 w 67"/>
                <a:gd name="T31" fmla="*/ 8 h 86"/>
                <a:gd name="T32" fmla="*/ 5 w 67"/>
                <a:gd name="T33" fmla="*/ 9 h 86"/>
                <a:gd name="T34" fmla="*/ 5 w 67"/>
                <a:gd name="T35" fmla="*/ 7 h 86"/>
                <a:gd name="T36" fmla="*/ 4 w 67"/>
                <a:gd name="T37" fmla="*/ 6 h 86"/>
                <a:gd name="T38" fmla="*/ 4 w 67"/>
                <a:gd name="T39" fmla="*/ 5 h 86"/>
                <a:gd name="T40" fmla="*/ 4 w 67"/>
                <a:gd name="T41" fmla="*/ 4 h 86"/>
                <a:gd name="T42" fmla="*/ 4 w 67"/>
                <a:gd name="T43" fmla="*/ 4 h 86"/>
                <a:gd name="T44" fmla="*/ 5 w 67"/>
                <a:gd name="T45" fmla="*/ 3 h 86"/>
                <a:gd name="T46" fmla="*/ 4 w 67"/>
                <a:gd name="T47" fmla="*/ 3 h 86"/>
                <a:gd name="T48" fmla="*/ 3 w 67"/>
                <a:gd name="T49" fmla="*/ 3 h 86"/>
                <a:gd name="T50" fmla="*/ 3 w 67"/>
                <a:gd name="T51" fmla="*/ 3 h 86"/>
                <a:gd name="T52" fmla="*/ 2 w 67"/>
                <a:gd name="T53" fmla="*/ 3 h 86"/>
                <a:gd name="T54" fmla="*/ 2 w 67"/>
                <a:gd name="T55" fmla="*/ 2 h 86"/>
                <a:gd name="T56" fmla="*/ 2 w 67"/>
                <a:gd name="T57" fmla="*/ 2 h 8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67"/>
                <a:gd name="T88" fmla="*/ 0 h 86"/>
                <a:gd name="T89" fmla="*/ 67 w 67"/>
                <a:gd name="T90" fmla="*/ 86 h 8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67" h="86">
                  <a:moveTo>
                    <a:pt x="26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29" y="4"/>
                  </a:lnTo>
                  <a:lnTo>
                    <a:pt x="33" y="8"/>
                  </a:lnTo>
                  <a:lnTo>
                    <a:pt x="36" y="11"/>
                  </a:lnTo>
                  <a:lnTo>
                    <a:pt x="39" y="14"/>
                  </a:lnTo>
                  <a:lnTo>
                    <a:pt x="47" y="17"/>
                  </a:lnTo>
                  <a:lnTo>
                    <a:pt x="54" y="18"/>
                  </a:lnTo>
                  <a:lnTo>
                    <a:pt x="58" y="30"/>
                  </a:lnTo>
                  <a:lnTo>
                    <a:pt x="62" y="40"/>
                  </a:lnTo>
                  <a:lnTo>
                    <a:pt x="63" y="45"/>
                  </a:lnTo>
                  <a:lnTo>
                    <a:pt x="66" y="50"/>
                  </a:lnTo>
                  <a:lnTo>
                    <a:pt x="66" y="55"/>
                  </a:lnTo>
                  <a:lnTo>
                    <a:pt x="67" y="61"/>
                  </a:lnTo>
                  <a:lnTo>
                    <a:pt x="63" y="74"/>
                  </a:lnTo>
                  <a:lnTo>
                    <a:pt x="60" y="86"/>
                  </a:lnTo>
                  <a:lnTo>
                    <a:pt x="55" y="69"/>
                  </a:lnTo>
                  <a:lnTo>
                    <a:pt x="51" y="54"/>
                  </a:lnTo>
                  <a:lnTo>
                    <a:pt x="50" y="47"/>
                  </a:lnTo>
                  <a:lnTo>
                    <a:pt x="50" y="41"/>
                  </a:lnTo>
                  <a:lnTo>
                    <a:pt x="51" y="35"/>
                  </a:lnTo>
                  <a:lnTo>
                    <a:pt x="54" y="30"/>
                  </a:lnTo>
                  <a:lnTo>
                    <a:pt x="44" y="30"/>
                  </a:lnTo>
                  <a:lnTo>
                    <a:pt x="35" y="29"/>
                  </a:lnTo>
                  <a:lnTo>
                    <a:pt x="32" y="27"/>
                  </a:lnTo>
                  <a:lnTo>
                    <a:pt x="28" y="25"/>
                  </a:lnTo>
                  <a:lnTo>
                    <a:pt x="27" y="22"/>
                  </a:lnTo>
                  <a:lnTo>
                    <a:pt x="26" y="18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5" name="Freeform 62"/>
            <p:cNvSpPr>
              <a:spLocks/>
            </p:cNvSpPr>
            <p:nvPr/>
          </p:nvSpPr>
          <p:spPr bwMode="auto">
            <a:xfrm>
              <a:off x="1201" y="2159"/>
              <a:ext cx="16" cy="28"/>
            </a:xfrm>
            <a:custGeom>
              <a:avLst/>
              <a:gdLst>
                <a:gd name="T0" fmla="*/ 3 w 49"/>
                <a:gd name="T1" fmla="*/ 1 h 86"/>
                <a:gd name="T2" fmla="*/ 2 w 49"/>
                <a:gd name="T3" fmla="*/ 1 h 86"/>
                <a:gd name="T4" fmla="*/ 2 w 49"/>
                <a:gd name="T5" fmla="*/ 0 h 86"/>
                <a:gd name="T6" fmla="*/ 1 w 49"/>
                <a:gd name="T7" fmla="*/ 1 h 86"/>
                <a:gd name="T8" fmla="*/ 1 w 49"/>
                <a:gd name="T9" fmla="*/ 1 h 86"/>
                <a:gd name="T10" fmla="*/ 0 w 49"/>
                <a:gd name="T11" fmla="*/ 2 h 86"/>
                <a:gd name="T12" fmla="*/ 0 w 49"/>
                <a:gd name="T13" fmla="*/ 3 h 86"/>
                <a:gd name="T14" fmla="*/ 0 w 49"/>
                <a:gd name="T15" fmla="*/ 4 h 86"/>
                <a:gd name="T16" fmla="*/ 0 w 49"/>
                <a:gd name="T17" fmla="*/ 5 h 86"/>
                <a:gd name="T18" fmla="*/ 1 w 49"/>
                <a:gd name="T19" fmla="*/ 5 h 86"/>
                <a:gd name="T20" fmla="*/ 1 w 49"/>
                <a:gd name="T21" fmla="*/ 6 h 86"/>
                <a:gd name="T22" fmla="*/ 1 w 49"/>
                <a:gd name="T23" fmla="*/ 7 h 86"/>
                <a:gd name="T24" fmla="*/ 2 w 49"/>
                <a:gd name="T25" fmla="*/ 8 h 86"/>
                <a:gd name="T26" fmla="*/ 2 w 49"/>
                <a:gd name="T27" fmla="*/ 8 h 86"/>
                <a:gd name="T28" fmla="*/ 3 w 49"/>
                <a:gd name="T29" fmla="*/ 9 h 86"/>
                <a:gd name="T30" fmla="*/ 3 w 49"/>
                <a:gd name="T31" fmla="*/ 8 h 86"/>
                <a:gd name="T32" fmla="*/ 4 w 49"/>
                <a:gd name="T33" fmla="*/ 7 h 86"/>
                <a:gd name="T34" fmla="*/ 5 w 49"/>
                <a:gd name="T35" fmla="*/ 6 h 86"/>
                <a:gd name="T36" fmla="*/ 5 w 49"/>
                <a:gd name="T37" fmla="*/ 5 h 86"/>
                <a:gd name="T38" fmla="*/ 5 w 49"/>
                <a:gd name="T39" fmla="*/ 4 h 86"/>
                <a:gd name="T40" fmla="*/ 5 w 49"/>
                <a:gd name="T41" fmla="*/ 4 h 86"/>
                <a:gd name="T42" fmla="*/ 5 w 49"/>
                <a:gd name="T43" fmla="*/ 3 h 86"/>
                <a:gd name="T44" fmla="*/ 5 w 49"/>
                <a:gd name="T45" fmla="*/ 2 h 86"/>
                <a:gd name="T46" fmla="*/ 5 w 49"/>
                <a:gd name="T47" fmla="*/ 2 h 86"/>
                <a:gd name="T48" fmla="*/ 4 w 49"/>
                <a:gd name="T49" fmla="*/ 2 h 86"/>
                <a:gd name="T50" fmla="*/ 4 w 49"/>
                <a:gd name="T51" fmla="*/ 1 h 86"/>
                <a:gd name="T52" fmla="*/ 3 w 49"/>
                <a:gd name="T53" fmla="*/ 1 h 8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49"/>
                <a:gd name="T82" fmla="*/ 0 h 86"/>
                <a:gd name="T83" fmla="*/ 49 w 49"/>
                <a:gd name="T84" fmla="*/ 86 h 8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49" h="86">
                  <a:moveTo>
                    <a:pt x="27" y="12"/>
                  </a:moveTo>
                  <a:lnTo>
                    <a:pt x="20" y="6"/>
                  </a:lnTo>
                  <a:lnTo>
                    <a:pt x="14" y="0"/>
                  </a:lnTo>
                  <a:lnTo>
                    <a:pt x="9" y="5"/>
                  </a:lnTo>
                  <a:lnTo>
                    <a:pt x="5" y="13"/>
                  </a:lnTo>
                  <a:lnTo>
                    <a:pt x="1" y="21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3" y="43"/>
                  </a:lnTo>
                  <a:lnTo>
                    <a:pt x="5" y="50"/>
                  </a:lnTo>
                  <a:lnTo>
                    <a:pt x="8" y="58"/>
                  </a:lnTo>
                  <a:lnTo>
                    <a:pt x="12" y="66"/>
                  </a:lnTo>
                  <a:lnTo>
                    <a:pt x="17" y="74"/>
                  </a:lnTo>
                  <a:lnTo>
                    <a:pt x="22" y="80"/>
                  </a:lnTo>
                  <a:lnTo>
                    <a:pt x="27" y="86"/>
                  </a:lnTo>
                  <a:lnTo>
                    <a:pt x="31" y="79"/>
                  </a:lnTo>
                  <a:lnTo>
                    <a:pt x="37" y="69"/>
                  </a:lnTo>
                  <a:lnTo>
                    <a:pt x="42" y="57"/>
                  </a:lnTo>
                  <a:lnTo>
                    <a:pt x="46" y="45"/>
                  </a:lnTo>
                  <a:lnTo>
                    <a:pt x="49" y="39"/>
                  </a:lnTo>
                  <a:lnTo>
                    <a:pt x="49" y="33"/>
                  </a:lnTo>
                  <a:lnTo>
                    <a:pt x="49" y="26"/>
                  </a:lnTo>
                  <a:lnTo>
                    <a:pt x="48" y="22"/>
                  </a:lnTo>
                  <a:lnTo>
                    <a:pt x="44" y="18"/>
                  </a:lnTo>
                  <a:lnTo>
                    <a:pt x="40" y="15"/>
                  </a:lnTo>
                  <a:lnTo>
                    <a:pt x="34" y="13"/>
                  </a:lnTo>
                  <a:lnTo>
                    <a:pt x="27" y="12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6" name="Freeform 63"/>
            <p:cNvSpPr>
              <a:spLocks/>
            </p:cNvSpPr>
            <p:nvPr/>
          </p:nvSpPr>
          <p:spPr bwMode="auto">
            <a:xfrm>
              <a:off x="1226" y="2161"/>
              <a:ext cx="2" cy="4"/>
            </a:xfrm>
            <a:custGeom>
              <a:avLst/>
              <a:gdLst>
                <a:gd name="T0" fmla="*/ 0 w 6"/>
                <a:gd name="T1" fmla="*/ 1 h 12"/>
                <a:gd name="T2" fmla="*/ 1 w 6"/>
                <a:gd name="T3" fmla="*/ 0 h 12"/>
                <a:gd name="T4" fmla="*/ 0 w 6"/>
                <a:gd name="T5" fmla="*/ 0 h 12"/>
                <a:gd name="T6" fmla="*/ 0 w 6"/>
                <a:gd name="T7" fmla="*/ 0 h 12"/>
                <a:gd name="T8" fmla="*/ 0 w 6"/>
                <a:gd name="T9" fmla="*/ 0 h 12"/>
                <a:gd name="T10" fmla="*/ 0 w 6"/>
                <a:gd name="T11" fmla="*/ 1 h 12"/>
                <a:gd name="T12" fmla="*/ 0 w 6"/>
                <a:gd name="T13" fmla="*/ 1 h 12"/>
                <a:gd name="T14" fmla="*/ 0 w 6"/>
                <a:gd name="T15" fmla="*/ 1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"/>
                <a:gd name="T25" fmla="*/ 0 h 12"/>
                <a:gd name="T26" fmla="*/ 6 w 6"/>
                <a:gd name="T27" fmla="*/ 12 h 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" h="12">
                  <a:moveTo>
                    <a:pt x="0" y="12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1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2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7" name="Freeform 64"/>
            <p:cNvSpPr>
              <a:spLocks/>
            </p:cNvSpPr>
            <p:nvPr/>
          </p:nvSpPr>
          <p:spPr bwMode="auto">
            <a:xfrm>
              <a:off x="1230" y="2154"/>
              <a:ext cx="13" cy="15"/>
            </a:xfrm>
            <a:custGeom>
              <a:avLst/>
              <a:gdLst>
                <a:gd name="T0" fmla="*/ 0 w 39"/>
                <a:gd name="T1" fmla="*/ 0 h 48"/>
                <a:gd name="T2" fmla="*/ 1 w 39"/>
                <a:gd name="T3" fmla="*/ 1 h 48"/>
                <a:gd name="T4" fmla="*/ 2 w 39"/>
                <a:gd name="T5" fmla="*/ 2 h 48"/>
                <a:gd name="T6" fmla="*/ 4 w 39"/>
                <a:gd name="T7" fmla="*/ 3 h 48"/>
                <a:gd name="T8" fmla="*/ 4 w 39"/>
                <a:gd name="T9" fmla="*/ 3 h 48"/>
                <a:gd name="T10" fmla="*/ 4 w 39"/>
                <a:gd name="T11" fmla="*/ 4 h 48"/>
                <a:gd name="T12" fmla="*/ 4 w 39"/>
                <a:gd name="T13" fmla="*/ 5 h 48"/>
                <a:gd name="T14" fmla="*/ 2 w 39"/>
                <a:gd name="T15" fmla="*/ 3 h 48"/>
                <a:gd name="T16" fmla="*/ 1 w 39"/>
                <a:gd name="T17" fmla="*/ 3 h 48"/>
                <a:gd name="T18" fmla="*/ 0 w 39"/>
                <a:gd name="T19" fmla="*/ 2 h 48"/>
                <a:gd name="T20" fmla="*/ 0 w 39"/>
                <a:gd name="T21" fmla="*/ 2 h 48"/>
                <a:gd name="T22" fmla="*/ 0 w 39"/>
                <a:gd name="T23" fmla="*/ 1 h 48"/>
                <a:gd name="T24" fmla="*/ 0 w 39"/>
                <a:gd name="T25" fmla="*/ 0 h 4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9"/>
                <a:gd name="T40" fmla="*/ 0 h 48"/>
                <a:gd name="T41" fmla="*/ 39 w 39"/>
                <a:gd name="T42" fmla="*/ 48 h 4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9" h="48">
                  <a:moveTo>
                    <a:pt x="0" y="0"/>
                  </a:moveTo>
                  <a:lnTo>
                    <a:pt x="11" y="9"/>
                  </a:lnTo>
                  <a:lnTo>
                    <a:pt x="22" y="17"/>
                  </a:lnTo>
                  <a:lnTo>
                    <a:pt x="32" y="24"/>
                  </a:lnTo>
                  <a:lnTo>
                    <a:pt x="39" y="30"/>
                  </a:lnTo>
                  <a:lnTo>
                    <a:pt x="36" y="39"/>
                  </a:lnTo>
                  <a:lnTo>
                    <a:pt x="33" y="48"/>
                  </a:lnTo>
                  <a:lnTo>
                    <a:pt x="18" y="36"/>
                  </a:lnTo>
                  <a:lnTo>
                    <a:pt x="8" y="26"/>
                  </a:lnTo>
                  <a:lnTo>
                    <a:pt x="4" y="21"/>
                  </a:lnTo>
                  <a:lnTo>
                    <a:pt x="2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8" name="Freeform 65"/>
            <p:cNvSpPr>
              <a:spLocks/>
            </p:cNvSpPr>
            <p:nvPr/>
          </p:nvSpPr>
          <p:spPr bwMode="auto">
            <a:xfrm>
              <a:off x="1247" y="2167"/>
              <a:ext cx="6" cy="14"/>
            </a:xfrm>
            <a:custGeom>
              <a:avLst/>
              <a:gdLst>
                <a:gd name="T0" fmla="*/ 1 w 16"/>
                <a:gd name="T1" fmla="*/ 0 h 43"/>
                <a:gd name="T2" fmla="*/ 2 w 16"/>
                <a:gd name="T3" fmla="*/ 1 h 43"/>
                <a:gd name="T4" fmla="*/ 2 w 16"/>
                <a:gd name="T5" fmla="*/ 2 h 43"/>
                <a:gd name="T6" fmla="*/ 2 w 16"/>
                <a:gd name="T7" fmla="*/ 2 h 43"/>
                <a:gd name="T8" fmla="*/ 2 w 16"/>
                <a:gd name="T9" fmla="*/ 3 h 43"/>
                <a:gd name="T10" fmla="*/ 2 w 16"/>
                <a:gd name="T11" fmla="*/ 3 h 43"/>
                <a:gd name="T12" fmla="*/ 2 w 16"/>
                <a:gd name="T13" fmla="*/ 4 h 43"/>
                <a:gd name="T14" fmla="*/ 1 w 16"/>
                <a:gd name="T15" fmla="*/ 4 h 43"/>
                <a:gd name="T16" fmla="*/ 0 w 16"/>
                <a:gd name="T17" fmla="*/ 5 h 43"/>
                <a:gd name="T18" fmla="*/ 0 w 16"/>
                <a:gd name="T19" fmla="*/ 3 h 43"/>
                <a:gd name="T20" fmla="*/ 1 w 16"/>
                <a:gd name="T21" fmla="*/ 2 h 43"/>
                <a:gd name="T22" fmla="*/ 1 w 16"/>
                <a:gd name="T23" fmla="*/ 1 h 43"/>
                <a:gd name="T24" fmla="*/ 1 w 16"/>
                <a:gd name="T25" fmla="*/ 0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6"/>
                <a:gd name="T40" fmla="*/ 0 h 43"/>
                <a:gd name="T41" fmla="*/ 16 w 16"/>
                <a:gd name="T42" fmla="*/ 43 h 43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6" h="43">
                  <a:moveTo>
                    <a:pt x="7" y="0"/>
                  </a:moveTo>
                  <a:lnTo>
                    <a:pt x="11" y="9"/>
                  </a:lnTo>
                  <a:lnTo>
                    <a:pt x="15" y="16"/>
                  </a:lnTo>
                  <a:lnTo>
                    <a:pt x="16" y="22"/>
                  </a:lnTo>
                  <a:lnTo>
                    <a:pt x="16" y="27"/>
                  </a:lnTo>
                  <a:lnTo>
                    <a:pt x="15" y="31"/>
                  </a:lnTo>
                  <a:lnTo>
                    <a:pt x="11" y="35"/>
                  </a:lnTo>
                  <a:lnTo>
                    <a:pt x="7" y="39"/>
                  </a:lnTo>
                  <a:lnTo>
                    <a:pt x="0" y="43"/>
                  </a:lnTo>
                  <a:lnTo>
                    <a:pt x="2" y="28"/>
                  </a:lnTo>
                  <a:lnTo>
                    <a:pt x="4" y="18"/>
                  </a:lnTo>
                  <a:lnTo>
                    <a:pt x="6" y="9"/>
                  </a:lnTo>
                  <a:lnTo>
                    <a:pt x="7" y="0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9" name="Freeform 66"/>
            <p:cNvSpPr>
              <a:spLocks/>
            </p:cNvSpPr>
            <p:nvPr/>
          </p:nvSpPr>
          <p:spPr bwMode="auto">
            <a:xfrm>
              <a:off x="1248" y="2190"/>
              <a:ext cx="8" cy="12"/>
            </a:xfrm>
            <a:custGeom>
              <a:avLst/>
              <a:gdLst>
                <a:gd name="T0" fmla="*/ 3 w 24"/>
                <a:gd name="T1" fmla="*/ 4 h 37"/>
                <a:gd name="T2" fmla="*/ 2 w 24"/>
                <a:gd name="T3" fmla="*/ 3 h 37"/>
                <a:gd name="T4" fmla="*/ 2 w 24"/>
                <a:gd name="T5" fmla="*/ 2 h 37"/>
                <a:gd name="T6" fmla="*/ 1 w 24"/>
                <a:gd name="T7" fmla="*/ 1 h 37"/>
                <a:gd name="T8" fmla="*/ 1 w 24"/>
                <a:gd name="T9" fmla="*/ 0 h 37"/>
                <a:gd name="T10" fmla="*/ 1 w 24"/>
                <a:gd name="T11" fmla="*/ 1 h 37"/>
                <a:gd name="T12" fmla="*/ 0 w 24"/>
                <a:gd name="T13" fmla="*/ 2 h 37"/>
                <a:gd name="T14" fmla="*/ 0 w 24"/>
                <a:gd name="T15" fmla="*/ 3 h 37"/>
                <a:gd name="T16" fmla="*/ 0 w 24"/>
                <a:gd name="T17" fmla="*/ 3 h 37"/>
                <a:gd name="T18" fmla="*/ 0 w 24"/>
                <a:gd name="T19" fmla="*/ 4 h 37"/>
                <a:gd name="T20" fmla="*/ 0 w 24"/>
                <a:gd name="T21" fmla="*/ 4 h 37"/>
                <a:gd name="T22" fmla="*/ 0 w 24"/>
                <a:gd name="T23" fmla="*/ 4 h 37"/>
                <a:gd name="T24" fmla="*/ 1 w 24"/>
                <a:gd name="T25" fmla="*/ 4 h 37"/>
                <a:gd name="T26" fmla="*/ 2 w 24"/>
                <a:gd name="T27" fmla="*/ 4 h 37"/>
                <a:gd name="T28" fmla="*/ 3 w 24"/>
                <a:gd name="T29" fmla="*/ 4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4"/>
                <a:gd name="T46" fmla="*/ 0 h 37"/>
                <a:gd name="T47" fmla="*/ 24 w 24"/>
                <a:gd name="T48" fmla="*/ 37 h 3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4" h="37">
                  <a:moveTo>
                    <a:pt x="24" y="36"/>
                  </a:moveTo>
                  <a:lnTo>
                    <a:pt x="19" y="27"/>
                  </a:lnTo>
                  <a:lnTo>
                    <a:pt x="15" y="18"/>
                  </a:lnTo>
                  <a:lnTo>
                    <a:pt x="12" y="9"/>
                  </a:lnTo>
                  <a:lnTo>
                    <a:pt x="11" y="0"/>
                  </a:lnTo>
                  <a:lnTo>
                    <a:pt x="6" y="10"/>
                  </a:lnTo>
                  <a:lnTo>
                    <a:pt x="3" y="19"/>
                  </a:lnTo>
                  <a:lnTo>
                    <a:pt x="1" y="26"/>
                  </a:lnTo>
                  <a:lnTo>
                    <a:pt x="0" y="31"/>
                  </a:lnTo>
                  <a:lnTo>
                    <a:pt x="1" y="33"/>
                  </a:lnTo>
                  <a:lnTo>
                    <a:pt x="2" y="35"/>
                  </a:lnTo>
                  <a:lnTo>
                    <a:pt x="4" y="36"/>
                  </a:lnTo>
                  <a:lnTo>
                    <a:pt x="6" y="37"/>
                  </a:lnTo>
                  <a:lnTo>
                    <a:pt x="14" y="37"/>
                  </a:lnTo>
                  <a:lnTo>
                    <a:pt x="24" y="36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0" name="Freeform 67"/>
            <p:cNvSpPr>
              <a:spLocks/>
            </p:cNvSpPr>
            <p:nvPr/>
          </p:nvSpPr>
          <p:spPr bwMode="auto">
            <a:xfrm>
              <a:off x="1265" y="2204"/>
              <a:ext cx="11" cy="17"/>
            </a:xfrm>
            <a:custGeom>
              <a:avLst/>
              <a:gdLst>
                <a:gd name="T0" fmla="*/ 4 w 34"/>
                <a:gd name="T1" fmla="*/ 0 h 55"/>
                <a:gd name="T2" fmla="*/ 4 w 34"/>
                <a:gd name="T3" fmla="*/ 1 h 55"/>
                <a:gd name="T4" fmla="*/ 4 w 34"/>
                <a:gd name="T5" fmla="*/ 2 h 55"/>
                <a:gd name="T6" fmla="*/ 4 w 34"/>
                <a:gd name="T7" fmla="*/ 3 h 55"/>
                <a:gd name="T8" fmla="*/ 3 w 34"/>
                <a:gd name="T9" fmla="*/ 4 h 55"/>
                <a:gd name="T10" fmla="*/ 3 w 34"/>
                <a:gd name="T11" fmla="*/ 4 h 55"/>
                <a:gd name="T12" fmla="*/ 3 w 34"/>
                <a:gd name="T13" fmla="*/ 5 h 55"/>
                <a:gd name="T14" fmla="*/ 2 w 34"/>
                <a:gd name="T15" fmla="*/ 5 h 55"/>
                <a:gd name="T16" fmla="*/ 2 w 34"/>
                <a:gd name="T17" fmla="*/ 5 h 55"/>
                <a:gd name="T18" fmla="*/ 1 w 34"/>
                <a:gd name="T19" fmla="*/ 5 h 55"/>
                <a:gd name="T20" fmla="*/ 0 w 34"/>
                <a:gd name="T21" fmla="*/ 5 h 55"/>
                <a:gd name="T22" fmla="*/ 1 w 34"/>
                <a:gd name="T23" fmla="*/ 3 h 55"/>
                <a:gd name="T24" fmla="*/ 2 w 34"/>
                <a:gd name="T25" fmla="*/ 2 h 55"/>
                <a:gd name="T26" fmla="*/ 2 w 34"/>
                <a:gd name="T27" fmla="*/ 2 h 55"/>
                <a:gd name="T28" fmla="*/ 2 w 34"/>
                <a:gd name="T29" fmla="*/ 1 h 55"/>
                <a:gd name="T30" fmla="*/ 3 w 34"/>
                <a:gd name="T31" fmla="*/ 1 h 55"/>
                <a:gd name="T32" fmla="*/ 4 w 34"/>
                <a:gd name="T33" fmla="*/ 0 h 5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34"/>
                <a:gd name="T52" fmla="*/ 0 h 55"/>
                <a:gd name="T53" fmla="*/ 34 w 34"/>
                <a:gd name="T54" fmla="*/ 55 h 5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34" h="55">
                  <a:moveTo>
                    <a:pt x="34" y="0"/>
                  </a:moveTo>
                  <a:lnTo>
                    <a:pt x="34" y="13"/>
                  </a:lnTo>
                  <a:lnTo>
                    <a:pt x="34" y="25"/>
                  </a:lnTo>
                  <a:lnTo>
                    <a:pt x="33" y="32"/>
                  </a:lnTo>
                  <a:lnTo>
                    <a:pt x="31" y="38"/>
                  </a:lnTo>
                  <a:lnTo>
                    <a:pt x="29" y="43"/>
                  </a:lnTo>
                  <a:lnTo>
                    <a:pt x="24" y="47"/>
                  </a:lnTo>
                  <a:lnTo>
                    <a:pt x="20" y="51"/>
                  </a:lnTo>
                  <a:lnTo>
                    <a:pt x="14" y="53"/>
                  </a:lnTo>
                  <a:lnTo>
                    <a:pt x="8" y="55"/>
                  </a:lnTo>
                  <a:lnTo>
                    <a:pt x="0" y="55"/>
                  </a:lnTo>
                  <a:lnTo>
                    <a:pt x="9" y="36"/>
                  </a:lnTo>
                  <a:lnTo>
                    <a:pt x="14" y="21"/>
                  </a:lnTo>
                  <a:lnTo>
                    <a:pt x="18" y="16"/>
                  </a:lnTo>
                  <a:lnTo>
                    <a:pt x="22" y="10"/>
                  </a:lnTo>
                  <a:lnTo>
                    <a:pt x="28" y="5"/>
                  </a:lnTo>
                  <a:lnTo>
                    <a:pt x="34" y="0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1" name="Freeform 68"/>
            <p:cNvSpPr>
              <a:spLocks/>
            </p:cNvSpPr>
            <p:nvPr/>
          </p:nvSpPr>
          <p:spPr bwMode="auto">
            <a:xfrm>
              <a:off x="1285" y="2215"/>
              <a:ext cx="11" cy="4"/>
            </a:xfrm>
            <a:custGeom>
              <a:avLst/>
              <a:gdLst>
                <a:gd name="T0" fmla="*/ 0 w 33"/>
                <a:gd name="T1" fmla="*/ 0 h 12"/>
                <a:gd name="T2" fmla="*/ 0 w 33"/>
                <a:gd name="T3" fmla="*/ 0 h 12"/>
                <a:gd name="T4" fmla="*/ 1 w 33"/>
                <a:gd name="T5" fmla="*/ 1 h 12"/>
                <a:gd name="T6" fmla="*/ 1 w 33"/>
                <a:gd name="T7" fmla="*/ 1 h 12"/>
                <a:gd name="T8" fmla="*/ 2 w 33"/>
                <a:gd name="T9" fmla="*/ 1 h 12"/>
                <a:gd name="T10" fmla="*/ 3 w 33"/>
                <a:gd name="T11" fmla="*/ 1 h 12"/>
                <a:gd name="T12" fmla="*/ 4 w 33"/>
                <a:gd name="T13" fmla="*/ 1 h 12"/>
                <a:gd name="T14" fmla="*/ 3 w 33"/>
                <a:gd name="T15" fmla="*/ 1 h 12"/>
                <a:gd name="T16" fmla="*/ 2 w 33"/>
                <a:gd name="T17" fmla="*/ 0 h 12"/>
                <a:gd name="T18" fmla="*/ 1 w 33"/>
                <a:gd name="T19" fmla="*/ 0 h 12"/>
                <a:gd name="T20" fmla="*/ 0 w 33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3"/>
                <a:gd name="T34" fmla="*/ 0 h 12"/>
                <a:gd name="T35" fmla="*/ 33 w 33"/>
                <a:gd name="T36" fmla="*/ 12 h 1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3" h="12">
                  <a:moveTo>
                    <a:pt x="0" y="0"/>
                  </a:moveTo>
                  <a:lnTo>
                    <a:pt x="2" y="4"/>
                  </a:lnTo>
                  <a:lnTo>
                    <a:pt x="6" y="7"/>
                  </a:lnTo>
                  <a:lnTo>
                    <a:pt x="10" y="9"/>
                  </a:lnTo>
                  <a:lnTo>
                    <a:pt x="14" y="11"/>
                  </a:lnTo>
                  <a:lnTo>
                    <a:pt x="23" y="12"/>
                  </a:lnTo>
                  <a:lnTo>
                    <a:pt x="33" y="12"/>
                  </a:lnTo>
                  <a:lnTo>
                    <a:pt x="28" y="8"/>
                  </a:lnTo>
                  <a:lnTo>
                    <a:pt x="19" y="4"/>
                  </a:lnTo>
                  <a:lnTo>
                    <a:pt x="10" y="1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72" name="Freeform 69"/>
          <p:cNvSpPr>
            <a:spLocks/>
          </p:cNvSpPr>
          <p:nvPr userDrawn="1">
            <p:custDataLst>
              <p:tags r:id="rId52"/>
            </p:custDataLst>
          </p:nvPr>
        </p:nvSpPr>
        <p:spPr bwMode="auto">
          <a:xfrm>
            <a:off x="7977189" y="3371862"/>
            <a:ext cx="12700" cy="42863"/>
          </a:xfrm>
          <a:custGeom>
            <a:avLst/>
            <a:gdLst>
              <a:gd name="T0" fmla="*/ 0 w 33"/>
              <a:gd name="T1" fmla="*/ 52679397 h 62"/>
              <a:gd name="T2" fmla="*/ 0 w 33"/>
              <a:gd name="T3" fmla="*/ 45032360 h 62"/>
              <a:gd name="T4" fmla="*/ 0 w 33"/>
              <a:gd name="T5" fmla="*/ 38235199 h 62"/>
              <a:gd name="T6" fmla="*/ 0 w 33"/>
              <a:gd name="T7" fmla="*/ 31438037 h 62"/>
              <a:gd name="T8" fmla="*/ 0 w 33"/>
              <a:gd name="T9" fmla="*/ 26339698 h 62"/>
              <a:gd name="T10" fmla="*/ 0 w 33"/>
              <a:gd name="T11" fmla="*/ 22091242 h 62"/>
              <a:gd name="T12" fmla="*/ 296333 w 33"/>
              <a:gd name="T13" fmla="*/ 18692661 h 62"/>
              <a:gd name="T14" fmla="*/ 592282 w 33"/>
              <a:gd name="T15" fmla="*/ 14444202 h 62"/>
              <a:gd name="T16" fmla="*/ 1184948 w 33"/>
              <a:gd name="T17" fmla="*/ 11045621 h 62"/>
              <a:gd name="T18" fmla="*/ 2073563 w 33"/>
              <a:gd name="T19" fmla="*/ 5098334 h 62"/>
              <a:gd name="T20" fmla="*/ 2962178 w 33"/>
              <a:gd name="T21" fmla="*/ 0 h 62"/>
              <a:gd name="T22" fmla="*/ 3850794 w 33"/>
              <a:gd name="T23" fmla="*/ 5098334 h 62"/>
              <a:gd name="T24" fmla="*/ 4887575 w 33"/>
              <a:gd name="T25" fmla="*/ 11045621 h 6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3"/>
              <a:gd name="T40" fmla="*/ 0 h 62"/>
              <a:gd name="T41" fmla="*/ 33 w 33"/>
              <a:gd name="T42" fmla="*/ 62 h 62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3" h="62">
                <a:moveTo>
                  <a:pt x="0" y="62"/>
                </a:moveTo>
                <a:lnTo>
                  <a:pt x="0" y="53"/>
                </a:lnTo>
                <a:lnTo>
                  <a:pt x="0" y="45"/>
                </a:lnTo>
                <a:lnTo>
                  <a:pt x="0" y="37"/>
                </a:lnTo>
                <a:lnTo>
                  <a:pt x="0" y="31"/>
                </a:lnTo>
                <a:lnTo>
                  <a:pt x="0" y="26"/>
                </a:lnTo>
                <a:lnTo>
                  <a:pt x="2" y="22"/>
                </a:lnTo>
                <a:lnTo>
                  <a:pt x="4" y="17"/>
                </a:lnTo>
                <a:lnTo>
                  <a:pt x="8" y="13"/>
                </a:lnTo>
                <a:lnTo>
                  <a:pt x="14" y="6"/>
                </a:lnTo>
                <a:lnTo>
                  <a:pt x="20" y="0"/>
                </a:lnTo>
                <a:lnTo>
                  <a:pt x="26" y="6"/>
                </a:lnTo>
                <a:lnTo>
                  <a:pt x="33" y="13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73" name="Freeform 70"/>
          <p:cNvSpPr>
            <a:spLocks/>
          </p:cNvSpPr>
          <p:nvPr userDrawn="1">
            <p:custDataLst>
              <p:tags r:id="rId53"/>
            </p:custDataLst>
          </p:nvPr>
        </p:nvSpPr>
        <p:spPr bwMode="auto">
          <a:xfrm>
            <a:off x="7986714" y="3439728"/>
            <a:ext cx="9525" cy="44053"/>
          </a:xfrm>
          <a:custGeom>
            <a:avLst/>
            <a:gdLst>
              <a:gd name="T0" fmla="*/ 0 w 26"/>
              <a:gd name="T1" fmla="*/ 191668590 h 18"/>
              <a:gd name="T2" fmla="*/ 0 w 26"/>
              <a:gd name="T3" fmla="*/ 0 h 18"/>
              <a:gd name="T4" fmla="*/ 3489448 w 26"/>
              <a:gd name="T5" fmla="*/ 0 h 18"/>
              <a:gd name="T6" fmla="*/ 805229 w 26"/>
              <a:gd name="T7" fmla="*/ 127779077 h 18"/>
              <a:gd name="T8" fmla="*/ 805229 w 26"/>
              <a:gd name="T9" fmla="*/ 63889539 h 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6"/>
              <a:gd name="T16" fmla="*/ 0 h 18"/>
              <a:gd name="T17" fmla="*/ 26 w 26"/>
              <a:gd name="T18" fmla="*/ 18 h 1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6" h="18">
                <a:moveTo>
                  <a:pt x="0" y="18"/>
                </a:moveTo>
                <a:lnTo>
                  <a:pt x="0" y="0"/>
                </a:lnTo>
                <a:lnTo>
                  <a:pt x="26" y="0"/>
                </a:lnTo>
                <a:lnTo>
                  <a:pt x="6" y="12"/>
                </a:lnTo>
                <a:lnTo>
                  <a:pt x="6" y="6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74" name="Freeform 71"/>
          <p:cNvSpPr>
            <a:spLocks/>
          </p:cNvSpPr>
          <p:nvPr userDrawn="1">
            <p:custDataLst>
              <p:tags r:id="rId54"/>
            </p:custDataLst>
          </p:nvPr>
        </p:nvSpPr>
        <p:spPr bwMode="auto">
          <a:xfrm>
            <a:off x="8101014" y="3371863"/>
            <a:ext cx="77788" cy="97631"/>
          </a:xfrm>
          <a:custGeom>
            <a:avLst/>
            <a:gdLst>
              <a:gd name="T0" fmla="*/ 33616518 w 180"/>
              <a:gd name="T1" fmla="*/ 65310967 h 240"/>
              <a:gd name="T2" fmla="*/ 32682631 w 180"/>
              <a:gd name="T3" fmla="*/ 65604946 h 240"/>
              <a:gd name="T4" fmla="*/ 31935866 w 180"/>
              <a:gd name="T5" fmla="*/ 65604946 h 240"/>
              <a:gd name="T6" fmla="*/ 31188669 w 180"/>
              <a:gd name="T7" fmla="*/ 66193445 h 240"/>
              <a:gd name="T8" fmla="*/ 30628596 w 180"/>
              <a:gd name="T9" fmla="*/ 66781945 h 240"/>
              <a:gd name="T10" fmla="*/ 29508017 w 180"/>
              <a:gd name="T11" fmla="*/ 68252922 h 240"/>
              <a:gd name="T12" fmla="*/ 28574129 w 180"/>
              <a:gd name="T13" fmla="*/ 70606377 h 240"/>
              <a:gd name="T14" fmla="*/ 26146273 w 180"/>
              <a:gd name="T15" fmla="*/ 68252922 h 240"/>
              <a:gd name="T16" fmla="*/ 24465189 w 180"/>
              <a:gd name="T17" fmla="*/ 65604946 h 240"/>
              <a:gd name="T18" fmla="*/ 22971228 w 180"/>
              <a:gd name="T19" fmla="*/ 62957513 h 240"/>
              <a:gd name="T20" fmla="*/ 22037340 w 180"/>
              <a:gd name="T21" fmla="*/ 60604058 h 240"/>
              <a:gd name="T22" fmla="*/ 20916761 w 180"/>
              <a:gd name="T23" fmla="*/ 57367582 h 240"/>
              <a:gd name="T24" fmla="*/ 19796182 w 180"/>
              <a:gd name="T25" fmla="*/ 54425628 h 240"/>
              <a:gd name="T26" fmla="*/ 18302220 w 180"/>
              <a:gd name="T27" fmla="*/ 51189695 h 240"/>
              <a:gd name="T28" fmla="*/ 16248186 w 180"/>
              <a:gd name="T29" fmla="*/ 47365263 h 240"/>
              <a:gd name="T30" fmla="*/ 15314298 w 180"/>
              <a:gd name="T31" fmla="*/ 45011809 h 240"/>
              <a:gd name="T32" fmla="*/ 14007024 w 180"/>
              <a:gd name="T33" fmla="*/ 42952332 h 240"/>
              <a:gd name="T34" fmla="*/ 13073137 w 180"/>
              <a:gd name="T35" fmla="*/ 40892856 h 240"/>
              <a:gd name="T36" fmla="*/ 11579175 w 180"/>
              <a:gd name="T37" fmla="*/ 39127900 h 240"/>
              <a:gd name="T38" fmla="*/ 8964203 w 180"/>
              <a:gd name="T39" fmla="*/ 35597446 h 240"/>
              <a:gd name="T40" fmla="*/ 6162970 w 180"/>
              <a:gd name="T41" fmla="*/ 32361505 h 240"/>
              <a:gd name="T42" fmla="*/ 5042391 w 180"/>
              <a:gd name="T43" fmla="*/ 30596007 h 240"/>
              <a:gd name="T44" fmla="*/ 3921812 w 180"/>
              <a:gd name="T45" fmla="*/ 28831052 h 240"/>
              <a:gd name="T46" fmla="*/ 2801232 w 180"/>
              <a:gd name="T47" fmla="*/ 27065554 h 240"/>
              <a:gd name="T48" fmla="*/ 1867777 w 180"/>
              <a:gd name="T49" fmla="*/ 24712099 h 240"/>
              <a:gd name="T50" fmla="*/ 1120579 w 180"/>
              <a:gd name="T51" fmla="*/ 22652622 h 240"/>
              <a:gd name="T52" fmla="*/ 747197 w 180"/>
              <a:gd name="T53" fmla="*/ 20005189 h 240"/>
              <a:gd name="T54" fmla="*/ 186691 w 180"/>
              <a:gd name="T55" fmla="*/ 17651730 h 240"/>
              <a:gd name="T56" fmla="*/ 0 w 180"/>
              <a:gd name="T57" fmla="*/ 14709775 h 240"/>
              <a:gd name="T58" fmla="*/ 0 w 180"/>
              <a:gd name="T59" fmla="*/ 10296844 h 240"/>
              <a:gd name="T60" fmla="*/ 0 w 180"/>
              <a:gd name="T61" fmla="*/ 7354888 h 240"/>
              <a:gd name="T62" fmla="*/ 0 w 180"/>
              <a:gd name="T63" fmla="*/ 4412932 h 240"/>
              <a:gd name="T64" fmla="*/ 0 w 180"/>
              <a:gd name="T65" fmla="*/ 0 h 240"/>
              <a:gd name="T66" fmla="*/ 1867777 w 180"/>
              <a:gd name="T67" fmla="*/ 2353456 h 240"/>
              <a:gd name="T68" fmla="*/ 3548430 w 180"/>
              <a:gd name="T69" fmla="*/ 5001433 h 240"/>
              <a:gd name="T70" fmla="*/ 5042391 w 180"/>
              <a:gd name="T71" fmla="*/ 7943387 h 240"/>
              <a:gd name="T72" fmla="*/ 6349661 w 180"/>
              <a:gd name="T73" fmla="*/ 11179322 h 240"/>
              <a:gd name="T74" fmla="*/ 7656933 w 180"/>
              <a:gd name="T75" fmla="*/ 14121276 h 240"/>
              <a:gd name="T76" fmla="*/ 8590821 w 180"/>
              <a:gd name="T77" fmla="*/ 17063230 h 240"/>
              <a:gd name="T78" fmla="*/ 9524709 w 180"/>
              <a:gd name="T79" fmla="*/ 19416690 h 240"/>
              <a:gd name="T80" fmla="*/ 10084782 w 180"/>
              <a:gd name="T81" fmla="*/ 21770145 h 240"/>
              <a:gd name="T82" fmla="*/ 11205361 w 180"/>
              <a:gd name="T83" fmla="*/ 25300598 h 240"/>
              <a:gd name="T84" fmla="*/ 12325940 w 180"/>
              <a:gd name="T85" fmla="*/ 28831052 h 240"/>
              <a:gd name="T86" fmla="*/ 13820333 w 180"/>
              <a:gd name="T87" fmla="*/ 31478485 h 240"/>
              <a:gd name="T88" fmla="*/ 15314298 w 180"/>
              <a:gd name="T89" fmla="*/ 34126461 h 240"/>
              <a:gd name="T90" fmla="*/ 18676035 w 180"/>
              <a:gd name="T91" fmla="*/ 39127900 h 240"/>
              <a:gd name="T92" fmla="*/ 22224463 w 180"/>
              <a:gd name="T93" fmla="*/ 43834810 h 240"/>
              <a:gd name="T94" fmla="*/ 25959582 w 180"/>
              <a:gd name="T95" fmla="*/ 48247741 h 240"/>
              <a:gd name="T96" fmla="*/ 28947511 w 180"/>
              <a:gd name="T97" fmla="*/ 52954651 h 240"/>
              <a:gd name="T98" fmla="*/ 30441473 w 180"/>
              <a:gd name="T99" fmla="*/ 55602627 h 240"/>
              <a:gd name="T100" fmla="*/ 31562052 w 180"/>
              <a:gd name="T101" fmla="*/ 58544581 h 240"/>
              <a:gd name="T102" fmla="*/ 32682631 w 180"/>
              <a:gd name="T103" fmla="*/ 61780514 h 240"/>
              <a:gd name="T104" fmla="*/ 33616518 w 180"/>
              <a:gd name="T105" fmla="*/ 65310967 h 2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180"/>
              <a:gd name="T160" fmla="*/ 0 h 240"/>
              <a:gd name="T161" fmla="*/ 180 w 180"/>
              <a:gd name="T162" fmla="*/ 240 h 240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180" h="240">
                <a:moveTo>
                  <a:pt x="180" y="222"/>
                </a:moveTo>
                <a:lnTo>
                  <a:pt x="175" y="223"/>
                </a:lnTo>
                <a:lnTo>
                  <a:pt x="171" y="223"/>
                </a:lnTo>
                <a:lnTo>
                  <a:pt x="167" y="225"/>
                </a:lnTo>
                <a:lnTo>
                  <a:pt x="164" y="227"/>
                </a:lnTo>
                <a:lnTo>
                  <a:pt x="158" y="232"/>
                </a:lnTo>
                <a:lnTo>
                  <a:pt x="153" y="240"/>
                </a:lnTo>
                <a:lnTo>
                  <a:pt x="140" y="232"/>
                </a:lnTo>
                <a:lnTo>
                  <a:pt x="131" y="223"/>
                </a:lnTo>
                <a:lnTo>
                  <a:pt x="123" y="214"/>
                </a:lnTo>
                <a:lnTo>
                  <a:pt x="118" y="206"/>
                </a:lnTo>
                <a:lnTo>
                  <a:pt x="112" y="195"/>
                </a:lnTo>
                <a:lnTo>
                  <a:pt x="106" y="185"/>
                </a:lnTo>
                <a:lnTo>
                  <a:pt x="98" y="174"/>
                </a:lnTo>
                <a:lnTo>
                  <a:pt x="87" y="161"/>
                </a:lnTo>
                <a:lnTo>
                  <a:pt x="82" y="153"/>
                </a:lnTo>
                <a:lnTo>
                  <a:pt x="75" y="146"/>
                </a:lnTo>
                <a:lnTo>
                  <a:pt x="70" y="139"/>
                </a:lnTo>
                <a:lnTo>
                  <a:pt x="62" y="133"/>
                </a:lnTo>
                <a:lnTo>
                  <a:pt x="48" y="121"/>
                </a:lnTo>
                <a:lnTo>
                  <a:pt x="33" y="110"/>
                </a:lnTo>
                <a:lnTo>
                  <a:pt x="27" y="104"/>
                </a:lnTo>
                <a:lnTo>
                  <a:pt x="21" y="98"/>
                </a:lnTo>
                <a:lnTo>
                  <a:pt x="15" y="92"/>
                </a:lnTo>
                <a:lnTo>
                  <a:pt x="10" y="84"/>
                </a:lnTo>
                <a:lnTo>
                  <a:pt x="6" y="77"/>
                </a:lnTo>
                <a:lnTo>
                  <a:pt x="4" y="68"/>
                </a:lnTo>
                <a:lnTo>
                  <a:pt x="1" y="60"/>
                </a:lnTo>
                <a:lnTo>
                  <a:pt x="0" y="50"/>
                </a:lnTo>
                <a:lnTo>
                  <a:pt x="0" y="35"/>
                </a:lnTo>
                <a:lnTo>
                  <a:pt x="0" y="25"/>
                </a:lnTo>
                <a:lnTo>
                  <a:pt x="0" y="15"/>
                </a:lnTo>
                <a:lnTo>
                  <a:pt x="0" y="0"/>
                </a:lnTo>
                <a:lnTo>
                  <a:pt x="10" y="8"/>
                </a:lnTo>
                <a:lnTo>
                  <a:pt x="19" y="17"/>
                </a:lnTo>
                <a:lnTo>
                  <a:pt x="27" y="27"/>
                </a:lnTo>
                <a:lnTo>
                  <a:pt x="34" y="38"/>
                </a:lnTo>
                <a:lnTo>
                  <a:pt x="41" y="48"/>
                </a:lnTo>
                <a:lnTo>
                  <a:pt x="46" y="58"/>
                </a:lnTo>
                <a:lnTo>
                  <a:pt x="51" y="66"/>
                </a:lnTo>
                <a:lnTo>
                  <a:pt x="54" y="74"/>
                </a:lnTo>
                <a:lnTo>
                  <a:pt x="60" y="86"/>
                </a:lnTo>
                <a:lnTo>
                  <a:pt x="66" y="98"/>
                </a:lnTo>
                <a:lnTo>
                  <a:pt x="74" y="107"/>
                </a:lnTo>
                <a:lnTo>
                  <a:pt x="82" y="116"/>
                </a:lnTo>
                <a:lnTo>
                  <a:pt x="100" y="133"/>
                </a:lnTo>
                <a:lnTo>
                  <a:pt x="119" y="149"/>
                </a:lnTo>
                <a:lnTo>
                  <a:pt x="139" y="164"/>
                </a:lnTo>
                <a:lnTo>
                  <a:pt x="155" y="180"/>
                </a:lnTo>
                <a:lnTo>
                  <a:pt x="163" y="189"/>
                </a:lnTo>
                <a:lnTo>
                  <a:pt x="169" y="199"/>
                </a:lnTo>
                <a:lnTo>
                  <a:pt x="175" y="210"/>
                </a:lnTo>
                <a:lnTo>
                  <a:pt x="180" y="222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75" name="Freeform 72"/>
          <p:cNvSpPr>
            <a:spLocks/>
          </p:cNvSpPr>
          <p:nvPr userDrawn="1">
            <p:custDataLst>
              <p:tags r:id="rId55"/>
            </p:custDataLst>
          </p:nvPr>
        </p:nvSpPr>
        <p:spPr bwMode="auto">
          <a:xfrm>
            <a:off x="8101015" y="3351622"/>
            <a:ext cx="14288" cy="42863"/>
          </a:xfrm>
          <a:custGeom>
            <a:avLst/>
            <a:gdLst>
              <a:gd name="T0" fmla="*/ 0 w 27"/>
              <a:gd name="T1" fmla="*/ 0 h 30"/>
              <a:gd name="T2" fmla="*/ 279939 w 27"/>
              <a:gd name="T3" fmla="*/ 18145128 h 30"/>
              <a:gd name="T4" fmla="*/ 840346 w 27"/>
              <a:gd name="T5" fmla="*/ 39919280 h 30"/>
              <a:gd name="T6" fmla="*/ 1120285 w 27"/>
              <a:gd name="T7" fmla="*/ 50806352 h 30"/>
              <a:gd name="T8" fmla="*/ 1120285 w 27"/>
              <a:gd name="T9" fmla="*/ 68951487 h 30"/>
              <a:gd name="T10" fmla="*/ 840346 w 27"/>
              <a:gd name="T11" fmla="*/ 87096608 h 30"/>
              <a:gd name="T12" fmla="*/ 0 w 27"/>
              <a:gd name="T13" fmla="*/ 108870752 h 30"/>
              <a:gd name="T14" fmla="*/ 4760551 w 27"/>
              <a:gd name="T15" fmla="*/ 97983680 h 30"/>
              <a:gd name="T16" fmla="*/ 7560998 w 27"/>
              <a:gd name="T17" fmla="*/ 87096608 h 30"/>
              <a:gd name="T18" fmla="*/ 6440713 w 27"/>
              <a:gd name="T19" fmla="*/ 72580511 h 30"/>
              <a:gd name="T20" fmla="*/ 4760551 w 27"/>
              <a:gd name="T21" fmla="*/ 43548304 h 30"/>
              <a:gd name="T22" fmla="*/ 3080387 w 27"/>
              <a:gd name="T23" fmla="*/ 29032200 h 30"/>
              <a:gd name="T24" fmla="*/ 1960102 w 27"/>
              <a:gd name="T25" fmla="*/ 14516100 h 30"/>
              <a:gd name="T26" fmla="*/ 1120285 w 27"/>
              <a:gd name="T27" fmla="*/ 3629025 h 30"/>
              <a:gd name="T28" fmla="*/ 0 w 27"/>
              <a:gd name="T29" fmla="*/ 0 h 3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27"/>
              <a:gd name="T46" fmla="*/ 0 h 30"/>
              <a:gd name="T47" fmla="*/ 27 w 27"/>
              <a:gd name="T48" fmla="*/ 30 h 30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27" h="30">
                <a:moveTo>
                  <a:pt x="0" y="0"/>
                </a:moveTo>
                <a:lnTo>
                  <a:pt x="1" y="5"/>
                </a:lnTo>
                <a:lnTo>
                  <a:pt x="3" y="11"/>
                </a:lnTo>
                <a:lnTo>
                  <a:pt x="4" y="14"/>
                </a:lnTo>
                <a:lnTo>
                  <a:pt x="4" y="19"/>
                </a:lnTo>
                <a:lnTo>
                  <a:pt x="3" y="24"/>
                </a:lnTo>
                <a:lnTo>
                  <a:pt x="0" y="30"/>
                </a:lnTo>
                <a:lnTo>
                  <a:pt x="17" y="27"/>
                </a:lnTo>
                <a:lnTo>
                  <a:pt x="27" y="24"/>
                </a:lnTo>
                <a:lnTo>
                  <a:pt x="23" y="20"/>
                </a:lnTo>
                <a:lnTo>
                  <a:pt x="17" y="12"/>
                </a:lnTo>
                <a:lnTo>
                  <a:pt x="11" y="8"/>
                </a:lnTo>
                <a:lnTo>
                  <a:pt x="7" y="4"/>
                </a:lnTo>
                <a:lnTo>
                  <a:pt x="4" y="1"/>
                </a:lnTo>
                <a:lnTo>
                  <a:pt x="0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grpSp>
        <p:nvGrpSpPr>
          <p:cNvPr id="22" name="Group 73"/>
          <p:cNvGrpSpPr>
            <a:grpSpLocks/>
          </p:cNvGrpSpPr>
          <p:nvPr userDrawn="1">
            <p:custDataLst>
              <p:tags r:id="rId56"/>
            </p:custDataLst>
          </p:nvPr>
        </p:nvGrpSpPr>
        <p:grpSpPr bwMode="auto">
          <a:xfrm>
            <a:off x="7791453" y="3742136"/>
            <a:ext cx="458787" cy="303609"/>
            <a:chOff x="5372" y="3323"/>
            <a:chExt cx="341" cy="253"/>
          </a:xfrm>
          <a:solidFill>
            <a:sysClr val="window" lastClr="FFFFFF">
              <a:lumMod val="85000"/>
            </a:sysClr>
          </a:solidFill>
        </p:grpSpPr>
        <p:sp>
          <p:nvSpPr>
            <p:cNvPr id="77" name="Freeform 74"/>
            <p:cNvSpPr>
              <a:spLocks/>
            </p:cNvSpPr>
            <p:nvPr/>
          </p:nvSpPr>
          <p:spPr bwMode="auto">
            <a:xfrm>
              <a:off x="5372" y="3565"/>
              <a:ext cx="16" cy="11"/>
            </a:xfrm>
            <a:custGeom>
              <a:avLst/>
              <a:gdLst>
                <a:gd name="T0" fmla="*/ 0 w 53"/>
                <a:gd name="T1" fmla="*/ 3 h 33"/>
                <a:gd name="T2" fmla="*/ 0 w 53"/>
                <a:gd name="T3" fmla="*/ 3 h 33"/>
                <a:gd name="T4" fmla="*/ 1 w 53"/>
                <a:gd name="T5" fmla="*/ 2 h 33"/>
                <a:gd name="T6" fmla="*/ 2 w 53"/>
                <a:gd name="T7" fmla="*/ 2 h 33"/>
                <a:gd name="T8" fmla="*/ 2 w 53"/>
                <a:gd name="T9" fmla="*/ 1 h 33"/>
                <a:gd name="T10" fmla="*/ 3 w 53"/>
                <a:gd name="T11" fmla="*/ 1 h 33"/>
                <a:gd name="T12" fmla="*/ 3 w 53"/>
                <a:gd name="T13" fmla="*/ 0 h 33"/>
                <a:gd name="T14" fmla="*/ 4 w 53"/>
                <a:gd name="T15" fmla="*/ 0 h 33"/>
                <a:gd name="T16" fmla="*/ 5 w 53"/>
                <a:gd name="T17" fmla="*/ 0 h 33"/>
                <a:gd name="T18" fmla="*/ 5 w 53"/>
                <a:gd name="T19" fmla="*/ 2 h 33"/>
                <a:gd name="T20" fmla="*/ 3 w 53"/>
                <a:gd name="T21" fmla="*/ 3 h 33"/>
                <a:gd name="T22" fmla="*/ 2 w 53"/>
                <a:gd name="T23" fmla="*/ 3 h 33"/>
                <a:gd name="T24" fmla="*/ 2 w 53"/>
                <a:gd name="T25" fmla="*/ 4 h 33"/>
                <a:gd name="T26" fmla="*/ 2 w 53"/>
                <a:gd name="T27" fmla="*/ 4 h 33"/>
                <a:gd name="T28" fmla="*/ 1 w 53"/>
                <a:gd name="T29" fmla="*/ 4 h 33"/>
                <a:gd name="T30" fmla="*/ 0 w 53"/>
                <a:gd name="T31" fmla="*/ 3 h 3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3"/>
                <a:gd name="T49" fmla="*/ 0 h 33"/>
                <a:gd name="T50" fmla="*/ 53 w 53"/>
                <a:gd name="T51" fmla="*/ 33 h 33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3" h="33">
                  <a:moveTo>
                    <a:pt x="0" y="31"/>
                  </a:moveTo>
                  <a:lnTo>
                    <a:pt x="4" y="26"/>
                  </a:lnTo>
                  <a:lnTo>
                    <a:pt x="8" y="21"/>
                  </a:lnTo>
                  <a:lnTo>
                    <a:pt x="15" y="16"/>
                  </a:lnTo>
                  <a:lnTo>
                    <a:pt x="21" y="11"/>
                  </a:lnTo>
                  <a:lnTo>
                    <a:pt x="29" y="7"/>
                  </a:lnTo>
                  <a:lnTo>
                    <a:pt x="38" y="3"/>
                  </a:lnTo>
                  <a:lnTo>
                    <a:pt x="45" y="1"/>
                  </a:lnTo>
                  <a:lnTo>
                    <a:pt x="53" y="0"/>
                  </a:lnTo>
                  <a:lnTo>
                    <a:pt x="53" y="18"/>
                  </a:lnTo>
                  <a:lnTo>
                    <a:pt x="38" y="24"/>
                  </a:lnTo>
                  <a:lnTo>
                    <a:pt x="27" y="30"/>
                  </a:lnTo>
                  <a:lnTo>
                    <a:pt x="21" y="32"/>
                  </a:lnTo>
                  <a:lnTo>
                    <a:pt x="16" y="33"/>
                  </a:lnTo>
                  <a:lnTo>
                    <a:pt x="9" y="33"/>
                  </a:lnTo>
                  <a:lnTo>
                    <a:pt x="0" y="31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8" name="Freeform 75"/>
            <p:cNvSpPr>
              <a:spLocks/>
            </p:cNvSpPr>
            <p:nvPr/>
          </p:nvSpPr>
          <p:spPr bwMode="auto">
            <a:xfrm>
              <a:off x="5379" y="3446"/>
              <a:ext cx="202" cy="117"/>
            </a:xfrm>
            <a:custGeom>
              <a:avLst/>
              <a:gdLst>
                <a:gd name="T0" fmla="*/ 3 w 631"/>
                <a:gd name="T1" fmla="*/ 32 h 358"/>
                <a:gd name="T2" fmla="*/ 5 w 631"/>
                <a:gd name="T3" fmla="*/ 31 h 358"/>
                <a:gd name="T4" fmla="*/ 7 w 631"/>
                <a:gd name="T5" fmla="*/ 30 h 358"/>
                <a:gd name="T6" fmla="*/ 8 w 631"/>
                <a:gd name="T7" fmla="*/ 27 h 358"/>
                <a:gd name="T8" fmla="*/ 10 w 631"/>
                <a:gd name="T9" fmla="*/ 27 h 358"/>
                <a:gd name="T10" fmla="*/ 13 w 631"/>
                <a:gd name="T11" fmla="*/ 27 h 358"/>
                <a:gd name="T12" fmla="*/ 14 w 631"/>
                <a:gd name="T13" fmla="*/ 26 h 358"/>
                <a:gd name="T14" fmla="*/ 17 w 631"/>
                <a:gd name="T15" fmla="*/ 25 h 358"/>
                <a:gd name="T16" fmla="*/ 19 w 631"/>
                <a:gd name="T17" fmla="*/ 22 h 358"/>
                <a:gd name="T18" fmla="*/ 22 w 631"/>
                <a:gd name="T19" fmla="*/ 21 h 358"/>
                <a:gd name="T20" fmla="*/ 27 w 631"/>
                <a:gd name="T21" fmla="*/ 19 h 358"/>
                <a:gd name="T22" fmla="*/ 34 w 631"/>
                <a:gd name="T23" fmla="*/ 16 h 358"/>
                <a:gd name="T24" fmla="*/ 37 w 631"/>
                <a:gd name="T25" fmla="*/ 15 h 358"/>
                <a:gd name="T26" fmla="*/ 40 w 631"/>
                <a:gd name="T27" fmla="*/ 14 h 358"/>
                <a:gd name="T28" fmla="*/ 42 w 631"/>
                <a:gd name="T29" fmla="*/ 14 h 358"/>
                <a:gd name="T30" fmla="*/ 45 w 631"/>
                <a:gd name="T31" fmla="*/ 11 h 358"/>
                <a:gd name="T32" fmla="*/ 48 w 631"/>
                <a:gd name="T33" fmla="*/ 8 h 358"/>
                <a:gd name="T34" fmla="*/ 49 w 631"/>
                <a:gd name="T35" fmla="*/ 7 h 358"/>
                <a:gd name="T36" fmla="*/ 52 w 631"/>
                <a:gd name="T37" fmla="*/ 6 h 358"/>
                <a:gd name="T38" fmla="*/ 55 w 631"/>
                <a:gd name="T39" fmla="*/ 4 h 358"/>
                <a:gd name="T40" fmla="*/ 58 w 631"/>
                <a:gd name="T41" fmla="*/ 1 h 358"/>
                <a:gd name="T42" fmla="*/ 61 w 631"/>
                <a:gd name="T43" fmla="*/ 0 h 358"/>
                <a:gd name="T44" fmla="*/ 62 w 631"/>
                <a:gd name="T45" fmla="*/ 2 h 358"/>
                <a:gd name="T46" fmla="*/ 63 w 631"/>
                <a:gd name="T47" fmla="*/ 3 h 358"/>
                <a:gd name="T48" fmla="*/ 64 w 631"/>
                <a:gd name="T49" fmla="*/ 5 h 358"/>
                <a:gd name="T50" fmla="*/ 61 w 631"/>
                <a:gd name="T51" fmla="*/ 9 h 358"/>
                <a:gd name="T52" fmla="*/ 58 w 631"/>
                <a:gd name="T53" fmla="*/ 13 h 358"/>
                <a:gd name="T54" fmla="*/ 54 w 631"/>
                <a:gd name="T55" fmla="*/ 16 h 358"/>
                <a:gd name="T56" fmla="*/ 50 w 631"/>
                <a:gd name="T57" fmla="*/ 19 h 358"/>
                <a:gd name="T58" fmla="*/ 45 w 631"/>
                <a:gd name="T59" fmla="*/ 19 h 358"/>
                <a:gd name="T60" fmla="*/ 45 w 631"/>
                <a:gd name="T61" fmla="*/ 21 h 358"/>
                <a:gd name="T62" fmla="*/ 44 w 631"/>
                <a:gd name="T63" fmla="*/ 21 h 358"/>
                <a:gd name="T64" fmla="*/ 40 w 631"/>
                <a:gd name="T65" fmla="*/ 21 h 358"/>
                <a:gd name="T66" fmla="*/ 37 w 631"/>
                <a:gd name="T67" fmla="*/ 23 h 358"/>
                <a:gd name="T68" fmla="*/ 36 w 631"/>
                <a:gd name="T69" fmla="*/ 23 h 358"/>
                <a:gd name="T70" fmla="*/ 35 w 631"/>
                <a:gd name="T71" fmla="*/ 22 h 358"/>
                <a:gd name="T72" fmla="*/ 32 w 631"/>
                <a:gd name="T73" fmla="*/ 26 h 358"/>
                <a:gd name="T74" fmla="*/ 28 w 631"/>
                <a:gd name="T75" fmla="*/ 30 h 358"/>
                <a:gd name="T76" fmla="*/ 22 w 631"/>
                <a:gd name="T77" fmla="*/ 34 h 358"/>
                <a:gd name="T78" fmla="*/ 17 w 631"/>
                <a:gd name="T79" fmla="*/ 37 h 358"/>
                <a:gd name="T80" fmla="*/ 11 w 631"/>
                <a:gd name="T81" fmla="*/ 38 h 358"/>
                <a:gd name="T82" fmla="*/ 7 w 631"/>
                <a:gd name="T83" fmla="*/ 38 h 358"/>
                <a:gd name="T84" fmla="*/ 6 w 631"/>
                <a:gd name="T85" fmla="*/ 37 h 358"/>
                <a:gd name="T86" fmla="*/ 4 w 631"/>
                <a:gd name="T87" fmla="*/ 36 h 35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631"/>
                <a:gd name="T133" fmla="*/ 0 h 358"/>
                <a:gd name="T134" fmla="*/ 631 w 631"/>
                <a:gd name="T135" fmla="*/ 358 h 358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631" h="358">
                  <a:moveTo>
                    <a:pt x="0" y="327"/>
                  </a:moveTo>
                  <a:lnTo>
                    <a:pt x="7" y="297"/>
                  </a:lnTo>
                  <a:lnTo>
                    <a:pt x="24" y="296"/>
                  </a:lnTo>
                  <a:lnTo>
                    <a:pt x="39" y="293"/>
                  </a:lnTo>
                  <a:lnTo>
                    <a:pt x="44" y="292"/>
                  </a:lnTo>
                  <a:lnTo>
                    <a:pt x="50" y="290"/>
                  </a:lnTo>
                  <a:lnTo>
                    <a:pt x="54" y="287"/>
                  </a:lnTo>
                  <a:lnTo>
                    <a:pt x="58" y="285"/>
                  </a:lnTo>
                  <a:lnTo>
                    <a:pt x="65" y="277"/>
                  </a:lnTo>
                  <a:lnTo>
                    <a:pt x="70" y="270"/>
                  </a:lnTo>
                  <a:lnTo>
                    <a:pt x="75" y="262"/>
                  </a:lnTo>
                  <a:lnTo>
                    <a:pt x="79" y="253"/>
                  </a:lnTo>
                  <a:lnTo>
                    <a:pt x="87" y="255"/>
                  </a:lnTo>
                  <a:lnTo>
                    <a:pt x="93" y="256"/>
                  </a:lnTo>
                  <a:lnTo>
                    <a:pt x="100" y="256"/>
                  </a:lnTo>
                  <a:lnTo>
                    <a:pt x="106" y="256"/>
                  </a:lnTo>
                  <a:lnTo>
                    <a:pt x="116" y="254"/>
                  </a:lnTo>
                  <a:lnTo>
                    <a:pt x="126" y="253"/>
                  </a:lnTo>
                  <a:lnTo>
                    <a:pt x="131" y="252"/>
                  </a:lnTo>
                  <a:lnTo>
                    <a:pt x="136" y="250"/>
                  </a:lnTo>
                  <a:lnTo>
                    <a:pt x="141" y="247"/>
                  </a:lnTo>
                  <a:lnTo>
                    <a:pt x="145" y="244"/>
                  </a:lnTo>
                  <a:lnTo>
                    <a:pt x="153" y="237"/>
                  </a:lnTo>
                  <a:lnTo>
                    <a:pt x="162" y="229"/>
                  </a:lnTo>
                  <a:lnTo>
                    <a:pt x="168" y="220"/>
                  </a:lnTo>
                  <a:lnTo>
                    <a:pt x="175" y="213"/>
                  </a:lnTo>
                  <a:lnTo>
                    <a:pt x="180" y="208"/>
                  </a:lnTo>
                  <a:lnTo>
                    <a:pt x="186" y="204"/>
                  </a:lnTo>
                  <a:lnTo>
                    <a:pt x="199" y="198"/>
                  </a:lnTo>
                  <a:lnTo>
                    <a:pt x="211" y="192"/>
                  </a:lnTo>
                  <a:lnTo>
                    <a:pt x="223" y="187"/>
                  </a:lnTo>
                  <a:lnTo>
                    <a:pt x="235" y="182"/>
                  </a:lnTo>
                  <a:lnTo>
                    <a:pt x="260" y="175"/>
                  </a:lnTo>
                  <a:lnTo>
                    <a:pt x="283" y="167"/>
                  </a:lnTo>
                  <a:lnTo>
                    <a:pt x="308" y="160"/>
                  </a:lnTo>
                  <a:lnTo>
                    <a:pt x="329" y="152"/>
                  </a:lnTo>
                  <a:lnTo>
                    <a:pt x="340" y="147"/>
                  </a:lnTo>
                  <a:lnTo>
                    <a:pt x="351" y="142"/>
                  </a:lnTo>
                  <a:lnTo>
                    <a:pt x="361" y="137"/>
                  </a:lnTo>
                  <a:lnTo>
                    <a:pt x="372" y="130"/>
                  </a:lnTo>
                  <a:lnTo>
                    <a:pt x="382" y="130"/>
                  </a:lnTo>
                  <a:lnTo>
                    <a:pt x="392" y="130"/>
                  </a:lnTo>
                  <a:lnTo>
                    <a:pt x="396" y="130"/>
                  </a:lnTo>
                  <a:lnTo>
                    <a:pt x="401" y="129"/>
                  </a:lnTo>
                  <a:lnTo>
                    <a:pt x="406" y="127"/>
                  </a:lnTo>
                  <a:lnTo>
                    <a:pt x="413" y="124"/>
                  </a:lnTo>
                  <a:lnTo>
                    <a:pt x="426" y="117"/>
                  </a:lnTo>
                  <a:lnTo>
                    <a:pt x="440" y="107"/>
                  </a:lnTo>
                  <a:lnTo>
                    <a:pt x="454" y="97"/>
                  </a:lnTo>
                  <a:lnTo>
                    <a:pt x="465" y="86"/>
                  </a:lnTo>
                  <a:lnTo>
                    <a:pt x="469" y="80"/>
                  </a:lnTo>
                  <a:lnTo>
                    <a:pt x="473" y="74"/>
                  </a:lnTo>
                  <a:lnTo>
                    <a:pt x="477" y="69"/>
                  </a:lnTo>
                  <a:lnTo>
                    <a:pt x="478" y="63"/>
                  </a:lnTo>
                  <a:lnTo>
                    <a:pt x="488" y="62"/>
                  </a:lnTo>
                  <a:lnTo>
                    <a:pt x="496" y="61"/>
                  </a:lnTo>
                  <a:lnTo>
                    <a:pt x="504" y="58"/>
                  </a:lnTo>
                  <a:lnTo>
                    <a:pt x="512" y="54"/>
                  </a:lnTo>
                  <a:lnTo>
                    <a:pt x="525" y="46"/>
                  </a:lnTo>
                  <a:lnTo>
                    <a:pt x="537" y="36"/>
                  </a:lnTo>
                  <a:lnTo>
                    <a:pt x="549" y="26"/>
                  </a:lnTo>
                  <a:lnTo>
                    <a:pt x="561" y="16"/>
                  </a:lnTo>
                  <a:lnTo>
                    <a:pt x="568" y="11"/>
                  </a:lnTo>
                  <a:lnTo>
                    <a:pt x="575" y="7"/>
                  </a:lnTo>
                  <a:lnTo>
                    <a:pt x="583" y="4"/>
                  </a:lnTo>
                  <a:lnTo>
                    <a:pt x="591" y="0"/>
                  </a:lnTo>
                  <a:lnTo>
                    <a:pt x="594" y="10"/>
                  </a:lnTo>
                  <a:lnTo>
                    <a:pt x="597" y="16"/>
                  </a:lnTo>
                  <a:lnTo>
                    <a:pt x="602" y="22"/>
                  </a:lnTo>
                  <a:lnTo>
                    <a:pt x="606" y="25"/>
                  </a:lnTo>
                  <a:lnTo>
                    <a:pt x="612" y="28"/>
                  </a:lnTo>
                  <a:lnTo>
                    <a:pt x="617" y="30"/>
                  </a:lnTo>
                  <a:lnTo>
                    <a:pt x="624" y="31"/>
                  </a:lnTo>
                  <a:lnTo>
                    <a:pt x="631" y="31"/>
                  </a:lnTo>
                  <a:lnTo>
                    <a:pt x="625" y="46"/>
                  </a:lnTo>
                  <a:lnTo>
                    <a:pt x="618" y="61"/>
                  </a:lnTo>
                  <a:lnTo>
                    <a:pt x="611" y="75"/>
                  </a:lnTo>
                  <a:lnTo>
                    <a:pt x="601" y="88"/>
                  </a:lnTo>
                  <a:lnTo>
                    <a:pt x="591" y="101"/>
                  </a:lnTo>
                  <a:lnTo>
                    <a:pt x="580" y="114"/>
                  </a:lnTo>
                  <a:lnTo>
                    <a:pt x="568" y="125"/>
                  </a:lnTo>
                  <a:lnTo>
                    <a:pt x="556" y="136"/>
                  </a:lnTo>
                  <a:lnTo>
                    <a:pt x="543" y="145"/>
                  </a:lnTo>
                  <a:lnTo>
                    <a:pt x="529" y="154"/>
                  </a:lnTo>
                  <a:lnTo>
                    <a:pt x="515" y="161"/>
                  </a:lnTo>
                  <a:lnTo>
                    <a:pt x="501" y="167"/>
                  </a:lnTo>
                  <a:lnTo>
                    <a:pt x="487" y="173"/>
                  </a:lnTo>
                  <a:lnTo>
                    <a:pt x="473" y="177"/>
                  </a:lnTo>
                  <a:lnTo>
                    <a:pt x="459" y="179"/>
                  </a:lnTo>
                  <a:lnTo>
                    <a:pt x="445" y="180"/>
                  </a:lnTo>
                  <a:lnTo>
                    <a:pt x="443" y="189"/>
                  </a:lnTo>
                  <a:lnTo>
                    <a:pt x="439" y="195"/>
                  </a:lnTo>
                  <a:lnTo>
                    <a:pt x="438" y="197"/>
                  </a:lnTo>
                  <a:lnTo>
                    <a:pt x="436" y="199"/>
                  </a:lnTo>
                  <a:lnTo>
                    <a:pt x="435" y="200"/>
                  </a:lnTo>
                  <a:lnTo>
                    <a:pt x="433" y="200"/>
                  </a:lnTo>
                  <a:lnTo>
                    <a:pt x="422" y="199"/>
                  </a:lnTo>
                  <a:lnTo>
                    <a:pt x="405" y="198"/>
                  </a:lnTo>
                  <a:lnTo>
                    <a:pt x="395" y="199"/>
                  </a:lnTo>
                  <a:lnTo>
                    <a:pt x="385" y="202"/>
                  </a:lnTo>
                  <a:lnTo>
                    <a:pt x="376" y="206"/>
                  </a:lnTo>
                  <a:lnTo>
                    <a:pt x="367" y="210"/>
                  </a:lnTo>
                  <a:lnTo>
                    <a:pt x="358" y="213"/>
                  </a:lnTo>
                  <a:lnTo>
                    <a:pt x="351" y="213"/>
                  </a:lnTo>
                  <a:lnTo>
                    <a:pt x="347" y="212"/>
                  </a:lnTo>
                  <a:lnTo>
                    <a:pt x="344" y="211"/>
                  </a:lnTo>
                  <a:lnTo>
                    <a:pt x="342" y="208"/>
                  </a:lnTo>
                  <a:lnTo>
                    <a:pt x="338" y="204"/>
                  </a:lnTo>
                  <a:lnTo>
                    <a:pt x="333" y="216"/>
                  </a:lnTo>
                  <a:lnTo>
                    <a:pt x="324" y="229"/>
                  </a:lnTo>
                  <a:lnTo>
                    <a:pt x="313" y="241"/>
                  </a:lnTo>
                  <a:lnTo>
                    <a:pt x="301" y="254"/>
                  </a:lnTo>
                  <a:lnTo>
                    <a:pt x="288" y="267"/>
                  </a:lnTo>
                  <a:lnTo>
                    <a:pt x="272" y="280"/>
                  </a:lnTo>
                  <a:lnTo>
                    <a:pt x="256" y="293"/>
                  </a:lnTo>
                  <a:lnTo>
                    <a:pt x="238" y="304"/>
                  </a:lnTo>
                  <a:lnTo>
                    <a:pt x="220" y="315"/>
                  </a:lnTo>
                  <a:lnTo>
                    <a:pt x="202" y="325"/>
                  </a:lnTo>
                  <a:lnTo>
                    <a:pt x="182" y="334"/>
                  </a:lnTo>
                  <a:lnTo>
                    <a:pt x="164" y="343"/>
                  </a:lnTo>
                  <a:lnTo>
                    <a:pt x="145" y="349"/>
                  </a:lnTo>
                  <a:lnTo>
                    <a:pt x="127" y="354"/>
                  </a:lnTo>
                  <a:lnTo>
                    <a:pt x="110" y="357"/>
                  </a:lnTo>
                  <a:lnTo>
                    <a:pt x="93" y="358"/>
                  </a:lnTo>
                  <a:lnTo>
                    <a:pt x="80" y="358"/>
                  </a:lnTo>
                  <a:lnTo>
                    <a:pt x="71" y="356"/>
                  </a:lnTo>
                  <a:lnTo>
                    <a:pt x="65" y="354"/>
                  </a:lnTo>
                  <a:lnTo>
                    <a:pt x="60" y="351"/>
                  </a:lnTo>
                  <a:lnTo>
                    <a:pt x="56" y="348"/>
                  </a:lnTo>
                  <a:lnTo>
                    <a:pt x="51" y="345"/>
                  </a:lnTo>
                  <a:lnTo>
                    <a:pt x="44" y="343"/>
                  </a:lnTo>
                  <a:lnTo>
                    <a:pt x="33" y="340"/>
                  </a:lnTo>
                  <a:lnTo>
                    <a:pt x="0" y="327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9" name="Freeform 76"/>
            <p:cNvSpPr>
              <a:spLocks/>
            </p:cNvSpPr>
            <p:nvPr/>
          </p:nvSpPr>
          <p:spPr bwMode="auto">
            <a:xfrm>
              <a:off x="5597" y="3323"/>
              <a:ext cx="116" cy="141"/>
            </a:xfrm>
            <a:custGeom>
              <a:avLst/>
              <a:gdLst>
                <a:gd name="T0" fmla="*/ 6 w 359"/>
                <a:gd name="T1" fmla="*/ 31 h 431"/>
                <a:gd name="T2" fmla="*/ 10 w 359"/>
                <a:gd name="T3" fmla="*/ 29 h 431"/>
                <a:gd name="T4" fmla="*/ 17 w 359"/>
                <a:gd name="T5" fmla="*/ 22 h 431"/>
                <a:gd name="T6" fmla="*/ 18 w 359"/>
                <a:gd name="T7" fmla="*/ 18 h 431"/>
                <a:gd name="T8" fmla="*/ 19 w 359"/>
                <a:gd name="T9" fmla="*/ 16 h 431"/>
                <a:gd name="T10" fmla="*/ 20 w 359"/>
                <a:gd name="T11" fmla="*/ 15 h 431"/>
                <a:gd name="T12" fmla="*/ 20 w 359"/>
                <a:gd name="T13" fmla="*/ 13 h 431"/>
                <a:gd name="T14" fmla="*/ 19 w 359"/>
                <a:gd name="T15" fmla="*/ 10 h 431"/>
                <a:gd name="T16" fmla="*/ 18 w 359"/>
                <a:gd name="T17" fmla="*/ 4 h 431"/>
                <a:gd name="T18" fmla="*/ 19 w 359"/>
                <a:gd name="T19" fmla="*/ 0 h 431"/>
                <a:gd name="T20" fmla="*/ 20 w 359"/>
                <a:gd name="T21" fmla="*/ 1 h 431"/>
                <a:gd name="T22" fmla="*/ 22 w 359"/>
                <a:gd name="T23" fmla="*/ 3 h 431"/>
                <a:gd name="T24" fmla="*/ 24 w 359"/>
                <a:gd name="T25" fmla="*/ 6 h 431"/>
                <a:gd name="T26" fmla="*/ 25 w 359"/>
                <a:gd name="T27" fmla="*/ 8 h 431"/>
                <a:gd name="T28" fmla="*/ 25 w 359"/>
                <a:gd name="T29" fmla="*/ 9 h 431"/>
                <a:gd name="T30" fmla="*/ 24 w 359"/>
                <a:gd name="T31" fmla="*/ 11 h 431"/>
                <a:gd name="T32" fmla="*/ 21 w 359"/>
                <a:gd name="T33" fmla="*/ 13 h 431"/>
                <a:gd name="T34" fmla="*/ 21 w 359"/>
                <a:gd name="T35" fmla="*/ 14 h 431"/>
                <a:gd name="T36" fmla="*/ 21 w 359"/>
                <a:gd name="T37" fmla="*/ 16 h 431"/>
                <a:gd name="T38" fmla="*/ 21 w 359"/>
                <a:gd name="T39" fmla="*/ 17 h 431"/>
                <a:gd name="T40" fmla="*/ 24 w 359"/>
                <a:gd name="T41" fmla="*/ 17 h 431"/>
                <a:gd name="T42" fmla="*/ 24 w 359"/>
                <a:gd name="T43" fmla="*/ 16 h 431"/>
                <a:gd name="T44" fmla="*/ 24 w 359"/>
                <a:gd name="T45" fmla="*/ 14 h 431"/>
                <a:gd name="T46" fmla="*/ 27 w 359"/>
                <a:gd name="T47" fmla="*/ 21 h 431"/>
                <a:gd name="T48" fmla="*/ 28 w 359"/>
                <a:gd name="T49" fmla="*/ 22 h 431"/>
                <a:gd name="T50" fmla="*/ 30 w 359"/>
                <a:gd name="T51" fmla="*/ 24 h 431"/>
                <a:gd name="T52" fmla="*/ 31 w 359"/>
                <a:gd name="T53" fmla="*/ 23 h 431"/>
                <a:gd name="T54" fmla="*/ 33 w 359"/>
                <a:gd name="T55" fmla="*/ 22 h 431"/>
                <a:gd name="T56" fmla="*/ 36 w 359"/>
                <a:gd name="T57" fmla="*/ 21 h 431"/>
                <a:gd name="T58" fmla="*/ 37 w 359"/>
                <a:gd name="T59" fmla="*/ 22 h 431"/>
                <a:gd name="T60" fmla="*/ 36 w 359"/>
                <a:gd name="T61" fmla="*/ 26 h 431"/>
                <a:gd name="T62" fmla="*/ 34 w 359"/>
                <a:gd name="T63" fmla="*/ 28 h 431"/>
                <a:gd name="T64" fmla="*/ 31 w 359"/>
                <a:gd name="T65" fmla="*/ 29 h 431"/>
                <a:gd name="T66" fmla="*/ 26 w 359"/>
                <a:gd name="T67" fmla="*/ 31 h 431"/>
                <a:gd name="T68" fmla="*/ 22 w 359"/>
                <a:gd name="T69" fmla="*/ 32 h 431"/>
                <a:gd name="T70" fmla="*/ 20 w 359"/>
                <a:gd name="T71" fmla="*/ 33 h 431"/>
                <a:gd name="T72" fmla="*/ 19 w 359"/>
                <a:gd name="T73" fmla="*/ 36 h 431"/>
                <a:gd name="T74" fmla="*/ 17 w 359"/>
                <a:gd name="T75" fmla="*/ 38 h 431"/>
                <a:gd name="T76" fmla="*/ 11 w 359"/>
                <a:gd name="T77" fmla="*/ 42 h 431"/>
                <a:gd name="T78" fmla="*/ 5 w 359"/>
                <a:gd name="T79" fmla="*/ 45 h 431"/>
                <a:gd name="T80" fmla="*/ 2 w 359"/>
                <a:gd name="T81" fmla="*/ 46 h 431"/>
                <a:gd name="T82" fmla="*/ 1 w 359"/>
                <a:gd name="T83" fmla="*/ 45 h 431"/>
                <a:gd name="T84" fmla="*/ 0 w 359"/>
                <a:gd name="T85" fmla="*/ 44 h 431"/>
                <a:gd name="T86" fmla="*/ 0 w 359"/>
                <a:gd name="T87" fmla="*/ 43 h 431"/>
                <a:gd name="T88" fmla="*/ 1 w 359"/>
                <a:gd name="T89" fmla="*/ 42 h 431"/>
                <a:gd name="T90" fmla="*/ 6 w 359"/>
                <a:gd name="T91" fmla="*/ 40 h 431"/>
                <a:gd name="T92" fmla="*/ 8 w 359"/>
                <a:gd name="T93" fmla="*/ 38 h 431"/>
                <a:gd name="T94" fmla="*/ 7 w 359"/>
                <a:gd name="T95" fmla="*/ 36 h 431"/>
                <a:gd name="T96" fmla="*/ 7 w 359"/>
                <a:gd name="T97" fmla="*/ 35 h 431"/>
                <a:gd name="T98" fmla="*/ 5 w 359"/>
                <a:gd name="T99" fmla="*/ 34 h 431"/>
                <a:gd name="T100" fmla="*/ 2 w 359"/>
                <a:gd name="T101" fmla="*/ 34 h 43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59"/>
                <a:gd name="T154" fmla="*/ 0 h 431"/>
                <a:gd name="T155" fmla="*/ 359 w 359"/>
                <a:gd name="T156" fmla="*/ 431 h 431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59" h="431">
                  <a:moveTo>
                    <a:pt x="39" y="296"/>
                  </a:moveTo>
                  <a:lnTo>
                    <a:pt x="50" y="292"/>
                  </a:lnTo>
                  <a:lnTo>
                    <a:pt x="60" y="288"/>
                  </a:lnTo>
                  <a:lnTo>
                    <a:pt x="70" y="284"/>
                  </a:lnTo>
                  <a:lnTo>
                    <a:pt x="79" y="279"/>
                  </a:lnTo>
                  <a:lnTo>
                    <a:pt x="95" y="269"/>
                  </a:lnTo>
                  <a:lnTo>
                    <a:pt x="110" y="257"/>
                  </a:lnTo>
                  <a:lnTo>
                    <a:pt x="138" y="233"/>
                  </a:lnTo>
                  <a:lnTo>
                    <a:pt x="165" y="209"/>
                  </a:lnTo>
                  <a:lnTo>
                    <a:pt x="166" y="198"/>
                  </a:lnTo>
                  <a:lnTo>
                    <a:pt x="170" y="175"/>
                  </a:lnTo>
                  <a:lnTo>
                    <a:pt x="172" y="168"/>
                  </a:lnTo>
                  <a:lnTo>
                    <a:pt x="174" y="162"/>
                  </a:lnTo>
                  <a:lnTo>
                    <a:pt x="176" y="156"/>
                  </a:lnTo>
                  <a:lnTo>
                    <a:pt x="180" y="149"/>
                  </a:lnTo>
                  <a:lnTo>
                    <a:pt x="183" y="144"/>
                  </a:lnTo>
                  <a:lnTo>
                    <a:pt x="188" y="140"/>
                  </a:lnTo>
                  <a:lnTo>
                    <a:pt x="193" y="137"/>
                  </a:lnTo>
                  <a:lnTo>
                    <a:pt x="199" y="135"/>
                  </a:lnTo>
                  <a:lnTo>
                    <a:pt x="194" y="131"/>
                  </a:lnTo>
                  <a:lnTo>
                    <a:pt x="190" y="126"/>
                  </a:lnTo>
                  <a:lnTo>
                    <a:pt x="186" y="119"/>
                  </a:lnTo>
                  <a:lnTo>
                    <a:pt x="184" y="112"/>
                  </a:lnTo>
                  <a:lnTo>
                    <a:pt x="179" y="94"/>
                  </a:lnTo>
                  <a:lnTo>
                    <a:pt x="175" y="75"/>
                  </a:lnTo>
                  <a:lnTo>
                    <a:pt x="174" y="54"/>
                  </a:lnTo>
                  <a:lnTo>
                    <a:pt x="173" y="34"/>
                  </a:lnTo>
                  <a:lnTo>
                    <a:pt x="172" y="16"/>
                  </a:lnTo>
                  <a:lnTo>
                    <a:pt x="172" y="0"/>
                  </a:lnTo>
                  <a:lnTo>
                    <a:pt x="182" y="0"/>
                  </a:lnTo>
                  <a:lnTo>
                    <a:pt x="192" y="0"/>
                  </a:lnTo>
                  <a:lnTo>
                    <a:pt x="193" y="6"/>
                  </a:lnTo>
                  <a:lnTo>
                    <a:pt x="194" y="11"/>
                  </a:lnTo>
                  <a:lnTo>
                    <a:pt x="196" y="16"/>
                  </a:lnTo>
                  <a:lnTo>
                    <a:pt x="199" y="20"/>
                  </a:lnTo>
                  <a:lnTo>
                    <a:pt x="207" y="29"/>
                  </a:lnTo>
                  <a:lnTo>
                    <a:pt x="216" y="37"/>
                  </a:lnTo>
                  <a:lnTo>
                    <a:pt x="224" y="47"/>
                  </a:lnTo>
                  <a:lnTo>
                    <a:pt x="231" y="56"/>
                  </a:lnTo>
                  <a:lnTo>
                    <a:pt x="235" y="62"/>
                  </a:lnTo>
                  <a:lnTo>
                    <a:pt x="237" y="67"/>
                  </a:lnTo>
                  <a:lnTo>
                    <a:pt x="238" y="73"/>
                  </a:lnTo>
                  <a:lnTo>
                    <a:pt x="239" y="80"/>
                  </a:lnTo>
                  <a:lnTo>
                    <a:pt x="238" y="84"/>
                  </a:lnTo>
                  <a:lnTo>
                    <a:pt x="237" y="88"/>
                  </a:lnTo>
                  <a:lnTo>
                    <a:pt x="235" y="92"/>
                  </a:lnTo>
                  <a:lnTo>
                    <a:pt x="232" y="95"/>
                  </a:lnTo>
                  <a:lnTo>
                    <a:pt x="226" y="102"/>
                  </a:lnTo>
                  <a:lnTo>
                    <a:pt x="219" y="108"/>
                  </a:lnTo>
                  <a:lnTo>
                    <a:pt x="211" y="114"/>
                  </a:lnTo>
                  <a:lnTo>
                    <a:pt x="205" y="120"/>
                  </a:lnTo>
                  <a:lnTo>
                    <a:pt x="203" y="123"/>
                  </a:lnTo>
                  <a:lnTo>
                    <a:pt x="200" y="127"/>
                  </a:lnTo>
                  <a:lnTo>
                    <a:pt x="199" y="131"/>
                  </a:lnTo>
                  <a:lnTo>
                    <a:pt x="199" y="135"/>
                  </a:lnTo>
                  <a:lnTo>
                    <a:pt x="199" y="143"/>
                  </a:lnTo>
                  <a:lnTo>
                    <a:pt x="199" y="149"/>
                  </a:lnTo>
                  <a:lnTo>
                    <a:pt x="200" y="155"/>
                  </a:lnTo>
                  <a:lnTo>
                    <a:pt x="203" y="157"/>
                  </a:lnTo>
                  <a:lnTo>
                    <a:pt x="205" y="159"/>
                  </a:lnTo>
                  <a:lnTo>
                    <a:pt x="210" y="160"/>
                  </a:lnTo>
                  <a:lnTo>
                    <a:pt x="217" y="160"/>
                  </a:lnTo>
                  <a:lnTo>
                    <a:pt x="226" y="160"/>
                  </a:lnTo>
                  <a:lnTo>
                    <a:pt x="229" y="160"/>
                  </a:lnTo>
                  <a:lnTo>
                    <a:pt x="232" y="158"/>
                  </a:lnTo>
                  <a:lnTo>
                    <a:pt x="233" y="153"/>
                  </a:lnTo>
                  <a:lnTo>
                    <a:pt x="233" y="150"/>
                  </a:lnTo>
                  <a:lnTo>
                    <a:pt x="233" y="142"/>
                  </a:lnTo>
                  <a:lnTo>
                    <a:pt x="232" y="135"/>
                  </a:lnTo>
                  <a:lnTo>
                    <a:pt x="244" y="163"/>
                  </a:lnTo>
                  <a:lnTo>
                    <a:pt x="255" y="188"/>
                  </a:lnTo>
                  <a:lnTo>
                    <a:pt x="259" y="193"/>
                  </a:lnTo>
                  <a:lnTo>
                    <a:pt x="262" y="198"/>
                  </a:lnTo>
                  <a:lnTo>
                    <a:pt x="266" y="203"/>
                  </a:lnTo>
                  <a:lnTo>
                    <a:pt x="271" y="208"/>
                  </a:lnTo>
                  <a:lnTo>
                    <a:pt x="276" y="213"/>
                  </a:lnTo>
                  <a:lnTo>
                    <a:pt x="283" y="216"/>
                  </a:lnTo>
                  <a:lnTo>
                    <a:pt x="291" y="219"/>
                  </a:lnTo>
                  <a:lnTo>
                    <a:pt x="298" y="222"/>
                  </a:lnTo>
                  <a:lnTo>
                    <a:pt x="299" y="220"/>
                  </a:lnTo>
                  <a:lnTo>
                    <a:pt x="300" y="217"/>
                  </a:lnTo>
                  <a:lnTo>
                    <a:pt x="303" y="215"/>
                  </a:lnTo>
                  <a:lnTo>
                    <a:pt x="305" y="212"/>
                  </a:lnTo>
                  <a:lnTo>
                    <a:pt x="312" y="206"/>
                  </a:lnTo>
                  <a:lnTo>
                    <a:pt x="321" y="201"/>
                  </a:lnTo>
                  <a:lnTo>
                    <a:pt x="331" y="197"/>
                  </a:lnTo>
                  <a:lnTo>
                    <a:pt x="341" y="194"/>
                  </a:lnTo>
                  <a:lnTo>
                    <a:pt x="350" y="192"/>
                  </a:lnTo>
                  <a:lnTo>
                    <a:pt x="359" y="191"/>
                  </a:lnTo>
                  <a:lnTo>
                    <a:pt x="355" y="206"/>
                  </a:lnTo>
                  <a:lnTo>
                    <a:pt x="352" y="219"/>
                  </a:lnTo>
                  <a:lnTo>
                    <a:pt x="348" y="231"/>
                  </a:lnTo>
                  <a:lnTo>
                    <a:pt x="342" y="240"/>
                  </a:lnTo>
                  <a:lnTo>
                    <a:pt x="336" y="248"/>
                  </a:lnTo>
                  <a:lnTo>
                    <a:pt x="329" y="255"/>
                  </a:lnTo>
                  <a:lnTo>
                    <a:pt x="321" y="261"/>
                  </a:lnTo>
                  <a:lnTo>
                    <a:pt x="314" y="267"/>
                  </a:lnTo>
                  <a:lnTo>
                    <a:pt x="305" y="271"/>
                  </a:lnTo>
                  <a:lnTo>
                    <a:pt x="295" y="275"/>
                  </a:lnTo>
                  <a:lnTo>
                    <a:pt x="284" y="278"/>
                  </a:lnTo>
                  <a:lnTo>
                    <a:pt x="272" y="281"/>
                  </a:lnTo>
                  <a:lnTo>
                    <a:pt x="247" y="288"/>
                  </a:lnTo>
                  <a:lnTo>
                    <a:pt x="219" y="296"/>
                  </a:lnTo>
                  <a:lnTo>
                    <a:pt x="213" y="297"/>
                  </a:lnTo>
                  <a:lnTo>
                    <a:pt x="208" y="299"/>
                  </a:lnTo>
                  <a:lnTo>
                    <a:pt x="204" y="301"/>
                  </a:lnTo>
                  <a:lnTo>
                    <a:pt x="199" y="303"/>
                  </a:lnTo>
                  <a:lnTo>
                    <a:pt x="193" y="308"/>
                  </a:lnTo>
                  <a:lnTo>
                    <a:pt x="188" y="314"/>
                  </a:lnTo>
                  <a:lnTo>
                    <a:pt x="183" y="328"/>
                  </a:lnTo>
                  <a:lnTo>
                    <a:pt x="179" y="339"/>
                  </a:lnTo>
                  <a:lnTo>
                    <a:pt x="175" y="344"/>
                  </a:lnTo>
                  <a:lnTo>
                    <a:pt x="170" y="350"/>
                  </a:lnTo>
                  <a:lnTo>
                    <a:pt x="163" y="356"/>
                  </a:lnTo>
                  <a:lnTo>
                    <a:pt x="154" y="363"/>
                  </a:lnTo>
                  <a:lnTo>
                    <a:pt x="134" y="379"/>
                  </a:lnTo>
                  <a:lnTo>
                    <a:pt x="109" y="394"/>
                  </a:lnTo>
                  <a:lnTo>
                    <a:pt x="84" y="408"/>
                  </a:lnTo>
                  <a:lnTo>
                    <a:pt x="59" y="420"/>
                  </a:lnTo>
                  <a:lnTo>
                    <a:pt x="48" y="424"/>
                  </a:lnTo>
                  <a:lnTo>
                    <a:pt x="37" y="428"/>
                  </a:lnTo>
                  <a:lnTo>
                    <a:pt x="28" y="430"/>
                  </a:lnTo>
                  <a:lnTo>
                    <a:pt x="19" y="431"/>
                  </a:lnTo>
                  <a:lnTo>
                    <a:pt x="15" y="430"/>
                  </a:lnTo>
                  <a:lnTo>
                    <a:pt x="11" y="429"/>
                  </a:lnTo>
                  <a:lnTo>
                    <a:pt x="7" y="426"/>
                  </a:lnTo>
                  <a:lnTo>
                    <a:pt x="5" y="423"/>
                  </a:lnTo>
                  <a:lnTo>
                    <a:pt x="3" y="420"/>
                  </a:lnTo>
                  <a:lnTo>
                    <a:pt x="1" y="415"/>
                  </a:lnTo>
                  <a:lnTo>
                    <a:pt x="0" y="411"/>
                  </a:lnTo>
                  <a:lnTo>
                    <a:pt x="0" y="406"/>
                  </a:lnTo>
                  <a:lnTo>
                    <a:pt x="1" y="402"/>
                  </a:lnTo>
                  <a:lnTo>
                    <a:pt x="2" y="398"/>
                  </a:lnTo>
                  <a:lnTo>
                    <a:pt x="5" y="395"/>
                  </a:lnTo>
                  <a:lnTo>
                    <a:pt x="9" y="391"/>
                  </a:lnTo>
                  <a:lnTo>
                    <a:pt x="19" y="386"/>
                  </a:lnTo>
                  <a:lnTo>
                    <a:pt x="31" y="382"/>
                  </a:lnTo>
                  <a:lnTo>
                    <a:pt x="56" y="374"/>
                  </a:lnTo>
                  <a:lnTo>
                    <a:pt x="73" y="369"/>
                  </a:lnTo>
                  <a:lnTo>
                    <a:pt x="73" y="360"/>
                  </a:lnTo>
                  <a:lnTo>
                    <a:pt x="73" y="351"/>
                  </a:lnTo>
                  <a:lnTo>
                    <a:pt x="72" y="345"/>
                  </a:lnTo>
                  <a:lnTo>
                    <a:pt x="72" y="339"/>
                  </a:lnTo>
                  <a:lnTo>
                    <a:pt x="71" y="335"/>
                  </a:lnTo>
                  <a:lnTo>
                    <a:pt x="69" y="331"/>
                  </a:lnTo>
                  <a:lnTo>
                    <a:pt x="67" y="328"/>
                  </a:lnTo>
                  <a:lnTo>
                    <a:pt x="64" y="326"/>
                  </a:lnTo>
                  <a:lnTo>
                    <a:pt x="62" y="324"/>
                  </a:lnTo>
                  <a:lnTo>
                    <a:pt x="59" y="322"/>
                  </a:lnTo>
                  <a:lnTo>
                    <a:pt x="51" y="320"/>
                  </a:lnTo>
                  <a:lnTo>
                    <a:pt x="41" y="319"/>
                  </a:lnTo>
                  <a:lnTo>
                    <a:pt x="31" y="320"/>
                  </a:lnTo>
                  <a:lnTo>
                    <a:pt x="19" y="320"/>
                  </a:lnTo>
                  <a:lnTo>
                    <a:pt x="39" y="296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80" name="Freeform 77"/>
          <p:cNvSpPr>
            <a:spLocks/>
          </p:cNvSpPr>
          <p:nvPr userDrawn="1">
            <p:custDataLst>
              <p:tags r:id="rId57"/>
            </p:custDataLst>
          </p:nvPr>
        </p:nvSpPr>
        <p:spPr bwMode="auto">
          <a:xfrm>
            <a:off x="7434267" y="2734870"/>
            <a:ext cx="9525" cy="42863"/>
          </a:xfrm>
          <a:custGeom>
            <a:avLst/>
            <a:gdLst>
              <a:gd name="T0" fmla="*/ 0 w 21"/>
              <a:gd name="T1" fmla="*/ 36535447 h 62"/>
              <a:gd name="T2" fmla="*/ 205921 w 21"/>
              <a:gd name="T3" fmla="*/ 24639947 h 62"/>
              <a:gd name="T4" fmla="*/ 617311 w 21"/>
              <a:gd name="T5" fmla="*/ 14444202 h 62"/>
              <a:gd name="T6" fmla="*/ 822778 w 21"/>
              <a:gd name="T7" fmla="*/ 9346792 h 62"/>
              <a:gd name="T8" fmla="*/ 1234168 w 21"/>
              <a:gd name="T9" fmla="*/ 5947287 h 62"/>
              <a:gd name="T10" fmla="*/ 1851478 w 21"/>
              <a:gd name="T11" fmla="*/ 2548706 h 62"/>
              <a:gd name="T12" fmla="*/ 3086100 w 21"/>
              <a:gd name="T13" fmla="*/ 0 h 62"/>
              <a:gd name="T14" fmla="*/ 3086100 w 21"/>
              <a:gd name="T15" fmla="*/ 12745372 h 62"/>
              <a:gd name="T16" fmla="*/ 3702957 w 21"/>
              <a:gd name="T17" fmla="*/ 26339698 h 62"/>
              <a:gd name="T18" fmla="*/ 4114347 w 21"/>
              <a:gd name="T19" fmla="*/ 37385323 h 62"/>
              <a:gd name="T20" fmla="*/ 4320268 w 21"/>
              <a:gd name="T21" fmla="*/ 41633779 h 62"/>
              <a:gd name="T22" fmla="*/ 2057400 w 21"/>
              <a:gd name="T23" fmla="*/ 46732111 h 62"/>
              <a:gd name="T24" fmla="*/ 0 w 21"/>
              <a:gd name="T25" fmla="*/ 52679397 h 62"/>
              <a:gd name="T26" fmla="*/ 0 w 21"/>
              <a:gd name="T27" fmla="*/ 36535447 h 62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21"/>
              <a:gd name="T43" fmla="*/ 0 h 62"/>
              <a:gd name="T44" fmla="*/ 21 w 21"/>
              <a:gd name="T45" fmla="*/ 62 h 62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21" h="62">
                <a:moveTo>
                  <a:pt x="0" y="43"/>
                </a:moveTo>
                <a:lnTo>
                  <a:pt x="1" y="29"/>
                </a:lnTo>
                <a:lnTo>
                  <a:pt x="3" y="17"/>
                </a:lnTo>
                <a:lnTo>
                  <a:pt x="4" y="11"/>
                </a:lnTo>
                <a:lnTo>
                  <a:pt x="6" y="7"/>
                </a:lnTo>
                <a:lnTo>
                  <a:pt x="9" y="3"/>
                </a:lnTo>
                <a:lnTo>
                  <a:pt x="15" y="0"/>
                </a:lnTo>
                <a:lnTo>
                  <a:pt x="15" y="15"/>
                </a:lnTo>
                <a:lnTo>
                  <a:pt x="18" y="31"/>
                </a:lnTo>
                <a:lnTo>
                  <a:pt x="20" y="44"/>
                </a:lnTo>
                <a:lnTo>
                  <a:pt x="21" y="49"/>
                </a:lnTo>
                <a:lnTo>
                  <a:pt x="10" y="55"/>
                </a:lnTo>
                <a:lnTo>
                  <a:pt x="0" y="62"/>
                </a:lnTo>
                <a:lnTo>
                  <a:pt x="0" y="43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81" name="Freeform 78"/>
          <p:cNvSpPr>
            <a:spLocks/>
          </p:cNvSpPr>
          <p:nvPr userDrawn="1">
            <p:custDataLst>
              <p:tags r:id="rId58"/>
            </p:custDataLst>
          </p:nvPr>
        </p:nvSpPr>
        <p:spPr bwMode="auto">
          <a:xfrm>
            <a:off x="8161339" y="3411153"/>
            <a:ext cx="14288" cy="42863"/>
          </a:xfrm>
          <a:custGeom>
            <a:avLst/>
            <a:gdLst>
              <a:gd name="T0" fmla="*/ 0 w 33"/>
              <a:gd name="T1" fmla="*/ 0 h 24"/>
              <a:gd name="T2" fmla="*/ 937379 w 33"/>
              <a:gd name="T3" fmla="*/ 28351163 h 24"/>
              <a:gd name="T4" fmla="*/ 1874759 w 33"/>
              <a:gd name="T5" fmla="*/ 56704707 h 24"/>
              <a:gd name="T6" fmla="*/ 2062235 w 33"/>
              <a:gd name="T7" fmla="*/ 73713970 h 24"/>
              <a:gd name="T8" fmla="*/ 2249710 w 33"/>
              <a:gd name="T9" fmla="*/ 90725633 h 24"/>
              <a:gd name="T10" fmla="*/ 2437186 w 33"/>
              <a:gd name="T11" fmla="*/ 113407032 h 24"/>
              <a:gd name="T12" fmla="*/ 2437186 w 33"/>
              <a:gd name="T13" fmla="*/ 136088431 h 24"/>
              <a:gd name="T14" fmla="*/ 6186270 w 33"/>
              <a:gd name="T15" fmla="*/ 0 h 24"/>
              <a:gd name="T16" fmla="*/ 4498988 w 33"/>
              <a:gd name="T17" fmla="*/ 0 h 24"/>
              <a:gd name="T18" fmla="*/ 2999614 w 33"/>
              <a:gd name="T19" fmla="*/ 0 h 24"/>
              <a:gd name="T20" fmla="*/ 1687283 w 33"/>
              <a:gd name="T21" fmla="*/ 0 h 24"/>
              <a:gd name="T22" fmla="*/ 0 w 33"/>
              <a:gd name="T23" fmla="*/ 0 h 2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33"/>
              <a:gd name="T37" fmla="*/ 0 h 24"/>
              <a:gd name="T38" fmla="*/ 33 w 33"/>
              <a:gd name="T39" fmla="*/ 24 h 24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33" h="24">
                <a:moveTo>
                  <a:pt x="0" y="0"/>
                </a:moveTo>
                <a:lnTo>
                  <a:pt x="5" y="5"/>
                </a:lnTo>
                <a:lnTo>
                  <a:pt x="10" y="10"/>
                </a:lnTo>
                <a:lnTo>
                  <a:pt x="11" y="13"/>
                </a:lnTo>
                <a:lnTo>
                  <a:pt x="12" y="16"/>
                </a:lnTo>
                <a:lnTo>
                  <a:pt x="13" y="20"/>
                </a:lnTo>
                <a:lnTo>
                  <a:pt x="13" y="24"/>
                </a:lnTo>
                <a:lnTo>
                  <a:pt x="33" y="0"/>
                </a:lnTo>
                <a:lnTo>
                  <a:pt x="24" y="0"/>
                </a:lnTo>
                <a:lnTo>
                  <a:pt x="16" y="0"/>
                </a:lnTo>
                <a:lnTo>
                  <a:pt x="9" y="0"/>
                </a:lnTo>
                <a:lnTo>
                  <a:pt x="0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82" name="Freeform 79"/>
          <p:cNvSpPr>
            <a:spLocks/>
          </p:cNvSpPr>
          <p:nvPr userDrawn="1">
            <p:custDataLst>
              <p:tags r:id="rId59"/>
            </p:custDataLst>
          </p:nvPr>
        </p:nvSpPr>
        <p:spPr bwMode="auto">
          <a:xfrm>
            <a:off x="8183565" y="3418297"/>
            <a:ext cx="17463" cy="44053"/>
          </a:xfrm>
          <a:custGeom>
            <a:avLst/>
            <a:gdLst>
              <a:gd name="T0" fmla="*/ 7281011 w 33"/>
              <a:gd name="T1" fmla="*/ 138001401 h 25"/>
              <a:gd name="T2" fmla="*/ 8120822 w 33"/>
              <a:gd name="T3" fmla="*/ 121442271 h 25"/>
              <a:gd name="T4" fmla="*/ 9241102 w 33"/>
              <a:gd name="T5" fmla="*/ 99361865 h 25"/>
              <a:gd name="T6" fmla="*/ 9241102 w 33"/>
              <a:gd name="T7" fmla="*/ 0 h 25"/>
              <a:gd name="T8" fmla="*/ 7001074 w 33"/>
              <a:gd name="T9" fmla="*/ 0 h 25"/>
              <a:gd name="T10" fmla="*/ 4480582 w 33"/>
              <a:gd name="T11" fmla="*/ 0 h 25"/>
              <a:gd name="T12" fmla="*/ 1680152 w 33"/>
              <a:gd name="T13" fmla="*/ 0 h 25"/>
              <a:gd name="T14" fmla="*/ 0 w 33"/>
              <a:gd name="T15" fmla="*/ 0 h 25"/>
              <a:gd name="T16" fmla="*/ 7281011 w 33"/>
              <a:gd name="T17" fmla="*/ 138001401 h 2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3"/>
              <a:gd name="T28" fmla="*/ 0 h 25"/>
              <a:gd name="T29" fmla="*/ 33 w 33"/>
              <a:gd name="T30" fmla="*/ 25 h 25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3" h="25">
                <a:moveTo>
                  <a:pt x="26" y="25"/>
                </a:moveTo>
                <a:lnTo>
                  <a:pt x="29" y="22"/>
                </a:lnTo>
                <a:lnTo>
                  <a:pt x="33" y="18"/>
                </a:lnTo>
                <a:lnTo>
                  <a:pt x="33" y="0"/>
                </a:lnTo>
                <a:lnTo>
                  <a:pt x="25" y="0"/>
                </a:lnTo>
                <a:lnTo>
                  <a:pt x="16" y="0"/>
                </a:lnTo>
                <a:lnTo>
                  <a:pt x="6" y="0"/>
                </a:lnTo>
                <a:lnTo>
                  <a:pt x="0" y="0"/>
                </a:lnTo>
                <a:lnTo>
                  <a:pt x="26" y="25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83" name="Freeform 80"/>
          <p:cNvSpPr>
            <a:spLocks/>
          </p:cNvSpPr>
          <p:nvPr userDrawn="1">
            <p:custDataLst>
              <p:tags r:id="rId60"/>
            </p:custDataLst>
          </p:nvPr>
        </p:nvSpPr>
        <p:spPr bwMode="auto">
          <a:xfrm>
            <a:off x="7497765" y="2726536"/>
            <a:ext cx="1588" cy="41672"/>
          </a:xfrm>
          <a:custGeom>
            <a:avLst/>
            <a:gdLst>
              <a:gd name="T0" fmla="*/ 0 w 7"/>
              <a:gd name="T1" fmla="*/ 0 h 55563"/>
              <a:gd name="T2" fmla="*/ 360249 w 7"/>
              <a:gd name="T3" fmla="*/ 0 h 55563"/>
              <a:gd name="T4" fmla="*/ 0 w 7"/>
              <a:gd name="T5" fmla="*/ 0 h 55563"/>
              <a:gd name="T6" fmla="*/ 0 60000 65536"/>
              <a:gd name="T7" fmla="*/ 0 60000 65536"/>
              <a:gd name="T8" fmla="*/ 0 60000 65536"/>
              <a:gd name="T9" fmla="*/ 0 w 7"/>
              <a:gd name="T10" fmla="*/ 0 h 55563"/>
              <a:gd name="T11" fmla="*/ 7 w 7"/>
              <a:gd name="T12" fmla="*/ 55563 h 5556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7" h="55563">
                <a:moveTo>
                  <a:pt x="0" y="0"/>
                </a:move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84" name="Freeform 81"/>
          <p:cNvSpPr>
            <a:spLocks/>
          </p:cNvSpPr>
          <p:nvPr userDrawn="1">
            <p:custDataLst>
              <p:tags r:id="rId61"/>
            </p:custDataLst>
          </p:nvPr>
        </p:nvSpPr>
        <p:spPr bwMode="auto">
          <a:xfrm>
            <a:off x="7556503" y="2684866"/>
            <a:ext cx="6350" cy="42863"/>
          </a:xfrm>
          <a:custGeom>
            <a:avLst/>
            <a:gdLst>
              <a:gd name="T0" fmla="*/ 2520156 w 16"/>
              <a:gd name="T1" fmla="*/ 0 h 25"/>
              <a:gd name="T2" fmla="*/ 2520156 w 16"/>
              <a:gd name="T3" fmla="*/ 31354775 h 25"/>
              <a:gd name="T4" fmla="*/ 2205037 w 16"/>
              <a:gd name="T5" fmla="*/ 67935345 h 25"/>
              <a:gd name="T6" fmla="*/ 2047478 w 16"/>
              <a:gd name="T7" fmla="*/ 83612746 h 25"/>
              <a:gd name="T8" fmla="*/ 1732756 w 16"/>
              <a:gd name="T9" fmla="*/ 104515924 h 25"/>
              <a:gd name="T10" fmla="*/ 1102519 w 16"/>
              <a:gd name="T11" fmla="*/ 120193307 h 25"/>
              <a:gd name="T12" fmla="*/ 472678 w 16"/>
              <a:gd name="T13" fmla="*/ 130644896 h 25"/>
              <a:gd name="T14" fmla="*/ 157559 w 16"/>
              <a:gd name="T15" fmla="*/ 125419101 h 25"/>
              <a:gd name="T16" fmla="*/ 0 w 16"/>
              <a:gd name="T17" fmla="*/ 109741718 h 25"/>
              <a:gd name="T18" fmla="*/ 157559 w 16"/>
              <a:gd name="T19" fmla="*/ 94064335 h 25"/>
              <a:gd name="T20" fmla="*/ 315119 w 16"/>
              <a:gd name="T21" fmla="*/ 67935345 h 25"/>
              <a:gd name="T22" fmla="*/ 630237 w 16"/>
              <a:gd name="T23" fmla="*/ 47032168 h 25"/>
              <a:gd name="T24" fmla="*/ 1102519 w 16"/>
              <a:gd name="T25" fmla="*/ 20903187 h 25"/>
              <a:gd name="T26" fmla="*/ 1732756 w 16"/>
              <a:gd name="T27" fmla="*/ 5225797 h 25"/>
              <a:gd name="T28" fmla="*/ 2520156 w 16"/>
              <a:gd name="T29" fmla="*/ 0 h 2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6"/>
              <a:gd name="T46" fmla="*/ 0 h 25"/>
              <a:gd name="T47" fmla="*/ 16 w 16"/>
              <a:gd name="T48" fmla="*/ 25 h 25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6" h="25">
                <a:moveTo>
                  <a:pt x="16" y="0"/>
                </a:moveTo>
                <a:lnTo>
                  <a:pt x="16" y="6"/>
                </a:lnTo>
                <a:lnTo>
                  <a:pt x="14" y="13"/>
                </a:lnTo>
                <a:lnTo>
                  <a:pt x="13" y="16"/>
                </a:lnTo>
                <a:lnTo>
                  <a:pt x="11" y="20"/>
                </a:lnTo>
                <a:lnTo>
                  <a:pt x="7" y="23"/>
                </a:lnTo>
                <a:lnTo>
                  <a:pt x="3" y="25"/>
                </a:lnTo>
                <a:lnTo>
                  <a:pt x="1" y="24"/>
                </a:lnTo>
                <a:lnTo>
                  <a:pt x="0" y="21"/>
                </a:lnTo>
                <a:lnTo>
                  <a:pt x="1" y="18"/>
                </a:lnTo>
                <a:lnTo>
                  <a:pt x="2" y="13"/>
                </a:lnTo>
                <a:lnTo>
                  <a:pt x="4" y="9"/>
                </a:lnTo>
                <a:lnTo>
                  <a:pt x="7" y="4"/>
                </a:lnTo>
                <a:lnTo>
                  <a:pt x="11" y="1"/>
                </a:lnTo>
                <a:lnTo>
                  <a:pt x="16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85" name="Freeform 82"/>
          <p:cNvSpPr>
            <a:spLocks/>
          </p:cNvSpPr>
          <p:nvPr userDrawn="1">
            <p:custDataLst>
              <p:tags r:id="rId62"/>
            </p:custDataLst>
          </p:nvPr>
        </p:nvSpPr>
        <p:spPr bwMode="auto">
          <a:xfrm>
            <a:off x="7669222" y="2601520"/>
            <a:ext cx="4763" cy="42863"/>
          </a:xfrm>
          <a:custGeom>
            <a:avLst/>
            <a:gdLst>
              <a:gd name="T0" fmla="*/ 0 w 14"/>
              <a:gd name="T1" fmla="*/ 0 h 18"/>
              <a:gd name="T2" fmla="*/ 347359 w 14"/>
              <a:gd name="T3" fmla="*/ 10080624 h 18"/>
              <a:gd name="T4" fmla="*/ 578705 w 14"/>
              <a:gd name="T5" fmla="*/ 20161248 h 18"/>
              <a:gd name="T6" fmla="*/ 810391 w 14"/>
              <a:gd name="T7" fmla="*/ 40322495 h 18"/>
              <a:gd name="T8" fmla="*/ 1041736 w 14"/>
              <a:gd name="T9" fmla="*/ 70564370 h 18"/>
              <a:gd name="T10" fmla="*/ 1504768 w 14"/>
              <a:gd name="T11" fmla="*/ 131048119 h 18"/>
              <a:gd name="T12" fmla="*/ 1620441 w 14"/>
              <a:gd name="T13" fmla="*/ 181451223 h 18"/>
              <a:gd name="T14" fmla="*/ 0 w 14"/>
              <a:gd name="T15" fmla="*/ 0 h 1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4"/>
              <a:gd name="T25" fmla="*/ 0 h 18"/>
              <a:gd name="T26" fmla="*/ 14 w 14"/>
              <a:gd name="T27" fmla="*/ 18 h 18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4" h="18">
                <a:moveTo>
                  <a:pt x="0" y="0"/>
                </a:moveTo>
                <a:lnTo>
                  <a:pt x="3" y="1"/>
                </a:lnTo>
                <a:lnTo>
                  <a:pt x="5" y="2"/>
                </a:lnTo>
                <a:lnTo>
                  <a:pt x="7" y="4"/>
                </a:lnTo>
                <a:lnTo>
                  <a:pt x="9" y="7"/>
                </a:lnTo>
                <a:lnTo>
                  <a:pt x="13" y="13"/>
                </a:lnTo>
                <a:lnTo>
                  <a:pt x="14" y="18"/>
                </a:lnTo>
                <a:lnTo>
                  <a:pt x="0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86" name="Freeform 83"/>
          <p:cNvSpPr>
            <a:spLocks/>
          </p:cNvSpPr>
          <p:nvPr userDrawn="1">
            <p:custDataLst>
              <p:tags r:id="rId63"/>
            </p:custDataLst>
          </p:nvPr>
        </p:nvSpPr>
        <p:spPr bwMode="auto">
          <a:xfrm>
            <a:off x="7821613" y="3125403"/>
            <a:ext cx="26988" cy="44053"/>
          </a:xfrm>
          <a:custGeom>
            <a:avLst/>
            <a:gdLst>
              <a:gd name="T0" fmla="*/ 0 w 67"/>
              <a:gd name="T1" fmla="*/ 0 h 74"/>
              <a:gd name="T2" fmla="*/ 162331 w 67"/>
              <a:gd name="T3" fmla="*/ 10710770 h 74"/>
              <a:gd name="T4" fmla="*/ 486590 w 67"/>
              <a:gd name="T5" fmla="*/ 18900613 h 74"/>
              <a:gd name="T6" fmla="*/ 1135913 w 67"/>
              <a:gd name="T7" fmla="*/ 25830782 h 74"/>
              <a:gd name="T8" fmla="*/ 1947164 w 67"/>
              <a:gd name="T9" fmla="*/ 31501288 h 74"/>
              <a:gd name="T10" fmla="*/ 2758415 w 67"/>
              <a:gd name="T11" fmla="*/ 36541555 h 74"/>
              <a:gd name="T12" fmla="*/ 3731997 w 67"/>
              <a:gd name="T13" fmla="*/ 40322153 h 74"/>
              <a:gd name="T14" fmla="*/ 4543248 w 67"/>
              <a:gd name="T15" fmla="*/ 43471724 h 74"/>
              <a:gd name="T16" fmla="*/ 5354499 w 67"/>
              <a:gd name="T17" fmla="*/ 46622090 h 74"/>
              <a:gd name="T18" fmla="*/ 7138930 w 67"/>
              <a:gd name="T19" fmla="*/ 40951591 h 74"/>
              <a:gd name="T20" fmla="*/ 8923763 w 67"/>
              <a:gd name="T21" fmla="*/ 34651653 h 74"/>
              <a:gd name="T22" fmla="*/ 9573085 w 67"/>
              <a:gd name="T23" fmla="*/ 30871056 h 74"/>
              <a:gd name="T24" fmla="*/ 10222006 w 67"/>
              <a:gd name="T25" fmla="*/ 27091252 h 74"/>
              <a:gd name="T26" fmla="*/ 10708595 w 67"/>
              <a:gd name="T27" fmla="*/ 23311442 h 74"/>
              <a:gd name="T28" fmla="*/ 10870926 w 67"/>
              <a:gd name="T29" fmla="*/ 18900613 h 74"/>
              <a:gd name="T30" fmla="*/ 10870926 w 67"/>
              <a:gd name="T31" fmla="*/ 15751041 h 74"/>
              <a:gd name="T32" fmla="*/ 10870926 w 67"/>
              <a:gd name="T33" fmla="*/ 11340208 h 74"/>
              <a:gd name="T34" fmla="*/ 10870926 w 67"/>
              <a:gd name="T35" fmla="*/ 5670501 h 74"/>
              <a:gd name="T36" fmla="*/ 10870926 w 67"/>
              <a:gd name="T37" fmla="*/ 0 h 74"/>
              <a:gd name="T38" fmla="*/ 7788253 w 67"/>
              <a:gd name="T39" fmla="*/ 0 h 74"/>
              <a:gd name="T40" fmla="*/ 5354499 w 67"/>
              <a:gd name="T41" fmla="*/ 0 h 74"/>
              <a:gd name="T42" fmla="*/ 2758415 w 67"/>
              <a:gd name="T43" fmla="*/ 0 h 74"/>
              <a:gd name="T44" fmla="*/ 0 w 67"/>
              <a:gd name="T45" fmla="*/ 0 h 7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67"/>
              <a:gd name="T70" fmla="*/ 0 h 74"/>
              <a:gd name="T71" fmla="*/ 67 w 67"/>
              <a:gd name="T72" fmla="*/ 74 h 74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67" h="74">
                <a:moveTo>
                  <a:pt x="0" y="0"/>
                </a:moveTo>
                <a:lnTo>
                  <a:pt x="1" y="17"/>
                </a:lnTo>
                <a:lnTo>
                  <a:pt x="3" y="30"/>
                </a:lnTo>
                <a:lnTo>
                  <a:pt x="7" y="41"/>
                </a:lnTo>
                <a:lnTo>
                  <a:pt x="12" y="50"/>
                </a:lnTo>
                <a:lnTo>
                  <a:pt x="17" y="58"/>
                </a:lnTo>
                <a:lnTo>
                  <a:pt x="23" y="64"/>
                </a:lnTo>
                <a:lnTo>
                  <a:pt x="28" y="69"/>
                </a:lnTo>
                <a:lnTo>
                  <a:pt x="33" y="74"/>
                </a:lnTo>
                <a:lnTo>
                  <a:pt x="44" y="65"/>
                </a:lnTo>
                <a:lnTo>
                  <a:pt x="55" y="55"/>
                </a:lnTo>
                <a:lnTo>
                  <a:pt x="59" y="49"/>
                </a:lnTo>
                <a:lnTo>
                  <a:pt x="63" y="43"/>
                </a:lnTo>
                <a:lnTo>
                  <a:pt x="66" y="37"/>
                </a:lnTo>
                <a:lnTo>
                  <a:pt x="67" y="30"/>
                </a:lnTo>
                <a:lnTo>
                  <a:pt x="67" y="25"/>
                </a:lnTo>
                <a:lnTo>
                  <a:pt x="67" y="18"/>
                </a:lnTo>
                <a:lnTo>
                  <a:pt x="67" y="9"/>
                </a:lnTo>
                <a:lnTo>
                  <a:pt x="67" y="0"/>
                </a:lnTo>
                <a:lnTo>
                  <a:pt x="48" y="0"/>
                </a:lnTo>
                <a:lnTo>
                  <a:pt x="33" y="0"/>
                </a:lnTo>
                <a:lnTo>
                  <a:pt x="17" y="0"/>
                </a:lnTo>
                <a:lnTo>
                  <a:pt x="0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87" name="Freeform 84"/>
          <p:cNvSpPr>
            <a:spLocks/>
          </p:cNvSpPr>
          <p:nvPr userDrawn="1">
            <p:custDataLst>
              <p:tags r:id="rId64"/>
            </p:custDataLst>
          </p:nvPr>
        </p:nvSpPr>
        <p:spPr bwMode="auto">
          <a:xfrm>
            <a:off x="7885113" y="3136118"/>
            <a:ext cx="12700" cy="42863"/>
          </a:xfrm>
          <a:custGeom>
            <a:avLst/>
            <a:gdLst>
              <a:gd name="T0" fmla="*/ 0 w 34"/>
              <a:gd name="T1" fmla="*/ 0 h 38"/>
              <a:gd name="T2" fmla="*/ 279026 w 34"/>
              <a:gd name="T3" fmla="*/ 6785811 h 38"/>
              <a:gd name="T4" fmla="*/ 558053 w 34"/>
              <a:gd name="T5" fmla="*/ 15833557 h 38"/>
              <a:gd name="T6" fmla="*/ 697753 w 34"/>
              <a:gd name="T7" fmla="*/ 24879803 h 38"/>
              <a:gd name="T8" fmla="*/ 837079 w 34"/>
              <a:gd name="T9" fmla="*/ 36189483 h 38"/>
              <a:gd name="T10" fmla="*/ 1395132 w 34"/>
              <a:gd name="T11" fmla="*/ 63332726 h 38"/>
              <a:gd name="T12" fmla="*/ 1813859 w 34"/>
              <a:gd name="T13" fmla="*/ 85950581 h 38"/>
              <a:gd name="T14" fmla="*/ 2232211 w 34"/>
              <a:gd name="T15" fmla="*/ 83688645 h 38"/>
              <a:gd name="T16" fmla="*/ 2790638 w 34"/>
              <a:gd name="T17" fmla="*/ 81426709 h 38"/>
              <a:gd name="T18" fmla="*/ 3208991 w 34"/>
              <a:gd name="T19" fmla="*/ 76902837 h 38"/>
              <a:gd name="T20" fmla="*/ 3627717 w 34"/>
              <a:gd name="T21" fmla="*/ 70117030 h 38"/>
              <a:gd name="T22" fmla="*/ 3906744 w 34"/>
              <a:gd name="T23" fmla="*/ 63332726 h 38"/>
              <a:gd name="T24" fmla="*/ 4464797 w 34"/>
              <a:gd name="T25" fmla="*/ 54284982 h 38"/>
              <a:gd name="T26" fmla="*/ 4604123 w 34"/>
              <a:gd name="T27" fmla="*/ 47499162 h 38"/>
              <a:gd name="T28" fmla="*/ 4743823 w 34"/>
              <a:gd name="T29" fmla="*/ 42975291 h 38"/>
              <a:gd name="T30" fmla="*/ 4325097 w 34"/>
              <a:gd name="T31" fmla="*/ 40713355 h 38"/>
              <a:gd name="T32" fmla="*/ 3906744 w 34"/>
              <a:gd name="T33" fmla="*/ 38451419 h 38"/>
              <a:gd name="T34" fmla="*/ 3627717 w 34"/>
              <a:gd name="T35" fmla="*/ 31665611 h 38"/>
              <a:gd name="T36" fmla="*/ 3348691 w 34"/>
              <a:gd name="T37" fmla="*/ 27141739 h 38"/>
              <a:gd name="T38" fmla="*/ 2650938 w 34"/>
              <a:gd name="T39" fmla="*/ 13571621 h 38"/>
              <a:gd name="T40" fmla="*/ 1813859 w 34"/>
              <a:gd name="T41" fmla="*/ 0 h 38"/>
              <a:gd name="T42" fmla="*/ 837079 w 34"/>
              <a:gd name="T43" fmla="*/ 0 h 38"/>
              <a:gd name="T44" fmla="*/ 0 w 34"/>
              <a:gd name="T45" fmla="*/ 0 h 38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34"/>
              <a:gd name="T70" fmla="*/ 0 h 38"/>
              <a:gd name="T71" fmla="*/ 34 w 34"/>
              <a:gd name="T72" fmla="*/ 38 h 38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34" h="38">
                <a:moveTo>
                  <a:pt x="0" y="0"/>
                </a:moveTo>
                <a:lnTo>
                  <a:pt x="2" y="3"/>
                </a:lnTo>
                <a:lnTo>
                  <a:pt x="4" y="7"/>
                </a:lnTo>
                <a:lnTo>
                  <a:pt x="5" y="11"/>
                </a:lnTo>
                <a:lnTo>
                  <a:pt x="6" y="16"/>
                </a:lnTo>
                <a:lnTo>
                  <a:pt x="10" y="28"/>
                </a:lnTo>
                <a:lnTo>
                  <a:pt x="13" y="38"/>
                </a:lnTo>
                <a:lnTo>
                  <a:pt x="16" y="37"/>
                </a:lnTo>
                <a:lnTo>
                  <a:pt x="20" y="36"/>
                </a:lnTo>
                <a:lnTo>
                  <a:pt x="23" y="34"/>
                </a:lnTo>
                <a:lnTo>
                  <a:pt x="26" y="31"/>
                </a:lnTo>
                <a:lnTo>
                  <a:pt x="28" y="28"/>
                </a:lnTo>
                <a:lnTo>
                  <a:pt x="32" y="24"/>
                </a:lnTo>
                <a:lnTo>
                  <a:pt x="33" y="21"/>
                </a:lnTo>
                <a:lnTo>
                  <a:pt x="34" y="19"/>
                </a:lnTo>
                <a:lnTo>
                  <a:pt x="31" y="18"/>
                </a:lnTo>
                <a:lnTo>
                  <a:pt x="28" y="17"/>
                </a:lnTo>
                <a:lnTo>
                  <a:pt x="26" y="14"/>
                </a:lnTo>
                <a:lnTo>
                  <a:pt x="24" y="12"/>
                </a:lnTo>
                <a:lnTo>
                  <a:pt x="19" y="6"/>
                </a:lnTo>
                <a:lnTo>
                  <a:pt x="13" y="0"/>
                </a:lnTo>
                <a:lnTo>
                  <a:pt x="6" y="0"/>
                </a:lnTo>
                <a:lnTo>
                  <a:pt x="0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88" name="Freeform 85"/>
          <p:cNvSpPr>
            <a:spLocks/>
          </p:cNvSpPr>
          <p:nvPr userDrawn="1">
            <p:custDataLst>
              <p:tags r:id="rId65"/>
            </p:custDataLst>
          </p:nvPr>
        </p:nvSpPr>
        <p:spPr bwMode="auto">
          <a:xfrm>
            <a:off x="7742238" y="2968231"/>
            <a:ext cx="25400" cy="41672"/>
          </a:xfrm>
          <a:custGeom>
            <a:avLst/>
            <a:gdLst>
              <a:gd name="T0" fmla="*/ 12172830 w 53"/>
              <a:gd name="T1" fmla="*/ 134223291 h 23"/>
              <a:gd name="T2" fmla="*/ 12172830 w 53"/>
              <a:gd name="T3" fmla="*/ 23343289 h 23"/>
              <a:gd name="T4" fmla="*/ 11254117 w 53"/>
              <a:gd name="T5" fmla="*/ 11670437 h 23"/>
              <a:gd name="T6" fmla="*/ 10335405 w 53"/>
              <a:gd name="T7" fmla="*/ 5836426 h 23"/>
              <a:gd name="T8" fmla="*/ 9646250 w 53"/>
              <a:gd name="T9" fmla="*/ 0 h 23"/>
              <a:gd name="T10" fmla="*/ 8727537 w 53"/>
              <a:gd name="T11" fmla="*/ 0 h 23"/>
              <a:gd name="T12" fmla="*/ 7120147 w 53"/>
              <a:gd name="T13" fmla="*/ 5836426 h 23"/>
              <a:gd name="T14" fmla="*/ 5512280 w 53"/>
              <a:gd name="T15" fmla="*/ 23343289 h 23"/>
              <a:gd name="T16" fmla="*/ 2526581 w 53"/>
              <a:gd name="T17" fmla="*/ 75866281 h 23"/>
              <a:gd name="T18" fmla="*/ 0 w 53"/>
              <a:gd name="T19" fmla="*/ 134223291 h 23"/>
              <a:gd name="T20" fmla="*/ 12172830 w 53"/>
              <a:gd name="T21" fmla="*/ 134223291 h 23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53"/>
              <a:gd name="T34" fmla="*/ 0 h 23"/>
              <a:gd name="T35" fmla="*/ 53 w 53"/>
              <a:gd name="T36" fmla="*/ 23 h 23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53" h="23">
                <a:moveTo>
                  <a:pt x="53" y="23"/>
                </a:moveTo>
                <a:lnTo>
                  <a:pt x="53" y="4"/>
                </a:lnTo>
                <a:lnTo>
                  <a:pt x="49" y="2"/>
                </a:lnTo>
                <a:lnTo>
                  <a:pt x="45" y="1"/>
                </a:lnTo>
                <a:lnTo>
                  <a:pt x="42" y="0"/>
                </a:lnTo>
                <a:lnTo>
                  <a:pt x="38" y="0"/>
                </a:lnTo>
                <a:lnTo>
                  <a:pt x="31" y="1"/>
                </a:lnTo>
                <a:lnTo>
                  <a:pt x="24" y="4"/>
                </a:lnTo>
                <a:lnTo>
                  <a:pt x="11" y="13"/>
                </a:lnTo>
                <a:lnTo>
                  <a:pt x="0" y="23"/>
                </a:lnTo>
                <a:lnTo>
                  <a:pt x="53" y="23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89" name="Freeform 86"/>
          <p:cNvSpPr>
            <a:spLocks/>
          </p:cNvSpPr>
          <p:nvPr userDrawn="1">
            <p:custDataLst>
              <p:tags r:id="rId66"/>
            </p:custDataLst>
          </p:nvPr>
        </p:nvSpPr>
        <p:spPr bwMode="auto">
          <a:xfrm>
            <a:off x="7685097" y="2949180"/>
            <a:ext cx="11113" cy="42863"/>
          </a:xfrm>
          <a:custGeom>
            <a:avLst/>
            <a:gdLst>
              <a:gd name="T0" fmla="*/ 0 w 26"/>
              <a:gd name="T1" fmla="*/ 0 h 12"/>
              <a:gd name="T2" fmla="*/ 730893 w 26"/>
              <a:gd name="T3" fmla="*/ 90725633 h 12"/>
              <a:gd name="T4" fmla="*/ 2009744 w 26"/>
              <a:gd name="T5" fmla="*/ 181451267 h 12"/>
              <a:gd name="T6" fmla="*/ 2557700 w 26"/>
              <a:gd name="T7" fmla="*/ 204135047 h 12"/>
              <a:gd name="T8" fmla="*/ 3288593 w 26"/>
              <a:gd name="T9" fmla="*/ 249497845 h 12"/>
              <a:gd name="T10" fmla="*/ 4019060 w 26"/>
              <a:gd name="T11" fmla="*/ 249497845 h 12"/>
              <a:gd name="T12" fmla="*/ 4749953 w 26"/>
              <a:gd name="T13" fmla="*/ 272176863 h 12"/>
              <a:gd name="T14" fmla="*/ 3836550 w 26"/>
              <a:gd name="T15" fmla="*/ 158767486 h 12"/>
              <a:gd name="T16" fmla="*/ 2375190 w 26"/>
              <a:gd name="T17" fmla="*/ 68046597 h 12"/>
              <a:gd name="T18" fmla="*/ 913403 w 26"/>
              <a:gd name="T19" fmla="*/ 22683790 h 12"/>
              <a:gd name="T20" fmla="*/ 0 w 26"/>
              <a:gd name="T21" fmla="*/ 0 h 1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26"/>
              <a:gd name="T34" fmla="*/ 0 h 12"/>
              <a:gd name="T35" fmla="*/ 26 w 26"/>
              <a:gd name="T36" fmla="*/ 12 h 12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26" h="12">
                <a:moveTo>
                  <a:pt x="0" y="0"/>
                </a:moveTo>
                <a:lnTo>
                  <a:pt x="4" y="4"/>
                </a:lnTo>
                <a:lnTo>
                  <a:pt x="11" y="8"/>
                </a:lnTo>
                <a:lnTo>
                  <a:pt x="14" y="9"/>
                </a:lnTo>
                <a:lnTo>
                  <a:pt x="18" y="11"/>
                </a:lnTo>
                <a:lnTo>
                  <a:pt x="22" y="11"/>
                </a:lnTo>
                <a:lnTo>
                  <a:pt x="26" y="12"/>
                </a:lnTo>
                <a:lnTo>
                  <a:pt x="21" y="7"/>
                </a:lnTo>
                <a:lnTo>
                  <a:pt x="13" y="3"/>
                </a:lnTo>
                <a:lnTo>
                  <a:pt x="5" y="1"/>
                </a:lnTo>
                <a:lnTo>
                  <a:pt x="0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90" name="Freeform 87"/>
          <p:cNvSpPr>
            <a:spLocks/>
          </p:cNvSpPr>
          <p:nvPr userDrawn="1">
            <p:custDataLst>
              <p:tags r:id="rId67"/>
            </p:custDataLst>
          </p:nvPr>
        </p:nvSpPr>
        <p:spPr bwMode="auto">
          <a:xfrm>
            <a:off x="7885113" y="3198031"/>
            <a:ext cx="31750" cy="42863"/>
          </a:xfrm>
          <a:custGeom>
            <a:avLst/>
            <a:gdLst>
              <a:gd name="T0" fmla="*/ 0 w 73"/>
              <a:gd name="T1" fmla="*/ 0 h 57150"/>
              <a:gd name="T2" fmla="*/ 3783469 w 73"/>
              <a:gd name="T3" fmla="*/ 0 h 57150"/>
              <a:gd name="T4" fmla="*/ 6998917 w 73"/>
              <a:gd name="T5" fmla="*/ 0 h 57150"/>
              <a:gd name="T6" fmla="*/ 10403996 w 73"/>
              <a:gd name="T7" fmla="*/ 0 h 57150"/>
              <a:gd name="T8" fmla="*/ 13809073 w 73"/>
              <a:gd name="T9" fmla="*/ 0 h 571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3"/>
              <a:gd name="T16" fmla="*/ 0 h 57150"/>
              <a:gd name="T17" fmla="*/ 73 w 73"/>
              <a:gd name="T18" fmla="*/ 57150 h 5715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3" h="57150">
                <a:moveTo>
                  <a:pt x="0" y="0"/>
                </a:moveTo>
                <a:lnTo>
                  <a:pt x="20" y="0"/>
                </a:lnTo>
                <a:lnTo>
                  <a:pt x="37" y="0"/>
                </a:lnTo>
                <a:lnTo>
                  <a:pt x="55" y="0"/>
                </a:lnTo>
                <a:lnTo>
                  <a:pt x="73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91" name="Freeform 88"/>
          <p:cNvSpPr>
            <a:spLocks/>
          </p:cNvSpPr>
          <p:nvPr userDrawn="1">
            <p:custDataLst>
              <p:tags r:id="rId68"/>
            </p:custDataLst>
          </p:nvPr>
        </p:nvSpPr>
        <p:spPr bwMode="auto">
          <a:xfrm>
            <a:off x="7840670" y="3189697"/>
            <a:ext cx="22225" cy="42863"/>
          </a:xfrm>
          <a:custGeom>
            <a:avLst/>
            <a:gdLst>
              <a:gd name="T0" fmla="*/ 0 w 53"/>
              <a:gd name="T1" fmla="*/ 0 h 3"/>
              <a:gd name="T2" fmla="*/ 2461943 w 53"/>
              <a:gd name="T3" fmla="*/ 0 h 3"/>
              <a:gd name="T4" fmla="*/ 4747763 w 53"/>
              <a:gd name="T5" fmla="*/ 1088707452 h 3"/>
              <a:gd name="T6" fmla="*/ 5627118 w 53"/>
              <a:gd name="T7" fmla="*/ 1088707452 h 3"/>
              <a:gd name="T8" fmla="*/ 6857880 w 53"/>
              <a:gd name="T9" fmla="*/ 1088707452 h 3"/>
              <a:gd name="T10" fmla="*/ 7912940 w 53"/>
              <a:gd name="T11" fmla="*/ 362902533 h 3"/>
              <a:gd name="T12" fmla="*/ 9319824 w 53"/>
              <a:gd name="T13" fmla="*/ 0 h 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3"/>
              <a:gd name="T22" fmla="*/ 0 h 3"/>
              <a:gd name="T23" fmla="*/ 53 w 53"/>
              <a:gd name="T24" fmla="*/ 3 h 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3" h="3">
                <a:moveTo>
                  <a:pt x="0" y="0"/>
                </a:moveTo>
                <a:lnTo>
                  <a:pt x="14" y="0"/>
                </a:lnTo>
                <a:lnTo>
                  <a:pt x="27" y="3"/>
                </a:lnTo>
                <a:lnTo>
                  <a:pt x="32" y="3"/>
                </a:lnTo>
                <a:lnTo>
                  <a:pt x="39" y="3"/>
                </a:lnTo>
                <a:lnTo>
                  <a:pt x="45" y="1"/>
                </a:lnTo>
                <a:lnTo>
                  <a:pt x="53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92" name="Line 89"/>
          <p:cNvSpPr>
            <a:spLocks noChangeShapeType="1"/>
          </p:cNvSpPr>
          <p:nvPr userDrawn="1">
            <p:custDataLst>
              <p:tags r:id="rId69"/>
            </p:custDataLst>
          </p:nvPr>
        </p:nvSpPr>
        <p:spPr bwMode="auto">
          <a:xfrm>
            <a:off x="7874004" y="3178980"/>
            <a:ext cx="20637" cy="4763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93" name="Freeform 90"/>
          <p:cNvSpPr>
            <a:spLocks/>
          </p:cNvSpPr>
          <p:nvPr userDrawn="1">
            <p:custDataLst>
              <p:tags r:id="rId70"/>
            </p:custDataLst>
          </p:nvPr>
        </p:nvSpPr>
        <p:spPr bwMode="auto">
          <a:xfrm>
            <a:off x="7894638" y="3183743"/>
            <a:ext cx="1588" cy="42863"/>
          </a:xfrm>
          <a:custGeom>
            <a:avLst/>
            <a:gdLst>
              <a:gd name="T0" fmla="*/ 0 w 1588"/>
              <a:gd name="T1" fmla="*/ 0 h 13"/>
              <a:gd name="T2" fmla="*/ 0 w 1588"/>
              <a:gd name="T3" fmla="*/ 115957350 h 13"/>
              <a:gd name="T4" fmla="*/ 0 w 1588"/>
              <a:gd name="T5" fmla="*/ 251240187 h 13"/>
              <a:gd name="T6" fmla="*/ 0 60000 65536"/>
              <a:gd name="T7" fmla="*/ 0 60000 65536"/>
              <a:gd name="T8" fmla="*/ 0 60000 65536"/>
              <a:gd name="T9" fmla="*/ 0 w 1588"/>
              <a:gd name="T10" fmla="*/ 0 h 13"/>
              <a:gd name="T11" fmla="*/ 1588 w 1588"/>
              <a:gd name="T12" fmla="*/ 13 h 1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588" h="13">
                <a:moveTo>
                  <a:pt x="0" y="0"/>
                </a:moveTo>
                <a:lnTo>
                  <a:pt x="0" y="6"/>
                </a:lnTo>
                <a:lnTo>
                  <a:pt x="0" y="13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94" name="Freeform 91"/>
          <p:cNvSpPr>
            <a:spLocks/>
          </p:cNvSpPr>
          <p:nvPr userDrawn="1">
            <p:custDataLst>
              <p:tags r:id="rId71"/>
            </p:custDataLst>
          </p:nvPr>
        </p:nvSpPr>
        <p:spPr bwMode="auto">
          <a:xfrm>
            <a:off x="7848608" y="3178979"/>
            <a:ext cx="14287" cy="44054"/>
          </a:xfrm>
          <a:custGeom>
            <a:avLst/>
            <a:gdLst>
              <a:gd name="T0" fmla="*/ 0 w 26"/>
              <a:gd name="T1" fmla="*/ 0 h 58738"/>
              <a:gd name="T2" fmla="*/ 4528980 w 26"/>
              <a:gd name="T3" fmla="*/ 0 h 58738"/>
              <a:gd name="T4" fmla="*/ 7850706 w 26"/>
              <a:gd name="T5" fmla="*/ 0 h 58738"/>
              <a:gd name="T6" fmla="*/ 0 60000 65536"/>
              <a:gd name="T7" fmla="*/ 0 60000 65536"/>
              <a:gd name="T8" fmla="*/ 0 60000 65536"/>
              <a:gd name="T9" fmla="*/ 0 w 26"/>
              <a:gd name="T10" fmla="*/ 0 h 58738"/>
              <a:gd name="T11" fmla="*/ 26 w 26"/>
              <a:gd name="T12" fmla="*/ 58738 h 5873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6" h="58738">
                <a:moveTo>
                  <a:pt x="0" y="0"/>
                </a:moveTo>
                <a:lnTo>
                  <a:pt x="15" y="0"/>
                </a:lnTo>
                <a:lnTo>
                  <a:pt x="26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95" name="Freeform 92"/>
          <p:cNvSpPr>
            <a:spLocks/>
          </p:cNvSpPr>
          <p:nvPr userDrawn="1">
            <p:custDataLst>
              <p:tags r:id="rId72"/>
            </p:custDataLst>
          </p:nvPr>
        </p:nvSpPr>
        <p:spPr bwMode="auto">
          <a:xfrm>
            <a:off x="7842250" y="3164692"/>
            <a:ext cx="6350" cy="45244"/>
          </a:xfrm>
          <a:custGeom>
            <a:avLst/>
            <a:gdLst>
              <a:gd name="T0" fmla="*/ 2016125 w 20"/>
              <a:gd name="T1" fmla="*/ 0 h 25"/>
              <a:gd name="T2" fmla="*/ 0 w 20"/>
              <a:gd name="T3" fmla="*/ 75693393 h 25"/>
              <a:gd name="T4" fmla="*/ 403225 w 20"/>
              <a:gd name="T5" fmla="*/ 104806248 h 25"/>
              <a:gd name="T6" fmla="*/ 1008062 w 20"/>
              <a:gd name="T7" fmla="*/ 122273949 h 25"/>
              <a:gd name="T8" fmla="*/ 1411288 w 20"/>
              <a:gd name="T9" fmla="*/ 139741651 h 25"/>
              <a:gd name="T10" fmla="*/ 2016125 w 20"/>
              <a:gd name="T11" fmla="*/ 145564218 h 25"/>
              <a:gd name="T12" fmla="*/ 2016125 w 20"/>
              <a:gd name="T13" fmla="*/ 0 h 2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0"/>
              <a:gd name="T22" fmla="*/ 0 h 25"/>
              <a:gd name="T23" fmla="*/ 20 w 20"/>
              <a:gd name="T24" fmla="*/ 25 h 25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0" h="25">
                <a:moveTo>
                  <a:pt x="20" y="0"/>
                </a:moveTo>
                <a:lnTo>
                  <a:pt x="0" y="13"/>
                </a:lnTo>
                <a:lnTo>
                  <a:pt x="4" y="18"/>
                </a:lnTo>
                <a:lnTo>
                  <a:pt x="10" y="21"/>
                </a:lnTo>
                <a:lnTo>
                  <a:pt x="14" y="24"/>
                </a:lnTo>
                <a:lnTo>
                  <a:pt x="20" y="25"/>
                </a:lnTo>
                <a:lnTo>
                  <a:pt x="20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96" name="Freeform 93"/>
          <p:cNvSpPr>
            <a:spLocks/>
          </p:cNvSpPr>
          <p:nvPr userDrawn="1">
            <p:custDataLst>
              <p:tags r:id="rId73"/>
            </p:custDataLst>
          </p:nvPr>
        </p:nvSpPr>
        <p:spPr bwMode="auto">
          <a:xfrm>
            <a:off x="7923212" y="2959902"/>
            <a:ext cx="1588" cy="42863"/>
          </a:xfrm>
          <a:custGeom>
            <a:avLst/>
            <a:gdLst>
              <a:gd name="T0" fmla="*/ 0 w 6"/>
              <a:gd name="T1" fmla="*/ 136088431 h 24"/>
              <a:gd name="T2" fmla="*/ 0 w 6"/>
              <a:gd name="T3" fmla="*/ 0 h 24"/>
              <a:gd name="T4" fmla="*/ 420291 w 6"/>
              <a:gd name="T5" fmla="*/ 68044216 h 24"/>
              <a:gd name="T6" fmla="*/ 0 w 6"/>
              <a:gd name="T7" fmla="*/ 136088431 h 24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24"/>
              <a:gd name="T14" fmla="*/ 6 w 6"/>
              <a:gd name="T15" fmla="*/ 24 h 2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24">
                <a:moveTo>
                  <a:pt x="0" y="24"/>
                </a:moveTo>
                <a:lnTo>
                  <a:pt x="0" y="0"/>
                </a:lnTo>
                <a:lnTo>
                  <a:pt x="6" y="12"/>
                </a:lnTo>
                <a:lnTo>
                  <a:pt x="0" y="24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grpSp>
        <p:nvGrpSpPr>
          <p:cNvPr id="41" name="Group 94"/>
          <p:cNvGrpSpPr>
            <a:grpSpLocks/>
          </p:cNvGrpSpPr>
          <p:nvPr userDrawn="1">
            <p:custDataLst>
              <p:tags r:id="rId74"/>
            </p:custDataLst>
          </p:nvPr>
        </p:nvGrpSpPr>
        <p:grpSpPr bwMode="auto">
          <a:xfrm>
            <a:off x="7797800" y="2713436"/>
            <a:ext cx="163512" cy="85725"/>
            <a:chOff x="5379" y="2466"/>
            <a:chExt cx="122" cy="71"/>
          </a:xfrm>
          <a:solidFill>
            <a:sysClr val="window" lastClr="FFFFFF">
              <a:lumMod val="85000"/>
            </a:sysClr>
          </a:solidFill>
        </p:grpSpPr>
        <p:sp>
          <p:nvSpPr>
            <p:cNvPr id="98" name="Freeform 95"/>
            <p:cNvSpPr>
              <a:spLocks/>
            </p:cNvSpPr>
            <p:nvPr/>
          </p:nvSpPr>
          <p:spPr bwMode="auto">
            <a:xfrm>
              <a:off x="5428" y="2492"/>
              <a:ext cx="6" cy="9"/>
            </a:xfrm>
            <a:custGeom>
              <a:avLst/>
              <a:gdLst>
                <a:gd name="T0" fmla="*/ 2 w 19"/>
                <a:gd name="T1" fmla="*/ 3 h 25"/>
                <a:gd name="T2" fmla="*/ 2 w 19"/>
                <a:gd name="T3" fmla="*/ 3 h 25"/>
                <a:gd name="T4" fmla="*/ 2 w 19"/>
                <a:gd name="T5" fmla="*/ 1 h 25"/>
                <a:gd name="T6" fmla="*/ 2 w 19"/>
                <a:gd name="T7" fmla="*/ 1 h 25"/>
                <a:gd name="T8" fmla="*/ 2 w 19"/>
                <a:gd name="T9" fmla="*/ 1 h 25"/>
                <a:gd name="T10" fmla="*/ 2 w 19"/>
                <a:gd name="T11" fmla="*/ 0 h 25"/>
                <a:gd name="T12" fmla="*/ 2 w 19"/>
                <a:gd name="T13" fmla="*/ 0 h 25"/>
                <a:gd name="T14" fmla="*/ 0 w 19"/>
                <a:gd name="T15" fmla="*/ 0 h 25"/>
                <a:gd name="T16" fmla="*/ 0 w 19"/>
                <a:gd name="T17" fmla="*/ 1 h 25"/>
                <a:gd name="T18" fmla="*/ 1 w 19"/>
                <a:gd name="T19" fmla="*/ 2 h 25"/>
                <a:gd name="T20" fmla="*/ 1 w 19"/>
                <a:gd name="T21" fmla="*/ 3 h 25"/>
                <a:gd name="T22" fmla="*/ 1 w 19"/>
                <a:gd name="T23" fmla="*/ 3 h 25"/>
                <a:gd name="T24" fmla="*/ 2 w 19"/>
                <a:gd name="T25" fmla="*/ 3 h 25"/>
                <a:gd name="T26" fmla="*/ 2 w 19"/>
                <a:gd name="T27" fmla="*/ 3 h 2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9"/>
                <a:gd name="T43" fmla="*/ 0 h 25"/>
                <a:gd name="T44" fmla="*/ 19 w 19"/>
                <a:gd name="T45" fmla="*/ 25 h 2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9" h="25">
                  <a:moveTo>
                    <a:pt x="19" y="25"/>
                  </a:moveTo>
                  <a:lnTo>
                    <a:pt x="18" y="20"/>
                  </a:lnTo>
                  <a:lnTo>
                    <a:pt x="17" y="12"/>
                  </a:lnTo>
                  <a:lnTo>
                    <a:pt x="16" y="9"/>
                  </a:lnTo>
                  <a:lnTo>
                    <a:pt x="17" y="6"/>
                  </a:lnTo>
                  <a:lnTo>
                    <a:pt x="17" y="3"/>
                  </a:lnTo>
                  <a:lnTo>
                    <a:pt x="19" y="0"/>
                  </a:lnTo>
                  <a:lnTo>
                    <a:pt x="0" y="0"/>
                  </a:lnTo>
                  <a:lnTo>
                    <a:pt x="1" y="7"/>
                  </a:lnTo>
                  <a:lnTo>
                    <a:pt x="5" y="15"/>
                  </a:lnTo>
                  <a:lnTo>
                    <a:pt x="7" y="19"/>
                  </a:lnTo>
                  <a:lnTo>
                    <a:pt x="11" y="23"/>
                  </a:lnTo>
                  <a:lnTo>
                    <a:pt x="15" y="25"/>
                  </a:lnTo>
                  <a:lnTo>
                    <a:pt x="19" y="25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9" name="Freeform 96"/>
            <p:cNvSpPr>
              <a:spLocks/>
            </p:cNvSpPr>
            <p:nvPr/>
          </p:nvSpPr>
          <p:spPr bwMode="auto">
            <a:xfrm>
              <a:off x="5379" y="2505"/>
              <a:ext cx="7" cy="6"/>
            </a:xfrm>
            <a:custGeom>
              <a:avLst/>
              <a:gdLst>
                <a:gd name="T0" fmla="*/ 2 w 26"/>
                <a:gd name="T1" fmla="*/ 2 h 18"/>
                <a:gd name="T2" fmla="*/ 1 w 26"/>
                <a:gd name="T3" fmla="*/ 2 h 18"/>
                <a:gd name="T4" fmla="*/ 0 w 26"/>
                <a:gd name="T5" fmla="*/ 1 h 18"/>
                <a:gd name="T6" fmla="*/ 0 w 26"/>
                <a:gd name="T7" fmla="*/ 0 h 18"/>
                <a:gd name="T8" fmla="*/ 1 w 26"/>
                <a:gd name="T9" fmla="*/ 0 h 18"/>
                <a:gd name="T10" fmla="*/ 1 w 26"/>
                <a:gd name="T11" fmla="*/ 1 h 18"/>
                <a:gd name="T12" fmla="*/ 1 w 26"/>
                <a:gd name="T13" fmla="*/ 1 h 18"/>
                <a:gd name="T14" fmla="*/ 2 w 26"/>
                <a:gd name="T15" fmla="*/ 2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6"/>
                <a:gd name="T25" fmla="*/ 0 h 18"/>
                <a:gd name="T26" fmla="*/ 26 w 26"/>
                <a:gd name="T27" fmla="*/ 18 h 1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6" h="18">
                  <a:moveTo>
                    <a:pt x="26" y="18"/>
                  </a:moveTo>
                  <a:lnTo>
                    <a:pt x="7" y="18"/>
                  </a:lnTo>
                  <a:lnTo>
                    <a:pt x="3" y="9"/>
                  </a:lnTo>
                  <a:lnTo>
                    <a:pt x="0" y="0"/>
                  </a:lnTo>
                  <a:lnTo>
                    <a:pt x="6" y="2"/>
                  </a:lnTo>
                  <a:lnTo>
                    <a:pt x="13" y="6"/>
                  </a:lnTo>
                  <a:lnTo>
                    <a:pt x="20" y="12"/>
                  </a:lnTo>
                  <a:lnTo>
                    <a:pt x="26" y="18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0" name="Freeform 97"/>
            <p:cNvSpPr>
              <a:spLocks/>
            </p:cNvSpPr>
            <p:nvPr/>
          </p:nvSpPr>
          <p:spPr bwMode="auto">
            <a:xfrm>
              <a:off x="5392" y="2466"/>
              <a:ext cx="5" cy="6"/>
            </a:xfrm>
            <a:custGeom>
              <a:avLst/>
              <a:gdLst>
                <a:gd name="T0" fmla="*/ 0 w 13"/>
                <a:gd name="T1" fmla="*/ 2 h 18"/>
                <a:gd name="T2" fmla="*/ 2 w 13"/>
                <a:gd name="T3" fmla="*/ 0 h 18"/>
                <a:gd name="T4" fmla="*/ 0 w 13"/>
                <a:gd name="T5" fmla="*/ 2 h 18"/>
                <a:gd name="T6" fmla="*/ 0 60000 65536"/>
                <a:gd name="T7" fmla="*/ 0 60000 65536"/>
                <a:gd name="T8" fmla="*/ 0 60000 65536"/>
                <a:gd name="T9" fmla="*/ 0 w 13"/>
                <a:gd name="T10" fmla="*/ 0 h 18"/>
                <a:gd name="T11" fmla="*/ 13 w 13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3" h="18">
                  <a:moveTo>
                    <a:pt x="0" y="18"/>
                  </a:moveTo>
                  <a:lnTo>
                    <a:pt x="13" y="0"/>
                  </a:lnTo>
                  <a:lnTo>
                    <a:pt x="0" y="18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1" name="Freeform 98"/>
            <p:cNvSpPr>
              <a:spLocks/>
            </p:cNvSpPr>
            <p:nvPr/>
          </p:nvSpPr>
          <p:spPr bwMode="auto">
            <a:xfrm>
              <a:off x="5426" y="2468"/>
              <a:ext cx="8" cy="8"/>
            </a:xfrm>
            <a:custGeom>
              <a:avLst/>
              <a:gdLst>
                <a:gd name="T0" fmla="*/ 0 w 26"/>
                <a:gd name="T1" fmla="*/ 3 h 24"/>
                <a:gd name="T2" fmla="*/ 0 w 26"/>
                <a:gd name="T3" fmla="*/ 3 h 24"/>
                <a:gd name="T4" fmla="*/ 1 w 26"/>
                <a:gd name="T5" fmla="*/ 2 h 24"/>
                <a:gd name="T6" fmla="*/ 1 w 26"/>
                <a:gd name="T7" fmla="*/ 2 h 24"/>
                <a:gd name="T8" fmla="*/ 2 w 26"/>
                <a:gd name="T9" fmla="*/ 2 h 24"/>
                <a:gd name="T10" fmla="*/ 2 w 26"/>
                <a:gd name="T11" fmla="*/ 1 h 24"/>
                <a:gd name="T12" fmla="*/ 2 w 26"/>
                <a:gd name="T13" fmla="*/ 1 h 24"/>
                <a:gd name="T14" fmla="*/ 2 w 26"/>
                <a:gd name="T15" fmla="*/ 0 h 24"/>
                <a:gd name="T16" fmla="*/ 2 w 26"/>
                <a:gd name="T17" fmla="*/ 0 h 24"/>
                <a:gd name="T18" fmla="*/ 0 w 26"/>
                <a:gd name="T19" fmla="*/ 3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24"/>
                <a:gd name="T32" fmla="*/ 26 w 26"/>
                <a:gd name="T33" fmla="*/ 24 h 2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24">
                  <a:moveTo>
                    <a:pt x="0" y="24"/>
                  </a:moveTo>
                  <a:lnTo>
                    <a:pt x="3" y="23"/>
                  </a:lnTo>
                  <a:lnTo>
                    <a:pt x="7" y="22"/>
                  </a:lnTo>
                  <a:lnTo>
                    <a:pt x="11" y="19"/>
                  </a:lnTo>
                  <a:lnTo>
                    <a:pt x="16" y="16"/>
                  </a:lnTo>
                  <a:lnTo>
                    <a:pt x="20" y="13"/>
                  </a:lnTo>
                  <a:lnTo>
                    <a:pt x="23" y="9"/>
                  </a:lnTo>
                  <a:lnTo>
                    <a:pt x="25" y="4"/>
                  </a:lnTo>
                  <a:lnTo>
                    <a:pt x="26" y="0"/>
                  </a:lnTo>
                  <a:lnTo>
                    <a:pt x="0" y="24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2" name="Freeform 99"/>
            <p:cNvSpPr>
              <a:spLocks/>
            </p:cNvSpPr>
            <p:nvPr/>
          </p:nvSpPr>
          <p:spPr bwMode="auto">
            <a:xfrm>
              <a:off x="5490" y="2490"/>
              <a:ext cx="11" cy="2"/>
            </a:xfrm>
            <a:custGeom>
              <a:avLst/>
              <a:gdLst>
                <a:gd name="T0" fmla="*/ 0 w 34"/>
                <a:gd name="T1" fmla="*/ 1 h 6"/>
                <a:gd name="T2" fmla="*/ 1 w 34"/>
                <a:gd name="T3" fmla="*/ 1 h 6"/>
                <a:gd name="T4" fmla="*/ 2 w 34"/>
                <a:gd name="T5" fmla="*/ 1 h 6"/>
                <a:gd name="T6" fmla="*/ 3 w 34"/>
                <a:gd name="T7" fmla="*/ 0 h 6"/>
                <a:gd name="T8" fmla="*/ 4 w 34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4"/>
                <a:gd name="T16" fmla="*/ 0 h 6"/>
                <a:gd name="T17" fmla="*/ 34 w 34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4" h="6">
                  <a:moveTo>
                    <a:pt x="0" y="6"/>
                  </a:moveTo>
                  <a:lnTo>
                    <a:pt x="10" y="6"/>
                  </a:lnTo>
                  <a:lnTo>
                    <a:pt x="17" y="5"/>
                  </a:lnTo>
                  <a:lnTo>
                    <a:pt x="25" y="4"/>
                  </a:lnTo>
                  <a:lnTo>
                    <a:pt x="34" y="0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3" name="Line 100"/>
            <p:cNvSpPr>
              <a:spLocks noChangeShapeType="1"/>
            </p:cNvSpPr>
            <p:nvPr/>
          </p:nvSpPr>
          <p:spPr bwMode="auto">
            <a:xfrm flipH="1">
              <a:off x="5495" y="2490"/>
              <a:ext cx="6" cy="1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4" name="Freeform 101"/>
            <p:cNvSpPr>
              <a:spLocks/>
            </p:cNvSpPr>
            <p:nvPr/>
          </p:nvSpPr>
          <p:spPr bwMode="auto">
            <a:xfrm>
              <a:off x="5464" y="2530"/>
              <a:ext cx="1" cy="7"/>
            </a:xfrm>
            <a:custGeom>
              <a:avLst/>
              <a:gdLst>
                <a:gd name="T0" fmla="*/ 0 w 1"/>
                <a:gd name="T1" fmla="*/ 3 h 19"/>
                <a:gd name="T2" fmla="*/ 0 w 1"/>
                <a:gd name="T3" fmla="*/ 1 h 19"/>
                <a:gd name="T4" fmla="*/ 0 w 1"/>
                <a:gd name="T5" fmla="*/ 0 h 19"/>
                <a:gd name="T6" fmla="*/ 0 60000 65536"/>
                <a:gd name="T7" fmla="*/ 0 60000 65536"/>
                <a:gd name="T8" fmla="*/ 0 60000 65536"/>
                <a:gd name="T9" fmla="*/ 0 w 1"/>
                <a:gd name="T10" fmla="*/ 0 h 19"/>
                <a:gd name="T11" fmla="*/ 1 w 1"/>
                <a:gd name="T12" fmla="*/ 19 h 1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19">
                  <a:moveTo>
                    <a:pt x="0" y="19"/>
                  </a:move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5" name="Line 102"/>
            <p:cNvSpPr>
              <a:spLocks noChangeShapeType="1"/>
            </p:cNvSpPr>
            <p:nvPr/>
          </p:nvSpPr>
          <p:spPr bwMode="auto">
            <a:xfrm>
              <a:off x="5464" y="2530"/>
              <a:ext cx="6" cy="1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6" name="Freeform 103"/>
            <p:cNvSpPr>
              <a:spLocks/>
            </p:cNvSpPr>
            <p:nvPr/>
          </p:nvSpPr>
          <p:spPr bwMode="auto">
            <a:xfrm>
              <a:off x="5466" y="2530"/>
              <a:ext cx="4" cy="2"/>
            </a:xfrm>
            <a:custGeom>
              <a:avLst/>
              <a:gdLst>
                <a:gd name="T0" fmla="*/ 1 w 14"/>
                <a:gd name="T1" fmla="*/ 0 h 6"/>
                <a:gd name="T2" fmla="*/ 1 w 14"/>
                <a:gd name="T3" fmla="*/ 0 h 6"/>
                <a:gd name="T4" fmla="*/ 0 w 14"/>
                <a:gd name="T5" fmla="*/ 1 h 6"/>
                <a:gd name="T6" fmla="*/ 0 60000 65536"/>
                <a:gd name="T7" fmla="*/ 0 60000 65536"/>
                <a:gd name="T8" fmla="*/ 0 60000 65536"/>
                <a:gd name="T9" fmla="*/ 0 w 14"/>
                <a:gd name="T10" fmla="*/ 0 h 6"/>
                <a:gd name="T11" fmla="*/ 14 w 14"/>
                <a:gd name="T12" fmla="*/ 6 h 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4" h="6">
                  <a:moveTo>
                    <a:pt x="14" y="0"/>
                  </a:moveTo>
                  <a:lnTo>
                    <a:pt x="7" y="3"/>
                  </a:lnTo>
                  <a:lnTo>
                    <a:pt x="0" y="6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107" name="Freeform 104"/>
          <p:cNvSpPr>
            <a:spLocks/>
          </p:cNvSpPr>
          <p:nvPr userDrawn="1">
            <p:custDataLst>
              <p:tags r:id="rId75"/>
            </p:custDataLst>
          </p:nvPr>
        </p:nvSpPr>
        <p:spPr bwMode="auto">
          <a:xfrm>
            <a:off x="6381751" y="2609852"/>
            <a:ext cx="6350" cy="42863"/>
          </a:xfrm>
          <a:custGeom>
            <a:avLst/>
            <a:gdLst>
              <a:gd name="T0" fmla="*/ 775433 w 26"/>
              <a:gd name="T1" fmla="*/ 29424527 h 111"/>
              <a:gd name="T2" fmla="*/ 536819 w 26"/>
              <a:gd name="T3" fmla="*/ 27303799 h 111"/>
              <a:gd name="T4" fmla="*/ 238613 w 26"/>
              <a:gd name="T5" fmla="*/ 25183071 h 111"/>
              <a:gd name="T6" fmla="*/ 119185 w 26"/>
              <a:gd name="T7" fmla="*/ 24122965 h 111"/>
              <a:gd name="T8" fmla="*/ 59592 w 26"/>
              <a:gd name="T9" fmla="*/ 23062344 h 111"/>
              <a:gd name="T10" fmla="*/ 0 w 26"/>
              <a:gd name="T11" fmla="*/ 21206771 h 111"/>
              <a:gd name="T12" fmla="*/ 0 w 26"/>
              <a:gd name="T13" fmla="*/ 19616354 h 111"/>
              <a:gd name="T14" fmla="*/ 0 w 26"/>
              <a:gd name="T15" fmla="*/ 16170360 h 111"/>
              <a:gd name="T16" fmla="*/ 59592 w 26"/>
              <a:gd name="T17" fmla="*/ 13519322 h 111"/>
              <a:gd name="T18" fmla="*/ 179021 w 26"/>
              <a:gd name="T19" fmla="*/ 10868283 h 111"/>
              <a:gd name="T20" fmla="*/ 298206 w 26"/>
              <a:gd name="T21" fmla="*/ 8748071 h 111"/>
              <a:gd name="T22" fmla="*/ 536819 w 26"/>
              <a:gd name="T23" fmla="*/ 6362185 h 111"/>
              <a:gd name="T24" fmla="*/ 835025 w 26"/>
              <a:gd name="T25" fmla="*/ 4506613 h 111"/>
              <a:gd name="T26" fmla="*/ 1193067 w 26"/>
              <a:gd name="T27" fmla="*/ 2385884 h 111"/>
              <a:gd name="T28" fmla="*/ 1550865 w 26"/>
              <a:gd name="T29" fmla="*/ 0 h 111"/>
              <a:gd name="T30" fmla="*/ 1550865 w 26"/>
              <a:gd name="T31" fmla="*/ 1590418 h 111"/>
              <a:gd name="T32" fmla="*/ 1550865 w 26"/>
              <a:gd name="T33" fmla="*/ 3445991 h 111"/>
              <a:gd name="T34" fmla="*/ 1550865 w 26"/>
              <a:gd name="T35" fmla="*/ 5831875 h 111"/>
              <a:gd name="T36" fmla="*/ 1550865 w 26"/>
              <a:gd name="T37" fmla="*/ 8482915 h 111"/>
              <a:gd name="T38" fmla="*/ 1491273 w 26"/>
              <a:gd name="T39" fmla="*/ 11663749 h 111"/>
              <a:gd name="T40" fmla="*/ 1312252 w 26"/>
              <a:gd name="T41" fmla="*/ 14844584 h 111"/>
              <a:gd name="T42" fmla="*/ 1073639 w 26"/>
              <a:gd name="T43" fmla="*/ 17760782 h 111"/>
              <a:gd name="T44" fmla="*/ 775433 w 26"/>
              <a:gd name="T45" fmla="*/ 21206771 h 111"/>
              <a:gd name="T46" fmla="*/ 775433 w 26"/>
              <a:gd name="T47" fmla="*/ 29424527 h 11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26"/>
              <a:gd name="T73" fmla="*/ 0 h 111"/>
              <a:gd name="T74" fmla="*/ 26 w 26"/>
              <a:gd name="T75" fmla="*/ 111 h 111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26" h="111">
                <a:moveTo>
                  <a:pt x="13" y="111"/>
                </a:moveTo>
                <a:lnTo>
                  <a:pt x="9" y="103"/>
                </a:lnTo>
                <a:lnTo>
                  <a:pt x="4" y="95"/>
                </a:lnTo>
                <a:lnTo>
                  <a:pt x="2" y="91"/>
                </a:lnTo>
                <a:lnTo>
                  <a:pt x="1" y="87"/>
                </a:lnTo>
                <a:lnTo>
                  <a:pt x="0" y="80"/>
                </a:lnTo>
                <a:lnTo>
                  <a:pt x="0" y="74"/>
                </a:lnTo>
                <a:lnTo>
                  <a:pt x="0" y="61"/>
                </a:lnTo>
                <a:lnTo>
                  <a:pt x="1" y="51"/>
                </a:lnTo>
                <a:lnTo>
                  <a:pt x="3" y="41"/>
                </a:lnTo>
                <a:lnTo>
                  <a:pt x="5" y="33"/>
                </a:lnTo>
                <a:lnTo>
                  <a:pt x="9" y="24"/>
                </a:lnTo>
                <a:lnTo>
                  <a:pt x="14" y="17"/>
                </a:lnTo>
                <a:lnTo>
                  <a:pt x="20" y="9"/>
                </a:lnTo>
                <a:lnTo>
                  <a:pt x="26" y="0"/>
                </a:lnTo>
                <a:lnTo>
                  <a:pt x="26" y="6"/>
                </a:lnTo>
                <a:lnTo>
                  <a:pt x="26" y="13"/>
                </a:lnTo>
                <a:lnTo>
                  <a:pt x="26" y="22"/>
                </a:lnTo>
                <a:lnTo>
                  <a:pt x="26" y="32"/>
                </a:lnTo>
                <a:lnTo>
                  <a:pt x="25" y="44"/>
                </a:lnTo>
                <a:lnTo>
                  <a:pt x="22" y="56"/>
                </a:lnTo>
                <a:lnTo>
                  <a:pt x="18" y="67"/>
                </a:lnTo>
                <a:lnTo>
                  <a:pt x="13" y="80"/>
                </a:lnTo>
                <a:lnTo>
                  <a:pt x="13" y="111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108" name="Freeform 105"/>
          <p:cNvSpPr>
            <a:spLocks/>
          </p:cNvSpPr>
          <p:nvPr userDrawn="1">
            <p:custDataLst>
              <p:tags r:id="rId76"/>
            </p:custDataLst>
          </p:nvPr>
        </p:nvSpPr>
        <p:spPr bwMode="auto">
          <a:xfrm>
            <a:off x="3281372" y="4214822"/>
            <a:ext cx="53975" cy="44054"/>
          </a:xfrm>
          <a:custGeom>
            <a:avLst/>
            <a:gdLst>
              <a:gd name="T0" fmla="*/ 0 w 126"/>
              <a:gd name="T1" fmla="*/ 17052971 h 62"/>
              <a:gd name="T2" fmla="*/ 2018494 w 126"/>
              <a:gd name="T3" fmla="*/ 17951094 h 62"/>
              <a:gd name="T4" fmla="*/ 3853644 w 126"/>
              <a:gd name="T5" fmla="*/ 18848269 h 62"/>
              <a:gd name="T6" fmla="*/ 5321678 w 126"/>
              <a:gd name="T7" fmla="*/ 20643567 h 62"/>
              <a:gd name="T8" fmla="*/ 6605940 w 126"/>
              <a:gd name="T9" fmla="*/ 23336041 h 62"/>
              <a:gd name="T10" fmla="*/ 9175323 w 126"/>
              <a:gd name="T11" fmla="*/ 29619110 h 62"/>
              <a:gd name="T12" fmla="*/ 11193816 w 126"/>
              <a:gd name="T13" fmla="*/ 35901240 h 62"/>
              <a:gd name="T14" fmla="*/ 12845193 w 126"/>
              <a:gd name="T15" fmla="*/ 43082432 h 62"/>
              <a:gd name="T16" fmla="*/ 14496574 w 126"/>
              <a:gd name="T17" fmla="*/ 49364555 h 62"/>
              <a:gd name="T18" fmla="*/ 15414149 w 126"/>
              <a:gd name="T19" fmla="*/ 52057028 h 62"/>
              <a:gd name="T20" fmla="*/ 16331724 w 126"/>
              <a:gd name="T21" fmla="*/ 53852326 h 62"/>
              <a:gd name="T22" fmla="*/ 17432642 w 126"/>
              <a:gd name="T23" fmla="*/ 54750449 h 62"/>
              <a:gd name="T24" fmla="*/ 18350217 w 126"/>
              <a:gd name="T25" fmla="*/ 55647624 h 62"/>
              <a:gd name="T26" fmla="*/ 19267792 w 126"/>
              <a:gd name="T27" fmla="*/ 54750449 h 62"/>
              <a:gd name="T28" fmla="*/ 20002023 w 126"/>
              <a:gd name="T29" fmla="*/ 53852326 h 62"/>
              <a:gd name="T30" fmla="*/ 20735826 w 126"/>
              <a:gd name="T31" fmla="*/ 52057028 h 62"/>
              <a:gd name="T32" fmla="*/ 21470057 w 126"/>
              <a:gd name="T33" fmla="*/ 50262677 h 62"/>
              <a:gd name="T34" fmla="*/ 22387632 w 126"/>
              <a:gd name="T35" fmla="*/ 45774906 h 62"/>
              <a:gd name="T36" fmla="*/ 23121435 w 126"/>
              <a:gd name="T37" fmla="*/ 43979608 h 62"/>
              <a:gd name="T38" fmla="*/ 20185367 w 126"/>
              <a:gd name="T39" fmla="*/ 29619110 h 62"/>
              <a:gd name="T40" fmla="*/ 17616414 w 126"/>
              <a:gd name="T41" fmla="*/ 18848269 h 62"/>
              <a:gd name="T42" fmla="*/ 16331724 w 126"/>
              <a:gd name="T43" fmla="*/ 13463318 h 62"/>
              <a:gd name="T44" fmla="*/ 14863690 w 126"/>
              <a:gd name="T45" fmla="*/ 8077424 h 62"/>
              <a:gd name="T46" fmla="*/ 13212309 w 126"/>
              <a:gd name="T47" fmla="*/ 4487773 h 62"/>
              <a:gd name="T48" fmla="*/ 11193816 w 126"/>
              <a:gd name="T49" fmla="*/ 0 h 62"/>
              <a:gd name="T50" fmla="*/ 0 w 126"/>
              <a:gd name="T51" fmla="*/ 0 h 62"/>
              <a:gd name="T52" fmla="*/ 0 w 126"/>
              <a:gd name="T53" fmla="*/ 8077424 h 62"/>
              <a:gd name="T54" fmla="*/ 0 w 126"/>
              <a:gd name="T55" fmla="*/ 17052971 h 62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126"/>
              <a:gd name="T85" fmla="*/ 0 h 62"/>
              <a:gd name="T86" fmla="*/ 126 w 126"/>
              <a:gd name="T87" fmla="*/ 62 h 62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126" h="62">
                <a:moveTo>
                  <a:pt x="0" y="19"/>
                </a:moveTo>
                <a:lnTo>
                  <a:pt x="11" y="20"/>
                </a:lnTo>
                <a:lnTo>
                  <a:pt x="21" y="21"/>
                </a:lnTo>
                <a:lnTo>
                  <a:pt x="29" y="23"/>
                </a:lnTo>
                <a:lnTo>
                  <a:pt x="36" y="26"/>
                </a:lnTo>
                <a:lnTo>
                  <a:pt x="50" y="33"/>
                </a:lnTo>
                <a:lnTo>
                  <a:pt x="61" y="40"/>
                </a:lnTo>
                <a:lnTo>
                  <a:pt x="70" y="48"/>
                </a:lnTo>
                <a:lnTo>
                  <a:pt x="79" y="55"/>
                </a:lnTo>
                <a:lnTo>
                  <a:pt x="84" y="58"/>
                </a:lnTo>
                <a:lnTo>
                  <a:pt x="89" y="60"/>
                </a:lnTo>
                <a:lnTo>
                  <a:pt x="95" y="61"/>
                </a:lnTo>
                <a:lnTo>
                  <a:pt x="100" y="62"/>
                </a:lnTo>
                <a:lnTo>
                  <a:pt x="105" y="61"/>
                </a:lnTo>
                <a:lnTo>
                  <a:pt x="109" y="60"/>
                </a:lnTo>
                <a:lnTo>
                  <a:pt x="113" y="58"/>
                </a:lnTo>
                <a:lnTo>
                  <a:pt x="117" y="56"/>
                </a:lnTo>
                <a:lnTo>
                  <a:pt x="122" y="51"/>
                </a:lnTo>
                <a:lnTo>
                  <a:pt x="126" y="49"/>
                </a:lnTo>
                <a:lnTo>
                  <a:pt x="110" y="33"/>
                </a:lnTo>
                <a:lnTo>
                  <a:pt x="96" y="21"/>
                </a:lnTo>
                <a:lnTo>
                  <a:pt x="89" y="15"/>
                </a:lnTo>
                <a:lnTo>
                  <a:pt x="81" y="9"/>
                </a:lnTo>
                <a:lnTo>
                  <a:pt x="72" y="5"/>
                </a:lnTo>
                <a:lnTo>
                  <a:pt x="61" y="0"/>
                </a:lnTo>
                <a:lnTo>
                  <a:pt x="0" y="0"/>
                </a:lnTo>
                <a:lnTo>
                  <a:pt x="0" y="9"/>
                </a:lnTo>
                <a:lnTo>
                  <a:pt x="0" y="19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109" name="Freeform 106"/>
          <p:cNvSpPr>
            <a:spLocks/>
          </p:cNvSpPr>
          <p:nvPr userDrawn="1">
            <p:custDataLst>
              <p:tags r:id="rId77"/>
            </p:custDataLst>
          </p:nvPr>
        </p:nvSpPr>
        <p:spPr bwMode="auto">
          <a:xfrm>
            <a:off x="5735647" y="4093379"/>
            <a:ext cx="30163" cy="41672"/>
          </a:xfrm>
          <a:custGeom>
            <a:avLst/>
            <a:gdLst>
              <a:gd name="T0" fmla="*/ 0 w 66"/>
              <a:gd name="T1" fmla="*/ 0 h 44"/>
              <a:gd name="T2" fmla="*/ 2715127 w 66"/>
              <a:gd name="T3" fmla="*/ 1594911 h 44"/>
              <a:gd name="T4" fmla="*/ 4803686 w 66"/>
              <a:gd name="T5" fmla="*/ 3189821 h 44"/>
              <a:gd name="T6" fmla="*/ 6683388 w 66"/>
              <a:gd name="T7" fmla="*/ 6378380 h 44"/>
              <a:gd name="T8" fmla="*/ 7936982 w 66"/>
              <a:gd name="T9" fmla="*/ 11163113 h 44"/>
              <a:gd name="T10" fmla="*/ 9190117 w 66"/>
              <a:gd name="T11" fmla="*/ 14351670 h 44"/>
              <a:gd name="T12" fmla="*/ 10443252 w 66"/>
              <a:gd name="T13" fmla="*/ 17541491 h 44"/>
              <a:gd name="T14" fmla="*/ 11905243 w 66"/>
              <a:gd name="T15" fmla="*/ 19136401 h 44"/>
              <a:gd name="T16" fmla="*/ 13784945 w 66"/>
              <a:gd name="T17" fmla="*/ 20730053 h 44"/>
              <a:gd name="T18" fmla="*/ 13576089 w 66"/>
              <a:gd name="T19" fmla="*/ 27109693 h 44"/>
              <a:gd name="T20" fmla="*/ 12949522 w 66"/>
              <a:gd name="T21" fmla="*/ 33488071 h 44"/>
              <a:gd name="T22" fmla="*/ 12531810 w 66"/>
              <a:gd name="T23" fmla="*/ 39866449 h 44"/>
              <a:gd name="T24" fmla="*/ 11905243 w 66"/>
              <a:gd name="T25" fmla="*/ 44649926 h 44"/>
              <a:gd name="T26" fmla="*/ 10234396 w 66"/>
              <a:gd name="T27" fmla="*/ 54218124 h 44"/>
              <a:gd name="T28" fmla="*/ 8354694 w 66"/>
              <a:gd name="T29" fmla="*/ 62191412 h 44"/>
              <a:gd name="T30" fmla="*/ 6474532 w 66"/>
              <a:gd name="T31" fmla="*/ 66974879 h 44"/>
              <a:gd name="T32" fmla="*/ 4385974 w 66"/>
              <a:gd name="T33" fmla="*/ 70164699 h 44"/>
              <a:gd name="T34" fmla="*/ 2088559 w 66"/>
              <a:gd name="T35" fmla="*/ 70164699 h 44"/>
              <a:gd name="T36" fmla="*/ 0 w 66"/>
              <a:gd name="T37" fmla="*/ 68569789 h 44"/>
              <a:gd name="T38" fmla="*/ 0 w 66"/>
              <a:gd name="T39" fmla="*/ 49434656 h 44"/>
              <a:gd name="T40" fmla="*/ 0 w 66"/>
              <a:gd name="T41" fmla="*/ 35082981 h 44"/>
              <a:gd name="T42" fmla="*/ 0 w 66"/>
              <a:gd name="T43" fmla="*/ 19136401 h 44"/>
              <a:gd name="T44" fmla="*/ 0 w 66"/>
              <a:gd name="T45" fmla="*/ 0 h 4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66"/>
              <a:gd name="T70" fmla="*/ 0 h 44"/>
              <a:gd name="T71" fmla="*/ 66 w 66"/>
              <a:gd name="T72" fmla="*/ 44 h 44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66" h="44">
                <a:moveTo>
                  <a:pt x="0" y="0"/>
                </a:moveTo>
                <a:lnTo>
                  <a:pt x="13" y="1"/>
                </a:lnTo>
                <a:lnTo>
                  <a:pt x="23" y="2"/>
                </a:lnTo>
                <a:lnTo>
                  <a:pt x="32" y="4"/>
                </a:lnTo>
                <a:lnTo>
                  <a:pt x="38" y="7"/>
                </a:lnTo>
                <a:lnTo>
                  <a:pt x="44" y="9"/>
                </a:lnTo>
                <a:lnTo>
                  <a:pt x="50" y="11"/>
                </a:lnTo>
                <a:lnTo>
                  <a:pt x="57" y="12"/>
                </a:lnTo>
                <a:lnTo>
                  <a:pt x="66" y="13"/>
                </a:lnTo>
                <a:lnTo>
                  <a:pt x="65" y="17"/>
                </a:lnTo>
                <a:lnTo>
                  <a:pt x="62" y="21"/>
                </a:lnTo>
                <a:lnTo>
                  <a:pt x="60" y="25"/>
                </a:lnTo>
                <a:lnTo>
                  <a:pt x="57" y="28"/>
                </a:lnTo>
                <a:lnTo>
                  <a:pt x="49" y="34"/>
                </a:lnTo>
                <a:lnTo>
                  <a:pt x="40" y="39"/>
                </a:lnTo>
                <a:lnTo>
                  <a:pt x="31" y="42"/>
                </a:lnTo>
                <a:lnTo>
                  <a:pt x="21" y="44"/>
                </a:lnTo>
                <a:lnTo>
                  <a:pt x="10" y="44"/>
                </a:lnTo>
                <a:lnTo>
                  <a:pt x="0" y="43"/>
                </a:lnTo>
                <a:lnTo>
                  <a:pt x="0" y="31"/>
                </a:lnTo>
                <a:lnTo>
                  <a:pt x="0" y="22"/>
                </a:lnTo>
                <a:lnTo>
                  <a:pt x="0" y="12"/>
                </a:lnTo>
                <a:lnTo>
                  <a:pt x="0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110" name="Freeform 107"/>
          <p:cNvSpPr>
            <a:spLocks/>
          </p:cNvSpPr>
          <p:nvPr userDrawn="1">
            <p:custDataLst>
              <p:tags r:id="rId78"/>
            </p:custDataLst>
          </p:nvPr>
        </p:nvSpPr>
        <p:spPr bwMode="auto">
          <a:xfrm>
            <a:off x="7699375" y="1671649"/>
            <a:ext cx="20637" cy="42863"/>
          </a:xfrm>
          <a:custGeom>
            <a:avLst/>
            <a:gdLst>
              <a:gd name="T0" fmla="*/ 9258387 w 46"/>
              <a:gd name="T1" fmla="*/ 0 h 16"/>
              <a:gd name="T2" fmla="*/ 8050674 w 46"/>
              <a:gd name="T3" fmla="*/ 89307576 h 16"/>
              <a:gd name="T4" fmla="*/ 7044395 w 46"/>
              <a:gd name="T5" fmla="*/ 165856420 h 16"/>
              <a:gd name="T6" fmla="*/ 6239552 w 46"/>
              <a:gd name="T7" fmla="*/ 178615152 h 16"/>
              <a:gd name="T8" fmla="*/ 5836682 w 46"/>
              <a:gd name="T9" fmla="*/ 191373883 h 16"/>
              <a:gd name="T10" fmla="*/ 5232825 w 46"/>
              <a:gd name="T11" fmla="*/ 204132615 h 16"/>
              <a:gd name="T12" fmla="*/ 4629418 w 46"/>
              <a:gd name="T13" fmla="*/ 204132615 h 16"/>
              <a:gd name="T14" fmla="*/ 3220269 w 46"/>
              <a:gd name="T15" fmla="*/ 178615152 h 16"/>
              <a:gd name="T16" fmla="*/ 2213991 w 46"/>
              <a:gd name="T17" fmla="*/ 140342530 h 16"/>
              <a:gd name="T18" fmla="*/ 1006278 w 46"/>
              <a:gd name="T19" fmla="*/ 76548845 h 16"/>
              <a:gd name="T20" fmla="*/ 0 w 46"/>
              <a:gd name="T21" fmla="*/ 0 h 16"/>
              <a:gd name="T22" fmla="*/ 9258387 w 46"/>
              <a:gd name="T23" fmla="*/ 0 h 1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46"/>
              <a:gd name="T37" fmla="*/ 0 h 16"/>
              <a:gd name="T38" fmla="*/ 46 w 46"/>
              <a:gd name="T39" fmla="*/ 16 h 1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46" h="16">
                <a:moveTo>
                  <a:pt x="46" y="0"/>
                </a:moveTo>
                <a:lnTo>
                  <a:pt x="40" y="7"/>
                </a:lnTo>
                <a:lnTo>
                  <a:pt x="35" y="13"/>
                </a:lnTo>
                <a:lnTo>
                  <a:pt x="31" y="14"/>
                </a:lnTo>
                <a:lnTo>
                  <a:pt x="29" y="15"/>
                </a:lnTo>
                <a:lnTo>
                  <a:pt x="26" y="16"/>
                </a:lnTo>
                <a:lnTo>
                  <a:pt x="23" y="16"/>
                </a:lnTo>
                <a:lnTo>
                  <a:pt x="16" y="14"/>
                </a:lnTo>
                <a:lnTo>
                  <a:pt x="11" y="11"/>
                </a:lnTo>
                <a:lnTo>
                  <a:pt x="5" y="6"/>
                </a:lnTo>
                <a:lnTo>
                  <a:pt x="0" y="0"/>
                </a:lnTo>
                <a:lnTo>
                  <a:pt x="46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111" name="Freeform 108"/>
          <p:cNvSpPr>
            <a:spLocks/>
          </p:cNvSpPr>
          <p:nvPr userDrawn="1">
            <p:custDataLst>
              <p:tags r:id="rId79"/>
            </p:custDataLst>
          </p:nvPr>
        </p:nvSpPr>
        <p:spPr bwMode="auto">
          <a:xfrm>
            <a:off x="7875597" y="1696653"/>
            <a:ext cx="15875" cy="42863"/>
          </a:xfrm>
          <a:custGeom>
            <a:avLst/>
            <a:gdLst>
              <a:gd name="T0" fmla="*/ 6461938 w 39"/>
              <a:gd name="T1" fmla="*/ 120788722 h 26"/>
              <a:gd name="T2" fmla="*/ 5964929 w 39"/>
              <a:gd name="T3" fmla="*/ 125620094 h 26"/>
              <a:gd name="T4" fmla="*/ 5302250 w 39"/>
              <a:gd name="T5" fmla="*/ 125620094 h 26"/>
              <a:gd name="T6" fmla="*/ 4639163 w 39"/>
              <a:gd name="T7" fmla="*/ 125620094 h 26"/>
              <a:gd name="T8" fmla="*/ 4142154 w 39"/>
              <a:gd name="T9" fmla="*/ 120788722 h 26"/>
              <a:gd name="T10" fmla="*/ 2982464 w 39"/>
              <a:gd name="T11" fmla="*/ 106294607 h 26"/>
              <a:gd name="T12" fmla="*/ 1988446 w 39"/>
              <a:gd name="T13" fmla="*/ 86966922 h 26"/>
              <a:gd name="T14" fmla="*/ 1159689 w 39"/>
              <a:gd name="T15" fmla="*/ 62810047 h 26"/>
              <a:gd name="T16" fmla="*/ 497010 w 39"/>
              <a:gd name="T17" fmla="*/ 33821808 h 26"/>
              <a:gd name="T18" fmla="*/ 165670 w 39"/>
              <a:gd name="T19" fmla="*/ 14494119 h 26"/>
              <a:gd name="T20" fmla="*/ 0 w 39"/>
              <a:gd name="T21" fmla="*/ 0 h 26"/>
              <a:gd name="T22" fmla="*/ 1822776 w 39"/>
              <a:gd name="T23" fmla="*/ 28988239 h 26"/>
              <a:gd name="T24" fmla="*/ 3645144 w 39"/>
              <a:gd name="T25" fmla="*/ 62810047 h 26"/>
              <a:gd name="T26" fmla="*/ 5467919 w 39"/>
              <a:gd name="T27" fmla="*/ 96631864 h 26"/>
              <a:gd name="T28" fmla="*/ 6461938 w 39"/>
              <a:gd name="T29" fmla="*/ 120788722 h 2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39"/>
              <a:gd name="T46" fmla="*/ 0 h 26"/>
              <a:gd name="T47" fmla="*/ 39 w 39"/>
              <a:gd name="T48" fmla="*/ 26 h 2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39" h="26">
                <a:moveTo>
                  <a:pt x="39" y="25"/>
                </a:moveTo>
                <a:lnTo>
                  <a:pt x="36" y="26"/>
                </a:lnTo>
                <a:lnTo>
                  <a:pt x="32" y="26"/>
                </a:lnTo>
                <a:lnTo>
                  <a:pt x="28" y="26"/>
                </a:lnTo>
                <a:lnTo>
                  <a:pt x="25" y="25"/>
                </a:lnTo>
                <a:lnTo>
                  <a:pt x="18" y="22"/>
                </a:lnTo>
                <a:lnTo>
                  <a:pt x="12" y="18"/>
                </a:lnTo>
                <a:lnTo>
                  <a:pt x="7" y="13"/>
                </a:lnTo>
                <a:lnTo>
                  <a:pt x="3" y="7"/>
                </a:lnTo>
                <a:lnTo>
                  <a:pt x="1" y="3"/>
                </a:lnTo>
                <a:lnTo>
                  <a:pt x="0" y="0"/>
                </a:lnTo>
                <a:lnTo>
                  <a:pt x="11" y="6"/>
                </a:lnTo>
                <a:lnTo>
                  <a:pt x="22" y="13"/>
                </a:lnTo>
                <a:lnTo>
                  <a:pt x="33" y="20"/>
                </a:lnTo>
                <a:lnTo>
                  <a:pt x="39" y="25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112" name="Freeform 109"/>
          <p:cNvSpPr>
            <a:spLocks/>
          </p:cNvSpPr>
          <p:nvPr userDrawn="1">
            <p:custDataLst>
              <p:tags r:id="rId80"/>
            </p:custDataLst>
          </p:nvPr>
        </p:nvSpPr>
        <p:spPr bwMode="auto">
          <a:xfrm>
            <a:off x="7324728" y="1869292"/>
            <a:ext cx="4762" cy="44054"/>
          </a:xfrm>
          <a:custGeom>
            <a:avLst/>
            <a:gdLst>
              <a:gd name="T0" fmla="*/ 2061513 w 11"/>
              <a:gd name="T1" fmla="*/ 0 h 25"/>
              <a:gd name="T2" fmla="*/ 2061513 w 11"/>
              <a:gd name="T3" fmla="*/ 27602162 h 25"/>
              <a:gd name="T4" fmla="*/ 1874064 w 11"/>
              <a:gd name="T5" fmla="*/ 66242365 h 25"/>
              <a:gd name="T6" fmla="*/ 1686614 w 11"/>
              <a:gd name="T7" fmla="*/ 110403948 h 25"/>
              <a:gd name="T8" fmla="*/ 749798 w 11"/>
              <a:gd name="T9" fmla="*/ 138006100 h 25"/>
              <a:gd name="T10" fmla="*/ 374899 w 11"/>
              <a:gd name="T11" fmla="*/ 126965709 h 25"/>
              <a:gd name="T12" fmla="*/ 187450 w 11"/>
              <a:gd name="T13" fmla="*/ 110403948 h 25"/>
              <a:gd name="T14" fmla="*/ 0 w 11"/>
              <a:gd name="T15" fmla="*/ 82804145 h 25"/>
              <a:gd name="T16" fmla="*/ 0 w 11"/>
              <a:gd name="T17" fmla="*/ 66242365 h 25"/>
              <a:gd name="T18" fmla="*/ 187450 w 11"/>
              <a:gd name="T19" fmla="*/ 49682953 h 25"/>
              <a:gd name="T20" fmla="*/ 562349 w 11"/>
              <a:gd name="T21" fmla="*/ 27602162 h 25"/>
              <a:gd name="T22" fmla="*/ 1124265 w 11"/>
              <a:gd name="T23" fmla="*/ 11040396 h 25"/>
              <a:gd name="T24" fmla="*/ 2061513 w 11"/>
              <a:gd name="T25" fmla="*/ 0 h 2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1"/>
              <a:gd name="T40" fmla="*/ 0 h 25"/>
              <a:gd name="T41" fmla="*/ 11 w 11"/>
              <a:gd name="T42" fmla="*/ 25 h 25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1" h="25">
                <a:moveTo>
                  <a:pt x="11" y="0"/>
                </a:moveTo>
                <a:lnTo>
                  <a:pt x="11" y="5"/>
                </a:lnTo>
                <a:lnTo>
                  <a:pt x="10" y="12"/>
                </a:lnTo>
                <a:lnTo>
                  <a:pt x="9" y="20"/>
                </a:lnTo>
                <a:lnTo>
                  <a:pt x="4" y="25"/>
                </a:lnTo>
                <a:lnTo>
                  <a:pt x="2" y="23"/>
                </a:lnTo>
                <a:lnTo>
                  <a:pt x="1" y="20"/>
                </a:lnTo>
                <a:lnTo>
                  <a:pt x="0" y="15"/>
                </a:lnTo>
                <a:lnTo>
                  <a:pt x="0" y="12"/>
                </a:lnTo>
                <a:lnTo>
                  <a:pt x="1" y="9"/>
                </a:lnTo>
                <a:lnTo>
                  <a:pt x="3" y="5"/>
                </a:lnTo>
                <a:lnTo>
                  <a:pt x="6" y="2"/>
                </a:lnTo>
                <a:lnTo>
                  <a:pt x="11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113" name="Freeform 110"/>
          <p:cNvSpPr>
            <a:spLocks/>
          </p:cNvSpPr>
          <p:nvPr userDrawn="1">
            <p:custDataLst>
              <p:tags r:id="rId81"/>
            </p:custDataLst>
          </p:nvPr>
        </p:nvSpPr>
        <p:spPr bwMode="auto">
          <a:xfrm>
            <a:off x="7177087" y="2290772"/>
            <a:ext cx="14288" cy="44054"/>
          </a:xfrm>
          <a:custGeom>
            <a:avLst/>
            <a:gdLst>
              <a:gd name="T0" fmla="*/ 10207346 w 20"/>
              <a:gd name="T1" fmla="*/ 0 h 31"/>
              <a:gd name="T2" fmla="*/ 8165592 w 20"/>
              <a:gd name="T3" fmla="*/ 43081485 h 31"/>
              <a:gd name="T4" fmla="*/ 5103673 w 20"/>
              <a:gd name="T5" fmla="*/ 71802480 h 31"/>
              <a:gd name="T6" fmla="*/ 2551837 w 20"/>
              <a:gd name="T7" fmla="*/ 93344163 h 31"/>
              <a:gd name="T8" fmla="*/ 0 w 20"/>
              <a:gd name="T9" fmla="*/ 111295249 h 31"/>
              <a:gd name="T10" fmla="*/ 0 w 20"/>
              <a:gd name="T11" fmla="*/ 89753566 h 31"/>
              <a:gd name="T12" fmla="*/ 510082 w 20"/>
              <a:gd name="T13" fmla="*/ 68213779 h 31"/>
              <a:gd name="T14" fmla="*/ 1020878 w 20"/>
              <a:gd name="T15" fmla="*/ 46672081 h 31"/>
              <a:gd name="T16" fmla="*/ 2551837 w 20"/>
              <a:gd name="T17" fmla="*/ 32311591 h 31"/>
              <a:gd name="T18" fmla="*/ 4082796 w 20"/>
              <a:gd name="T19" fmla="*/ 21541690 h 31"/>
              <a:gd name="T20" fmla="*/ 5613754 w 20"/>
              <a:gd name="T21" fmla="*/ 10769898 h 31"/>
              <a:gd name="T22" fmla="*/ 8165592 w 20"/>
              <a:gd name="T23" fmla="*/ 0 h 31"/>
              <a:gd name="T24" fmla="*/ 10207346 w 20"/>
              <a:gd name="T25" fmla="*/ 0 h 3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0"/>
              <a:gd name="T40" fmla="*/ 0 h 31"/>
              <a:gd name="T41" fmla="*/ 20 w 20"/>
              <a:gd name="T42" fmla="*/ 31 h 31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0" h="31">
                <a:moveTo>
                  <a:pt x="20" y="0"/>
                </a:moveTo>
                <a:lnTo>
                  <a:pt x="16" y="12"/>
                </a:lnTo>
                <a:lnTo>
                  <a:pt x="10" y="20"/>
                </a:lnTo>
                <a:lnTo>
                  <a:pt x="5" y="26"/>
                </a:lnTo>
                <a:lnTo>
                  <a:pt x="0" y="31"/>
                </a:lnTo>
                <a:lnTo>
                  <a:pt x="0" y="25"/>
                </a:lnTo>
                <a:lnTo>
                  <a:pt x="1" y="19"/>
                </a:lnTo>
                <a:lnTo>
                  <a:pt x="2" y="13"/>
                </a:lnTo>
                <a:lnTo>
                  <a:pt x="5" y="9"/>
                </a:lnTo>
                <a:lnTo>
                  <a:pt x="8" y="6"/>
                </a:lnTo>
                <a:lnTo>
                  <a:pt x="11" y="3"/>
                </a:lnTo>
                <a:lnTo>
                  <a:pt x="16" y="0"/>
                </a:lnTo>
                <a:lnTo>
                  <a:pt x="20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114" name="Freeform 111"/>
          <p:cNvSpPr>
            <a:spLocks/>
          </p:cNvSpPr>
          <p:nvPr userDrawn="1">
            <p:custDataLst>
              <p:tags r:id="rId82"/>
            </p:custDataLst>
          </p:nvPr>
        </p:nvSpPr>
        <p:spPr bwMode="auto">
          <a:xfrm>
            <a:off x="7194560" y="2241959"/>
            <a:ext cx="15875" cy="42863"/>
          </a:xfrm>
          <a:custGeom>
            <a:avLst/>
            <a:gdLst>
              <a:gd name="T0" fmla="*/ 4846759 w 26"/>
              <a:gd name="T1" fmla="*/ 88273569 h 37"/>
              <a:gd name="T2" fmla="*/ 0 w 26"/>
              <a:gd name="T3" fmla="*/ 28629061 h 37"/>
              <a:gd name="T4" fmla="*/ 2236543 w 26"/>
              <a:gd name="T5" fmla="*/ 16700156 h 37"/>
              <a:gd name="T6" fmla="*/ 4846759 w 26"/>
              <a:gd name="T7" fmla="*/ 9542504 h 37"/>
              <a:gd name="T8" fmla="*/ 7828817 w 26"/>
              <a:gd name="T9" fmla="*/ 2386398 h 37"/>
              <a:gd name="T10" fmla="*/ 9692908 w 26"/>
              <a:gd name="T11" fmla="*/ 0 h 37"/>
              <a:gd name="T12" fmla="*/ 9692908 w 26"/>
              <a:gd name="T13" fmla="*/ 14315303 h 37"/>
              <a:gd name="T14" fmla="*/ 9319846 w 26"/>
              <a:gd name="T15" fmla="*/ 26244208 h 37"/>
              <a:gd name="T16" fmla="*/ 8947394 w 26"/>
              <a:gd name="T17" fmla="*/ 40557960 h 37"/>
              <a:gd name="T18" fmla="*/ 8574332 w 26"/>
              <a:gd name="T19" fmla="*/ 50100462 h 37"/>
              <a:gd name="T20" fmla="*/ 6710241 w 26"/>
              <a:gd name="T21" fmla="*/ 69187021 h 37"/>
              <a:gd name="T22" fmla="*/ 4846759 w 26"/>
              <a:gd name="T23" fmla="*/ 88273569 h 37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26"/>
              <a:gd name="T37" fmla="*/ 0 h 37"/>
              <a:gd name="T38" fmla="*/ 26 w 26"/>
              <a:gd name="T39" fmla="*/ 37 h 37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26" h="37">
                <a:moveTo>
                  <a:pt x="13" y="37"/>
                </a:moveTo>
                <a:lnTo>
                  <a:pt x="0" y="12"/>
                </a:lnTo>
                <a:lnTo>
                  <a:pt x="6" y="7"/>
                </a:lnTo>
                <a:lnTo>
                  <a:pt x="13" y="4"/>
                </a:lnTo>
                <a:lnTo>
                  <a:pt x="21" y="1"/>
                </a:lnTo>
                <a:lnTo>
                  <a:pt x="26" y="0"/>
                </a:lnTo>
                <a:lnTo>
                  <a:pt x="26" y="6"/>
                </a:lnTo>
                <a:lnTo>
                  <a:pt x="25" y="11"/>
                </a:lnTo>
                <a:lnTo>
                  <a:pt x="24" y="17"/>
                </a:lnTo>
                <a:lnTo>
                  <a:pt x="23" y="21"/>
                </a:lnTo>
                <a:lnTo>
                  <a:pt x="18" y="29"/>
                </a:lnTo>
                <a:lnTo>
                  <a:pt x="13" y="37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115" name="Freeform 112"/>
          <p:cNvSpPr>
            <a:spLocks/>
          </p:cNvSpPr>
          <p:nvPr userDrawn="1">
            <p:custDataLst>
              <p:tags r:id="rId83"/>
            </p:custDataLst>
          </p:nvPr>
        </p:nvSpPr>
        <p:spPr bwMode="auto">
          <a:xfrm>
            <a:off x="7083429" y="2128849"/>
            <a:ext cx="1587" cy="45244"/>
          </a:xfrm>
          <a:custGeom>
            <a:avLst/>
            <a:gdLst>
              <a:gd name="T0" fmla="*/ 0 w 7"/>
              <a:gd name="T1" fmla="*/ 202172501 h 18"/>
              <a:gd name="T2" fmla="*/ 0 w 7"/>
              <a:gd name="T3" fmla="*/ 0 h 18"/>
              <a:gd name="T4" fmla="*/ 359796 w 7"/>
              <a:gd name="T5" fmla="*/ 134782802 h 18"/>
              <a:gd name="T6" fmla="*/ 0 w 7"/>
              <a:gd name="T7" fmla="*/ 202172501 h 18"/>
              <a:gd name="T8" fmla="*/ 0 60000 65536"/>
              <a:gd name="T9" fmla="*/ 0 60000 65536"/>
              <a:gd name="T10" fmla="*/ 0 60000 65536"/>
              <a:gd name="T11" fmla="*/ 0 60000 65536"/>
              <a:gd name="T12" fmla="*/ 0 w 7"/>
              <a:gd name="T13" fmla="*/ 0 h 18"/>
              <a:gd name="T14" fmla="*/ 7 w 7"/>
              <a:gd name="T15" fmla="*/ 18 h 1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7" h="18">
                <a:moveTo>
                  <a:pt x="0" y="18"/>
                </a:moveTo>
                <a:lnTo>
                  <a:pt x="0" y="0"/>
                </a:lnTo>
                <a:lnTo>
                  <a:pt x="7" y="12"/>
                </a:lnTo>
                <a:lnTo>
                  <a:pt x="0" y="18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116" name="Freeform 113"/>
          <p:cNvSpPr>
            <a:spLocks/>
          </p:cNvSpPr>
          <p:nvPr userDrawn="1">
            <p:custDataLst>
              <p:tags r:id="rId84"/>
            </p:custDataLst>
          </p:nvPr>
        </p:nvSpPr>
        <p:spPr bwMode="auto">
          <a:xfrm>
            <a:off x="3897315" y="1473999"/>
            <a:ext cx="9525" cy="42863"/>
          </a:xfrm>
          <a:custGeom>
            <a:avLst/>
            <a:gdLst>
              <a:gd name="T0" fmla="*/ 0 w 33"/>
              <a:gd name="T1" fmla="*/ 40784825 h 31"/>
              <a:gd name="T2" fmla="*/ 1582882 w 33"/>
              <a:gd name="T3" fmla="*/ 0 h 31"/>
              <a:gd name="T4" fmla="*/ 1999384 w 33"/>
              <a:gd name="T5" fmla="*/ 16993832 h 31"/>
              <a:gd name="T6" fmla="*/ 2332759 w 33"/>
              <a:gd name="T7" fmla="*/ 40784825 h 31"/>
              <a:gd name="T8" fmla="*/ 2665845 w 33"/>
              <a:gd name="T9" fmla="*/ 74770646 h 31"/>
              <a:gd name="T10" fmla="*/ 2749261 w 33"/>
              <a:gd name="T11" fmla="*/ 105358793 h 31"/>
              <a:gd name="T12" fmla="*/ 2249343 w 33"/>
              <a:gd name="T13" fmla="*/ 101959291 h 31"/>
              <a:gd name="T14" fmla="*/ 1832841 w 33"/>
              <a:gd name="T15" fmla="*/ 95162130 h 31"/>
              <a:gd name="T16" fmla="*/ 1332923 w 33"/>
              <a:gd name="T17" fmla="*/ 84967310 h 31"/>
              <a:gd name="T18" fmla="*/ 916420 w 33"/>
              <a:gd name="T19" fmla="*/ 74770646 h 31"/>
              <a:gd name="T20" fmla="*/ 249959 w 33"/>
              <a:gd name="T21" fmla="*/ 50979645 h 31"/>
              <a:gd name="T22" fmla="*/ 0 w 33"/>
              <a:gd name="T23" fmla="*/ 40784825 h 3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33"/>
              <a:gd name="T37" fmla="*/ 0 h 31"/>
              <a:gd name="T38" fmla="*/ 33 w 33"/>
              <a:gd name="T39" fmla="*/ 31 h 31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33" h="31">
                <a:moveTo>
                  <a:pt x="0" y="12"/>
                </a:moveTo>
                <a:lnTo>
                  <a:pt x="19" y="0"/>
                </a:lnTo>
                <a:lnTo>
                  <a:pt x="24" y="5"/>
                </a:lnTo>
                <a:lnTo>
                  <a:pt x="28" y="12"/>
                </a:lnTo>
                <a:lnTo>
                  <a:pt x="32" y="22"/>
                </a:lnTo>
                <a:lnTo>
                  <a:pt x="33" y="31"/>
                </a:lnTo>
                <a:lnTo>
                  <a:pt x="27" y="30"/>
                </a:lnTo>
                <a:lnTo>
                  <a:pt x="22" y="28"/>
                </a:lnTo>
                <a:lnTo>
                  <a:pt x="16" y="25"/>
                </a:lnTo>
                <a:lnTo>
                  <a:pt x="11" y="22"/>
                </a:lnTo>
                <a:lnTo>
                  <a:pt x="3" y="15"/>
                </a:lnTo>
                <a:lnTo>
                  <a:pt x="0" y="12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117" name="Freeform 114"/>
          <p:cNvSpPr>
            <a:spLocks/>
          </p:cNvSpPr>
          <p:nvPr userDrawn="1">
            <p:custDataLst>
              <p:tags r:id="rId85"/>
            </p:custDataLst>
          </p:nvPr>
        </p:nvSpPr>
        <p:spPr bwMode="auto">
          <a:xfrm>
            <a:off x="3883035" y="1300166"/>
            <a:ext cx="3175" cy="42863"/>
          </a:xfrm>
          <a:custGeom>
            <a:avLst/>
            <a:gdLst>
              <a:gd name="T0" fmla="*/ 720045 w 14"/>
              <a:gd name="T1" fmla="*/ 0 h 6"/>
              <a:gd name="T2" fmla="*/ 0 w 14"/>
              <a:gd name="T3" fmla="*/ 544353726 h 6"/>
              <a:gd name="T4" fmla="*/ 720045 w 14"/>
              <a:gd name="T5" fmla="*/ 0 h 6"/>
              <a:gd name="T6" fmla="*/ 0 60000 65536"/>
              <a:gd name="T7" fmla="*/ 0 60000 65536"/>
              <a:gd name="T8" fmla="*/ 0 60000 65536"/>
              <a:gd name="T9" fmla="*/ 0 w 14"/>
              <a:gd name="T10" fmla="*/ 0 h 6"/>
              <a:gd name="T11" fmla="*/ 14 w 14"/>
              <a:gd name="T12" fmla="*/ 6 h 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4" h="6">
                <a:moveTo>
                  <a:pt x="14" y="0"/>
                </a:moveTo>
                <a:lnTo>
                  <a:pt x="0" y="6"/>
                </a:lnTo>
                <a:lnTo>
                  <a:pt x="14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118" name="Freeform 115"/>
          <p:cNvSpPr>
            <a:spLocks/>
          </p:cNvSpPr>
          <p:nvPr userDrawn="1">
            <p:custDataLst>
              <p:tags r:id="rId86"/>
            </p:custDataLst>
          </p:nvPr>
        </p:nvSpPr>
        <p:spPr bwMode="auto">
          <a:xfrm>
            <a:off x="5402263" y="2633664"/>
            <a:ext cx="25400" cy="41672"/>
          </a:xfrm>
          <a:custGeom>
            <a:avLst/>
            <a:gdLst>
              <a:gd name="T0" fmla="*/ 10934916 w 59"/>
              <a:gd name="T1" fmla="*/ 19274986 h 31"/>
              <a:gd name="T2" fmla="*/ 10564248 w 59"/>
              <a:gd name="T3" fmla="*/ 35338073 h 31"/>
              <a:gd name="T4" fmla="*/ 9822913 w 59"/>
              <a:gd name="T5" fmla="*/ 48187462 h 31"/>
              <a:gd name="T6" fmla="*/ 9081577 w 59"/>
              <a:gd name="T7" fmla="*/ 61038657 h 31"/>
              <a:gd name="T8" fmla="*/ 8340242 w 59"/>
              <a:gd name="T9" fmla="*/ 77101737 h 31"/>
              <a:gd name="T10" fmla="*/ 7413357 w 59"/>
              <a:gd name="T11" fmla="*/ 86739227 h 31"/>
              <a:gd name="T12" fmla="*/ 6672020 w 59"/>
              <a:gd name="T13" fmla="*/ 93163025 h 31"/>
              <a:gd name="T14" fmla="*/ 5560017 w 59"/>
              <a:gd name="T15" fmla="*/ 99588615 h 31"/>
              <a:gd name="T16" fmla="*/ 4818682 w 59"/>
              <a:gd name="T17" fmla="*/ 99588615 h 31"/>
              <a:gd name="T18" fmla="*/ 3892228 w 59"/>
              <a:gd name="T19" fmla="*/ 99588615 h 31"/>
              <a:gd name="T20" fmla="*/ 3150892 w 59"/>
              <a:gd name="T21" fmla="*/ 96376716 h 31"/>
              <a:gd name="T22" fmla="*/ 2594675 w 59"/>
              <a:gd name="T23" fmla="*/ 93163025 h 31"/>
              <a:gd name="T24" fmla="*/ 2038888 w 59"/>
              <a:gd name="T25" fmla="*/ 86739227 h 31"/>
              <a:gd name="T26" fmla="*/ 741336 w 59"/>
              <a:gd name="T27" fmla="*/ 64250556 h 31"/>
              <a:gd name="T28" fmla="*/ 0 w 59"/>
              <a:gd name="T29" fmla="*/ 38549972 h 31"/>
              <a:gd name="T30" fmla="*/ 185549 w 59"/>
              <a:gd name="T31" fmla="*/ 28912476 h 31"/>
              <a:gd name="T32" fmla="*/ 556217 w 59"/>
              <a:gd name="T33" fmla="*/ 19274986 h 31"/>
              <a:gd name="T34" fmla="*/ 926885 w 59"/>
              <a:gd name="T35" fmla="*/ 12849392 h 31"/>
              <a:gd name="T36" fmla="*/ 1482671 w 59"/>
              <a:gd name="T37" fmla="*/ 9637493 h 31"/>
              <a:gd name="T38" fmla="*/ 2965342 w 59"/>
              <a:gd name="T39" fmla="*/ 3211900 h 31"/>
              <a:gd name="T40" fmla="*/ 4448014 w 59"/>
              <a:gd name="T41" fmla="*/ 0 h 31"/>
              <a:gd name="T42" fmla="*/ 6301353 w 59"/>
              <a:gd name="T43" fmla="*/ 0 h 31"/>
              <a:gd name="T44" fmla="*/ 7784025 w 59"/>
              <a:gd name="T45" fmla="*/ 6425592 h 31"/>
              <a:gd name="T46" fmla="*/ 9452245 w 59"/>
              <a:gd name="T47" fmla="*/ 12849392 h 31"/>
              <a:gd name="T48" fmla="*/ 10934916 w 59"/>
              <a:gd name="T49" fmla="*/ 19274986 h 3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59"/>
              <a:gd name="T76" fmla="*/ 0 h 31"/>
              <a:gd name="T77" fmla="*/ 59 w 59"/>
              <a:gd name="T78" fmla="*/ 31 h 31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119" name="Freeform 116"/>
          <p:cNvSpPr>
            <a:spLocks/>
          </p:cNvSpPr>
          <p:nvPr userDrawn="1">
            <p:custDataLst>
              <p:tags r:id="rId87"/>
            </p:custDataLst>
          </p:nvPr>
        </p:nvSpPr>
        <p:spPr bwMode="auto">
          <a:xfrm>
            <a:off x="5105402" y="2530091"/>
            <a:ext cx="19050" cy="44053"/>
          </a:xfrm>
          <a:custGeom>
            <a:avLst/>
            <a:gdLst>
              <a:gd name="T0" fmla="*/ 2299781 w 47"/>
              <a:gd name="T1" fmla="*/ 0 h 68"/>
              <a:gd name="T2" fmla="*/ 1314450 w 47"/>
              <a:gd name="T3" fmla="*/ 7461327 h 68"/>
              <a:gd name="T4" fmla="*/ 657022 w 47"/>
              <a:gd name="T5" fmla="*/ 14176348 h 68"/>
              <a:gd name="T6" fmla="*/ 328714 w 47"/>
              <a:gd name="T7" fmla="*/ 20891366 h 68"/>
              <a:gd name="T8" fmla="*/ 0 w 47"/>
              <a:gd name="T9" fmla="*/ 27606384 h 68"/>
              <a:gd name="T10" fmla="*/ 0 w 47"/>
              <a:gd name="T11" fmla="*/ 31337053 h 68"/>
              <a:gd name="T12" fmla="*/ 328714 w 47"/>
              <a:gd name="T13" fmla="*/ 35067714 h 68"/>
              <a:gd name="T14" fmla="*/ 492868 w 47"/>
              <a:gd name="T15" fmla="*/ 38052071 h 68"/>
              <a:gd name="T16" fmla="*/ 821582 w 47"/>
              <a:gd name="T17" fmla="*/ 41036427 h 68"/>
              <a:gd name="T18" fmla="*/ 1149890 w 47"/>
              <a:gd name="T19" fmla="*/ 43274479 h 68"/>
              <a:gd name="T20" fmla="*/ 1478604 w 47"/>
              <a:gd name="T21" fmla="*/ 44767089 h 68"/>
              <a:gd name="T22" fmla="*/ 2135627 w 47"/>
              <a:gd name="T23" fmla="*/ 46258835 h 68"/>
              <a:gd name="T24" fmla="*/ 2628495 w 47"/>
              <a:gd name="T25" fmla="*/ 47751446 h 68"/>
              <a:gd name="T26" fmla="*/ 3614231 w 47"/>
              <a:gd name="T27" fmla="*/ 49989497 h 68"/>
              <a:gd name="T28" fmla="*/ 5092835 w 47"/>
              <a:gd name="T29" fmla="*/ 50735802 h 68"/>
              <a:gd name="T30" fmla="*/ 6406879 w 47"/>
              <a:gd name="T31" fmla="*/ 50735802 h 68"/>
              <a:gd name="T32" fmla="*/ 7721330 w 47"/>
              <a:gd name="T33" fmla="*/ 50735802 h 68"/>
              <a:gd name="T34" fmla="*/ 6735595 w 47"/>
              <a:gd name="T35" fmla="*/ 43274479 h 68"/>
              <a:gd name="T36" fmla="*/ 6242725 w 47"/>
              <a:gd name="T37" fmla="*/ 35813156 h 68"/>
              <a:gd name="T38" fmla="*/ 5914011 w 47"/>
              <a:gd name="T39" fmla="*/ 32083358 h 68"/>
              <a:gd name="T40" fmla="*/ 5749857 w 47"/>
              <a:gd name="T41" fmla="*/ 28352696 h 68"/>
              <a:gd name="T42" fmla="*/ 5421549 w 47"/>
              <a:gd name="T43" fmla="*/ 23129418 h 68"/>
              <a:gd name="T44" fmla="*/ 5421549 w 47"/>
              <a:gd name="T45" fmla="*/ 18652451 h 68"/>
              <a:gd name="T46" fmla="*/ 3942945 w 47"/>
              <a:gd name="T47" fmla="*/ 9699378 h 68"/>
              <a:gd name="T48" fmla="*/ 2299781 w 47"/>
              <a:gd name="T49" fmla="*/ 0 h 68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47"/>
              <a:gd name="T76" fmla="*/ 0 h 68"/>
              <a:gd name="T77" fmla="*/ 47 w 47"/>
              <a:gd name="T78" fmla="*/ 68 h 68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47" h="68">
                <a:moveTo>
                  <a:pt x="14" y="0"/>
                </a:moveTo>
                <a:lnTo>
                  <a:pt x="8" y="10"/>
                </a:lnTo>
                <a:lnTo>
                  <a:pt x="4" y="19"/>
                </a:lnTo>
                <a:lnTo>
                  <a:pt x="2" y="28"/>
                </a:lnTo>
                <a:lnTo>
                  <a:pt x="0" y="37"/>
                </a:lnTo>
                <a:lnTo>
                  <a:pt x="0" y="42"/>
                </a:lnTo>
                <a:lnTo>
                  <a:pt x="2" y="47"/>
                </a:lnTo>
                <a:lnTo>
                  <a:pt x="3" y="51"/>
                </a:lnTo>
                <a:lnTo>
                  <a:pt x="5" y="55"/>
                </a:lnTo>
                <a:lnTo>
                  <a:pt x="7" y="58"/>
                </a:lnTo>
                <a:lnTo>
                  <a:pt x="9" y="60"/>
                </a:lnTo>
                <a:lnTo>
                  <a:pt x="13" y="62"/>
                </a:lnTo>
                <a:lnTo>
                  <a:pt x="16" y="64"/>
                </a:lnTo>
                <a:lnTo>
                  <a:pt x="22" y="67"/>
                </a:lnTo>
                <a:lnTo>
                  <a:pt x="31" y="68"/>
                </a:lnTo>
                <a:lnTo>
                  <a:pt x="39" y="68"/>
                </a:lnTo>
                <a:lnTo>
                  <a:pt x="47" y="68"/>
                </a:lnTo>
                <a:lnTo>
                  <a:pt x="41" y="58"/>
                </a:lnTo>
                <a:lnTo>
                  <a:pt x="38" y="48"/>
                </a:lnTo>
                <a:lnTo>
                  <a:pt x="36" y="43"/>
                </a:lnTo>
                <a:lnTo>
                  <a:pt x="35" y="38"/>
                </a:lnTo>
                <a:lnTo>
                  <a:pt x="33" y="31"/>
                </a:lnTo>
                <a:lnTo>
                  <a:pt x="33" y="25"/>
                </a:lnTo>
                <a:lnTo>
                  <a:pt x="24" y="13"/>
                </a:lnTo>
                <a:lnTo>
                  <a:pt x="14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grpSp>
        <p:nvGrpSpPr>
          <p:cNvPr id="61" name="Group 117"/>
          <p:cNvGrpSpPr>
            <a:grpSpLocks/>
          </p:cNvGrpSpPr>
          <p:nvPr userDrawn="1">
            <p:custDataLst>
              <p:tags r:id="rId88"/>
            </p:custDataLst>
          </p:nvPr>
        </p:nvGrpSpPr>
        <p:grpSpPr bwMode="auto">
          <a:xfrm>
            <a:off x="5876935" y="2670578"/>
            <a:ext cx="46037" cy="280988"/>
            <a:chOff x="3950" y="2430"/>
            <a:chExt cx="36" cy="234"/>
          </a:xfrm>
          <a:solidFill>
            <a:sysClr val="window" lastClr="FFFFFF">
              <a:lumMod val="85000"/>
            </a:sysClr>
          </a:solidFill>
        </p:grpSpPr>
        <p:sp>
          <p:nvSpPr>
            <p:cNvPr id="121" name="Freeform 118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2 h 20"/>
                <a:gd name="T4" fmla="*/ 2 w 19"/>
                <a:gd name="T5" fmla="*/ 1 h 20"/>
                <a:gd name="T6" fmla="*/ 1 w 19"/>
                <a:gd name="T7" fmla="*/ 1 h 20"/>
                <a:gd name="T8" fmla="*/ 1 w 19"/>
                <a:gd name="T9" fmla="*/ 0 h 20"/>
                <a:gd name="T10" fmla="*/ 0 w 19"/>
                <a:gd name="T11" fmla="*/ 0 h 20"/>
                <a:gd name="T12" fmla="*/ 0 w 19"/>
                <a:gd name="T13" fmla="*/ 0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"/>
                <a:gd name="T22" fmla="*/ 0 h 20"/>
                <a:gd name="T23" fmla="*/ 19 w 19"/>
                <a:gd name="T24" fmla="*/ 20 h 2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2" name="Freeform 119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1 w 19"/>
                <a:gd name="T1" fmla="*/ 1 h 12"/>
                <a:gd name="T2" fmla="*/ 2 w 19"/>
                <a:gd name="T3" fmla="*/ 0 h 12"/>
                <a:gd name="T4" fmla="*/ 0 w 19"/>
                <a:gd name="T5" fmla="*/ 0 h 12"/>
                <a:gd name="T6" fmla="*/ 1 w 19"/>
                <a:gd name="T7" fmla="*/ 1 h 1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9"/>
                <a:gd name="T13" fmla="*/ 0 h 12"/>
                <a:gd name="T14" fmla="*/ 19 w 19"/>
                <a:gd name="T15" fmla="*/ 12 h 1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3" name="Freeform 120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0 h 1"/>
                <a:gd name="T2" fmla="*/ 1 w 19"/>
                <a:gd name="T3" fmla="*/ 0 h 1"/>
                <a:gd name="T4" fmla="*/ 2 w 19"/>
                <a:gd name="T5" fmla="*/ 0 h 1"/>
                <a:gd name="T6" fmla="*/ 1 w 19"/>
                <a:gd name="T7" fmla="*/ 0 h 1"/>
                <a:gd name="T8" fmla="*/ 0 w 19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"/>
                <a:gd name="T16" fmla="*/ 0 h 1"/>
                <a:gd name="T17" fmla="*/ 19 w 19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" h="1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4" name="Rectangle 121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grpFill/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5" name="Line 122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6" name="Freeform 123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1 w 6"/>
                <a:gd name="T1" fmla="*/ 0 h 3"/>
                <a:gd name="T2" fmla="*/ 1 w 6"/>
                <a:gd name="T3" fmla="*/ 0 h 3"/>
                <a:gd name="T4" fmla="*/ 0 w 6"/>
                <a:gd name="T5" fmla="*/ 0 h 3"/>
                <a:gd name="T6" fmla="*/ 0 w 6"/>
                <a:gd name="T7" fmla="*/ 0 h 3"/>
                <a:gd name="T8" fmla="*/ 0 w 6"/>
                <a:gd name="T9" fmla="*/ 0 h 3"/>
                <a:gd name="T10" fmla="*/ 0 w 6"/>
                <a:gd name="T11" fmla="*/ 0 h 3"/>
                <a:gd name="T12" fmla="*/ 0 w 6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3"/>
                <a:gd name="T23" fmla="*/ 6 w 6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7" name="Freeform 124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2 w 14"/>
                <a:gd name="T1" fmla="*/ 0 h 24"/>
                <a:gd name="T2" fmla="*/ 2 w 14"/>
                <a:gd name="T3" fmla="*/ 1 h 24"/>
                <a:gd name="T4" fmla="*/ 1 w 14"/>
                <a:gd name="T5" fmla="*/ 1 h 24"/>
                <a:gd name="T6" fmla="*/ 1 w 14"/>
                <a:gd name="T7" fmla="*/ 2 h 24"/>
                <a:gd name="T8" fmla="*/ 0 w 14"/>
                <a:gd name="T9" fmla="*/ 3 h 24"/>
                <a:gd name="T10" fmla="*/ 0 w 14"/>
                <a:gd name="T11" fmla="*/ 2 h 24"/>
                <a:gd name="T12" fmla="*/ 0 w 14"/>
                <a:gd name="T13" fmla="*/ 1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24"/>
                <a:gd name="T23" fmla="*/ 14 w 14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8" name="Line 125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9" name="Freeform 126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1 w 13"/>
                <a:gd name="T1" fmla="*/ 1 h 12"/>
                <a:gd name="T2" fmla="*/ 0 w 13"/>
                <a:gd name="T3" fmla="*/ 0 h 12"/>
                <a:gd name="T4" fmla="*/ 1 w 13"/>
                <a:gd name="T5" fmla="*/ 1 h 12"/>
                <a:gd name="T6" fmla="*/ 0 60000 65536"/>
                <a:gd name="T7" fmla="*/ 0 60000 65536"/>
                <a:gd name="T8" fmla="*/ 0 60000 65536"/>
                <a:gd name="T9" fmla="*/ 0 w 13"/>
                <a:gd name="T10" fmla="*/ 0 h 12"/>
                <a:gd name="T11" fmla="*/ 13 w 13"/>
                <a:gd name="T12" fmla="*/ 12 h 1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0" name="Freeform 127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2 h 19"/>
                <a:gd name="T4" fmla="*/ 0 w 7"/>
                <a:gd name="T5" fmla="*/ 0 h 19"/>
                <a:gd name="T6" fmla="*/ 1 w 7"/>
                <a:gd name="T7" fmla="*/ 0 h 1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19"/>
                <a:gd name="T14" fmla="*/ 7 w 7"/>
                <a:gd name="T15" fmla="*/ 19 h 1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1" name="Line 128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2" name="Freeform 129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2 h 18"/>
                <a:gd name="T2" fmla="*/ 1 w 8"/>
                <a:gd name="T3" fmla="*/ 1 h 18"/>
                <a:gd name="T4" fmla="*/ 0 w 8"/>
                <a:gd name="T5" fmla="*/ 0 h 18"/>
                <a:gd name="T6" fmla="*/ 0 w 8"/>
                <a:gd name="T7" fmla="*/ 2 h 1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18"/>
                <a:gd name="T14" fmla="*/ 8 w 8"/>
                <a:gd name="T15" fmla="*/ 18 h 1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3" name="Freeform 130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3 h 19"/>
                <a:gd name="T4" fmla="*/ 1 w 6"/>
                <a:gd name="T5" fmla="*/ 2 h 19"/>
                <a:gd name="T6" fmla="*/ 0 60000 65536"/>
                <a:gd name="T7" fmla="*/ 0 60000 65536"/>
                <a:gd name="T8" fmla="*/ 0 60000 65536"/>
                <a:gd name="T9" fmla="*/ 0 w 6"/>
                <a:gd name="T10" fmla="*/ 0 h 19"/>
                <a:gd name="T11" fmla="*/ 6 w 6"/>
                <a:gd name="T12" fmla="*/ 19 h 1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4" name="Freeform 131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1 h 19"/>
                <a:gd name="T4" fmla="*/ 4 w 28"/>
                <a:gd name="T5" fmla="*/ 1 h 19"/>
                <a:gd name="T6" fmla="*/ 0 60000 65536"/>
                <a:gd name="T7" fmla="*/ 0 60000 65536"/>
                <a:gd name="T8" fmla="*/ 0 60000 65536"/>
                <a:gd name="T9" fmla="*/ 0 w 28"/>
                <a:gd name="T10" fmla="*/ 0 h 19"/>
                <a:gd name="T11" fmla="*/ 28 w 28"/>
                <a:gd name="T12" fmla="*/ 19 h 1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5" name="Freeform 132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2 w 15"/>
                <a:gd name="T1" fmla="*/ 1 h 19"/>
                <a:gd name="T2" fmla="*/ 1 w 15"/>
                <a:gd name="T3" fmla="*/ 1 h 19"/>
                <a:gd name="T4" fmla="*/ 0 w 15"/>
                <a:gd name="T5" fmla="*/ 0 h 19"/>
                <a:gd name="T6" fmla="*/ 0 60000 65536"/>
                <a:gd name="T7" fmla="*/ 0 60000 65536"/>
                <a:gd name="T8" fmla="*/ 0 60000 65536"/>
                <a:gd name="T9" fmla="*/ 0 w 15"/>
                <a:gd name="T10" fmla="*/ 0 h 19"/>
                <a:gd name="T11" fmla="*/ 15 w 15"/>
                <a:gd name="T12" fmla="*/ 19 h 1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6" name="Freeform 133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2 h 20"/>
                <a:gd name="T4" fmla="*/ 2 w 19"/>
                <a:gd name="T5" fmla="*/ 1 h 20"/>
                <a:gd name="T6" fmla="*/ 1 w 19"/>
                <a:gd name="T7" fmla="*/ 1 h 20"/>
                <a:gd name="T8" fmla="*/ 1 w 19"/>
                <a:gd name="T9" fmla="*/ 0 h 20"/>
                <a:gd name="T10" fmla="*/ 0 w 19"/>
                <a:gd name="T11" fmla="*/ 0 h 20"/>
                <a:gd name="T12" fmla="*/ 0 w 19"/>
                <a:gd name="T13" fmla="*/ 0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"/>
                <a:gd name="T22" fmla="*/ 0 h 20"/>
                <a:gd name="T23" fmla="*/ 19 w 19"/>
                <a:gd name="T24" fmla="*/ 20 h 2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7" name="Freeform 134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1 w 19"/>
                <a:gd name="T1" fmla="*/ 1 h 12"/>
                <a:gd name="T2" fmla="*/ 2 w 19"/>
                <a:gd name="T3" fmla="*/ 0 h 12"/>
                <a:gd name="T4" fmla="*/ 0 w 19"/>
                <a:gd name="T5" fmla="*/ 0 h 12"/>
                <a:gd name="T6" fmla="*/ 1 w 19"/>
                <a:gd name="T7" fmla="*/ 1 h 1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9"/>
                <a:gd name="T13" fmla="*/ 0 h 12"/>
                <a:gd name="T14" fmla="*/ 19 w 19"/>
                <a:gd name="T15" fmla="*/ 12 h 1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8" name="Freeform 135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0 h 1"/>
                <a:gd name="T2" fmla="*/ 1 w 19"/>
                <a:gd name="T3" fmla="*/ 0 h 1"/>
                <a:gd name="T4" fmla="*/ 2 w 19"/>
                <a:gd name="T5" fmla="*/ 0 h 1"/>
                <a:gd name="T6" fmla="*/ 1 w 19"/>
                <a:gd name="T7" fmla="*/ 0 h 1"/>
                <a:gd name="T8" fmla="*/ 0 w 19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"/>
                <a:gd name="T16" fmla="*/ 0 h 1"/>
                <a:gd name="T17" fmla="*/ 19 w 19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" h="1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9" name="Rectangle 136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grpFill/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0" name="Line 137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1" name="Freeform 138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1 w 6"/>
                <a:gd name="T1" fmla="*/ 0 h 3"/>
                <a:gd name="T2" fmla="*/ 1 w 6"/>
                <a:gd name="T3" fmla="*/ 0 h 3"/>
                <a:gd name="T4" fmla="*/ 0 w 6"/>
                <a:gd name="T5" fmla="*/ 0 h 3"/>
                <a:gd name="T6" fmla="*/ 0 w 6"/>
                <a:gd name="T7" fmla="*/ 0 h 3"/>
                <a:gd name="T8" fmla="*/ 0 w 6"/>
                <a:gd name="T9" fmla="*/ 0 h 3"/>
                <a:gd name="T10" fmla="*/ 0 w 6"/>
                <a:gd name="T11" fmla="*/ 0 h 3"/>
                <a:gd name="T12" fmla="*/ 0 w 6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3"/>
                <a:gd name="T23" fmla="*/ 6 w 6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2" name="Freeform 139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2 w 14"/>
                <a:gd name="T1" fmla="*/ 0 h 24"/>
                <a:gd name="T2" fmla="*/ 2 w 14"/>
                <a:gd name="T3" fmla="*/ 1 h 24"/>
                <a:gd name="T4" fmla="*/ 1 w 14"/>
                <a:gd name="T5" fmla="*/ 1 h 24"/>
                <a:gd name="T6" fmla="*/ 1 w 14"/>
                <a:gd name="T7" fmla="*/ 2 h 24"/>
                <a:gd name="T8" fmla="*/ 0 w 14"/>
                <a:gd name="T9" fmla="*/ 3 h 24"/>
                <a:gd name="T10" fmla="*/ 0 w 14"/>
                <a:gd name="T11" fmla="*/ 2 h 24"/>
                <a:gd name="T12" fmla="*/ 0 w 14"/>
                <a:gd name="T13" fmla="*/ 1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24"/>
                <a:gd name="T23" fmla="*/ 14 w 14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3" name="Line 140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4" name="Freeform 141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1 w 13"/>
                <a:gd name="T1" fmla="*/ 1 h 12"/>
                <a:gd name="T2" fmla="*/ 0 w 13"/>
                <a:gd name="T3" fmla="*/ 0 h 12"/>
                <a:gd name="T4" fmla="*/ 1 w 13"/>
                <a:gd name="T5" fmla="*/ 1 h 12"/>
                <a:gd name="T6" fmla="*/ 0 60000 65536"/>
                <a:gd name="T7" fmla="*/ 0 60000 65536"/>
                <a:gd name="T8" fmla="*/ 0 60000 65536"/>
                <a:gd name="T9" fmla="*/ 0 w 13"/>
                <a:gd name="T10" fmla="*/ 0 h 12"/>
                <a:gd name="T11" fmla="*/ 13 w 13"/>
                <a:gd name="T12" fmla="*/ 12 h 1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5" name="Freeform 142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2 h 19"/>
                <a:gd name="T4" fmla="*/ 0 w 7"/>
                <a:gd name="T5" fmla="*/ 0 h 19"/>
                <a:gd name="T6" fmla="*/ 1 w 7"/>
                <a:gd name="T7" fmla="*/ 0 h 1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19"/>
                <a:gd name="T14" fmla="*/ 7 w 7"/>
                <a:gd name="T15" fmla="*/ 19 h 1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6" name="Line 143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7" name="Freeform 144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2 h 18"/>
                <a:gd name="T2" fmla="*/ 1 w 8"/>
                <a:gd name="T3" fmla="*/ 1 h 18"/>
                <a:gd name="T4" fmla="*/ 0 w 8"/>
                <a:gd name="T5" fmla="*/ 0 h 18"/>
                <a:gd name="T6" fmla="*/ 0 w 8"/>
                <a:gd name="T7" fmla="*/ 2 h 1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18"/>
                <a:gd name="T14" fmla="*/ 8 w 8"/>
                <a:gd name="T15" fmla="*/ 18 h 1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8" name="Freeform 145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3 h 19"/>
                <a:gd name="T4" fmla="*/ 1 w 6"/>
                <a:gd name="T5" fmla="*/ 2 h 19"/>
                <a:gd name="T6" fmla="*/ 0 60000 65536"/>
                <a:gd name="T7" fmla="*/ 0 60000 65536"/>
                <a:gd name="T8" fmla="*/ 0 60000 65536"/>
                <a:gd name="T9" fmla="*/ 0 w 6"/>
                <a:gd name="T10" fmla="*/ 0 h 19"/>
                <a:gd name="T11" fmla="*/ 6 w 6"/>
                <a:gd name="T12" fmla="*/ 19 h 1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9" name="Freeform 146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1 h 19"/>
                <a:gd name="T4" fmla="*/ 4 w 28"/>
                <a:gd name="T5" fmla="*/ 1 h 19"/>
                <a:gd name="T6" fmla="*/ 0 60000 65536"/>
                <a:gd name="T7" fmla="*/ 0 60000 65536"/>
                <a:gd name="T8" fmla="*/ 0 60000 65536"/>
                <a:gd name="T9" fmla="*/ 0 w 28"/>
                <a:gd name="T10" fmla="*/ 0 h 19"/>
                <a:gd name="T11" fmla="*/ 28 w 28"/>
                <a:gd name="T12" fmla="*/ 19 h 1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0" name="Freeform 147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2 w 15"/>
                <a:gd name="T1" fmla="*/ 1 h 19"/>
                <a:gd name="T2" fmla="*/ 1 w 15"/>
                <a:gd name="T3" fmla="*/ 1 h 19"/>
                <a:gd name="T4" fmla="*/ 0 w 15"/>
                <a:gd name="T5" fmla="*/ 0 h 19"/>
                <a:gd name="T6" fmla="*/ 0 60000 65536"/>
                <a:gd name="T7" fmla="*/ 0 60000 65536"/>
                <a:gd name="T8" fmla="*/ 0 60000 65536"/>
                <a:gd name="T9" fmla="*/ 0 w 15"/>
                <a:gd name="T10" fmla="*/ 0 h 19"/>
                <a:gd name="T11" fmla="*/ 15 w 15"/>
                <a:gd name="T12" fmla="*/ 19 h 1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1" name="Freeform 148"/>
            <p:cNvSpPr>
              <a:spLocks/>
            </p:cNvSpPr>
            <p:nvPr/>
          </p:nvSpPr>
          <p:spPr bwMode="auto">
            <a:xfrm>
              <a:off x="3950" y="2430"/>
              <a:ext cx="7" cy="6"/>
            </a:xfrm>
            <a:custGeom>
              <a:avLst/>
              <a:gdLst>
                <a:gd name="T0" fmla="*/ 2 w 20"/>
                <a:gd name="T1" fmla="*/ 2 h 18"/>
                <a:gd name="T2" fmla="*/ 2 w 20"/>
                <a:gd name="T3" fmla="*/ 0 h 18"/>
                <a:gd name="T4" fmla="*/ 0 w 20"/>
                <a:gd name="T5" fmla="*/ 0 h 18"/>
                <a:gd name="T6" fmla="*/ 2 w 20"/>
                <a:gd name="T7" fmla="*/ 2 h 1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0"/>
                <a:gd name="T13" fmla="*/ 0 h 18"/>
                <a:gd name="T14" fmla="*/ 20 w 20"/>
                <a:gd name="T15" fmla="*/ 18 h 1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0" h="18">
                  <a:moveTo>
                    <a:pt x="13" y="18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13" y="18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76" name="Group 149"/>
          <p:cNvGrpSpPr>
            <a:grpSpLocks/>
          </p:cNvGrpSpPr>
          <p:nvPr userDrawn="1">
            <p:custDataLst>
              <p:tags r:id="rId89"/>
            </p:custDataLst>
          </p:nvPr>
        </p:nvGrpSpPr>
        <p:grpSpPr bwMode="auto">
          <a:xfrm>
            <a:off x="7942264" y="3045621"/>
            <a:ext cx="185738" cy="160735"/>
            <a:chOff x="5486" y="2743"/>
            <a:chExt cx="137" cy="132"/>
          </a:xfrm>
          <a:solidFill>
            <a:sysClr val="window" lastClr="FFFFFF">
              <a:lumMod val="85000"/>
            </a:sysClr>
          </a:solidFill>
        </p:grpSpPr>
        <p:sp>
          <p:nvSpPr>
            <p:cNvPr id="153" name="Freeform 150"/>
            <p:cNvSpPr>
              <a:spLocks/>
            </p:cNvSpPr>
            <p:nvPr/>
          </p:nvSpPr>
          <p:spPr bwMode="auto">
            <a:xfrm>
              <a:off x="5595" y="2806"/>
              <a:ext cx="13" cy="28"/>
            </a:xfrm>
            <a:custGeom>
              <a:avLst/>
              <a:gdLst>
                <a:gd name="T0" fmla="*/ 0 w 40"/>
                <a:gd name="T1" fmla="*/ 3 h 87"/>
                <a:gd name="T2" fmla="*/ 0 w 40"/>
                <a:gd name="T3" fmla="*/ 5 h 87"/>
                <a:gd name="T4" fmla="*/ 0 w 40"/>
                <a:gd name="T5" fmla="*/ 5 h 87"/>
                <a:gd name="T6" fmla="*/ 1 w 40"/>
                <a:gd name="T7" fmla="*/ 6 h 87"/>
                <a:gd name="T8" fmla="*/ 1 w 40"/>
                <a:gd name="T9" fmla="*/ 7 h 87"/>
                <a:gd name="T10" fmla="*/ 2 w 40"/>
                <a:gd name="T11" fmla="*/ 7 h 87"/>
                <a:gd name="T12" fmla="*/ 2 w 40"/>
                <a:gd name="T13" fmla="*/ 8 h 87"/>
                <a:gd name="T14" fmla="*/ 3 w 40"/>
                <a:gd name="T15" fmla="*/ 8 h 87"/>
                <a:gd name="T16" fmla="*/ 4 w 40"/>
                <a:gd name="T17" fmla="*/ 9 h 87"/>
                <a:gd name="T18" fmla="*/ 4 w 40"/>
                <a:gd name="T19" fmla="*/ 8 h 87"/>
                <a:gd name="T20" fmla="*/ 3 w 40"/>
                <a:gd name="T21" fmla="*/ 8 h 87"/>
                <a:gd name="T22" fmla="*/ 3 w 40"/>
                <a:gd name="T23" fmla="*/ 7 h 87"/>
                <a:gd name="T24" fmla="*/ 3 w 40"/>
                <a:gd name="T25" fmla="*/ 7 h 87"/>
                <a:gd name="T26" fmla="*/ 2 w 40"/>
                <a:gd name="T27" fmla="*/ 5 h 87"/>
                <a:gd name="T28" fmla="*/ 2 w 40"/>
                <a:gd name="T29" fmla="*/ 4 h 87"/>
                <a:gd name="T30" fmla="*/ 2 w 40"/>
                <a:gd name="T31" fmla="*/ 3 h 87"/>
                <a:gd name="T32" fmla="*/ 1 w 40"/>
                <a:gd name="T33" fmla="*/ 2 h 87"/>
                <a:gd name="T34" fmla="*/ 1 w 40"/>
                <a:gd name="T35" fmla="*/ 1 h 87"/>
                <a:gd name="T36" fmla="*/ 1 w 40"/>
                <a:gd name="T37" fmla="*/ 1 h 87"/>
                <a:gd name="T38" fmla="*/ 0 w 40"/>
                <a:gd name="T39" fmla="*/ 0 h 87"/>
                <a:gd name="T40" fmla="*/ 0 w 40"/>
                <a:gd name="T41" fmla="*/ 0 h 87"/>
                <a:gd name="T42" fmla="*/ 0 w 40"/>
                <a:gd name="T43" fmla="*/ 1 h 87"/>
                <a:gd name="T44" fmla="*/ 0 w 40"/>
                <a:gd name="T45" fmla="*/ 2 h 87"/>
                <a:gd name="T46" fmla="*/ 0 w 40"/>
                <a:gd name="T47" fmla="*/ 2 h 87"/>
                <a:gd name="T48" fmla="*/ 0 w 40"/>
                <a:gd name="T49" fmla="*/ 3 h 8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40"/>
                <a:gd name="T76" fmla="*/ 0 h 87"/>
                <a:gd name="T77" fmla="*/ 40 w 40"/>
                <a:gd name="T78" fmla="*/ 87 h 8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40" h="87">
                  <a:moveTo>
                    <a:pt x="0" y="31"/>
                  </a:moveTo>
                  <a:lnTo>
                    <a:pt x="0" y="42"/>
                  </a:lnTo>
                  <a:lnTo>
                    <a:pt x="2" y="51"/>
                  </a:lnTo>
                  <a:lnTo>
                    <a:pt x="5" y="59"/>
                  </a:lnTo>
                  <a:lnTo>
                    <a:pt x="10" y="66"/>
                  </a:lnTo>
                  <a:lnTo>
                    <a:pt x="15" y="72"/>
                  </a:lnTo>
                  <a:lnTo>
                    <a:pt x="22" y="77"/>
                  </a:lnTo>
                  <a:lnTo>
                    <a:pt x="31" y="82"/>
                  </a:lnTo>
                  <a:lnTo>
                    <a:pt x="40" y="87"/>
                  </a:lnTo>
                  <a:lnTo>
                    <a:pt x="35" y="82"/>
                  </a:lnTo>
                  <a:lnTo>
                    <a:pt x="32" y="77"/>
                  </a:lnTo>
                  <a:lnTo>
                    <a:pt x="29" y="71"/>
                  </a:lnTo>
                  <a:lnTo>
                    <a:pt x="26" y="65"/>
                  </a:lnTo>
                  <a:lnTo>
                    <a:pt x="22" y="52"/>
                  </a:lnTo>
                  <a:lnTo>
                    <a:pt x="20" y="39"/>
                  </a:lnTo>
                  <a:lnTo>
                    <a:pt x="18" y="27"/>
                  </a:lnTo>
                  <a:lnTo>
                    <a:pt x="13" y="16"/>
                  </a:lnTo>
                  <a:lnTo>
                    <a:pt x="11" y="11"/>
                  </a:lnTo>
                  <a:lnTo>
                    <a:pt x="8" y="6"/>
                  </a:lnTo>
                  <a:lnTo>
                    <a:pt x="4" y="3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0" y="31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4" name="Freeform 151"/>
            <p:cNvSpPr>
              <a:spLocks/>
            </p:cNvSpPr>
            <p:nvPr/>
          </p:nvSpPr>
          <p:spPr bwMode="auto">
            <a:xfrm>
              <a:off x="5603" y="2842"/>
              <a:ext cx="20" cy="12"/>
            </a:xfrm>
            <a:custGeom>
              <a:avLst/>
              <a:gdLst>
                <a:gd name="T0" fmla="*/ 0 w 61"/>
                <a:gd name="T1" fmla="*/ 3 h 37"/>
                <a:gd name="T2" fmla="*/ 2 w 61"/>
                <a:gd name="T3" fmla="*/ 3 h 37"/>
                <a:gd name="T4" fmla="*/ 4 w 61"/>
                <a:gd name="T5" fmla="*/ 4 h 37"/>
                <a:gd name="T6" fmla="*/ 5 w 61"/>
                <a:gd name="T7" fmla="*/ 4 h 37"/>
                <a:gd name="T8" fmla="*/ 7 w 61"/>
                <a:gd name="T9" fmla="*/ 4 h 37"/>
                <a:gd name="T10" fmla="*/ 6 w 61"/>
                <a:gd name="T11" fmla="*/ 3 h 37"/>
                <a:gd name="T12" fmla="*/ 5 w 61"/>
                <a:gd name="T13" fmla="*/ 2 h 37"/>
                <a:gd name="T14" fmla="*/ 5 w 61"/>
                <a:gd name="T15" fmla="*/ 2 h 37"/>
                <a:gd name="T16" fmla="*/ 4 w 61"/>
                <a:gd name="T17" fmla="*/ 1 h 37"/>
                <a:gd name="T18" fmla="*/ 3 w 61"/>
                <a:gd name="T19" fmla="*/ 1 h 37"/>
                <a:gd name="T20" fmla="*/ 2 w 61"/>
                <a:gd name="T21" fmla="*/ 1 h 37"/>
                <a:gd name="T22" fmla="*/ 1 w 61"/>
                <a:gd name="T23" fmla="*/ 0 h 37"/>
                <a:gd name="T24" fmla="*/ 0 w 61"/>
                <a:gd name="T25" fmla="*/ 0 h 37"/>
                <a:gd name="T26" fmla="*/ 0 w 61"/>
                <a:gd name="T27" fmla="*/ 3 h 3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61"/>
                <a:gd name="T43" fmla="*/ 0 h 37"/>
                <a:gd name="T44" fmla="*/ 61 w 61"/>
                <a:gd name="T45" fmla="*/ 37 h 3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61" h="37">
                  <a:moveTo>
                    <a:pt x="0" y="31"/>
                  </a:moveTo>
                  <a:lnTo>
                    <a:pt x="19" y="32"/>
                  </a:lnTo>
                  <a:lnTo>
                    <a:pt x="35" y="34"/>
                  </a:lnTo>
                  <a:lnTo>
                    <a:pt x="49" y="36"/>
                  </a:lnTo>
                  <a:lnTo>
                    <a:pt x="61" y="37"/>
                  </a:lnTo>
                  <a:lnTo>
                    <a:pt x="55" y="29"/>
                  </a:lnTo>
                  <a:lnTo>
                    <a:pt x="49" y="22"/>
                  </a:lnTo>
                  <a:lnTo>
                    <a:pt x="42" y="17"/>
                  </a:lnTo>
                  <a:lnTo>
                    <a:pt x="35" y="12"/>
                  </a:lnTo>
                  <a:lnTo>
                    <a:pt x="28" y="9"/>
                  </a:lnTo>
                  <a:lnTo>
                    <a:pt x="19" y="5"/>
                  </a:lnTo>
                  <a:lnTo>
                    <a:pt x="10" y="2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5" name="Freeform 152"/>
            <p:cNvSpPr>
              <a:spLocks/>
            </p:cNvSpPr>
            <p:nvPr/>
          </p:nvSpPr>
          <p:spPr bwMode="auto">
            <a:xfrm>
              <a:off x="5568" y="2865"/>
              <a:ext cx="13" cy="10"/>
            </a:xfrm>
            <a:custGeom>
              <a:avLst/>
              <a:gdLst>
                <a:gd name="T0" fmla="*/ 4 w 40"/>
                <a:gd name="T1" fmla="*/ 3 h 30"/>
                <a:gd name="T2" fmla="*/ 4 w 40"/>
                <a:gd name="T3" fmla="*/ 3 h 30"/>
                <a:gd name="T4" fmla="*/ 3 w 40"/>
                <a:gd name="T5" fmla="*/ 3 h 30"/>
                <a:gd name="T6" fmla="*/ 2 w 40"/>
                <a:gd name="T7" fmla="*/ 2 h 30"/>
                <a:gd name="T8" fmla="*/ 2 w 40"/>
                <a:gd name="T9" fmla="*/ 2 h 30"/>
                <a:gd name="T10" fmla="*/ 1 w 40"/>
                <a:gd name="T11" fmla="*/ 2 h 30"/>
                <a:gd name="T12" fmla="*/ 1 w 40"/>
                <a:gd name="T13" fmla="*/ 1 h 30"/>
                <a:gd name="T14" fmla="*/ 0 w 40"/>
                <a:gd name="T15" fmla="*/ 1 h 30"/>
                <a:gd name="T16" fmla="*/ 0 w 40"/>
                <a:gd name="T17" fmla="*/ 0 h 30"/>
                <a:gd name="T18" fmla="*/ 1 w 40"/>
                <a:gd name="T19" fmla="*/ 0 h 30"/>
                <a:gd name="T20" fmla="*/ 2 w 40"/>
                <a:gd name="T21" fmla="*/ 1 h 30"/>
                <a:gd name="T22" fmla="*/ 2 w 40"/>
                <a:gd name="T23" fmla="*/ 1 h 30"/>
                <a:gd name="T24" fmla="*/ 3 w 40"/>
                <a:gd name="T25" fmla="*/ 2 h 30"/>
                <a:gd name="T26" fmla="*/ 4 w 40"/>
                <a:gd name="T27" fmla="*/ 2 h 30"/>
                <a:gd name="T28" fmla="*/ 4 w 40"/>
                <a:gd name="T29" fmla="*/ 3 h 30"/>
                <a:gd name="T30" fmla="*/ 4 w 40"/>
                <a:gd name="T31" fmla="*/ 3 h 30"/>
                <a:gd name="T32" fmla="*/ 4 w 40"/>
                <a:gd name="T33" fmla="*/ 3 h 3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0"/>
                <a:gd name="T52" fmla="*/ 0 h 30"/>
                <a:gd name="T53" fmla="*/ 40 w 40"/>
                <a:gd name="T54" fmla="*/ 30 h 30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0" h="30">
                  <a:moveTo>
                    <a:pt x="40" y="30"/>
                  </a:moveTo>
                  <a:lnTo>
                    <a:pt x="33" y="28"/>
                  </a:lnTo>
                  <a:lnTo>
                    <a:pt x="26" y="25"/>
                  </a:lnTo>
                  <a:lnTo>
                    <a:pt x="21" y="22"/>
                  </a:lnTo>
                  <a:lnTo>
                    <a:pt x="15" y="19"/>
                  </a:lnTo>
                  <a:lnTo>
                    <a:pt x="11" y="16"/>
                  </a:lnTo>
                  <a:lnTo>
                    <a:pt x="6" y="11"/>
                  </a:lnTo>
                  <a:lnTo>
                    <a:pt x="3" y="6"/>
                  </a:lnTo>
                  <a:lnTo>
                    <a:pt x="0" y="0"/>
                  </a:lnTo>
                  <a:lnTo>
                    <a:pt x="8" y="2"/>
                  </a:lnTo>
                  <a:lnTo>
                    <a:pt x="15" y="6"/>
                  </a:lnTo>
                  <a:lnTo>
                    <a:pt x="22" y="10"/>
                  </a:lnTo>
                  <a:lnTo>
                    <a:pt x="27" y="15"/>
                  </a:lnTo>
                  <a:lnTo>
                    <a:pt x="33" y="19"/>
                  </a:lnTo>
                  <a:lnTo>
                    <a:pt x="36" y="23"/>
                  </a:lnTo>
                  <a:lnTo>
                    <a:pt x="39" y="27"/>
                  </a:lnTo>
                  <a:lnTo>
                    <a:pt x="40" y="30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6" name="Freeform 153"/>
            <p:cNvSpPr>
              <a:spLocks/>
            </p:cNvSpPr>
            <p:nvPr/>
          </p:nvSpPr>
          <p:spPr bwMode="auto">
            <a:xfrm>
              <a:off x="5515" y="2789"/>
              <a:ext cx="24" cy="26"/>
            </a:xfrm>
            <a:custGeom>
              <a:avLst/>
              <a:gdLst>
                <a:gd name="T0" fmla="*/ 8 w 74"/>
                <a:gd name="T1" fmla="*/ 8 h 80"/>
                <a:gd name="T2" fmla="*/ 7 w 74"/>
                <a:gd name="T3" fmla="*/ 8 h 80"/>
                <a:gd name="T4" fmla="*/ 7 w 74"/>
                <a:gd name="T5" fmla="*/ 7 h 80"/>
                <a:gd name="T6" fmla="*/ 7 w 74"/>
                <a:gd name="T7" fmla="*/ 6 h 80"/>
                <a:gd name="T8" fmla="*/ 7 w 74"/>
                <a:gd name="T9" fmla="*/ 6 h 80"/>
                <a:gd name="T10" fmla="*/ 6 w 74"/>
                <a:gd name="T11" fmla="*/ 5 h 80"/>
                <a:gd name="T12" fmla="*/ 5 w 74"/>
                <a:gd name="T13" fmla="*/ 4 h 80"/>
                <a:gd name="T14" fmla="*/ 4 w 74"/>
                <a:gd name="T15" fmla="*/ 3 h 80"/>
                <a:gd name="T16" fmla="*/ 3 w 74"/>
                <a:gd name="T17" fmla="*/ 2 h 80"/>
                <a:gd name="T18" fmla="*/ 2 w 74"/>
                <a:gd name="T19" fmla="*/ 1 h 80"/>
                <a:gd name="T20" fmla="*/ 1 w 74"/>
                <a:gd name="T21" fmla="*/ 0 h 80"/>
                <a:gd name="T22" fmla="*/ 1 w 74"/>
                <a:gd name="T23" fmla="*/ 1 h 80"/>
                <a:gd name="T24" fmla="*/ 0 w 74"/>
                <a:gd name="T25" fmla="*/ 1 h 80"/>
                <a:gd name="T26" fmla="*/ 0 w 74"/>
                <a:gd name="T27" fmla="*/ 2 h 80"/>
                <a:gd name="T28" fmla="*/ 0 w 74"/>
                <a:gd name="T29" fmla="*/ 2 h 80"/>
                <a:gd name="T30" fmla="*/ 0 w 74"/>
                <a:gd name="T31" fmla="*/ 3 h 80"/>
                <a:gd name="T32" fmla="*/ 0 w 74"/>
                <a:gd name="T33" fmla="*/ 3 h 80"/>
                <a:gd name="T34" fmla="*/ 0 w 74"/>
                <a:gd name="T35" fmla="*/ 4 h 80"/>
                <a:gd name="T36" fmla="*/ 1 w 74"/>
                <a:gd name="T37" fmla="*/ 4 h 80"/>
                <a:gd name="T38" fmla="*/ 1 w 74"/>
                <a:gd name="T39" fmla="*/ 5 h 80"/>
                <a:gd name="T40" fmla="*/ 2 w 74"/>
                <a:gd name="T41" fmla="*/ 6 h 80"/>
                <a:gd name="T42" fmla="*/ 2 w 74"/>
                <a:gd name="T43" fmla="*/ 6 h 80"/>
                <a:gd name="T44" fmla="*/ 3 w 74"/>
                <a:gd name="T45" fmla="*/ 7 h 80"/>
                <a:gd name="T46" fmla="*/ 3 w 74"/>
                <a:gd name="T47" fmla="*/ 7 h 80"/>
                <a:gd name="T48" fmla="*/ 4 w 74"/>
                <a:gd name="T49" fmla="*/ 7 h 80"/>
                <a:gd name="T50" fmla="*/ 5 w 74"/>
                <a:gd name="T51" fmla="*/ 7 h 80"/>
                <a:gd name="T52" fmla="*/ 5 w 74"/>
                <a:gd name="T53" fmla="*/ 8 h 80"/>
                <a:gd name="T54" fmla="*/ 6 w 74"/>
                <a:gd name="T55" fmla="*/ 8 h 80"/>
                <a:gd name="T56" fmla="*/ 6 w 74"/>
                <a:gd name="T57" fmla="*/ 8 h 80"/>
                <a:gd name="T58" fmla="*/ 7 w 74"/>
                <a:gd name="T59" fmla="*/ 8 h 80"/>
                <a:gd name="T60" fmla="*/ 8 w 74"/>
                <a:gd name="T61" fmla="*/ 8 h 8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74"/>
                <a:gd name="T94" fmla="*/ 0 h 80"/>
                <a:gd name="T95" fmla="*/ 74 w 74"/>
                <a:gd name="T96" fmla="*/ 80 h 8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74" h="80">
                  <a:moveTo>
                    <a:pt x="74" y="80"/>
                  </a:moveTo>
                  <a:lnTo>
                    <a:pt x="72" y="73"/>
                  </a:lnTo>
                  <a:lnTo>
                    <a:pt x="71" y="66"/>
                  </a:lnTo>
                  <a:lnTo>
                    <a:pt x="69" y="60"/>
                  </a:lnTo>
                  <a:lnTo>
                    <a:pt x="66" y="53"/>
                  </a:lnTo>
                  <a:lnTo>
                    <a:pt x="58" y="42"/>
                  </a:lnTo>
                  <a:lnTo>
                    <a:pt x="48" y="33"/>
                  </a:lnTo>
                  <a:lnTo>
                    <a:pt x="38" y="25"/>
                  </a:lnTo>
                  <a:lnTo>
                    <a:pt x="29" y="17"/>
                  </a:lnTo>
                  <a:lnTo>
                    <a:pt x="20" y="9"/>
                  </a:lnTo>
                  <a:lnTo>
                    <a:pt x="13" y="0"/>
                  </a:lnTo>
                  <a:lnTo>
                    <a:pt x="9" y="5"/>
                  </a:lnTo>
                  <a:lnTo>
                    <a:pt x="4" y="10"/>
                  </a:lnTo>
                  <a:lnTo>
                    <a:pt x="1" y="14"/>
                  </a:lnTo>
                  <a:lnTo>
                    <a:pt x="0" y="19"/>
                  </a:lnTo>
                  <a:lnTo>
                    <a:pt x="0" y="25"/>
                  </a:lnTo>
                  <a:lnTo>
                    <a:pt x="2" y="30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4" y="51"/>
                  </a:lnTo>
                  <a:lnTo>
                    <a:pt x="19" y="56"/>
                  </a:lnTo>
                  <a:lnTo>
                    <a:pt x="24" y="61"/>
                  </a:lnTo>
                  <a:lnTo>
                    <a:pt x="30" y="66"/>
                  </a:lnTo>
                  <a:lnTo>
                    <a:pt x="35" y="69"/>
                  </a:lnTo>
                  <a:lnTo>
                    <a:pt x="42" y="72"/>
                  </a:lnTo>
                  <a:lnTo>
                    <a:pt x="47" y="75"/>
                  </a:lnTo>
                  <a:lnTo>
                    <a:pt x="54" y="77"/>
                  </a:lnTo>
                  <a:lnTo>
                    <a:pt x="60" y="79"/>
                  </a:lnTo>
                  <a:lnTo>
                    <a:pt x="67" y="80"/>
                  </a:lnTo>
                  <a:lnTo>
                    <a:pt x="74" y="80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7" name="Freeform 154"/>
            <p:cNvSpPr>
              <a:spLocks/>
            </p:cNvSpPr>
            <p:nvPr/>
          </p:nvSpPr>
          <p:spPr bwMode="auto">
            <a:xfrm>
              <a:off x="5555" y="2785"/>
              <a:ext cx="26" cy="27"/>
            </a:xfrm>
            <a:custGeom>
              <a:avLst/>
              <a:gdLst>
                <a:gd name="T0" fmla="*/ 5 w 86"/>
                <a:gd name="T1" fmla="*/ 9 h 80"/>
                <a:gd name="T2" fmla="*/ 8 w 86"/>
                <a:gd name="T3" fmla="*/ 9 h 80"/>
                <a:gd name="T4" fmla="*/ 8 w 86"/>
                <a:gd name="T5" fmla="*/ 7 h 80"/>
                <a:gd name="T6" fmla="*/ 7 w 86"/>
                <a:gd name="T7" fmla="*/ 7 h 80"/>
                <a:gd name="T8" fmla="*/ 7 w 86"/>
                <a:gd name="T9" fmla="*/ 6 h 80"/>
                <a:gd name="T10" fmla="*/ 6 w 86"/>
                <a:gd name="T11" fmla="*/ 6 h 80"/>
                <a:gd name="T12" fmla="*/ 5 w 86"/>
                <a:gd name="T13" fmla="*/ 6 h 80"/>
                <a:gd name="T14" fmla="*/ 5 w 86"/>
                <a:gd name="T15" fmla="*/ 5 h 80"/>
                <a:gd name="T16" fmla="*/ 4 w 86"/>
                <a:gd name="T17" fmla="*/ 4 h 80"/>
                <a:gd name="T18" fmla="*/ 3 w 86"/>
                <a:gd name="T19" fmla="*/ 3 h 80"/>
                <a:gd name="T20" fmla="*/ 2 w 86"/>
                <a:gd name="T21" fmla="*/ 2 h 80"/>
                <a:gd name="T22" fmla="*/ 1 w 86"/>
                <a:gd name="T23" fmla="*/ 1 h 80"/>
                <a:gd name="T24" fmla="*/ 0 w 86"/>
                <a:gd name="T25" fmla="*/ 0 h 80"/>
                <a:gd name="T26" fmla="*/ 0 w 86"/>
                <a:gd name="T27" fmla="*/ 1 h 80"/>
                <a:gd name="T28" fmla="*/ 1 w 86"/>
                <a:gd name="T29" fmla="*/ 2 h 80"/>
                <a:gd name="T30" fmla="*/ 1 w 86"/>
                <a:gd name="T31" fmla="*/ 4 h 80"/>
                <a:gd name="T32" fmla="*/ 2 w 86"/>
                <a:gd name="T33" fmla="*/ 5 h 80"/>
                <a:gd name="T34" fmla="*/ 2 w 86"/>
                <a:gd name="T35" fmla="*/ 6 h 80"/>
                <a:gd name="T36" fmla="*/ 3 w 86"/>
                <a:gd name="T37" fmla="*/ 8 h 80"/>
                <a:gd name="T38" fmla="*/ 4 w 86"/>
                <a:gd name="T39" fmla="*/ 8 h 80"/>
                <a:gd name="T40" fmla="*/ 4 w 86"/>
                <a:gd name="T41" fmla="*/ 9 h 80"/>
                <a:gd name="T42" fmla="*/ 5 w 86"/>
                <a:gd name="T43" fmla="*/ 9 h 80"/>
                <a:gd name="T44" fmla="*/ 5 w 86"/>
                <a:gd name="T45" fmla="*/ 9 h 8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86"/>
                <a:gd name="T70" fmla="*/ 0 h 80"/>
                <a:gd name="T71" fmla="*/ 86 w 86"/>
                <a:gd name="T72" fmla="*/ 80 h 80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86" h="80">
                  <a:moveTo>
                    <a:pt x="52" y="80"/>
                  </a:moveTo>
                  <a:lnTo>
                    <a:pt x="86" y="80"/>
                  </a:lnTo>
                  <a:lnTo>
                    <a:pt x="86" y="61"/>
                  </a:lnTo>
                  <a:lnTo>
                    <a:pt x="79" y="59"/>
                  </a:lnTo>
                  <a:lnTo>
                    <a:pt x="72" y="56"/>
                  </a:lnTo>
                  <a:lnTo>
                    <a:pt x="67" y="53"/>
                  </a:lnTo>
                  <a:lnTo>
                    <a:pt x="61" y="49"/>
                  </a:lnTo>
                  <a:lnTo>
                    <a:pt x="51" y="41"/>
                  </a:lnTo>
                  <a:lnTo>
                    <a:pt x="43" y="33"/>
                  </a:lnTo>
                  <a:lnTo>
                    <a:pt x="34" y="25"/>
                  </a:lnTo>
                  <a:lnTo>
                    <a:pt x="24" y="16"/>
                  </a:lnTo>
                  <a:lnTo>
                    <a:pt x="13" y="7"/>
                  </a:lnTo>
                  <a:lnTo>
                    <a:pt x="0" y="0"/>
                  </a:lnTo>
                  <a:lnTo>
                    <a:pt x="1" y="8"/>
                  </a:lnTo>
                  <a:lnTo>
                    <a:pt x="5" y="20"/>
                  </a:lnTo>
                  <a:lnTo>
                    <a:pt x="11" y="32"/>
                  </a:lnTo>
                  <a:lnTo>
                    <a:pt x="18" y="44"/>
                  </a:lnTo>
                  <a:lnTo>
                    <a:pt x="27" y="57"/>
                  </a:lnTo>
                  <a:lnTo>
                    <a:pt x="36" y="67"/>
                  </a:lnTo>
                  <a:lnTo>
                    <a:pt x="40" y="72"/>
                  </a:lnTo>
                  <a:lnTo>
                    <a:pt x="45" y="76"/>
                  </a:lnTo>
                  <a:lnTo>
                    <a:pt x="49" y="79"/>
                  </a:lnTo>
                  <a:lnTo>
                    <a:pt x="52" y="80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8" name="Freeform 155"/>
            <p:cNvSpPr>
              <a:spLocks/>
            </p:cNvSpPr>
            <p:nvPr/>
          </p:nvSpPr>
          <p:spPr bwMode="auto">
            <a:xfrm>
              <a:off x="5570" y="2825"/>
              <a:ext cx="25" cy="11"/>
            </a:xfrm>
            <a:custGeom>
              <a:avLst/>
              <a:gdLst>
                <a:gd name="T0" fmla="*/ 0 w 74"/>
                <a:gd name="T1" fmla="*/ 1 h 31"/>
                <a:gd name="T2" fmla="*/ 0 w 74"/>
                <a:gd name="T3" fmla="*/ 1 h 31"/>
                <a:gd name="T4" fmla="*/ 1 w 74"/>
                <a:gd name="T5" fmla="*/ 2 h 31"/>
                <a:gd name="T6" fmla="*/ 1 w 74"/>
                <a:gd name="T7" fmla="*/ 2 h 31"/>
                <a:gd name="T8" fmla="*/ 2 w 74"/>
                <a:gd name="T9" fmla="*/ 2 h 31"/>
                <a:gd name="T10" fmla="*/ 2 w 74"/>
                <a:gd name="T11" fmla="*/ 3 h 31"/>
                <a:gd name="T12" fmla="*/ 3 w 74"/>
                <a:gd name="T13" fmla="*/ 3 h 31"/>
                <a:gd name="T14" fmla="*/ 3 w 74"/>
                <a:gd name="T15" fmla="*/ 4 h 31"/>
                <a:gd name="T16" fmla="*/ 4 w 74"/>
                <a:gd name="T17" fmla="*/ 4 h 31"/>
                <a:gd name="T18" fmla="*/ 5 w 74"/>
                <a:gd name="T19" fmla="*/ 4 h 31"/>
                <a:gd name="T20" fmla="*/ 7 w 74"/>
                <a:gd name="T21" fmla="*/ 4 h 31"/>
                <a:gd name="T22" fmla="*/ 7 w 74"/>
                <a:gd name="T23" fmla="*/ 4 h 31"/>
                <a:gd name="T24" fmla="*/ 8 w 74"/>
                <a:gd name="T25" fmla="*/ 4 h 31"/>
                <a:gd name="T26" fmla="*/ 8 w 74"/>
                <a:gd name="T27" fmla="*/ 4 h 31"/>
                <a:gd name="T28" fmla="*/ 8 w 74"/>
                <a:gd name="T29" fmla="*/ 3 h 31"/>
                <a:gd name="T30" fmla="*/ 7 w 74"/>
                <a:gd name="T31" fmla="*/ 2 h 31"/>
                <a:gd name="T32" fmla="*/ 6 w 74"/>
                <a:gd name="T33" fmla="*/ 2 h 31"/>
                <a:gd name="T34" fmla="*/ 6 w 74"/>
                <a:gd name="T35" fmla="*/ 1 h 31"/>
                <a:gd name="T36" fmla="*/ 5 w 74"/>
                <a:gd name="T37" fmla="*/ 1 h 31"/>
                <a:gd name="T38" fmla="*/ 5 w 74"/>
                <a:gd name="T39" fmla="*/ 1 h 31"/>
                <a:gd name="T40" fmla="*/ 5 w 74"/>
                <a:gd name="T41" fmla="*/ 0 h 31"/>
                <a:gd name="T42" fmla="*/ 4 w 74"/>
                <a:gd name="T43" fmla="*/ 0 h 31"/>
                <a:gd name="T44" fmla="*/ 3 w 74"/>
                <a:gd name="T45" fmla="*/ 0 h 31"/>
                <a:gd name="T46" fmla="*/ 2 w 74"/>
                <a:gd name="T47" fmla="*/ 0 h 31"/>
                <a:gd name="T48" fmla="*/ 2 w 74"/>
                <a:gd name="T49" fmla="*/ 0 h 31"/>
                <a:gd name="T50" fmla="*/ 2 w 74"/>
                <a:gd name="T51" fmla="*/ 0 h 31"/>
                <a:gd name="T52" fmla="*/ 1 w 74"/>
                <a:gd name="T53" fmla="*/ 0 h 31"/>
                <a:gd name="T54" fmla="*/ 1 w 74"/>
                <a:gd name="T55" fmla="*/ 0 h 31"/>
                <a:gd name="T56" fmla="*/ 0 w 74"/>
                <a:gd name="T57" fmla="*/ 1 h 3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74"/>
                <a:gd name="T88" fmla="*/ 0 h 31"/>
                <a:gd name="T89" fmla="*/ 74 w 74"/>
                <a:gd name="T90" fmla="*/ 31 h 31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74" h="31">
                  <a:moveTo>
                    <a:pt x="0" y="7"/>
                  </a:moveTo>
                  <a:lnTo>
                    <a:pt x="3" y="11"/>
                  </a:lnTo>
                  <a:lnTo>
                    <a:pt x="5" y="15"/>
                  </a:lnTo>
                  <a:lnTo>
                    <a:pt x="9" y="18"/>
                  </a:lnTo>
                  <a:lnTo>
                    <a:pt x="14" y="21"/>
                  </a:lnTo>
                  <a:lnTo>
                    <a:pt x="18" y="24"/>
                  </a:lnTo>
                  <a:lnTo>
                    <a:pt x="23" y="26"/>
                  </a:lnTo>
                  <a:lnTo>
                    <a:pt x="29" y="28"/>
                  </a:lnTo>
                  <a:lnTo>
                    <a:pt x="34" y="29"/>
                  </a:lnTo>
                  <a:lnTo>
                    <a:pt x="47" y="31"/>
                  </a:lnTo>
                  <a:lnTo>
                    <a:pt x="58" y="31"/>
                  </a:lnTo>
                  <a:lnTo>
                    <a:pt x="63" y="30"/>
                  </a:lnTo>
                  <a:lnTo>
                    <a:pt x="67" y="29"/>
                  </a:lnTo>
                  <a:lnTo>
                    <a:pt x="71" y="27"/>
                  </a:lnTo>
                  <a:lnTo>
                    <a:pt x="74" y="25"/>
                  </a:lnTo>
                  <a:lnTo>
                    <a:pt x="64" y="18"/>
                  </a:lnTo>
                  <a:lnTo>
                    <a:pt x="55" y="13"/>
                  </a:lnTo>
                  <a:lnTo>
                    <a:pt x="51" y="10"/>
                  </a:lnTo>
                  <a:lnTo>
                    <a:pt x="47" y="8"/>
                  </a:lnTo>
                  <a:lnTo>
                    <a:pt x="43" y="5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8" y="1"/>
                  </a:lnTo>
                  <a:lnTo>
                    <a:pt x="22" y="1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6" y="3"/>
                  </a:lnTo>
                  <a:lnTo>
                    <a:pt x="0" y="7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9" name="Freeform 156"/>
            <p:cNvSpPr>
              <a:spLocks/>
            </p:cNvSpPr>
            <p:nvPr/>
          </p:nvSpPr>
          <p:spPr bwMode="auto">
            <a:xfrm>
              <a:off x="5562" y="2819"/>
              <a:ext cx="6" cy="1"/>
            </a:xfrm>
            <a:custGeom>
              <a:avLst/>
              <a:gdLst>
                <a:gd name="T0" fmla="*/ 2 w 20"/>
                <a:gd name="T1" fmla="*/ 0 h 1"/>
                <a:gd name="T2" fmla="*/ 0 w 20"/>
                <a:gd name="T3" fmla="*/ 0 h 1"/>
                <a:gd name="T4" fmla="*/ 1 w 20"/>
                <a:gd name="T5" fmla="*/ 0 h 1"/>
                <a:gd name="T6" fmla="*/ 2 w 20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0"/>
                <a:gd name="T13" fmla="*/ 0 h 1"/>
                <a:gd name="T14" fmla="*/ 20 w 20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0" h="1">
                  <a:moveTo>
                    <a:pt x="20" y="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0" y="0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0" name="Freeform 157"/>
            <p:cNvSpPr>
              <a:spLocks/>
            </p:cNvSpPr>
            <p:nvPr/>
          </p:nvSpPr>
          <p:spPr bwMode="auto">
            <a:xfrm>
              <a:off x="5509" y="2769"/>
              <a:ext cx="32" cy="21"/>
            </a:xfrm>
            <a:custGeom>
              <a:avLst/>
              <a:gdLst>
                <a:gd name="T0" fmla="*/ 1 w 100"/>
                <a:gd name="T1" fmla="*/ 3 h 65"/>
                <a:gd name="T2" fmla="*/ 4 w 100"/>
                <a:gd name="T3" fmla="*/ 4 h 65"/>
                <a:gd name="T4" fmla="*/ 6 w 100"/>
                <a:gd name="T5" fmla="*/ 6 h 65"/>
                <a:gd name="T6" fmla="*/ 7 w 100"/>
                <a:gd name="T7" fmla="*/ 6 h 65"/>
                <a:gd name="T8" fmla="*/ 9 w 100"/>
                <a:gd name="T9" fmla="*/ 7 h 65"/>
                <a:gd name="T10" fmla="*/ 9 w 100"/>
                <a:gd name="T11" fmla="*/ 7 h 65"/>
                <a:gd name="T12" fmla="*/ 9 w 100"/>
                <a:gd name="T13" fmla="*/ 7 h 65"/>
                <a:gd name="T14" fmla="*/ 10 w 100"/>
                <a:gd name="T15" fmla="*/ 7 h 65"/>
                <a:gd name="T16" fmla="*/ 10 w 100"/>
                <a:gd name="T17" fmla="*/ 6 h 65"/>
                <a:gd name="T18" fmla="*/ 10 w 100"/>
                <a:gd name="T19" fmla="*/ 6 h 65"/>
                <a:gd name="T20" fmla="*/ 9 w 100"/>
                <a:gd name="T21" fmla="*/ 6 h 65"/>
                <a:gd name="T22" fmla="*/ 9 w 100"/>
                <a:gd name="T23" fmla="*/ 5 h 65"/>
                <a:gd name="T24" fmla="*/ 8 w 100"/>
                <a:gd name="T25" fmla="*/ 5 h 65"/>
                <a:gd name="T26" fmla="*/ 7 w 100"/>
                <a:gd name="T27" fmla="*/ 4 h 65"/>
                <a:gd name="T28" fmla="*/ 6 w 100"/>
                <a:gd name="T29" fmla="*/ 2 h 65"/>
                <a:gd name="T30" fmla="*/ 5 w 100"/>
                <a:gd name="T31" fmla="*/ 2 h 65"/>
                <a:gd name="T32" fmla="*/ 5 w 100"/>
                <a:gd name="T33" fmla="*/ 1 h 65"/>
                <a:gd name="T34" fmla="*/ 4 w 100"/>
                <a:gd name="T35" fmla="*/ 0 h 65"/>
                <a:gd name="T36" fmla="*/ 4 w 100"/>
                <a:gd name="T37" fmla="*/ 0 h 65"/>
                <a:gd name="T38" fmla="*/ 3 w 100"/>
                <a:gd name="T39" fmla="*/ 0 h 65"/>
                <a:gd name="T40" fmla="*/ 2 w 100"/>
                <a:gd name="T41" fmla="*/ 0 h 65"/>
                <a:gd name="T42" fmla="*/ 1 w 100"/>
                <a:gd name="T43" fmla="*/ 0 h 65"/>
                <a:gd name="T44" fmla="*/ 0 w 100"/>
                <a:gd name="T45" fmla="*/ 1 h 65"/>
                <a:gd name="T46" fmla="*/ 1 w 100"/>
                <a:gd name="T47" fmla="*/ 3 h 6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00"/>
                <a:gd name="T73" fmla="*/ 0 h 65"/>
                <a:gd name="T74" fmla="*/ 100 w 100"/>
                <a:gd name="T75" fmla="*/ 65 h 65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00" h="65">
                  <a:moveTo>
                    <a:pt x="7" y="25"/>
                  </a:moveTo>
                  <a:lnTo>
                    <a:pt x="35" y="40"/>
                  </a:lnTo>
                  <a:lnTo>
                    <a:pt x="61" y="55"/>
                  </a:lnTo>
                  <a:lnTo>
                    <a:pt x="72" y="60"/>
                  </a:lnTo>
                  <a:lnTo>
                    <a:pt x="83" y="65"/>
                  </a:lnTo>
                  <a:lnTo>
                    <a:pt x="87" y="65"/>
                  </a:lnTo>
                  <a:lnTo>
                    <a:pt x="91" y="65"/>
                  </a:lnTo>
                  <a:lnTo>
                    <a:pt x="96" y="65"/>
                  </a:lnTo>
                  <a:lnTo>
                    <a:pt x="100" y="62"/>
                  </a:lnTo>
                  <a:lnTo>
                    <a:pt x="94" y="60"/>
                  </a:lnTo>
                  <a:lnTo>
                    <a:pt x="88" y="56"/>
                  </a:lnTo>
                  <a:lnTo>
                    <a:pt x="83" y="52"/>
                  </a:lnTo>
                  <a:lnTo>
                    <a:pt x="78" y="46"/>
                  </a:lnTo>
                  <a:lnTo>
                    <a:pt x="67" y="34"/>
                  </a:lnTo>
                  <a:lnTo>
                    <a:pt x="57" y="21"/>
                  </a:lnTo>
                  <a:lnTo>
                    <a:pt x="52" y="15"/>
                  </a:lnTo>
                  <a:lnTo>
                    <a:pt x="46" y="10"/>
                  </a:lnTo>
                  <a:lnTo>
                    <a:pt x="40" y="4"/>
                  </a:lnTo>
                  <a:lnTo>
                    <a:pt x="33" y="1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0" y="6"/>
                  </a:lnTo>
                  <a:lnTo>
                    <a:pt x="7" y="25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1" name="Freeform 158"/>
            <p:cNvSpPr>
              <a:spLocks/>
            </p:cNvSpPr>
            <p:nvPr/>
          </p:nvSpPr>
          <p:spPr bwMode="auto">
            <a:xfrm>
              <a:off x="5486" y="2743"/>
              <a:ext cx="24" cy="34"/>
            </a:xfrm>
            <a:custGeom>
              <a:avLst/>
              <a:gdLst>
                <a:gd name="T0" fmla="*/ 7 w 79"/>
                <a:gd name="T1" fmla="*/ 9 h 104"/>
                <a:gd name="T2" fmla="*/ 5 w 79"/>
                <a:gd name="T3" fmla="*/ 7 h 104"/>
                <a:gd name="T4" fmla="*/ 4 w 79"/>
                <a:gd name="T5" fmla="*/ 4 h 104"/>
                <a:gd name="T6" fmla="*/ 3 w 79"/>
                <a:gd name="T7" fmla="*/ 2 h 104"/>
                <a:gd name="T8" fmla="*/ 1 w 79"/>
                <a:gd name="T9" fmla="*/ 0 h 104"/>
                <a:gd name="T10" fmla="*/ 1 w 79"/>
                <a:gd name="T11" fmla="*/ 2 h 104"/>
                <a:gd name="T12" fmla="*/ 0 w 79"/>
                <a:gd name="T13" fmla="*/ 4 h 104"/>
                <a:gd name="T14" fmla="*/ 0 w 79"/>
                <a:gd name="T15" fmla="*/ 4 h 104"/>
                <a:gd name="T16" fmla="*/ 0 w 79"/>
                <a:gd name="T17" fmla="*/ 5 h 104"/>
                <a:gd name="T18" fmla="*/ 0 w 79"/>
                <a:gd name="T19" fmla="*/ 6 h 104"/>
                <a:gd name="T20" fmla="*/ 0 w 79"/>
                <a:gd name="T21" fmla="*/ 7 h 104"/>
                <a:gd name="T22" fmla="*/ 0 w 79"/>
                <a:gd name="T23" fmla="*/ 7 h 104"/>
                <a:gd name="T24" fmla="*/ 0 w 79"/>
                <a:gd name="T25" fmla="*/ 8 h 104"/>
                <a:gd name="T26" fmla="*/ 1 w 79"/>
                <a:gd name="T27" fmla="*/ 9 h 104"/>
                <a:gd name="T28" fmla="*/ 1 w 79"/>
                <a:gd name="T29" fmla="*/ 9 h 104"/>
                <a:gd name="T30" fmla="*/ 1 w 79"/>
                <a:gd name="T31" fmla="*/ 9 h 104"/>
                <a:gd name="T32" fmla="*/ 2 w 79"/>
                <a:gd name="T33" fmla="*/ 9 h 104"/>
                <a:gd name="T34" fmla="*/ 2 w 79"/>
                <a:gd name="T35" fmla="*/ 10 h 104"/>
                <a:gd name="T36" fmla="*/ 3 w 79"/>
                <a:gd name="T37" fmla="*/ 10 h 104"/>
                <a:gd name="T38" fmla="*/ 4 w 79"/>
                <a:gd name="T39" fmla="*/ 10 h 104"/>
                <a:gd name="T40" fmla="*/ 5 w 79"/>
                <a:gd name="T41" fmla="*/ 10 h 104"/>
                <a:gd name="T42" fmla="*/ 6 w 79"/>
                <a:gd name="T43" fmla="*/ 11 h 104"/>
                <a:gd name="T44" fmla="*/ 7 w 79"/>
                <a:gd name="T45" fmla="*/ 11 h 104"/>
                <a:gd name="T46" fmla="*/ 7 w 79"/>
                <a:gd name="T47" fmla="*/ 9 h 10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79"/>
                <a:gd name="T73" fmla="*/ 0 h 104"/>
                <a:gd name="T74" fmla="*/ 79 w 79"/>
                <a:gd name="T75" fmla="*/ 104 h 104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79" h="104">
                  <a:moveTo>
                    <a:pt x="72" y="85"/>
                  </a:moveTo>
                  <a:lnTo>
                    <a:pt x="56" y="61"/>
                  </a:lnTo>
                  <a:lnTo>
                    <a:pt x="43" y="41"/>
                  </a:lnTo>
                  <a:lnTo>
                    <a:pt x="29" y="20"/>
                  </a:lnTo>
                  <a:lnTo>
                    <a:pt x="12" y="0"/>
                  </a:lnTo>
                  <a:lnTo>
                    <a:pt x="6" y="16"/>
                  </a:lnTo>
                  <a:lnTo>
                    <a:pt x="2" y="33"/>
                  </a:lnTo>
                  <a:lnTo>
                    <a:pt x="0" y="40"/>
                  </a:lnTo>
                  <a:lnTo>
                    <a:pt x="0" y="48"/>
                  </a:lnTo>
                  <a:lnTo>
                    <a:pt x="0" y="55"/>
                  </a:lnTo>
                  <a:lnTo>
                    <a:pt x="0" y="62"/>
                  </a:lnTo>
                  <a:lnTo>
                    <a:pt x="1" y="68"/>
                  </a:lnTo>
                  <a:lnTo>
                    <a:pt x="3" y="74"/>
                  </a:lnTo>
                  <a:lnTo>
                    <a:pt x="6" y="79"/>
                  </a:lnTo>
                  <a:lnTo>
                    <a:pt x="10" y="83"/>
                  </a:lnTo>
                  <a:lnTo>
                    <a:pt x="14" y="88"/>
                  </a:lnTo>
                  <a:lnTo>
                    <a:pt x="20" y="90"/>
                  </a:lnTo>
                  <a:lnTo>
                    <a:pt x="25" y="92"/>
                  </a:lnTo>
                  <a:lnTo>
                    <a:pt x="33" y="92"/>
                  </a:lnTo>
                  <a:lnTo>
                    <a:pt x="43" y="93"/>
                  </a:lnTo>
                  <a:lnTo>
                    <a:pt x="54" y="96"/>
                  </a:lnTo>
                  <a:lnTo>
                    <a:pt x="65" y="100"/>
                  </a:lnTo>
                  <a:lnTo>
                    <a:pt x="79" y="104"/>
                  </a:lnTo>
                  <a:lnTo>
                    <a:pt x="72" y="85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162" name="Freeform 159"/>
          <p:cNvSpPr>
            <a:spLocks/>
          </p:cNvSpPr>
          <p:nvPr userDrawn="1">
            <p:custDataLst>
              <p:tags r:id="rId90"/>
            </p:custDataLst>
          </p:nvPr>
        </p:nvSpPr>
        <p:spPr bwMode="auto">
          <a:xfrm>
            <a:off x="4287847" y="2849170"/>
            <a:ext cx="11113" cy="41672"/>
          </a:xfrm>
          <a:custGeom>
            <a:avLst/>
            <a:gdLst>
              <a:gd name="T0" fmla="*/ 4574029 w 27"/>
              <a:gd name="T1" fmla="*/ 0 h 19"/>
              <a:gd name="T2" fmla="*/ 4574029 w 27"/>
              <a:gd name="T3" fmla="*/ 102620094 h 19"/>
              <a:gd name="T4" fmla="*/ 4574029 w 27"/>
              <a:gd name="T5" fmla="*/ 162480814 h 19"/>
              <a:gd name="T6" fmla="*/ 1524539 w 27"/>
              <a:gd name="T7" fmla="*/ 162480814 h 19"/>
              <a:gd name="T8" fmla="*/ 0 w 27"/>
              <a:gd name="T9" fmla="*/ 162480814 h 19"/>
              <a:gd name="T10" fmla="*/ 1524539 w 27"/>
              <a:gd name="T11" fmla="*/ 102620094 h 19"/>
              <a:gd name="T12" fmla="*/ 4574029 w 27"/>
              <a:gd name="T13" fmla="*/ 0 h 1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19"/>
              <a:gd name="T23" fmla="*/ 27 w 27"/>
              <a:gd name="T24" fmla="*/ 19 h 1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163" name="Freeform 160"/>
          <p:cNvSpPr>
            <a:spLocks/>
          </p:cNvSpPr>
          <p:nvPr userDrawn="1">
            <p:custDataLst>
              <p:tags r:id="rId91"/>
            </p:custDataLst>
          </p:nvPr>
        </p:nvSpPr>
        <p:spPr bwMode="auto">
          <a:xfrm>
            <a:off x="4211638" y="2953947"/>
            <a:ext cx="14288" cy="42863"/>
          </a:xfrm>
          <a:custGeom>
            <a:avLst/>
            <a:gdLst>
              <a:gd name="T0" fmla="*/ 0 w 39"/>
              <a:gd name="T1" fmla="*/ 0 h 35"/>
              <a:gd name="T2" fmla="*/ 5234536 w 39"/>
              <a:gd name="T3" fmla="*/ 0 h 35"/>
              <a:gd name="T4" fmla="*/ 4831908 w 39"/>
              <a:gd name="T5" fmla="*/ 23996464 h 35"/>
              <a:gd name="T6" fmla="*/ 4429280 w 39"/>
              <a:gd name="T7" fmla="*/ 50657751 h 35"/>
              <a:gd name="T8" fmla="*/ 3624023 w 39"/>
              <a:gd name="T9" fmla="*/ 74654222 h 35"/>
              <a:gd name="T10" fmla="*/ 2952853 w 39"/>
              <a:gd name="T11" fmla="*/ 90651316 h 35"/>
              <a:gd name="T12" fmla="*/ 2550225 w 39"/>
              <a:gd name="T13" fmla="*/ 93317771 h 35"/>
              <a:gd name="T14" fmla="*/ 2147596 w 39"/>
              <a:gd name="T15" fmla="*/ 93317771 h 35"/>
              <a:gd name="T16" fmla="*/ 1744968 w 39"/>
              <a:gd name="T17" fmla="*/ 90651316 h 35"/>
              <a:gd name="T18" fmla="*/ 1476426 w 39"/>
              <a:gd name="T19" fmla="*/ 82653585 h 35"/>
              <a:gd name="T20" fmla="*/ 939711 w 39"/>
              <a:gd name="T21" fmla="*/ 69321312 h 35"/>
              <a:gd name="T22" fmla="*/ 671170 w 39"/>
              <a:gd name="T23" fmla="*/ 53324205 h 35"/>
              <a:gd name="T24" fmla="*/ 268541 w 39"/>
              <a:gd name="T25" fmla="*/ 29327747 h 35"/>
              <a:gd name="T26" fmla="*/ 0 w 39"/>
              <a:gd name="T27" fmla="*/ 0 h 35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39"/>
              <a:gd name="T43" fmla="*/ 0 h 35"/>
              <a:gd name="T44" fmla="*/ 39 w 39"/>
              <a:gd name="T45" fmla="*/ 35 h 35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39" h="35">
                <a:moveTo>
                  <a:pt x="0" y="0"/>
                </a:moveTo>
                <a:lnTo>
                  <a:pt x="39" y="0"/>
                </a:lnTo>
                <a:lnTo>
                  <a:pt x="36" y="9"/>
                </a:lnTo>
                <a:lnTo>
                  <a:pt x="33" y="19"/>
                </a:lnTo>
                <a:lnTo>
                  <a:pt x="27" y="28"/>
                </a:lnTo>
                <a:lnTo>
                  <a:pt x="22" y="34"/>
                </a:lnTo>
                <a:lnTo>
                  <a:pt x="19" y="35"/>
                </a:lnTo>
                <a:lnTo>
                  <a:pt x="16" y="35"/>
                </a:lnTo>
                <a:lnTo>
                  <a:pt x="13" y="34"/>
                </a:lnTo>
                <a:lnTo>
                  <a:pt x="11" y="31"/>
                </a:lnTo>
                <a:lnTo>
                  <a:pt x="7" y="26"/>
                </a:lnTo>
                <a:lnTo>
                  <a:pt x="5" y="20"/>
                </a:lnTo>
                <a:lnTo>
                  <a:pt x="2" y="11"/>
                </a:lnTo>
                <a:lnTo>
                  <a:pt x="0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164" name="Freeform 161"/>
          <p:cNvSpPr>
            <a:spLocks/>
          </p:cNvSpPr>
          <p:nvPr userDrawn="1">
            <p:custDataLst>
              <p:tags r:id="rId92"/>
            </p:custDataLst>
          </p:nvPr>
        </p:nvSpPr>
        <p:spPr bwMode="auto">
          <a:xfrm>
            <a:off x="5972178" y="1699034"/>
            <a:ext cx="728662" cy="248840"/>
          </a:xfrm>
          <a:custGeom>
            <a:avLst/>
            <a:gdLst>
              <a:gd name="T0" fmla="*/ 5963114 w 1688"/>
              <a:gd name="T1" fmla="*/ 59909139 h 630"/>
              <a:gd name="T2" fmla="*/ 16025386 w 1688"/>
              <a:gd name="T3" fmla="*/ 69061734 h 630"/>
              <a:gd name="T4" fmla="*/ 28882734 w 1688"/>
              <a:gd name="T5" fmla="*/ 73222236 h 630"/>
              <a:gd name="T6" fmla="*/ 35590912 w 1688"/>
              <a:gd name="T7" fmla="*/ 77937296 h 630"/>
              <a:gd name="T8" fmla="*/ 44349098 w 1688"/>
              <a:gd name="T9" fmla="*/ 91804934 h 630"/>
              <a:gd name="T10" fmla="*/ 47144172 w 1688"/>
              <a:gd name="T11" fmla="*/ 96797009 h 630"/>
              <a:gd name="T12" fmla="*/ 47330654 w 1688"/>
              <a:gd name="T13" fmla="*/ 107059230 h 630"/>
              <a:gd name="T14" fmla="*/ 50870794 w 1688"/>
              <a:gd name="T15" fmla="*/ 113161475 h 630"/>
              <a:gd name="T16" fmla="*/ 63542098 w 1688"/>
              <a:gd name="T17" fmla="*/ 115380234 h 630"/>
              <a:gd name="T18" fmla="*/ 86275655 w 1688"/>
              <a:gd name="T19" fmla="*/ 125364912 h 630"/>
              <a:gd name="T20" fmla="*/ 101742019 w 1688"/>
              <a:gd name="T21" fmla="*/ 130079972 h 630"/>
              <a:gd name="T22" fmla="*/ 107145685 w 1688"/>
              <a:gd name="T23" fmla="*/ 141451342 h 630"/>
              <a:gd name="T24" fmla="*/ 115903899 w 1688"/>
              <a:gd name="T25" fmla="*/ 150326904 h 630"/>
              <a:gd name="T26" fmla="*/ 124848136 w 1688"/>
              <a:gd name="T27" fmla="*/ 153932848 h 630"/>
              <a:gd name="T28" fmla="*/ 170874265 w 1688"/>
              <a:gd name="T29" fmla="*/ 159757024 h 630"/>
              <a:gd name="T30" fmla="*/ 193235290 w 1688"/>
              <a:gd name="T31" fmla="*/ 170296787 h 630"/>
              <a:gd name="T32" fmla="*/ 208142208 w 1688"/>
              <a:gd name="T33" fmla="*/ 174734305 h 630"/>
              <a:gd name="T34" fmla="*/ 215595883 w 1688"/>
              <a:gd name="T35" fmla="*/ 170019245 h 630"/>
              <a:gd name="T36" fmla="*/ 250441769 w 1688"/>
              <a:gd name="T37" fmla="*/ 156428623 h 630"/>
              <a:gd name="T38" fmla="*/ 259945021 w 1688"/>
              <a:gd name="T39" fmla="*/ 141451342 h 630"/>
              <a:gd name="T40" fmla="*/ 261436015 w 1688"/>
              <a:gd name="T41" fmla="*/ 133962932 h 630"/>
              <a:gd name="T42" fmla="*/ 258267977 w 1688"/>
              <a:gd name="T43" fmla="*/ 126197013 h 630"/>
              <a:gd name="T44" fmla="*/ 255286420 w 1688"/>
              <a:gd name="T45" fmla="*/ 115102692 h 630"/>
              <a:gd name="T46" fmla="*/ 279324489 w 1688"/>
              <a:gd name="T47" fmla="*/ 109278516 h 630"/>
              <a:gd name="T48" fmla="*/ 297026913 w 1688"/>
              <a:gd name="T49" fmla="*/ 95133335 h 630"/>
              <a:gd name="T50" fmla="*/ 307648195 w 1688"/>
              <a:gd name="T51" fmla="*/ 90140733 h 630"/>
              <a:gd name="T52" fmla="*/ 314542855 w 1688"/>
              <a:gd name="T53" fmla="*/ 82374813 h 630"/>
              <a:gd name="T54" fmla="*/ 308580174 w 1688"/>
              <a:gd name="T55" fmla="*/ 77382211 h 630"/>
              <a:gd name="T56" fmla="*/ 301685514 w 1688"/>
              <a:gd name="T57" fmla="*/ 69893834 h 630"/>
              <a:gd name="T58" fmla="*/ 294976904 w 1688"/>
              <a:gd name="T59" fmla="*/ 68784175 h 630"/>
              <a:gd name="T60" fmla="*/ 289386756 w 1688"/>
              <a:gd name="T61" fmla="*/ 71558035 h 630"/>
              <a:gd name="T62" fmla="*/ 278951957 w 1688"/>
              <a:gd name="T63" fmla="*/ 71002950 h 630"/>
              <a:gd name="T64" fmla="*/ 271498282 w 1688"/>
              <a:gd name="T65" fmla="*/ 65178757 h 630"/>
              <a:gd name="T66" fmla="*/ 267212214 w 1688"/>
              <a:gd name="T67" fmla="*/ 51865678 h 630"/>
              <a:gd name="T68" fmla="*/ 254727406 w 1688"/>
              <a:gd name="T69" fmla="*/ 34392087 h 630"/>
              <a:gd name="T70" fmla="*/ 239634005 w 1688"/>
              <a:gd name="T71" fmla="*/ 33282971 h 630"/>
              <a:gd name="T72" fmla="*/ 234789354 w 1688"/>
              <a:gd name="T73" fmla="*/ 40771356 h 630"/>
              <a:gd name="T74" fmla="*/ 230316804 w 1688"/>
              <a:gd name="T75" fmla="*/ 45763959 h 630"/>
              <a:gd name="T76" fmla="*/ 217645891 w 1688"/>
              <a:gd name="T77" fmla="*/ 46318517 h 630"/>
              <a:gd name="T78" fmla="*/ 194539370 w 1688"/>
              <a:gd name="T79" fmla="*/ 46318517 h 630"/>
              <a:gd name="T80" fmla="*/ 183731606 w 1688"/>
              <a:gd name="T81" fmla="*/ 38829613 h 630"/>
              <a:gd name="T82" fmla="*/ 171805813 w 1688"/>
              <a:gd name="T83" fmla="*/ 29954570 h 630"/>
              <a:gd name="T84" fmla="*/ 158761990 w 1688"/>
              <a:gd name="T85" fmla="*/ 27735811 h 630"/>
              <a:gd name="T86" fmla="*/ 149258738 w 1688"/>
              <a:gd name="T87" fmla="*/ 31618770 h 630"/>
              <a:gd name="T88" fmla="*/ 137891959 w 1688"/>
              <a:gd name="T89" fmla="*/ 32173328 h 630"/>
              <a:gd name="T90" fmla="*/ 128947722 w 1688"/>
              <a:gd name="T91" fmla="*/ 28012826 h 630"/>
              <a:gd name="T92" fmla="*/ 123357574 w 1688"/>
              <a:gd name="T93" fmla="*/ 18860249 h 630"/>
              <a:gd name="T94" fmla="*/ 83108048 w 1688"/>
              <a:gd name="T95" fmla="*/ 1941744 h 630"/>
              <a:gd name="T96" fmla="*/ 83108048 w 1688"/>
              <a:gd name="T97" fmla="*/ 12203441 h 630"/>
              <a:gd name="T98" fmla="*/ 87766217 w 1688"/>
              <a:gd name="T99" fmla="*/ 21911108 h 630"/>
              <a:gd name="T100" fmla="*/ 91306788 w 1688"/>
              <a:gd name="T101" fmla="*/ 29399485 h 630"/>
              <a:gd name="T102" fmla="*/ 57206453 w 1688"/>
              <a:gd name="T103" fmla="*/ 33837529 h 630"/>
              <a:gd name="T104" fmla="*/ 54784329 w 1688"/>
              <a:gd name="T105" fmla="*/ 24129867 h 630"/>
              <a:gd name="T106" fmla="*/ 41926557 w 1688"/>
              <a:gd name="T107" fmla="*/ 26903710 h 630"/>
              <a:gd name="T108" fmla="*/ 34472882 w 1688"/>
              <a:gd name="T109" fmla="*/ 24407409 h 630"/>
              <a:gd name="T110" fmla="*/ 25715120 w 1688"/>
              <a:gd name="T111" fmla="*/ 26903710 h 630"/>
              <a:gd name="T112" fmla="*/ 12671294 w 1688"/>
              <a:gd name="T113" fmla="*/ 39661714 h 630"/>
              <a:gd name="T114" fmla="*/ 5776632 w 1688"/>
              <a:gd name="T115" fmla="*/ 41880999 h 630"/>
              <a:gd name="T116" fmla="*/ 745497 w 1688"/>
              <a:gd name="T117" fmla="*/ 46873075 h 63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688"/>
              <a:gd name="T178" fmla="*/ 0 h 630"/>
              <a:gd name="T179" fmla="*/ 1688 w 1688"/>
              <a:gd name="T180" fmla="*/ 630 h 630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688" h="630">
                <a:moveTo>
                  <a:pt x="0" y="180"/>
                </a:moveTo>
                <a:lnTo>
                  <a:pt x="7" y="190"/>
                </a:lnTo>
                <a:lnTo>
                  <a:pt x="15" y="199"/>
                </a:lnTo>
                <a:lnTo>
                  <a:pt x="22" y="208"/>
                </a:lnTo>
                <a:lnTo>
                  <a:pt x="32" y="216"/>
                </a:lnTo>
                <a:lnTo>
                  <a:pt x="41" y="224"/>
                </a:lnTo>
                <a:lnTo>
                  <a:pt x="51" y="232"/>
                </a:lnTo>
                <a:lnTo>
                  <a:pt x="62" y="238"/>
                </a:lnTo>
                <a:lnTo>
                  <a:pt x="74" y="244"/>
                </a:lnTo>
                <a:lnTo>
                  <a:pt x="86" y="249"/>
                </a:lnTo>
                <a:lnTo>
                  <a:pt x="99" y="253"/>
                </a:lnTo>
                <a:lnTo>
                  <a:pt x="112" y="257"/>
                </a:lnTo>
                <a:lnTo>
                  <a:pt x="126" y="260"/>
                </a:lnTo>
                <a:lnTo>
                  <a:pt x="140" y="262"/>
                </a:lnTo>
                <a:lnTo>
                  <a:pt x="155" y="264"/>
                </a:lnTo>
                <a:lnTo>
                  <a:pt x="171" y="265"/>
                </a:lnTo>
                <a:lnTo>
                  <a:pt x="187" y="266"/>
                </a:lnTo>
                <a:lnTo>
                  <a:pt x="187" y="270"/>
                </a:lnTo>
                <a:lnTo>
                  <a:pt x="189" y="276"/>
                </a:lnTo>
                <a:lnTo>
                  <a:pt x="191" y="281"/>
                </a:lnTo>
                <a:lnTo>
                  <a:pt x="196" y="288"/>
                </a:lnTo>
                <a:lnTo>
                  <a:pt x="205" y="300"/>
                </a:lnTo>
                <a:lnTo>
                  <a:pt x="215" y="312"/>
                </a:lnTo>
                <a:lnTo>
                  <a:pt x="227" y="323"/>
                </a:lnTo>
                <a:lnTo>
                  <a:pt x="238" y="331"/>
                </a:lnTo>
                <a:lnTo>
                  <a:pt x="242" y="335"/>
                </a:lnTo>
                <a:lnTo>
                  <a:pt x="246" y="337"/>
                </a:lnTo>
                <a:lnTo>
                  <a:pt x="251" y="340"/>
                </a:lnTo>
                <a:lnTo>
                  <a:pt x="253" y="340"/>
                </a:lnTo>
                <a:lnTo>
                  <a:pt x="253" y="349"/>
                </a:lnTo>
                <a:lnTo>
                  <a:pt x="253" y="358"/>
                </a:lnTo>
                <a:lnTo>
                  <a:pt x="253" y="365"/>
                </a:lnTo>
                <a:lnTo>
                  <a:pt x="253" y="370"/>
                </a:lnTo>
                <a:lnTo>
                  <a:pt x="253" y="379"/>
                </a:lnTo>
                <a:lnTo>
                  <a:pt x="254" y="386"/>
                </a:lnTo>
                <a:lnTo>
                  <a:pt x="256" y="394"/>
                </a:lnTo>
                <a:lnTo>
                  <a:pt x="260" y="402"/>
                </a:lnTo>
                <a:lnTo>
                  <a:pt x="262" y="404"/>
                </a:lnTo>
                <a:lnTo>
                  <a:pt x="266" y="406"/>
                </a:lnTo>
                <a:lnTo>
                  <a:pt x="273" y="408"/>
                </a:lnTo>
                <a:lnTo>
                  <a:pt x="280" y="410"/>
                </a:lnTo>
                <a:lnTo>
                  <a:pt x="296" y="413"/>
                </a:lnTo>
                <a:lnTo>
                  <a:pt x="307" y="414"/>
                </a:lnTo>
                <a:lnTo>
                  <a:pt x="323" y="414"/>
                </a:lnTo>
                <a:lnTo>
                  <a:pt x="341" y="416"/>
                </a:lnTo>
                <a:lnTo>
                  <a:pt x="356" y="419"/>
                </a:lnTo>
                <a:lnTo>
                  <a:pt x="373" y="422"/>
                </a:lnTo>
                <a:lnTo>
                  <a:pt x="403" y="431"/>
                </a:lnTo>
                <a:lnTo>
                  <a:pt x="433" y="441"/>
                </a:lnTo>
                <a:lnTo>
                  <a:pt x="463" y="452"/>
                </a:lnTo>
                <a:lnTo>
                  <a:pt x="490" y="461"/>
                </a:lnTo>
                <a:lnTo>
                  <a:pt x="504" y="464"/>
                </a:lnTo>
                <a:lnTo>
                  <a:pt x="518" y="467"/>
                </a:lnTo>
                <a:lnTo>
                  <a:pt x="532" y="469"/>
                </a:lnTo>
                <a:lnTo>
                  <a:pt x="546" y="469"/>
                </a:lnTo>
                <a:lnTo>
                  <a:pt x="548" y="477"/>
                </a:lnTo>
                <a:lnTo>
                  <a:pt x="554" y="485"/>
                </a:lnTo>
                <a:lnTo>
                  <a:pt x="559" y="493"/>
                </a:lnTo>
                <a:lnTo>
                  <a:pt x="566" y="501"/>
                </a:lnTo>
                <a:lnTo>
                  <a:pt x="575" y="510"/>
                </a:lnTo>
                <a:lnTo>
                  <a:pt x="583" y="517"/>
                </a:lnTo>
                <a:lnTo>
                  <a:pt x="592" y="524"/>
                </a:lnTo>
                <a:lnTo>
                  <a:pt x="602" y="531"/>
                </a:lnTo>
                <a:lnTo>
                  <a:pt x="612" y="537"/>
                </a:lnTo>
                <a:lnTo>
                  <a:pt x="622" y="542"/>
                </a:lnTo>
                <a:lnTo>
                  <a:pt x="633" y="547"/>
                </a:lnTo>
                <a:lnTo>
                  <a:pt x="643" y="550"/>
                </a:lnTo>
                <a:lnTo>
                  <a:pt x="653" y="553"/>
                </a:lnTo>
                <a:lnTo>
                  <a:pt x="661" y="555"/>
                </a:lnTo>
                <a:lnTo>
                  <a:pt x="670" y="555"/>
                </a:lnTo>
                <a:lnTo>
                  <a:pt x="679" y="555"/>
                </a:lnTo>
                <a:lnTo>
                  <a:pt x="738" y="568"/>
                </a:lnTo>
                <a:lnTo>
                  <a:pt x="904" y="568"/>
                </a:lnTo>
                <a:lnTo>
                  <a:pt x="910" y="572"/>
                </a:lnTo>
                <a:lnTo>
                  <a:pt x="917" y="576"/>
                </a:lnTo>
                <a:lnTo>
                  <a:pt x="928" y="580"/>
                </a:lnTo>
                <a:lnTo>
                  <a:pt x="940" y="585"/>
                </a:lnTo>
                <a:lnTo>
                  <a:pt x="970" y="595"/>
                </a:lnTo>
                <a:lnTo>
                  <a:pt x="1003" y="605"/>
                </a:lnTo>
                <a:lnTo>
                  <a:pt x="1037" y="614"/>
                </a:lnTo>
                <a:lnTo>
                  <a:pt x="1070" y="623"/>
                </a:lnTo>
                <a:lnTo>
                  <a:pt x="1084" y="626"/>
                </a:lnTo>
                <a:lnTo>
                  <a:pt x="1097" y="628"/>
                </a:lnTo>
                <a:lnTo>
                  <a:pt x="1108" y="629"/>
                </a:lnTo>
                <a:lnTo>
                  <a:pt x="1117" y="630"/>
                </a:lnTo>
                <a:lnTo>
                  <a:pt x="1121" y="629"/>
                </a:lnTo>
                <a:lnTo>
                  <a:pt x="1127" y="627"/>
                </a:lnTo>
                <a:lnTo>
                  <a:pt x="1134" y="625"/>
                </a:lnTo>
                <a:lnTo>
                  <a:pt x="1140" y="622"/>
                </a:lnTo>
                <a:lnTo>
                  <a:pt x="1157" y="613"/>
                </a:lnTo>
                <a:lnTo>
                  <a:pt x="1174" y="603"/>
                </a:lnTo>
                <a:lnTo>
                  <a:pt x="1209" y="583"/>
                </a:lnTo>
                <a:lnTo>
                  <a:pt x="1237" y="568"/>
                </a:lnTo>
                <a:lnTo>
                  <a:pt x="1337" y="568"/>
                </a:lnTo>
                <a:lnTo>
                  <a:pt x="1344" y="564"/>
                </a:lnTo>
                <a:lnTo>
                  <a:pt x="1355" y="556"/>
                </a:lnTo>
                <a:lnTo>
                  <a:pt x="1366" y="546"/>
                </a:lnTo>
                <a:lnTo>
                  <a:pt x="1377" y="534"/>
                </a:lnTo>
                <a:lnTo>
                  <a:pt x="1387" y="522"/>
                </a:lnTo>
                <a:lnTo>
                  <a:pt x="1395" y="510"/>
                </a:lnTo>
                <a:lnTo>
                  <a:pt x="1398" y="503"/>
                </a:lnTo>
                <a:lnTo>
                  <a:pt x="1400" y="497"/>
                </a:lnTo>
                <a:lnTo>
                  <a:pt x="1403" y="492"/>
                </a:lnTo>
                <a:lnTo>
                  <a:pt x="1403" y="487"/>
                </a:lnTo>
                <a:lnTo>
                  <a:pt x="1403" y="483"/>
                </a:lnTo>
                <a:lnTo>
                  <a:pt x="1401" y="479"/>
                </a:lnTo>
                <a:lnTo>
                  <a:pt x="1399" y="475"/>
                </a:lnTo>
                <a:lnTo>
                  <a:pt x="1397" y="471"/>
                </a:lnTo>
                <a:lnTo>
                  <a:pt x="1392" y="463"/>
                </a:lnTo>
                <a:lnTo>
                  <a:pt x="1386" y="455"/>
                </a:lnTo>
                <a:lnTo>
                  <a:pt x="1379" y="445"/>
                </a:lnTo>
                <a:lnTo>
                  <a:pt x="1374" y="434"/>
                </a:lnTo>
                <a:lnTo>
                  <a:pt x="1373" y="429"/>
                </a:lnTo>
                <a:lnTo>
                  <a:pt x="1371" y="422"/>
                </a:lnTo>
                <a:lnTo>
                  <a:pt x="1370" y="415"/>
                </a:lnTo>
                <a:lnTo>
                  <a:pt x="1370" y="408"/>
                </a:lnTo>
                <a:lnTo>
                  <a:pt x="1483" y="408"/>
                </a:lnTo>
                <a:lnTo>
                  <a:pt x="1486" y="404"/>
                </a:lnTo>
                <a:lnTo>
                  <a:pt x="1491" y="399"/>
                </a:lnTo>
                <a:lnTo>
                  <a:pt x="1499" y="394"/>
                </a:lnTo>
                <a:lnTo>
                  <a:pt x="1508" y="388"/>
                </a:lnTo>
                <a:lnTo>
                  <a:pt x="1529" y="376"/>
                </a:lnTo>
                <a:lnTo>
                  <a:pt x="1551" y="364"/>
                </a:lnTo>
                <a:lnTo>
                  <a:pt x="1574" y="352"/>
                </a:lnTo>
                <a:lnTo>
                  <a:pt x="1594" y="343"/>
                </a:lnTo>
                <a:lnTo>
                  <a:pt x="1608" y="335"/>
                </a:lnTo>
                <a:lnTo>
                  <a:pt x="1616" y="333"/>
                </a:lnTo>
                <a:lnTo>
                  <a:pt x="1628" y="332"/>
                </a:lnTo>
                <a:lnTo>
                  <a:pt x="1640" y="329"/>
                </a:lnTo>
                <a:lnTo>
                  <a:pt x="1651" y="325"/>
                </a:lnTo>
                <a:lnTo>
                  <a:pt x="1662" y="319"/>
                </a:lnTo>
                <a:lnTo>
                  <a:pt x="1670" y="314"/>
                </a:lnTo>
                <a:lnTo>
                  <a:pt x="1679" y="308"/>
                </a:lnTo>
                <a:lnTo>
                  <a:pt x="1685" y="302"/>
                </a:lnTo>
                <a:lnTo>
                  <a:pt x="1688" y="297"/>
                </a:lnTo>
                <a:lnTo>
                  <a:pt x="1680" y="294"/>
                </a:lnTo>
                <a:lnTo>
                  <a:pt x="1674" y="291"/>
                </a:lnTo>
                <a:lnTo>
                  <a:pt x="1667" y="288"/>
                </a:lnTo>
                <a:lnTo>
                  <a:pt x="1661" y="284"/>
                </a:lnTo>
                <a:lnTo>
                  <a:pt x="1656" y="279"/>
                </a:lnTo>
                <a:lnTo>
                  <a:pt x="1652" y="275"/>
                </a:lnTo>
                <a:lnTo>
                  <a:pt x="1650" y="270"/>
                </a:lnTo>
                <a:lnTo>
                  <a:pt x="1648" y="266"/>
                </a:lnTo>
                <a:lnTo>
                  <a:pt x="1632" y="258"/>
                </a:lnTo>
                <a:lnTo>
                  <a:pt x="1619" y="252"/>
                </a:lnTo>
                <a:lnTo>
                  <a:pt x="1613" y="250"/>
                </a:lnTo>
                <a:lnTo>
                  <a:pt x="1608" y="249"/>
                </a:lnTo>
                <a:lnTo>
                  <a:pt x="1602" y="248"/>
                </a:lnTo>
                <a:lnTo>
                  <a:pt x="1596" y="247"/>
                </a:lnTo>
                <a:lnTo>
                  <a:pt x="1583" y="248"/>
                </a:lnTo>
                <a:lnTo>
                  <a:pt x="1574" y="249"/>
                </a:lnTo>
                <a:lnTo>
                  <a:pt x="1567" y="251"/>
                </a:lnTo>
                <a:lnTo>
                  <a:pt x="1563" y="253"/>
                </a:lnTo>
                <a:lnTo>
                  <a:pt x="1558" y="256"/>
                </a:lnTo>
                <a:lnTo>
                  <a:pt x="1553" y="258"/>
                </a:lnTo>
                <a:lnTo>
                  <a:pt x="1546" y="259"/>
                </a:lnTo>
                <a:lnTo>
                  <a:pt x="1535" y="259"/>
                </a:lnTo>
                <a:lnTo>
                  <a:pt x="1521" y="259"/>
                </a:lnTo>
                <a:lnTo>
                  <a:pt x="1509" y="258"/>
                </a:lnTo>
                <a:lnTo>
                  <a:pt x="1497" y="256"/>
                </a:lnTo>
                <a:lnTo>
                  <a:pt x="1487" y="253"/>
                </a:lnTo>
                <a:lnTo>
                  <a:pt x="1478" y="249"/>
                </a:lnTo>
                <a:lnTo>
                  <a:pt x="1471" y="245"/>
                </a:lnTo>
                <a:lnTo>
                  <a:pt x="1463" y="240"/>
                </a:lnTo>
                <a:lnTo>
                  <a:pt x="1457" y="235"/>
                </a:lnTo>
                <a:lnTo>
                  <a:pt x="1452" y="228"/>
                </a:lnTo>
                <a:lnTo>
                  <a:pt x="1448" y="220"/>
                </a:lnTo>
                <a:lnTo>
                  <a:pt x="1443" y="213"/>
                </a:lnTo>
                <a:lnTo>
                  <a:pt x="1440" y="205"/>
                </a:lnTo>
                <a:lnTo>
                  <a:pt x="1434" y="187"/>
                </a:lnTo>
                <a:lnTo>
                  <a:pt x="1429" y="167"/>
                </a:lnTo>
                <a:lnTo>
                  <a:pt x="1422" y="136"/>
                </a:lnTo>
                <a:lnTo>
                  <a:pt x="1412" y="134"/>
                </a:lnTo>
                <a:lnTo>
                  <a:pt x="1385" y="127"/>
                </a:lnTo>
                <a:lnTo>
                  <a:pt x="1367" y="124"/>
                </a:lnTo>
                <a:lnTo>
                  <a:pt x="1347" y="121"/>
                </a:lnTo>
                <a:lnTo>
                  <a:pt x="1326" y="119"/>
                </a:lnTo>
                <a:lnTo>
                  <a:pt x="1303" y="118"/>
                </a:lnTo>
                <a:lnTo>
                  <a:pt x="1294" y="119"/>
                </a:lnTo>
                <a:lnTo>
                  <a:pt x="1286" y="120"/>
                </a:lnTo>
                <a:lnTo>
                  <a:pt x="1281" y="123"/>
                </a:lnTo>
                <a:lnTo>
                  <a:pt x="1275" y="126"/>
                </a:lnTo>
                <a:lnTo>
                  <a:pt x="1267" y="134"/>
                </a:lnTo>
                <a:lnTo>
                  <a:pt x="1262" y="142"/>
                </a:lnTo>
                <a:lnTo>
                  <a:pt x="1260" y="147"/>
                </a:lnTo>
                <a:lnTo>
                  <a:pt x="1257" y="151"/>
                </a:lnTo>
                <a:lnTo>
                  <a:pt x="1252" y="156"/>
                </a:lnTo>
                <a:lnTo>
                  <a:pt x="1248" y="159"/>
                </a:lnTo>
                <a:lnTo>
                  <a:pt x="1242" y="162"/>
                </a:lnTo>
                <a:lnTo>
                  <a:pt x="1236" y="165"/>
                </a:lnTo>
                <a:lnTo>
                  <a:pt x="1227" y="166"/>
                </a:lnTo>
                <a:lnTo>
                  <a:pt x="1217" y="167"/>
                </a:lnTo>
                <a:lnTo>
                  <a:pt x="1199" y="167"/>
                </a:lnTo>
                <a:lnTo>
                  <a:pt x="1184" y="167"/>
                </a:lnTo>
                <a:lnTo>
                  <a:pt x="1168" y="167"/>
                </a:lnTo>
                <a:lnTo>
                  <a:pt x="1150" y="167"/>
                </a:lnTo>
                <a:lnTo>
                  <a:pt x="1130" y="167"/>
                </a:lnTo>
                <a:lnTo>
                  <a:pt x="1106" y="167"/>
                </a:lnTo>
                <a:lnTo>
                  <a:pt x="1078" y="167"/>
                </a:lnTo>
                <a:lnTo>
                  <a:pt x="1044" y="167"/>
                </a:lnTo>
                <a:lnTo>
                  <a:pt x="1034" y="164"/>
                </a:lnTo>
                <a:lnTo>
                  <a:pt x="1025" y="160"/>
                </a:lnTo>
                <a:lnTo>
                  <a:pt x="1015" y="156"/>
                </a:lnTo>
                <a:lnTo>
                  <a:pt x="1005" y="151"/>
                </a:lnTo>
                <a:lnTo>
                  <a:pt x="986" y="140"/>
                </a:lnTo>
                <a:lnTo>
                  <a:pt x="967" y="129"/>
                </a:lnTo>
                <a:lnTo>
                  <a:pt x="956" y="123"/>
                </a:lnTo>
                <a:lnTo>
                  <a:pt x="945" y="118"/>
                </a:lnTo>
                <a:lnTo>
                  <a:pt x="934" y="112"/>
                </a:lnTo>
                <a:lnTo>
                  <a:pt x="922" y="108"/>
                </a:lnTo>
                <a:lnTo>
                  <a:pt x="908" y="104"/>
                </a:lnTo>
                <a:lnTo>
                  <a:pt x="895" y="102"/>
                </a:lnTo>
                <a:lnTo>
                  <a:pt x="880" y="100"/>
                </a:lnTo>
                <a:lnTo>
                  <a:pt x="865" y="99"/>
                </a:lnTo>
                <a:lnTo>
                  <a:pt x="852" y="100"/>
                </a:lnTo>
                <a:lnTo>
                  <a:pt x="841" y="102"/>
                </a:lnTo>
                <a:lnTo>
                  <a:pt x="832" y="105"/>
                </a:lnTo>
                <a:lnTo>
                  <a:pt x="822" y="108"/>
                </a:lnTo>
                <a:lnTo>
                  <a:pt x="811" y="112"/>
                </a:lnTo>
                <a:lnTo>
                  <a:pt x="801" y="114"/>
                </a:lnTo>
                <a:lnTo>
                  <a:pt x="790" y="118"/>
                </a:lnTo>
                <a:lnTo>
                  <a:pt x="778" y="118"/>
                </a:lnTo>
                <a:lnTo>
                  <a:pt x="765" y="118"/>
                </a:lnTo>
                <a:lnTo>
                  <a:pt x="753" y="117"/>
                </a:lnTo>
                <a:lnTo>
                  <a:pt x="740" y="116"/>
                </a:lnTo>
                <a:lnTo>
                  <a:pt x="729" y="114"/>
                </a:lnTo>
                <a:lnTo>
                  <a:pt x="720" y="111"/>
                </a:lnTo>
                <a:lnTo>
                  <a:pt x="710" y="108"/>
                </a:lnTo>
                <a:lnTo>
                  <a:pt x="701" y="105"/>
                </a:lnTo>
                <a:lnTo>
                  <a:pt x="692" y="101"/>
                </a:lnTo>
                <a:lnTo>
                  <a:pt x="686" y="96"/>
                </a:lnTo>
                <a:lnTo>
                  <a:pt x="678" y="90"/>
                </a:lnTo>
                <a:lnTo>
                  <a:pt x="672" y="84"/>
                </a:lnTo>
                <a:lnTo>
                  <a:pt x="667" y="76"/>
                </a:lnTo>
                <a:lnTo>
                  <a:pt x="662" y="68"/>
                </a:lnTo>
                <a:lnTo>
                  <a:pt x="658" y="58"/>
                </a:lnTo>
                <a:lnTo>
                  <a:pt x="655" y="49"/>
                </a:lnTo>
                <a:lnTo>
                  <a:pt x="652" y="38"/>
                </a:lnTo>
                <a:lnTo>
                  <a:pt x="459" y="0"/>
                </a:lnTo>
                <a:lnTo>
                  <a:pt x="446" y="7"/>
                </a:lnTo>
                <a:lnTo>
                  <a:pt x="446" y="16"/>
                </a:lnTo>
                <a:lnTo>
                  <a:pt x="446" y="23"/>
                </a:lnTo>
                <a:lnTo>
                  <a:pt x="446" y="30"/>
                </a:lnTo>
                <a:lnTo>
                  <a:pt x="446" y="38"/>
                </a:lnTo>
                <a:lnTo>
                  <a:pt x="446" y="44"/>
                </a:lnTo>
                <a:lnTo>
                  <a:pt x="448" y="50"/>
                </a:lnTo>
                <a:lnTo>
                  <a:pt x="451" y="55"/>
                </a:lnTo>
                <a:lnTo>
                  <a:pt x="454" y="61"/>
                </a:lnTo>
                <a:lnTo>
                  <a:pt x="463" y="71"/>
                </a:lnTo>
                <a:lnTo>
                  <a:pt x="471" y="79"/>
                </a:lnTo>
                <a:lnTo>
                  <a:pt x="476" y="84"/>
                </a:lnTo>
                <a:lnTo>
                  <a:pt x="480" y="89"/>
                </a:lnTo>
                <a:lnTo>
                  <a:pt x="485" y="94"/>
                </a:lnTo>
                <a:lnTo>
                  <a:pt x="488" y="100"/>
                </a:lnTo>
                <a:lnTo>
                  <a:pt x="490" y="106"/>
                </a:lnTo>
                <a:lnTo>
                  <a:pt x="492" y="113"/>
                </a:lnTo>
                <a:lnTo>
                  <a:pt x="493" y="122"/>
                </a:lnTo>
                <a:lnTo>
                  <a:pt x="492" y="130"/>
                </a:lnTo>
                <a:lnTo>
                  <a:pt x="313" y="130"/>
                </a:lnTo>
                <a:lnTo>
                  <a:pt x="307" y="122"/>
                </a:lnTo>
                <a:lnTo>
                  <a:pt x="300" y="113"/>
                </a:lnTo>
                <a:lnTo>
                  <a:pt x="298" y="108"/>
                </a:lnTo>
                <a:lnTo>
                  <a:pt x="296" y="102"/>
                </a:lnTo>
                <a:lnTo>
                  <a:pt x="294" y="95"/>
                </a:lnTo>
                <a:lnTo>
                  <a:pt x="294" y="87"/>
                </a:lnTo>
                <a:lnTo>
                  <a:pt x="279" y="87"/>
                </a:lnTo>
                <a:lnTo>
                  <a:pt x="266" y="87"/>
                </a:lnTo>
                <a:lnTo>
                  <a:pt x="240" y="99"/>
                </a:lnTo>
                <a:lnTo>
                  <a:pt x="233" y="99"/>
                </a:lnTo>
                <a:lnTo>
                  <a:pt x="225" y="97"/>
                </a:lnTo>
                <a:lnTo>
                  <a:pt x="219" y="95"/>
                </a:lnTo>
                <a:lnTo>
                  <a:pt x="211" y="93"/>
                </a:lnTo>
                <a:lnTo>
                  <a:pt x="204" y="91"/>
                </a:lnTo>
                <a:lnTo>
                  <a:pt x="195" y="89"/>
                </a:lnTo>
                <a:lnTo>
                  <a:pt x="185" y="88"/>
                </a:lnTo>
                <a:lnTo>
                  <a:pt x="174" y="87"/>
                </a:lnTo>
                <a:lnTo>
                  <a:pt x="164" y="88"/>
                </a:lnTo>
                <a:lnTo>
                  <a:pt x="155" y="90"/>
                </a:lnTo>
                <a:lnTo>
                  <a:pt x="146" y="93"/>
                </a:lnTo>
                <a:lnTo>
                  <a:pt x="138" y="97"/>
                </a:lnTo>
                <a:lnTo>
                  <a:pt x="122" y="106"/>
                </a:lnTo>
                <a:lnTo>
                  <a:pt x="107" y="118"/>
                </a:lnTo>
                <a:lnTo>
                  <a:pt x="92" y="129"/>
                </a:lnTo>
                <a:lnTo>
                  <a:pt x="76" y="139"/>
                </a:lnTo>
                <a:lnTo>
                  <a:pt x="68" y="143"/>
                </a:lnTo>
                <a:lnTo>
                  <a:pt x="60" y="146"/>
                </a:lnTo>
                <a:lnTo>
                  <a:pt x="50" y="148"/>
                </a:lnTo>
                <a:lnTo>
                  <a:pt x="41" y="149"/>
                </a:lnTo>
                <a:lnTo>
                  <a:pt x="37" y="149"/>
                </a:lnTo>
                <a:lnTo>
                  <a:pt x="31" y="151"/>
                </a:lnTo>
                <a:lnTo>
                  <a:pt x="25" y="153"/>
                </a:lnTo>
                <a:lnTo>
                  <a:pt x="18" y="157"/>
                </a:lnTo>
                <a:lnTo>
                  <a:pt x="11" y="161"/>
                </a:lnTo>
                <a:lnTo>
                  <a:pt x="6" y="166"/>
                </a:lnTo>
                <a:lnTo>
                  <a:pt x="4" y="169"/>
                </a:lnTo>
                <a:lnTo>
                  <a:pt x="3" y="173"/>
                </a:lnTo>
                <a:lnTo>
                  <a:pt x="1" y="177"/>
                </a:lnTo>
                <a:lnTo>
                  <a:pt x="0" y="18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165" name="Freeform 162"/>
          <p:cNvSpPr>
            <a:spLocks/>
          </p:cNvSpPr>
          <p:nvPr userDrawn="1">
            <p:custDataLst>
              <p:tags r:id="rId93"/>
            </p:custDataLst>
          </p:nvPr>
        </p:nvSpPr>
        <p:spPr bwMode="auto">
          <a:xfrm>
            <a:off x="2336802" y="3174217"/>
            <a:ext cx="328612" cy="311944"/>
          </a:xfrm>
          <a:custGeom>
            <a:avLst/>
            <a:gdLst>
              <a:gd name="T0" fmla="*/ 4886695 w 758"/>
              <a:gd name="T1" fmla="*/ 21897014 h 795"/>
              <a:gd name="T2" fmla="*/ 9209373 w 758"/>
              <a:gd name="T3" fmla="*/ 24086505 h 795"/>
              <a:gd name="T4" fmla="*/ 13532050 w 758"/>
              <a:gd name="T5" fmla="*/ 29561018 h 795"/>
              <a:gd name="T6" fmla="*/ 16538983 w 758"/>
              <a:gd name="T7" fmla="*/ 36677789 h 795"/>
              <a:gd name="T8" fmla="*/ 17478865 w 758"/>
              <a:gd name="T9" fmla="*/ 46257663 h 795"/>
              <a:gd name="T10" fmla="*/ 15787250 w 758"/>
              <a:gd name="T11" fmla="*/ 50910790 h 795"/>
              <a:gd name="T12" fmla="*/ 15223668 w 758"/>
              <a:gd name="T13" fmla="*/ 56111159 h 795"/>
              <a:gd name="T14" fmla="*/ 16538983 w 758"/>
              <a:gd name="T15" fmla="*/ 65691034 h 795"/>
              <a:gd name="T16" fmla="*/ 17854731 w 758"/>
              <a:gd name="T17" fmla="*/ 76092311 h 795"/>
              <a:gd name="T18" fmla="*/ 15599534 w 758"/>
              <a:gd name="T19" fmla="*/ 84303557 h 795"/>
              <a:gd name="T20" fmla="*/ 15223668 w 758"/>
              <a:gd name="T21" fmla="*/ 96347067 h 795"/>
              <a:gd name="T22" fmla="*/ 17478865 w 758"/>
              <a:gd name="T23" fmla="*/ 106748328 h 795"/>
              <a:gd name="T24" fmla="*/ 18606463 w 758"/>
              <a:gd name="T25" fmla="*/ 113590946 h 795"/>
              <a:gd name="T26" fmla="*/ 14659652 w 758"/>
              <a:gd name="T27" fmla="*/ 125086691 h 795"/>
              <a:gd name="T28" fmla="*/ 21237526 w 758"/>
              <a:gd name="T29" fmla="*/ 144794239 h 795"/>
              <a:gd name="T30" fmla="*/ 25936069 w 758"/>
              <a:gd name="T31" fmla="*/ 157932756 h 795"/>
              <a:gd name="T32" fmla="*/ 27439967 w 758"/>
              <a:gd name="T33" fmla="*/ 170249887 h 795"/>
              <a:gd name="T34" fmla="*/ 28567572 w 758"/>
              <a:gd name="T35" fmla="*/ 180377004 h 795"/>
              <a:gd name="T36" fmla="*/ 35145446 w 758"/>
              <a:gd name="T37" fmla="*/ 202000389 h 795"/>
              <a:gd name="T38" fmla="*/ 40219855 w 758"/>
              <a:gd name="T39" fmla="*/ 214043899 h 795"/>
              <a:gd name="T40" fmla="*/ 43227217 w 758"/>
              <a:gd name="T41" fmla="*/ 217328397 h 795"/>
              <a:gd name="T42" fmla="*/ 47174028 w 758"/>
              <a:gd name="T43" fmla="*/ 216233390 h 795"/>
              <a:gd name="T44" fmla="*/ 54315918 w 758"/>
              <a:gd name="T45" fmla="*/ 208295765 h 795"/>
              <a:gd name="T46" fmla="*/ 60893805 w 758"/>
              <a:gd name="T47" fmla="*/ 204189880 h 795"/>
              <a:gd name="T48" fmla="*/ 66719947 w 758"/>
              <a:gd name="T49" fmla="*/ 204737645 h 795"/>
              <a:gd name="T50" fmla="*/ 72922388 w 758"/>
              <a:gd name="T51" fmla="*/ 210759400 h 795"/>
              <a:gd name="T52" fmla="*/ 78560380 w 758"/>
              <a:gd name="T53" fmla="*/ 213496133 h 795"/>
              <a:gd name="T54" fmla="*/ 82131324 w 758"/>
              <a:gd name="T55" fmla="*/ 207474378 h 795"/>
              <a:gd name="T56" fmla="*/ 89837230 w 758"/>
              <a:gd name="T57" fmla="*/ 203916259 h 795"/>
              <a:gd name="T58" fmla="*/ 98670734 w 758"/>
              <a:gd name="T59" fmla="*/ 170249887 h 795"/>
              <a:gd name="T60" fmla="*/ 101301797 w 758"/>
              <a:gd name="T61" fmla="*/ 164228132 h 795"/>
              <a:gd name="T62" fmla="*/ 108067820 w 758"/>
              <a:gd name="T63" fmla="*/ 159848626 h 795"/>
              <a:gd name="T64" fmla="*/ 124982689 w 758"/>
              <a:gd name="T65" fmla="*/ 156837749 h 795"/>
              <a:gd name="T66" fmla="*/ 129117650 w 758"/>
              <a:gd name="T67" fmla="*/ 158479998 h 795"/>
              <a:gd name="T68" fmla="*/ 132312729 w 758"/>
              <a:gd name="T69" fmla="*/ 160122247 h 795"/>
              <a:gd name="T70" fmla="*/ 139830485 w 758"/>
              <a:gd name="T71" fmla="*/ 156837749 h 795"/>
              <a:gd name="T72" fmla="*/ 142273397 w 758"/>
              <a:gd name="T73" fmla="*/ 148078737 h 795"/>
              <a:gd name="T74" fmla="*/ 141333949 w 758"/>
              <a:gd name="T75" fmla="*/ 136582959 h 795"/>
              <a:gd name="T76" fmla="*/ 136447256 w 758"/>
              <a:gd name="T77" fmla="*/ 126455320 h 795"/>
              <a:gd name="T78" fmla="*/ 133440327 w 758"/>
              <a:gd name="T79" fmla="*/ 119065459 h 795"/>
              <a:gd name="T80" fmla="*/ 126110288 w 758"/>
              <a:gd name="T81" fmla="*/ 109759206 h 795"/>
              <a:gd name="T82" fmla="*/ 118968398 w 758"/>
              <a:gd name="T83" fmla="*/ 109211441 h 795"/>
              <a:gd name="T84" fmla="*/ 113706272 w 758"/>
              <a:gd name="T85" fmla="*/ 103463830 h 795"/>
              <a:gd name="T86" fmla="*/ 110887033 w 758"/>
              <a:gd name="T87" fmla="*/ 95525681 h 795"/>
              <a:gd name="T88" fmla="*/ 109947151 w 758"/>
              <a:gd name="T89" fmla="*/ 85124944 h 795"/>
              <a:gd name="T90" fmla="*/ 109571285 w 758"/>
              <a:gd name="T91" fmla="*/ 73628675 h 795"/>
              <a:gd name="T92" fmla="*/ 105248608 w 758"/>
              <a:gd name="T93" fmla="*/ 66238799 h 795"/>
              <a:gd name="T94" fmla="*/ 94535773 w 758"/>
              <a:gd name="T95" fmla="*/ 56111159 h 795"/>
              <a:gd name="T96" fmla="*/ 82695340 w 758"/>
              <a:gd name="T97" fmla="*/ 48720776 h 795"/>
              <a:gd name="T98" fmla="*/ 73674120 w 758"/>
              <a:gd name="T99" fmla="*/ 45709898 h 795"/>
              <a:gd name="T100" fmla="*/ 67472113 w 758"/>
              <a:gd name="T101" fmla="*/ 44067649 h 795"/>
              <a:gd name="T102" fmla="*/ 62021404 w 758"/>
              <a:gd name="T103" fmla="*/ 39688666 h 795"/>
              <a:gd name="T104" fmla="*/ 57698727 w 758"/>
              <a:gd name="T105" fmla="*/ 33392759 h 795"/>
              <a:gd name="T106" fmla="*/ 54879500 w 758"/>
              <a:gd name="T107" fmla="*/ 25181513 h 795"/>
              <a:gd name="T108" fmla="*/ 52436587 w 758"/>
              <a:gd name="T109" fmla="*/ 5200371 h 795"/>
              <a:gd name="T110" fmla="*/ 49053359 w 758"/>
              <a:gd name="T111" fmla="*/ 821386 h 795"/>
              <a:gd name="T112" fmla="*/ 42663202 w 758"/>
              <a:gd name="T113" fmla="*/ 821386 h 795"/>
              <a:gd name="T114" fmla="*/ 32514383 w 758"/>
              <a:gd name="T115" fmla="*/ 8211248 h 795"/>
              <a:gd name="T116" fmla="*/ 22365124 w 758"/>
              <a:gd name="T117" fmla="*/ 18065273 h 795"/>
              <a:gd name="T118" fmla="*/ 0 w 758"/>
              <a:gd name="T119" fmla="*/ 21897014 h 795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758"/>
              <a:gd name="T181" fmla="*/ 0 h 795"/>
              <a:gd name="T182" fmla="*/ 758 w 758"/>
              <a:gd name="T183" fmla="*/ 795 h 795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758" h="795">
                <a:moveTo>
                  <a:pt x="0" y="80"/>
                </a:moveTo>
                <a:lnTo>
                  <a:pt x="10" y="80"/>
                </a:lnTo>
                <a:lnTo>
                  <a:pt x="20" y="80"/>
                </a:lnTo>
                <a:lnTo>
                  <a:pt x="26" y="80"/>
                </a:lnTo>
                <a:lnTo>
                  <a:pt x="31" y="81"/>
                </a:lnTo>
                <a:lnTo>
                  <a:pt x="37" y="83"/>
                </a:lnTo>
                <a:lnTo>
                  <a:pt x="43" y="85"/>
                </a:lnTo>
                <a:lnTo>
                  <a:pt x="49" y="88"/>
                </a:lnTo>
                <a:lnTo>
                  <a:pt x="55" y="92"/>
                </a:lnTo>
                <a:lnTo>
                  <a:pt x="61" y="97"/>
                </a:lnTo>
                <a:lnTo>
                  <a:pt x="66" y="102"/>
                </a:lnTo>
                <a:lnTo>
                  <a:pt x="72" y="108"/>
                </a:lnTo>
                <a:lnTo>
                  <a:pt x="77" y="113"/>
                </a:lnTo>
                <a:lnTo>
                  <a:pt x="82" y="120"/>
                </a:lnTo>
                <a:lnTo>
                  <a:pt x="86" y="127"/>
                </a:lnTo>
                <a:lnTo>
                  <a:pt x="88" y="134"/>
                </a:lnTo>
                <a:lnTo>
                  <a:pt x="92" y="142"/>
                </a:lnTo>
                <a:lnTo>
                  <a:pt x="93" y="152"/>
                </a:lnTo>
                <a:lnTo>
                  <a:pt x="94" y="161"/>
                </a:lnTo>
                <a:lnTo>
                  <a:pt x="93" y="169"/>
                </a:lnTo>
                <a:lnTo>
                  <a:pt x="92" y="175"/>
                </a:lnTo>
                <a:lnTo>
                  <a:pt x="89" y="180"/>
                </a:lnTo>
                <a:lnTo>
                  <a:pt x="87" y="183"/>
                </a:lnTo>
                <a:lnTo>
                  <a:pt x="84" y="186"/>
                </a:lnTo>
                <a:lnTo>
                  <a:pt x="82" y="190"/>
                </a:lnTo>
                <a:lnTo>
                  <a:pt x="81" y="193"/>
                </a:lnTo>
                <a:lnTo>
                  <a:pt x="81" y="197"/>
                </a:lnTo>
                <a:lnTo>
                  <a:pt x="81" y="205"/>
                </a:lnTo>
                <a:lnTo>
                  <a:pt x="82" y="214"/>
                </a:lnTo>
                <a:lnTo>
                  <a:pt x="83" y="221"/>
                </a:lnTo>
                <a:lnTo>
                  <a:pt x="84" y="227"/>
                </a:lnTo>
                <a:lnTo>
                  <a:pt x="88" y="240"/>
                </a:lnTo>
                <a:lnTo>
                  <a:pt x="94" y="252"/>
                </a:lnTo>
                <a:lnTo>
                  <a:pt x="97" y="262"/>
                </a:lnTo>
                <a:lnTo>
                  <a:pt x="100" y="271"/>
                </a:lnTo>
                <a:lnTo>
                  <a:pt x="95" y="278"/>
                </a:lnTo>
                <a:lnTo>
                  <a:pt x="92" y="285"/>
                </a:lnTo>
                <a:lnTo>
                  <a:pt x="88" y="293"/>
                </a:lnTo>
                <a:lnTo>
                  <a:pt x="85" y="300"/>
                </a:lnTo>
                <a:lnTo>
                  <a:pt x="83" y="308"/>
                </a:lnTo>
                <a:lnTo>
                  <a:pt x="82" y="318"/>
                </a:lnTo>
                <a:lnTo>
                  <a:pt x="81" y="328"/>
                </a:lnTo>
                <a:lnTo>
                  <a:pt x="81" y="339"/>
                </a:lnTo>
                <a:lnTo>
                  <a:pt x="81" y="352"/>
                </a:lnTo>
                <a:lnTo>
                  <a:pt x="83" y="363"/>
                </a:lnTo>
                <a:lnTo>
                  <a:pt x="85" y="374"/>
                </a:lnTo>
                <a:lnTo>
                  <a:pt x="88" y="382"/>
                </a:lnTo>
                <a:lnTo>
                  <a:pt x="93" y="390"/>
                </a:lnTo>
                <a:lnTo>
                  <a:pt x="97" y="396"/>
                </a:lnTo>
                <a:lnTo>
                  <a:pt x="101" y="402"/>
                </a:lnTo>
                <a:lnTo>
                  <a:pt x="107" y="407"/>
                </a:lnTo>
                <a:lnTo>
                  <a:pt x="99" y="415"/>
                </a:lnTo>
                <a:lnTo>
                  <a:pt x="94" y="424"/>
                </a:lnTo>
                <a:lnTo>
                  <a:pt x="89" y="433"/>
                </a:lnTo>
                <a:lnTo>
                  <a:pt x="85" y="441"/>
                </a:lnTo>
                <a:lnTo>
                  <a:pt x="78" y="457"/>
                </a:lnTo>
                <a:lnTo>
                  <a:pt x="73" y="474"/>
                </a:lnTo>
                <a:lnTo>
                  <a:pt x="88" y="493"/>
                </a:lnTo>
                <a:lnTo>
                  <a:pt x="101" y="511"/>
                </a:lnTo>
                <a:lnTo>
                  <a:pt x="113" y="529"/>
                </a:lnTo>
                <a:lnTo>
                  <a:pt x="124" y="548"/>
                </a:lnTo>
                <a:lnTo>
                  <a:pt x="130" y="558"/>
                </a:lnTo>
                <a:lnTo>
                  <a:pt x="134" y="567"/>
                </a:lnTo>
                <a:lnTo>
                  <a:pt x="138" y="577"/>
                </a:lnTo>
                <a:lnTo>
                  <a:pt x="141" y="588"/>
                </a:lnTo>
                <a:lnTo>
                  <a:pt x="143" y="599"/>
                </a:lnTo>
                <a:lnTo>
                  <a:pt x="145" y="611"/>
                </a:lnTo>
                <a:lnTo>
                  <a:pt x="146" y="622"/>
                </a:lnTo>
                <a:lnTo>
                  <a:pt x="146" y="634"/>
                </a:lnTo>
                <a:lnTo>
                  <a:pt x="148" y="640"/>
                </a:lnTo>
                <a:lnTo>
                  <a:pt x="149" y="648"/>
                </a:lnTo>
                <a:lnTo>
                  <a:pt x="152" y="659"/>
                </a:lnTo>
                <a:lnTo>
                  <a:pt x="156" y="670"/>
                </a:lnTo>
                <a:lnTo>
                  <a:pt x="166" y="696"/>
                </a:lnTo>
                <a:lnTo>
                  <a:pt x="179" y="724"/>
                </a:lnTo>
                <a:lnTo>
                  <a:pt x="187" y="738"/>
                </a:lnTo>
                <a:lnTo>
                  <a:pt x="194" y="750"/>
                </a:lnTo>
                <a:lnTo>
                  <a:pt x="201" y="763"/>
                </a:lnTo>
                <a:lnTo>
                  <a:pt x="208" y="774"/>
                </a:lnTo>
                <a:lnTo>
                  <a:pt x="214" y="782"/>
                </a:lnTo>
                <a:lnTo>
                  <a:pt x="221" y="789"/>
                </a:lnTo>
                <a:lnTo>
                  <a:pt x="224" y="792"/>
                </a:lnTo>
                <a:lnTo>
                  <a:pt x="228" y="793"/>
                </a:lnTo>
                <a:lnTo>
                  <a:pt x="230" y="794"/>
                </a:lnTo>
                <a:lnTo>
                  <a:pt x="233" y="795"/>
                </a:lnTo>
                <a:lnTo>
                  <a:pt x="239" y="794"/>
                </a:lnTo>
                <a:lnTo>
                  <a:pt x="244" y="793"/>
                </a:lnTo>
                <a:lnTo>
                  <a:pt x="251" y="790"/>
                </a:lnTo>
                <a:lnTo>
                  <a:pt x="256" y="787"/>
                </a:lnTo>
                <a:lnTo>
                  <a:pt x="266" y="780"/>
                </a:lnTo>
                <a:lnTo>
                  <a:pt x="278" y="771"/>
                </a:lnTo>
                <a:lnTo>
                  <a:pt x="289" y="761"/>
                </a:lnTo>
                <a:lnTo>
                  <a:pt x="302" y="753"/>
                </a:lnTo>
                <a:lnTo>
                  <a:pt x="309" y="750"/>
                </a:lnTo>
                <a:lnTo>
                  <a:pt x="317" y="747"/>
                </a:lnTo>
                <a:lnTo>
                  <a:pt x="324" y="746"/>
                </a:lnTo>
                <a:lnTo>
                  <a:pt x="332" y="745"/>
                </a:lnTo>
                <a:lnTo>
                  <a:pt x="341" y="746"/>
                </a:lnTo>
                <a:lnTo>
                  <a:pt x="348" y="747"/>
                </a:lnTo>
                <a:lnTo>
                  <a:pt x="355" y="748"/>
                </a:lnTo>
                <a:lnTo>
                  <a:pt x="361" y="750"/>
                </a:lnTo>
                <a:lnTo>
                  <a:pt x="371" y="756"/>
                </a:lnTo>
                <a:lnTo>
                  <a:pt x="380" y="763"/>
                </a:lnTo>
                <a:lnTo>
                  <a:pt x="388" y="770"/>
                </a:lnTo>
                <a:lnTo>
                  <a:pt x="395" y="777"/>
                </a:lnTo>
                <a:lnTo>
                  <a:pt x="403" y="783"/>
                </a:lnTo>
                <a:lnTo>
                  <a:pt x="412" y="789"/>
                </a:lnTo>
                <a:lnTo>
                  <a:pt x="418" y="780"/>
                </a:lnTo>
                <a:lnTo>
                  <a:pt x="422" y="773"/>
                </a:lnTo>
                <a:lnTo>
                  <a:pt x="427" y="767"/>
                </a:lnTo>
                <a:lnTo>
                  <a:pt x="432" y="761"/>
                </a:lnTo>
                <a:lnTo>
                  <a:pt x="437" y="758"/>
                </a:lnTo>
                <a:lnTo>
                  <a:pt x="443" y="754"/>
                </a:lnTo>
                <a:lnTo>
                  <a:pt x="448" y="752"/>
                </a:lnTo>
                <a:lnTo>
                  <a:pt x="454" y="750"/>
                </a:lnTo>
                <a:lnTo>
                  <a:pt x="478" y="745"/>
                </a:lnTo>
                <a:lnTo>
                  <a:pt x="505" y="739"/>
                </a:lnTo>
                <a:lnTo>
                  <a:pt x="525" y="647"/>
                </a:lnTo>
                <a:lnTo>
                  <a:pt x="525" y="637"/>
                </a:lnTo>
                <a:lnTo>
                  <a:pt x="525" y="622"/>
                </a:lnTo>
                <a:lnTo>
                  <a:pt x="526" y="616"/>
                </a:lnTo>
                <a:lnTo>
                  <a:pt x="529" y="610"/>
                </a:lnTo>
                <a:lnTo>
                  <a:pt x="533" y="604"/>
                </a:lnTo>
                <a:lnTo>
                  <a:pt x="539" y="600"/>
                </a:lnTo>
                <a:lnTo>
                  <a:pt x="547" y="594"/>
                </a:lnTo>
                <a:lnTo>
                  <a:pt x="555" y="590"/>
                </a:lnTo>
                <a:lnTo>
                  <a:pt x="565" y="587"/>
                </a:lnTo>
                <a:lnTo>
                  <a:pt x="575" y="584"/>
                </a:lnTo>
                <a:lnTo>
                  <a:pt x="597" y="579"/>
                </a:lnTo>
                <a:lnTo>
                  <a:pt x="621" y="575"/>
                </a:lnTo>
                <a:lnTo>
                  <a:pt x="644" y="574"/>
                </a:lnTo>
                <a:lnTo>
                  <a:pt x="665" y="573"/>
                </a:lnTo>
                <a:lnTo>
                  <a:pt x="671" y="573"/>
                </a:lnTo>
                <a:lnTo>
                  <a:pt x="678" y="575"/>
                </a:lnTo>
                <a:lnTo>
                  <a:pt x="682" y="577"/>
                </a:lnTo>
                <a:lnTo>
                  <a:pt x="687" y="579"/>
                </a:lnTo>
                <a:lnTo>
                  <a:pt x="691" y="581"/>
                </a:lnTo>
                <a:lnTo>
                  <a:pt x="695" y="583"/>
                </a:lnTo>
                <a:lnTo>
                  <a:pt x="700" y="585"/>
                </a:lnTo>
                <a:lnTo>
                  <a:pt x="704" y="585"/>
                </a:lnTo>
                <a:lnTo>
                  <a:pt x="738" y="598"/>
                </a:lnTo>
                <a:lnTo>
                  <a:pt x="738" y="589"/>
                </a:lnTo>
                <a:lnTo>
                  <a:pt x="740" y="581"/>
                </a:lnTo>
                <a:lnTo>
                  <a:pt x="744" y="573"/>
                </a:lnTo>
                <a:lnTo>
                  <a:pt x="748" y="566"/>
                </a:lnTo>
                <a:lnTo>
                  <a:pt x="751" y="559"/>
                </a:lnTo>
                <a:lnTo>
                  <a:pt x="755" y="550"/>
                </a:lnTo>
                <a:lnTo>
                  <a:pt x="757" y="541"/>
                </a:lnTo>
                <a:lnTo>
                  <a:pt x="758" y="530"/>
                </a:lnTo>
                <a:lnTo>
                  <a:pt x="757" y="518"/>
                </a:lnTo>
                <a:lnTo>
                  <a:pt x="756" y="508"/>
                </a:lnTo>
                <a:lnTo>
                  <a:pt x="752" y="499"/>
                </a:lnTo>
                <a:lnTo>
                  <a:pt x="749" y="492"/>
                </a:lnTo>
                <a:lnTo>
                  <a:pt x="740" y="478"/>
                </a:lnTo>
                <a:lnTo>
                  <a:pt x="731" y="467"/>
                </a:lnTo>
                <a:lnTo>
                  <a:pt x="726" y="462"/>
                </a:lnTo>
                <a:lnTo>
                  <a:pt x="722" y="456"/>
                </a:lnTo>
                <a:lnTo>
                  <a:pt x="716" y="450"/>
                </a:lnTo>
                <a:lnTo>
                  <a:pt x="713" y="443"/>
                </a:lnTo>
                <a:lnTo>
                  <a:pt x="710" y="435"/>
                </a:lnTo>
                <a:lnTo>
                  <a:pt x="706" y="424"/>
                </a:lnTo>
                <a:lnTo>
                  <a:pt x="705" y="413"/>
                </a:lnTo>
                <a:lnTo>
                  <a:pt x="704" y="401"/>
                </a:lnTo>
                <a:lnTo>
                  <a:pt x="671" y="401"/>
                </a:lnTo>
                <a:lnTo>
                  <a:pt x="660" y="403"/>
                </a:lnTo>
                <a:lnTo>
                  <a:pt x="650" y="403"/>
                </a:lnTo>
                <a:lnTo>
                  <a:pt x="641" y="402"/>
                </a:lnTo>
                <a:lnTo>
                  <a:pt x="633" y="399"/>
                </a:lnTo>
                <a:lnTo>
                  <a:pt x="625" y="395"/>
                </a:lnTo>
                <a:lnTo>
                  <a:pt x="617" y="390"/>
                </a:lnTo>
                <a:lnTo>
                  <a:pt x="611" y="384"/>
                </a:lnTo>
                <a:lnTo>
                  <a:pt x="605" y="378"/>
                </a:lnTo>
                <a:lnTo>
                  <a:pt x="601" y="370"/>
                </a:lnTo>
                <a:lnTo>
                  <a:pt x="597" y="363"/>
                </a:lnTo>
                <a:lnTo>
                  <a:pt x="593" y="356"/>
                </a:lnTo>
                <a:lnTo>
                  <a:pt x="590" y="349"/>
                </a:lnTo>
                <a:lnTo>
                  <a:pt x="586" y="336"/>
                </a:lnTo>
                <a:lnTo>
                  <a:pt x="585" y="327"/>
                </a:lnTo>
                <a:lnTo>
                  <a:pt x="585" y="321"/>
                </a:lnTo>
                <a:lnTo>
                  <a:pt x="585" y="311"/>
                </a:lnTo>
                <a:lnTo>
                  <a:pt x="585" y="297"/>
                </a:lnTo>
                <a:lnTo>
                  <a:pt x="585" y="278"/>
                </a:lnTo>
                <a:lnTo>
                  <a:pt x="585" y="274"/>
                </a:lnTo>
                <a:lnTo>
                  <a:pt x="583" y="269"/>
                </a:lnTo>
                <a:lnTo>
                  <a:pt x="581" y="265"/>
                </a:lnTo>
                <a:lnTo>
                  <a:pt x="578" y="260"/>
                </a:lnTo>
                <a:lnTo>
                  <a:pt x="570" y="251"/>
                </a:lnTo>
                <a:lnTo>
                  <a:pt x="560" y="242"/>
                </a:lnTo>
                <a:lnTo>
                  <a:pt x="548" y="233"/>
                </a:lnTo>
                <a:lnTo>
                  <a:pt x="534" y="223"/>
                </a:lnTo>
                <a:lnTo>
                  <a:pt x="520" y="215"/>
                </a:lnTo>
                <a:lnTo>
                  <a:pt x="503" y="205"/>
                </a:lnTo>
                <a:lnTo>
                  <a:pt x="487" y="197"/>
                </a:lnTo>
                <a:lnTo>
                  <a:pt x="470" y="190"/>
                </a:lnTo>
                <a:lnTo>
                  <a:pt x="455" y="183"/>
                </a:lnTo>
                <a:lnTo>
                  <a:pt x="440" y="178"/>
                </a:lnTo>
                <a:lnTo>
                  <a:pt x="425" y="173"/>
                </a:lnTo>
                <a:lnTo>
                  <a:pt x="412" y="170"/>
                </a:lnTo>
                <a:lnTo>
                  <a:pt x="401" y="167"/>
                </a:lnTo>
                <a:lnTo>
                  <a:pt x="392" y="167"/>
                </a:lnTo>
                <a:lnTo>
                  <a:pt x="384" y="166"/>
                </a:lnTo>
                <a:lnTo>
                  <a:pt x="375" y="165"/>
                </a:lnTo>
                <a:lnTo>
                  <a:pt x="367" y="164"/>
                </a:lnTo>
                <a:lnTo>
                  <a:pt x="359" y="161"/>
                </a:lnTo>
                <a:lnTo>
                  <a:pt x="351" y="158"/>
                </a:lnTo>
                <a:lnTo>
                  <a:pt x="344" y="155"/>
                </a:lnTo>
                <a:lnTo>
                  <a:pt x="336" y="151"/>
                </a:lnTo>
                <a:lnTo>
                  <a:pt x="330" y="145"/>
                </a:lnTo>
                <a:lnTo>
                  <a:pt x="323" y="140"/>
                </a:lnTo>
                <a:lnTo>
                  <a:pt x="318" y="135"/>
                </a:lnTo>
                <a:lnTo>
                  <a:pt x="312" y="129"/>
                </a:lnTo>
                <a:lnTo>
                  <a:pt x="307" y="122"/>
                </a:lnTo>
                <a:lnTo>
                  <a:pt x="302" y="115"/>
                </a:lnTo>
                <a:lnTo>
                  <a:pt x="299" y="108"/>
                </a:lnTo>
                <a:lnTo>
                  <a:pt x="296" y="101"/>
                </a:lnTo>
                <a:lnTo>
                  <a:pt x="292" y="92"/>
                </a:lnTo>
                <a:lnTo>
                  <a:pt x="289" y="63"/>
                </a:lnTo>
                <a:lnTo>
                  <a:pt x="285" y="32"/>
                </a:lnTo>
                <a:lnTo>
                  <a:pt x="283" y="25"/>
                </a:lnTo>
                <a:lnTo>
                  <a:pt x="279" y="19"/>
                </a:lnTo>
                <a:lnTo>
                  <a:pt x="276" y="14"/>
                </a:lnTo>
                <a:lnTo>
                  <a:pt x="272" y="9"/>
                </a:lnTo>
                <a:lnTo>
                  <a:pt x="267" y="6"/>
                </a:lnTo>
                <a:lnTo>
                  <a:pt x="261" y="3"/>
                </a:lnTo>
                <a:lnTo>
                  <a:pt x="254" y="1"/>
                </a:lnTo>
                <a:lnTo>
                  <a:pt x="246" y="0"/>
                </a:lnTo>
                <a:lnTo>
                  <a:pt x="236" y="1"/>
                </a:lnTo>
                <a:lnTo>
                  <a:pt x="227" y="3"/>
                </a:lnTo>
                <a:lnTo>
                  <a:pt x="218" y="5"/>
                </a:lnTo>
                <a:lnTo>
                  <a:pt x="208" y="9"/>
                </a:lnTo>
                <a:lnTo>
                  <a:pt x="190" y="18"/>
                </a:lnTo>
                <a:lnTo>
                  <a:pt x="173" y="30"/>
                </a:lnTo>
                <a:lnTo>
                  <a:pt x="155" y="43"/>
                </a:lnTo>
                <a:lnTo>
                  <a:pt x="138" y="55"/>
                </a:lnTo>
                <a:lnTo>
                  <a:pt x="129" y="60"/>
                </a:lnTo>
                <a:lnTo>
                  <a:pt x="119" y="66"/>
                </a:lnTo>
                <a:lnTo>
                  <a:pt x="110" y="70"/>
                </a:lnTo>
                <a:lnTo>
                  <a:pt x="100" y="74"/>
                </a:lnTo>
                <a:lnTo>
                  <a:pt x="20" y="80"/>
                </a:lnTo>
                <a:lnTo>
                  <a:pt x="0" y="8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166" name="Freeform 163"/>
          <p:cNvSpPr>
            <a:spLocks/>
          </p:cNvSpPr>
          <p:nvPr userDrawn="1">
            <p:custDataLst>
              <p:tags r:id="rId94"/>
            </p:custDataLst>
          </p:nvPr>
        </p:nvSpPr>
        <p:spPr bwMode="auto">
          <a:xfrm>
            <a:off x="2551122" y="2746772"/>
            <a:ext cx="119063" cy="161925"/>
          </a:xfrm>
          <a:custGeom>
            <a:avLst/>
            <a:gdLst>
              <a:gd name="T0" fmla="*/ 42796819 w 273"/>
              <a:gd name="T1" fmla="*/ 38074544 h 414"/>
              <a:gd name="T2" fmla="*/ 40514125 w 273"/>
              <a:gd name="T3" fmla="*/ 36170557 h 414"/>
              <a:gd name="T4" fmla="*/ 38231867 w 273"/>
              <a:gd name="T5" fmla="*/ 32907018 h 414"/>
              <a:gd name="T6" fmla="*/ 36139325 w 273"/>
              <a:gd name="T7" fmla="*/ 28555643 h 414"/>
              <a:gd name="T8" fmla="*/ 34807826 w 273"/>
              <a:gd name="T9" fmla="*/ 26108256 h 414"/>
              <a:gd name="T10" fmla="*/ 33476764 w 273"/>
              <a:gd name="T11" fmla="*/ 25292112 h 414"/>
              <a:gd name="T12" fmla="*/ 31764525 w 273"/>
              <a:gd name="T13" fmla="*/ 25564334 h 414"/>
              <a:gd name="T14" fmla="*/ 30623614 w 273"/>
              <a:gd name="T15" fmla="*/ 27467799 h 414"/>
              <a:gd name="T16" fmla="*/ 29101963 w 273"/>
              <a:gd name="T17" fmla="*/ 23388646 h 414"/>
              <a:gd name="T18" fmla="*/ 27009414 w 273"/>
              <a:gd name="T19" fmla="*/ 14685893 h 414"/>
              <a:gd name="T20" fmla="*/ 25107460 w 273"/>
              <a:gd name="T21" fmla="*/ 9790597 h 414"/>
              <a:gd name="T22" fmla="*/ 23395658 w 273"/>
              <a:gd name="T23" fmla="*/ 6798764 h 414"/>
              <a:gd name="T24" fmla="*/ 21112964 w 273"/>
              <a:gd name="T25" fmla="*/ 3807454 h 414"/>
              <a:gd name="T26" fmla="*/ 18259814 w 273"/>
              <a:gd name="T27" fmla="*/ 1359544 h 414"/>
              <a:gd name="T28" fmla="*/ 15216513 w 273"/>
              <a:gd name="T29" fmla="*/ 1903466 h 414"/>
              <a:gd name="T30" fmla="*/ 13124404 w 273"/>
              <a:gd name="T31" fmla="*/ 5166999 h 414"/>
              <a:gd name="T32" fmla="*/ 11983057 w 273"/>
              <a:gd name="T33" fmla="*/ 6798764 h 414"/>
              <a:gd name="T34" fmla="*/ 10841710 w 273"/>
              <a:gd name="T35" fmla="*/ 8702753 h 414"/>
              <a:gd name="T36" fmla="*/ 10651558 w 273"/>
              <a:gd name="T37" fmla="*/ 11422362 h 414"/>
              <a:gd name="T38" fmla="*/ 11031861 w 273"/>
              <a:gd name="T39" fmla="*/ 16045437 h 414"/>
              <a:gd name="T40" fmla="*/ 9890951 w 273"/>
              <a:gd name="T41" fmla="*/ 21212959 h 414"/>
              <a:gd name="T42" fmla="*/ 6276756 w 273"/>
              <a:gd name="T43" fmla="*/ 24476490 h 414"/>
              <a:gd name="T44" fmla="*/ 3233454 w 273"/>
              <a:gd name="T45" fmla="*/ 28283943 h 414"/>
              <a:gd name="T46" fmla="*/ 761044 w 273"/>
              <a:gd name="T47" fmla="*/ 32091396 h 414"/>
              <a:gd name="T48" fmla="*/ 7608257 w 273"/>
              <a:gd name="T49" fmla="*/ 53848277 h 414"/>
              <a:gd name="T50" fmla="*/ 13885011 w 273"/>
              <a:gd name="T51" fmla="*/ 55751742 h 414"/>
              <a:gd name="T52" fmla="*/ 15977556 w 273"/>
              <a:gd name="T53" fmla="*/ 57111286 h 414"/>
              <a:gd name="T54" fmla="*/ 17689359 w 273"/>
              <a:gd name="T55" fmla="*/ 59286973 h 414"/>
              <a:gd name="T56" fmla="*/ 18830706 w 273"/>
              <a:gd name="T57" fmla="*/ 61462660 h 414"/>
              <a:gd name="T58" fmla="*/ 19591313 w 273"/>
              <a:gd name="T59" fmla="*/ 64454491 h 414"/>
              <a:gd name="T60" fmla="*/ 20162205 w 273"/>
              <a:gd name="T61" fmla="*/ 72069413 h 414"/>
              <a:gd name="T62" fmla="*/ 19591313 w 273"/>
              <a:gd name="T63" fmla="*/ 75876866 h 414"/>
              <a:gd name="T64" fmla="*/ 18259814 w 273"/>
              <a:gd name="T65" fmla="*/ 79684319 h 414"/>
              <a:gd name="T66" fmla="*/ 16928316 w 273"/>
              <a:gd name="T67" fmla="*/ 83491771 h 414"/>
              <a:gd name="T68" fmla="*/ 16357860 w 273"/>
              <a:gd name="T69" fmla="*/ 87299224 h 414"/>
              <a:gd name="T70" fmla="*/ 17309055 w 273"/>
              <a:gd name="T71" fmla="*/ 93282364 h 414"/>
              <a:gd name="T72" fmla="*/ 20352357 w 273"/>
              <a:gd name="T73" fmla="*/ 101712891 h 414"/>
              <a:gd name="T74" fmla="*/ 22254311 w 273"/>
              <a:gd name="T75" fmla="*/ 105792566 h 414"/>
              <a:gd name="T76" fmla="*/ 24537005 w 273"/>
              <a:gd name="T77" fmla="*/ 109056097 h 414"/>
              <a:gd name="T78" fmla="*/ 26819263 w 273"/>
              <a:gd name="T79" fmla="*/ 111775706 h 414"/>
              <a:gd name="T80" fmla="*/ 29101963 w 273"/>
              <a:gd name="T81" fmla="*/ 112591328 h 414"/>
              <a:gd name="T82" fmla="*/ 40894865 w 273"/>
              <a:gd name="T83" fmla="*/ 108239953 h 414"/>
              <a:gd name="T84" fmla="*/ 48503118 w 273"/>
              <a:gd name="T85" fmla="*/ 104704722 h 414"/>
              <a:gd name="T86" fmla="*/ 50785376 w 273"/>
              <a:gd name="T87" fmla="*/ 102529035 h 414"/>
              <a:gd name="T88" fmla="*/ 51926723 w 273"/>
              <a:gd name="T89" fmla="*/ 100625048 h 414"/>
              <a:gd name="T90" fmla="*/ 51165680 w 273"/>
              <a:gd name="T91" fmla="*/ 95729751 h 414"/>
              <a:gd name="T92" fmla="*/ 50024769 w 273"/>
              <a:gd name="T93" fmla="*/ 91106677 h 414"/>
              <a:gd name="T94" fmla="*/ 46030272 w 273"/>
              <a:gd name="T95" fmla="*/ 84035693 h 414"/>
              <a:gd name="T96" fmla="*/ 42225928 w 273"/>
              <a:gd name="T97" fmla="*/ 76692488 h 414"/>
              <a:gd name="T98" fmla="*/ 40894865 w 273"/>
              <a:gd name="T99" fmla="*/ 72341113 h 414"/>
              <a:gd name="T100" fmla="*/ 40323973 w 273"/>
              <a:gd name="T101" fmla="*/ 67174100 h 414"/>
              <a:gd name="T102" fmla="*/ 40894865 w 273"/>
              <a:gd name="T103" fmla="*/ 58471351 h 414"/>
              <a:gd name="T104" fmla="*/ 42225928 w 273"/>
              <a:gd name="T105" fmla="*/ 51672589 h 414"/>
              <a:gd name="T106" fmla="*/ 43747578 w 273"/>
              <a:gd name="T107" fmla="*/ 45417228 h 414"/>
              <a:gd name="T108" fmla="*/ 44128318 w 273"/>
              <a:gd name="T109" fmla="*/ 38618466 h 41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273"/>
              <a:gd name="T166" fmla="*/ 0 h 414"/>
              <a:gd name="T167" fmla="*/ 273 w 273"/>
              <a:gd name="T168" fmla="*/ 414 h 414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273" h="414">
                <a:moveTo>
                  <a:pt x="232" y="142"/>
                </a:moveTo>
                <a:lnTo>
                  <a:pt x="225" y="140"/>
                </a:lnTo>
                <a:lnTo>
                  <a:pt x="219" y="137"/>
                </a:lnTo>
                <a:lnTo>
                  <a:pt x="213" y="133"/>
                </a:lnTo>
                <a:lnTo>
                  <a:pt x="209" y="130"/>
                </a:lnTo>
                <a:lnTo>
                  <a:pt x="201" y="121"/>
                </a:lnTo>
                <a:lnTo>
                  <a:pt x="195" y="113"/>
                </a:lnTo>
                <a:lnTo>
                  <a:pt x="190" y="105"/>
                </a:lnTo>
                <a:lnTo>
                  <a:pt x="185" y="99"/>
                </a:lnTo>
                <a:lnTo>
                  <a:pt x="183" y="96"/>
                </a:lnTo>
                <a:lnTo>
                  <a:pt x="179" y="95"/>
                </a:lnTo>
                <a:lnTo>
                  <a:pt x="176" y="93"/>
                </a:lnTo>
                <a:lnTo>
                  <a:pt x="173" y="93"/>
                </a:lnTo>
                <a:lnTo>
                  <a:pt x="167" y="94"/>
                </a:lnTo>
                <a:lnTo>
                  <a:pt x="164" y="97"/>
                </a:lnTo>
                <a:lnTo>
                  <a:pt x="161" y="101"/>
                </a:lnTo>
                <a:lnTo>
                  <a:pt x="159" y="105"/>
                </a:lnTo>
                <a:lnTo>
                  <a:pt x="153" y="86"/>
                </a:lnTo>
                <a:lnTo>
                  <a:pt x="147" y="68"/>
                </a:lnTo>
                <a:lnTo>
                  <a:pt x="142" y="54"/>
                </a:lnTo>
                <a:lnTo>
                  <a:pt x="135" y="41"/>
                </a:lnTo>
                <a:lnTo>
                  <a:pt x="132" y="36"/>
                </a:lnTo>
                <a:lnTo>
                  <a:pt x="128" y="30"/>
                </a:lnTo>
                <a:lnTo>
                  <a:pt x="123" y="25"/>
                </a:lnTo>
                <a:lnTo>
                  <a:pt x="118" y="20"/>
                </a:lnTo>
                <a:lnTo>
                  <a:pt x="111" y="14"/>
                </a:lnTo>
                <a:lnTo>
                  <a:pt x="103" y="9"/>
                </a:lnTo>
                <a:lnTo>
                  <a:pt x="96" y="5"/>
                </a:lnTo>
                <a:lnTo>
                  <a:pt x="86" y="0"/>
                </a:lnTo>
                <a:lnTo>
                  <a:pt x="80" y="7"/>
                </a:lnTo>
                <a:lnTo>
                  <a:pt x="73" y="15"/>
                </a:lnTo>
                <a:lnTo>
                  <a:pt x="69" y="19"/>
                </a:lnTo>
                <a:lnTo>
                  <a:pt x="66" y="23"/>
                </a:lnTo>
                <a:lnTo>
                  <a:pt x="63" y="25"/>
                </a:lnTo>
                <a:lnTo>
                  <a:pt x="60" y="25"/>
                </a:lnTo>
                <a:lnTo>
                  <a:pt x="57" y="32"/>
                </a:lnTo>
                <a:lnTo>
                  <a:pt x="57" y="37"/>
                </a:lnTo>
                <a:lnTo>
                  <a:pt x="56" y="42"/>
                </a:lnTo>
                <a:lnTo>
                  <a:pt x="57" y="47"/>
                </a:lnTo>
                <a:lnTo>
                  <a:pt x="58" y="59"/>
                </a:lnTo>
                <a:lnTo>
                  <a:pt x="60" y="75"/>
                </a:lnTo>
                <a:lnTo>
                  <a:pt x="52" y="78"/>
                </a:lnTo>
                <a:lnTo>
                  <a:pt x="43" y="83"/>
                </a:lnTo>
                <a:lnTo>
                  <a:pt x="33" y="90"/>
                </a:lnTo>
                <a:lnTo>
                  <a:pt x="24" y="97"/>
                </a:lnTo>
                <a:lnTo>
                  <a:pt x="17" y="104"/>
                </a:lnTo>
                <a:lnTo>
                  <a:pt x="9" y="111"/>
                </a:lnTo>
                <a:lnTo>
                  <a:pt x="4" y="118"/>
                </a:lnTo>
                <a:lnTo>
                  <a:pt x="0" y="123"/>
                </a:lnTo>
                <a:lnTo>
                  <a:pt x="40" y="198"/>
                </a:lnTo>
                <a:lnTo>
                  <a:pt x="57" y="201"/>
                </a:lnTo>
                <a:lnTo>
                  <a:pt x="73" y="205"/>
                </a:lnTo>
                <a:lnTo>
                  <a:pt x="78" y="207"/>
                </a:lnTo>
                <a:lnTo>
                  <a:pt x="84" y="210"/>
                </a:lnTo>
                <a:lnTo>
                  <a:pt x="89" y="214"/>
                </a:lnTo>
                <a:lnTo>
                  <a:pt x="93" y="218"/>
                </a:lnTo>
                <a:lnTo>
                  <a:pt x="96" y="222"/>
                </a:lnTo>
                <a:lnTo>
                  <a:pt x="99" y="226"/>
                </a:lnTo>
                <a:lnTo>
                  <a:pt x="101" y="231"/>
                </a:lnTo>
                <a:lnTo>
                  <a:pt x="103" y="237"/>
                </a:lnTo>
                <a:lnTo>
                  <a:pt x="106" y="251"/>
                </a:lnTo>
                <a:lnTo>
                  <a:pt x="106" y="265"/>
                </a:lnTo>
                <a:lnTo>
                  <a:pt x="106" y="272"/>
                </a:lnTo>
                <a:lnTo>
                  <a:pt x="103" y="279"/>
                </a:lnTo>
                <a:lnTo>
                  <a:pt x="100" y="286"/>
                </a:lnTo>
                <a:lnTo>
                  <a:pt x="96" y="293"/>
                </a:lnTo>
                <a:lnTo>
                  <a:pt x="93" y="301"/>
                </a:lnTo>
                <a:lnTo>
                  <a:pt x="89" y="307"/>
                </a:lnTo>
                <a:lnTo>
                  <a:pt x="87" y="314"/>
                </a:lnTo>
                <a:lnTo>
                  <a:pt x="86" y="321"/>
                </a:lnTo>
                <a:lnTo>
                  <a:pt x="88" y="330"/>
                </a:lnTo>
                <a:lnTo>
                  <a:pt x="91" y="343"/>
                </a:lnTo>
                <a:lnTo>
                  <a:pt x="98" y="359"/>
                </a:lnTo>
                <a:lnTo>
                  <a:pt x="107" y="374"/>
                </a:lnTo>
                <a:lnTo>
                  <a:pt x="112" y="382"/>
                </a:lnTo>
                <a:lnTo>
                  <a:pt x="117" y="389"/>
                </a:lnTo>
                <a:lnTo>
                  <a:pt x="122" y="395"/>
                </a:lnTo>
                <a:lnTo>
                  <a:pt x="129" y="401"/>
                </a:lnTo>
                <a:lnTo>
                  <a:pt x="134" y="406"/>
                </a:lnTo>
                <a:lnTo>
                  <a:pt x="141" y="411"/>
                </a:lnTo>
                <a:lnTo>
                  <a:pt x="146" y="413"/>
                </a:lnTo>
                <a:lnTo>
                  <a:pt x="153" y="414"/>
                </a:lnTo>
                <a:lnTo>
                  <a:pt x="174" y="410"/>
                </a:lnTo>
                <a:lnTo>
                  <a:pt x="215" y="398"/>
                </a:lnTo>
                <a:lnTo>
                  <a:pt x="236" y="392"/>
                </a:lnTo>
                <a:lnTo>
                  <a:pt x="255" y="385"/>
                </a:lnTo>
                <a:lnTo>
                  <a:pt x="262" y="381"/>
                </a:lnTo>
                <a:lnTo>
                  <a:pt x="267" y="377"/>
                </a:lnTo>
                <a:lnTo>
                  <a:pt x="271" y="374"/>
                </a:lnTo>
                <a:lnTo>
                  <a:pt x="273" y="370"/>
                </a:lnTo>
                <a:lnTo>
                  <a:pt x="271" y="361"/>
                </a:lnTo>
                <a:lnTo>
                  <a:pt x="269" y="352"/>
                </a:lnTo>
                <a:lnTo>
                  <a:pt x="267" y="343"/>
                </a:lnTo>
                <a:lnTo>
                  <a:pt x="263" y="335"/>
                </a:lnTo>
                <a:lnTo>
                  <a:pt x="253" y="321"/>
                </a:lnTo>
                <a:lnTo>
                  <a:pt x="242" y="309"/>
                </a:lnTo>
                <a:lnTo>
                  <a:pt x="231" y="295"/>
                </a:lnTo>
                <a:lnTo>
                  <a:pt x="222" y="282"/>
                </a:lnTo>
                <a:lnTo>
                  <a:pt x="218" y="274"/>
                </a:lnTo>
                <a:lnTo>
                  <a:pt x="215" y="266"/>
                </a:lnTo>
                <a:lnTo>
                  <a:pt x="213" y="257"/>
                </a:lnTo>
                <a:lnTo>
                  <a:pt x="212" y="247"/>
                </a:lnTo>
                <a:lnTo>
                  <a:pt x="213" y="229"/>
                </a:lnTo>
                <a:lnTo>
                  <a:pt x="215" y="215"/>
                </a:lnTo>
                <a:lnTo>
                  <a:pt x="219" y="202"/>
                </a:lnTo>
                <a:lnTo>
                  <a:pt x="222" y="190"/>
                </a:lnTo>
                <a:lnTo>
                  <a:pt x="226" y="178"/>
                </a:lnTo>
                <a:lnTo>
                  <a:pt x="230" y="167"/>
                </a:lnTo>
                <a:lnTo>
                  <a:pt x="232" y="155"/>
                </a:lnTo>
                <a:lnTo>
                  <a:pt x="232" y="142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grpSp>
        <p:nvGrpSpPr>
          <p:cNvPr id="97" name="Group 164"/>
          <p:cNvGrpSpPr>
            <a:grpSpLocks/>
          </p:cNvGrpSpPr>
          <p:nvPr userDrawn="1">
            <p:custDataLst>
              <p:tags r:id="rId95"/>
            </p:custDataLst>
          </p:nvPr>
        </p:nvGrpSpPr>
        <p:grpSpPr bwMode="auto">
          <a:xfrm>
            <a:off x="2265362" y="2622948"/>
            <a:ext cx="323850" cy="301228"/>
            <a:chOff x="1486" y="2412"/>
            <a:chExt cx="244" cy="256"/>
          </a:xfrm>
          <a:solidFill>
            <a:sysClr val="window" lastClr="FFFFFF">
              <a:lumMod val="85000"/>
            </a:sysClr>
          </a:solidFill>
        </p:grpSpPr>
        <p:sp>
          <p:nvSpPr>
            <p:cNvPr id="168" name="Freeform 165"/>
            <p:cNvSpPr>
              <a:spLocks/>
            </p:cNvSpPr>
            <p:nvPr/>
          </p:nvSpPr>
          <p:spPr bwMode="auto">
            <a:xfrm>
              <a:off x="1639" y="2457"/>
              <a:ext cx="18" cy="7"/>
            </a:xfrm>
            <a:custGeom>
              <a:avLst/>
              <a:gdLst>
                <a:gd name="T0" fmla="*/ 0 w 54"/>
                <a:gd name="T1" fmla="*/ 0 h 22"/>
                <a:gd name="T2" fmla="*/ 0 w 54"/>
                <a:gd name="T3" fmla="*/ 2 h 22"/>
                <a:gd name="T4" fmla="*/ 1 w 54"/>
                <a:gd name="T5" fmla="*/ 2 h 22"/>
                <a:gd name="T6" fmla="*/ 1 w 54"/>
                <a:gd name="T7" fmla="*/ 2 h 22"/>
                <a:gd name="T8" fmla="*/ 2 w 54"/>
                <a:gd name="T9" fmla="*/ 2 h 22"/>
                <a:gd name="T10" fmla="*/ 2 w 54"/>
                <a:gd name="T11" fmla="*/ 2 h 22"/>
                <a:gd name="T12" fmla="*/ 3 w 54"/>
                <a:gd name="T13" fmla="*/ 2 h 22"/>
                <a:gd name="T14" fmla="*/ 3 w 54"/>
                <a:gd name="T15" fmla="*/ 2 h 22"/>
                <a:gd name="T16" fmla="*/ 3 w 54"/>
                <a:gd name="T17" fmla="*/ 2 h 22"/>
                <a:gd name="T18" fmla="*/ 4 w 54"/>
                <a:gd name="T19" fmla="*/ 2 h 22"/>
                <a:gd name="T20" fmla="*/ 4 w 54"/>
                <a:gd name="T21" fmla="*/ 2 h 22"/>
                <a:gd name="T22" fmla="*/ 5 w 54"/>
                <a:gd name="T23" fmla="*/ 1 h 22"/>
                <a:gd name="T24" fmla="*/ 5 w 54"/>
                <a:gd name="T25" fmla="*/ 1 h 22"/>
                <a:gd name="T26" fmla="*/ 6 w 54"/>
                <a:gd name="T27" fmla="*/ 1 h 22"/>
                <a:gd name="T28" fmla="*/ 4 w 54"/>
                <a:gd name="T29" fmla="*/ 1 h 22"/>
                <a:gd name="T30" fmla="*/ 2 w 54"/>
                <a:gd name="T31" fmla="*/ 0 h 22"/>
                <a:gd name="T32" fmla="*/ 1 w 54"/>
                <a:gd name="T33" fmla="*/ 0 h 22"/>
                <a:gd name="T34" fmla="*/ 0 w 54"/>
                <a:gd name="T35" fmla="*/ 0 h 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54"/>
                <a:gd name="T55" fmla="*/ 0 h 22"/>
                <a:gd name="T56" fmla="*/ 54 w 54"/>
                <a:gd name="T57" fmla="*/ 22 h 2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54" h="22">
                  <a:moveTo>
                    <a:pt x="0" y="0"/>
                  </a:moveTo>
                  <a:lnTo>
                    <a:pt x="0" y="18"/>
                  </a:lnTo>
                  <a:lnTo>
                    <a:pt x="6" y="20"/>
                  </a:lnTo>
                  <a:lnTo>
                    <a:pt x="10" y="21"/>
                  </a:lnTo>
                  <a:lnTo>
                    <a:pt x="14" y="22"/>
                  </a:lnTo>
                  <a:lnTo>
                    <a:pt x="20" y="22"/>
                  </a:lnTo>
                  <a:lnTo>
                    <a:pt x="23" y="22"/>
                  </a:lnTo>
                  <a:lnTo>
                    <a:pt x="27" y="21"/>
                  </a:lnTo>
                  <a:lnTo>
                    <a:pt x="31" y="20"/>
                  </a:lnTo>
                  <a:lnTo>
                    <a:pt x="33" y="18"/>
                  </a:lnTo>
                  <a:lnTo>
                    <a:pt x="35" y="16"/>
                  </a:lnTo>
                  <a:lnTo>
                    <a:pt x="41" y="12"/>
                  </a:lnTo>
                  <a:lnTo>
                    <a:pt x="47" y="8"/>
                  </a:lnTo>
                  <a:lnTo>
                    <a:pt x="54" y="6"/>
                  </a:lnTo>
                  <a:lnTo>
                    <a:pt x="36" y="5"/>
                  </a:lnTo>
                  <a:lnTo>
                    <a:pt x="20" y="3"/>
                  </a:lnTo>
                  <a:lnTo>
                    <a:pt x="6" y="1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9" name="Freeform 166"/>
            <p:cNvSpPr>
              <a:spLocks/>
            </p:cNvSpPr>
            <p:nvPr/>
          </p:nvSpPr>
          <p:spPr bwMode="auto">
            <a:xfrm>
              <a:off x="1526" y="2412"/>
              <a:ext cx="2" cy="8"/>
            </a:xfrm>
            <a:custGeom>
              <a:avLst/>
              <a:gdLst>
                <a:gd name="T0" fmla="*/ 1 w 6"/>
                <a:gd name="T1" fmla="*/ 3 h 24"/>
                <a:gd name="T2" fmla="*/ 1 w 6"/>
                <a:gd name="T3" fmla="*/ 0 h 24"/>
                <a:gd name="T4" fmla="*/ 0 w 6"/>
                <a:gd name="T5" fmla="*/ 0 h 24"/>
                <a:gd name="T6" fmla="*/ 0 w 6"/>
                <a:gd name="T7" fmla="*/ 0 h 24"/>
                <a:gd name="T8" fmla="*/ 0 w 6"/>
                <a:gd name="T9" fmla="*/ 1 h 24"/>
                <a:gd name="T10" fmla="*/ 0 w 6"/>
                <a:gd name="T11" fmla="*/ 1 h 24"/>
                <a:gd name="T12" fmla="*/ 0 w 6"/>
                <a:gd name="T13" fmla="*/ 2 h 24"/>
                <a:gd name="T14" fmla="*/ 0 w 6"/>
                <a:gd name="T15" fmla="*/ 2 h 24"/>
                <a:gd name="T16" fmla="*/ 0 w 6"/>
                <a:gd name="T17" fmla="*/ 3 h 24"/>
                <a:gd name="T18" fmla="*/ 1 w 6"/>
                <a:gd name="T19" fmla="*/ 3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24"/>
                <a:gd name="T32" fmla="*/ 6 w 6"/>
                <a:gd name="T33" fmla="*/ 24 h 2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24">
                  <a:moveTo>
                    <a:pt x="6" y="24"/>
                  </a:moveTo>
                  <a:lnTo>
                    <a:pt x="6" y="0"/>
                  </a:lnTo>
                  <a:lnTo>
                    <a:pt x="4" y="1"/>
                  </a:lnTo>
                  <a:lnTo>
                    <a:pt x="1" y="3"/>
                  </a:lnTo>
                  <a:lnTo>
                    <a:pt x="0" y="7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1" y="20"/>
                  </a:lnTo>
                  <a:lnTo>
                    <a:pt x="4" y="23"/>
                  </a:lnTo>
                  <a:lnTo>
                    <a:pt x="6" y="24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0" name="Freeform 167"/>
            <p:cNvSpPr>
              <a:spLocks/>
            </p:cNvSpPr>
            <p:nvPr/>
          </p:nvSpPr>
          <p:spPr bwMode="auto">
            <a:xfrm>
              <a:off x="1557" y="2438"/>
              <a:ext cx="8" cy="4"/>
            </a:xfrm>
            <a:custGeom>
              <a:avLst/>
              <a:gdLst>
                <a:gd name="T0" fmla="*/ 0 w 27"/>
                <a:gd name="T1" fmla="*/ 1 h 12"/>
                <a:gd name="T2" fmla="*/ 2 w 27"/>
                <a:gd name="T3" fmla="*/ 1 h 12"/>
                <a:gd name="T4" fmla="*/ 1 w 27"/>
                <a:gd name="T5" fmla="*/ 0 h 12"/>
                <a:gd name="T6" fmla="*/ 0 w 27"/>
                <a:gd name="T7" fmla="*/ 1 h 1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7"/>
                <a:gd name="T13" fmla="*/ 0 h 12"/>
                <a:gd name="T14" fmla="*/ 27 w 27"/>
                <a:gd name="T15" fmla="*/ 12 h 1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7" h="12">
                  <a:moveTo>
                    <a:pt x="0" y="12"/>
                  </a:moveTo>
                  <a:lnTo>
                    <a:pt x="27" y="12"/>
                  </a:ln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1" name="Freeform 168"/>
            <p:cNvSpPr>
              <a:spLocks/>
            </p:cNvSpPr>
            <p:nvPr/>
          </p:nvSpPr>
          <p:spPr bwMode="auto">
            <a:xfrm>
              <a:off x="1486" y="2444"/>
              <a:ext cx="244" cy="224"/>
            </a:xfrm>
            <a:custGeom>
              <a:avLst/>
              <a:gdLst>
                <a:gd name="T0" fmla="*/ 1 w 743"/>
                <a:gd name="T1" fmla="*/ 23 h 672"/>
                <a:gd name="T2" fmla="*/ 5 w 743"/>
                <a:gd name="T3" fmla="*/ 30 h 672"/>
                <a:gd name="T4" fmla="*/ 13 w 743"/>
                <a:gd name="T5" fmla="*/ 33 h 672"/>
                <a:gd name="T6" fmla="*/ 18 w 743"/>
                <a:gd name="T7" fmla="*/ 35 h 672"/>
                <a:gd name="T8" fmla="*/ 21 w 743"/>
                <a:gd name="T9" fmla="*/ 38 h 672"/>
                <a:gd name="T10" fmla="*/ 32 w 743"/>
                <a:gd name="T11" fmla="*/ 42 h 672"/>
                <a:gd name="T12" fmla="*/ 31 w 743"/>
                <a:gd name="T13" fmla="*/ 47 h 672"/>
                <a:gd name="T14" fmla="*/ 33 w 743"/>
                <a:gd name="T15" fmla="*/ 57 h 672"/>
                <a:gd name="T16" fmla="*/ 33 w 743"/>
                <a:gd name="T17" fmla="*/ 59 h 672"/>
                <a:gd name="T18" fmla="*/ 33 w 743"/>
                <a:gd name="T19" fmla="*/ 63 h 672"/>
                <a:gd name="T20" fmla="*/ 35 w 743"/>
                <a:gd name="T21" fmla="*/ 69 h 672"/>
                <a:gd name="T22" fmla="*/ 40 w 743"/>
                <a:gd name="T23" fmla="*/ 73 h 672"/>
                <a:gd name="T24" fmla="*/ 45 w 743"/>
                <a:gd name="T25" fmla="*/ 75 h 672"/>
                <a:gd name="T26" fmla="*/ 50 w 743"/>
                <a:gd name="T27" fmla="*/ 73 h 672"/>
                <a:gd name="T28" fmla="*/ 55 w 743"/>
                <a:gd name="T29" fmla="*/ 69 h 672"/>
                <a:gd name="T30" fmla="*/ 56 w 743"/>
                <a:gd name="T31" fmla="*/ 65 h 672"/>
                <a:gd name="T32" fmla="*/ 52 w 743"/>
                <a:gd name="T33" fmla="*/ 52 h 672"/>
                <a:gd name="T34" fmla="*/ 62 w 743"/>
                <a:gd name="T35" fmla="*/ 56 h 672"/>
                <a:gd name="T36" fmla="*/ 65 w 743"/>
                <a:gd name="T37" fmla="*/ 53 h 672"/>
                <a:gd name="T38" fmla="*/ 70 w 743"/>
                <a:gd name="T39" fmla="*/ 49 h 672"/>
                <a:gd name="T40" fmla="*/ 72 w 743"/>
                <a:gd name="T41" fmla="*/ 49 h 672"/>
                <a:gd name="T42" fmla="*/ 74 w 743"/>
                <a:gd name="T43" fmla="*/ 48 h 672"/>
                <a:gd name="T44" fmla="*/ 72 w 743"/>
                <a:gd name="T45" fmla="*/ 36 h 672"/>
                <a:gd name="T46" fmla="*/ 77 w 743"/>
                <a:gd name="T47" fmla="*/ 33 h 672"/>
                <a:gd name="T48" fmla="*/ 77 w 743"/>
                <a:gd name="T49" fmla="*/ 28 h 672"/>
                <a:gd name="T50" fmla="*/ 78 w 743"/>
                <a:gd name="T51" fmla="*/ 26 h 672"/>
                <a:gd name="T52" fmla="*/ 78 w 743"/>
                <a:gd name="T53" fmla="*/ 24 h 672"/>
                <a:gd name="T54" fmla="*/ 76 w 743"/>
                <a:gd name="T55" fmla="*/ 22 h 672"/>
                <a:gd name="T56" fmla="*/ 74 w 743"/>
                <a:gd name="T57" fmla="*/ 19 h 672"/>
                <a:gd name="T58" fmla="*/ 72 w 743"/>
                <a:gd name="T59" fmla="*/ 16 h 672"/>
                <a:gd name="T60" fmla="*/ 69 w 743"/>
                <a:gd name="T61" fmla="*/ 17 h 672"/>
                <a:gd name="T62" fmla="*/ 68 w 743"/>
                <a:gd name="T63" fmla="*/ 15 h 672"/>
                <a:gd name="T64" fmla="*/ 65 w 743"/>
                <a:gd name="T65" fmla="*/ 13 h 672"/>
                <a:gd name="T66" fmla="*/ 63 w 743"/>
                <a:gd name="T67" fmla="*/ 11 h 672"/>
                <a:gd name="T68" fmla="*/ 58 w 743"/>
                <a:gd name="T69" fmla="*/ 8 h 672"/>
                <a:gd name="T70" fmla="*/ 53 w 743"/>
                <a:gd name="T71" fmla="*/ 10 h 672"/>
                <a:gd name="T72" fmla="*/ 51 w 743"/>
                <a:gd name="T73" fmla="*/ 11 h 672"/>
                <a:gd name="T74" fmla="*/ 47 w 743"/>
                <a:gd name="T75" fmla="*/ 13 h 672"/>
                <a:gd name="T76" fmla="*/ 45 w 743"/>
                <a:gd name="T77" fmla="*/ 12 h 672"/>
                <a:gd name="T78" fmla="*/ 42 w 743"/>
                <a:gd name="T79" fmla="*/ 11 h 672"/>
                <a:gd name="T80" fmla="*/ 39 w 743"/>
                <a:gd name="T81" fmla="*/ 9 h 672"/>
                <a:gd name="T82" fmla="*/ 34 w 743"/>
                <a:gd name="T83" fmla="*/ 9 h 672"/>
                <a:gd name="T84" fmla="*/ 32 w 743"/>
                <a:gd name="T85" fmla="*/ 10 h 672"/>
                <a:gd name="T86" fmla="*/ 27 w 743"/>
                <a:gd name="T87" fmla="*/ 10 h 672"/>
                <a:gd name="T88" fmla="*/ 25 w 743"/>
                <a:gd name="T89" fmla="*/ 6 h 672"/>
                <a:gd name="T90" fmla="*/ 19 w 743"/>
                <a:gd name="T91" fmla="*/ 2 h 672"/>
                <a:gd name="T92" fmla="*/ 16 w 743"/>
                <a:gd name="T93" fmla="*/ 1 h 672"/>
                <a:gd name="T94" fmla="*/ 15 w 743"/>
                <a:gd name="T95" fmla="*/ 5 h 672"/>
                <a:gd name="T96" fmla="*/ 13 w 743"/>
                <a:gd name="T97" fmla="*/ 8 h 672"/>
                <a:gd name="T98" fmla="*/ 13 w 743"/>
                <a:gd name="T99" fmla="*/ 15 h 672"/>
                <a:gd name="T100" fmla="*/ 11 w 743"/>
                <a:gd name="T101" fmla="*/ 22 h 672"/>
                <a:gd name="T102" fmla="*/ 10 w 743"/>
                <a:gd name="T103" fmla="*/ 21 h 672"/>
                <a:gd name="T104" fmla="*/ 8 w 743"/>
                <a:gd name="T105" fmla="*/ 20 h 672"/>
                <a:gd name="T106" fmla="*/ 6 w 743"/>
                <a:gd name="T107" fmla="*/ 19 h 672"/>
                <a:gd name="T108" fmla="*/ 6 w 743"/>
                <a:gd name="T109" fmla="*/ 13 h 672"/>
                <a:gd name="T110" fmla="*/ 8 w 743"/>
                <a:gd name="T111" fmla="*/ 7 h 672"/>
                <a:gd name="T112" fmla="*/ 11 w 743"/>
                <a:gd name="T113" fmla="*/ 2 h 672"/>
                <a:gd name="T114" fmla="*/ 6 w 743"/>
                <a:gd name="T115" fmla="*/ 3 h 672"/>
                <a:gd name="T116" fmla="*/ 2 w 743"/>
                <a:gd name="T117" fmla="*/ 8 h 672"/>
                <a:gd name="T118" fmla="*/ 0 w 743"/>
                <a:gd name="T119" fmla="*/ 13 h 6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743"/>
                <a:gd name="T181" fmla="*/ 0 h 672"/>
                <a:gd name="T182" fmla="*/ 743 w 743"/>
                <a:gd name="T183" fmla="*/ 672 h 6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743" h="672">
                  <a:moveTo>
                    <a:pt x="0" y="143"/>
                  </a:moveTo>
                  <a:lnTo>
                    <a:pt x="0" y="160"/>
                  </a:lnTo>
                  <a:lnTo>
                    <a:pt x="2" y="177"/>
                  </a:lnTo>
                  <a:lnTo>
                    <a:pt x="5" y="194"/>
                  </a:lnTo>
                  <a:lnTo>
                    <a:pt x="9" y="208"/>
                  </a:lnTo>
                  <a:lnTo>
                    <a:pt x="15" y="222"/>
                  </a:lnTo>
                  <a:lnTo>
                    <a:pt x="22" y="235"/>
                  </a:lnTo>
                  <a:lnTo>
                    <a:pt x="29" y="246"/>
                  </a:lnTo>
                  <a:lnTo>
                    <a:pt x="39" y="257"/>
                  </a:lnTo>
                  <a:lnTo>
                    <a:pt x="50" y="266"/>
                  </a:lnTo>
                  <a:lnTo>
                    <a:pt x="61" y="274"/>
                  </a:lnTo>
                  <a:lnTo>
                    <a:pt x="74" y="280"/>
                  </a:lnTo>
                  <a:lnTo>
                    <a:pt x="89" y="286"/>
                  </a:lnTo>
                  <a:lnTo>
                    <a:pt x="104" y="291"/>
                  </a:lnTo>
                  <a:lnTo>
                    <a:pt x="121" y="294"/>
                  </a:lnTo>
                  <a:lnTo>
                    <a:pt x="139" y="296"/>
                  </a:lnTo>
                  <a:lnTo>
                    <a:pt x="159" y="297"/>
                  </a:lnTo>
                  <a:lnTo>
                    <a:pt x="160" y="302"/>
                  </a:lnTo>
                  <a:lnTo>
                    <a:pt x="162" y="309"/>
                  </a:lnTo>
                  <a:lnTo>
                    <a:pt x="166" y="316"/>
                  </a:lnTo>
                  <a:lnTo>
                    <a:pt x="171" y="323"/>
                  </a:lnTo>
                  <a:lnTo>
                    <a:pt x="177" y="331"/>
                  </a:lnTo>
                  <a:lnTo>
                    <a:pt x="184" y="337"/>
                  </a:lnTo>
                  <a:lnTo>
                    <a:pt x="191" y="342"/>
                  </a:lnTo>
                  <a:lnTo>
                    <a:pt x="198" y="346"/>
                  </a:lnTo>
                  <a:lnTo>
                    <a:pt x="311" y="346"/>
                  </a:lnTo>
                  <a:lnTo>
                    <a:pt x="308" y="357"/>
                  </a:lnTo>
                  <a:lnTo>
                    <a:pt x="305" y="365"/>
                  </a:lnTo>
                  <a:lnTo>
                    <a:pt x="300" y="372"/>
                  </a:lnTo>
                  <a:lnTo>
                    <a:pt x="296" y="379"/>
                  </a:lnTo>
                  <a:lnTo>
                    <a:pt x="292" y="385"/>
                  </a:lnTo>
                  <a:lnTo>
                    <a:pt x="288" y="391"/>
                  </a:lnTo>
                  <a:lnTo>
                    <a:pt x="286" y="399"/>
                  </a:lnTo>
                  <a:lnTo>
                    <a:pt x="285" y="408"/>
                  </a:lnTo>
                  <a:lnTo>
                    <a:pt x="286" y="420"/>
                  </a:lnTo>
                  <a:lnTo>
                    <a:pt x="289" y="435"/>
                  </a:lnTo>
                  <a:lnTo>
                    <a:pt x="293" y="451"/>
                  </a:lnTo>
                  <a:lnTo>
                    <a:pt x="298" y="467"/>
                  </a:lnTo>
                  <a:lnTo>
                    <a:pt x="307" y="495"/>
                  </a:lnTo>
                  <a:lnTo>
                    <a:pt x="311" y="513"/>
                  </a:lnTo>
                  <a:lnTo>
                    <a:pt x="310" y="517"/>
                  </a:lnTo>
                  <a:lnTo>
                    <a:pt x="309" y="522"/>
                  </a:lnTo>
                  <a:lnTo>
                    <a:pt x="307" y="526"/>
                  </a:lnTo>
                  <a:lnTo>
                    <a:pt x="305" y="531"/>
                  </a:lnTo>
                  <a:lnTo>
                    <a:pt x="303" y="535"/>
                  </a:lnTo>
                  <a:lnTo>
                    <a:pt x="300" y="540"/>
                  </a:lnTo>
                  <a:lnTo>
                    <a:pt x="298" y="544"/>
                  </a:lnTo>
                  <a:lnTo>
                    <a:pt x="298" y="549"/>
                  </a:lnTo>
                  <a:lnTo>
                    <a:pt x="299" y="557"/>
                  </a:lnTo>
                  <a:lnTo>
                    <a:pt x="302" y="566"/>
                  </a:lnTo>
                  <a:lnTo>
                    <a:pt x="305" y="577"/>
                  </a:lnTo>
                  <a:lnTo>
                    <a:pt x="309" y="587"/>
                  </a:lnTo>
                  <a:lnTo>
                    <a:pt x="315" y="597"/>
                  </a:lnTo>
                  <a:lnTo>
                    <a:pt x="321" y="607"/>
                  </a:lnTo>
                  <a:lnTo>
                    <a:pt x="328" y="617"/>
                  </a:lnTo>
                  <a:lnTo>
                    <a:pt x="337" y="627"/>
                  </a:lnTo>
                  <a:lnTo>
                    <a:pt x="344" y="637"/>
                  </a:lnTo>
                  <a:lnTo>
                    <a:pt x="353" y="645"/>
                  </a:lnTo>
                  <a:lnTo>
                    <a:pt x="362" y="653"/>
                  </a:lnTo>
                  <a:lnTo>
                    <a:pt x="371" y="659"/>
                  </a:lnTo>
                  <a:lnTo>
                    <a:pt x="379" y="664"/>
                  </a:lnTo>
                  <a:lnTo>
                    <a:pt x="388" y="669"/>
                  </a:lnTo>
                  <a:lnTo>
                    <a:pt x="397" y="671"/>
                  </a:lnTo>
                  <a:lnTo>
                    <a:pt x="405" y="672"/>
                  </a:lnTo>
                  <a:lnTo>
                    <a:pt x="415" y="671"/>
                  </a:lnTo>
                  <a:lnTo>
                    <a:pt x="424" y="670"/>
                  </a:lnTo>
                  <a:lnTo>
                    <a:pt x="435" y="667"/>
                  </a:lnTo>
                  <a:lnTo>
                    <a:pt x="445" y="663"/>
                  </a:lnTo>
                  <a:lnTo>
                    <a:pt x="455" y="658"/>
                  </a:lnTo>
                  <a:lnTo>
                    <a:pt x="465" y="653"/>
                  </a:lnTo>
                  <a:lnTo>
                    <a:pt x="475" y="647"/>
                  </a:lnTo>
                  <a:lnTo>
                    <a:pt x="484" y="641"/>
                  </a:lnTo>
                  <a:lnTo>
                    <a:pt x="493" y="634"/>
                  </a:lnTo>
                  <a:lnTo>
                    <a:pt x="500" y="627"/>
                  </a:lnTo>
                  <a:lnTo>
                    <a:pt x="507" y="619"/>
                  </a:lnTo>
                  <a:lnTo>
                    <a:pt x="512" y="612"/>
                  </a:lnTo>
                  <a:lnTo>
                    <a:pt x="518" y="605"/>
                  </a:lnTo>
                  <a:lnTo>
                    <a:pt x="521" y="599"/>
                  </a:lnTo>
                  <a:lnTo>
                    <a:pt x="523" y="592"/>
                  </a:lnTo>
                  <a:lnTo>
                    <a:pt x="524" y="586"/>
                  </a:lnTo>
                  <a:lnTo>
                    <a:pt x="518" y="574"/>
                  </a:lnTo>
                  <a:lnTo>
                    <a:pt x="504" y="551"/>
                  </a:lnTo>
                  <a:lnTo>
                    <a:pt x="487" y="528"/>
                  </a:lnTo>
                  <a:lnTo>
                    <a:pt x="477" y="513"/>
                  </a:lnTo>
                  <a:lnTo>
                    <a:pt x="477" y="469"/>
                  </a:lnTo>
                  <a:lnTo>
                    <a:pt x="504" y="469"/>
                  </a:lnTo>
                  <a:lnTo>
                    <a:pt x="518" y="476"/>
                  </a:lnTo>
                  <a:lnTo>
                    <a:pt x="541" y="484"/>
                  </a:lnTo>
                  <a:lnTo>
                    <a:pt x="564" y="493"/>
                  </a:lnTo>
                  <a:lnTo>
                    <a:pt x="577" y="500"/>
                  </a:lnTo>
                  <a:lnTo>
                    <a:pt x="578" y="496"/>
                  </a:lnTo>
                  <a:lnTo>
                    <a:pt x="580" y="493"/>
                  </a:lnTo>
                  <a:lnTo>
                    <a:pt x="584" y="489"/>
                  </a:lnTo>
                  <a:lnTo>
                    <a:pt x="589" y="485"/>
                  </a:lnTo>
                  <a:lnTo>
                    <a:pt x="600" y="477"/>
                  </a:lnTo>
                  <a:lnTo>
                    <a:pt x="614" y="469"/>
                  </a:lnTo>
                  <a:lnTo>
                    <a:pt x="629" y="461"/>
                  </a:lnTo>
                  <a:lnTo>
                    <a:pt x="642" y="453"/>
                  </a:lnTo>
                  <a:lnTo>
                    <a:pt x="647" y="449"/>
                  </a:lnTo>
                  <a:lnTo>
                    <a:pt x="652" y="445"/>
                  </a:lnTo>
                  <a:lnTo>
                    <a:pt x="655" y="442"/>
                  </a:lnTo>
                  <a:lnTo>
                    <a:pt x="657" y="438"/>
                  </a:lnTo>
                  <a:lnTo>
                    <a:pt x="662" y="440"/>
                  </a:lnTo>
                  <a:lnTo>
                    <a:pt x="666" y="441"/>
                  </a:lnTo>
                  <a:lnTo>
                    <a:pt x="669" y="441"/>
                  </a:lnTo>
                  <a:lnTo>
                    <a:pt x="674" y="441"/>
                  </a:lnTo>
                  <a:lnTo>
                    <a:pt x="677" y="440"/>
                  </a:lnTo>
                  <a:lnTo>
                    <a:pt x="679" y="439"/>
                  </a:lnTo>
                  <a:lnTo>
                    <a:pt x="681" y="437"/>
                  </a:lnTo>
                  <a:lnTo>
                    <a:pt x="685" y="435"/>
                  </a:lnTo>
                  <a:lnTo>
                    <a:pt x="691" y="424"/>
                  </a:lnTo>
                  <a:lnTo>
                    <a:pt x="697" y="414"/>
                  </a:lnTo>
                  <a:lnTo>
                    <a:pt x="657" y="339"/>
                  </a:lnTo>
                  <a:lnTo>
                    <a:pt x="661" y="334"/>
                  </a:lnTo>
                  <a:lnTo>
                    <a:pt x="666" y="327"/>
                  </a:lnTo>
                  <a:lnTo>
                    <a:pt x="674" y="320"/>
                  </a:lnTo>
                  <a:lnTo>
                    <a:pt x="681" y="313"/>
                  </a:lnTo>
                  <a:lnTo>
                    <a:pt x="690" y="306"/>
                  </a:lnTo>
                  <a:lnTo>
                    <a:pt x="700" y="299"/>
                  </a:lnTo>
                  <a:lnTo>
                    <a:pt x="709" y="294"/>
                  </a:lnTo>
                  <a:lnTo>
                    <a:pt x="717" y="291"/>
                  </a:lnTo>
                  <a:lnTo>
                    <a:pt x="715" y="275"/>
                  </a:lnTo>
                  <a:lnTo>
                    <a:pt x="714" y="263"/>
                  </a:lnTo>
                  <a:lnTo>
                    <a:pt x="713" y="258"/>
                  </a:lnTo>
                  <a:lnTo>
                    <a:pt x="714" y="253"/>
                  </a:lnTo>
                  <a:lnTo>
                    <a:pt x="714" y="248"/>
                  </a:lnTo>
                  <a:lnTo>
                    <a:pt x="717" y="241"/>
                  </a:lnTo>
                  <a:lnTo>
                    <a:pt x="720" y="241"/>
                  </a:lnTo>
                  <a:lnTo>
                    <a:pt x="723" y="239"/>
                  </a:lnTo>
                  <a:lnTo>
                    <a:pt x="726" y="235"/>
                  </a:lnTo>
                  <a:lnTo>
                    <a:pt x="730" y="231"/>
                  </a:lnTo>
                  <a:lnTo>
                    <a:pt x="737" y="223"/>
                  </a:lnTo>
                  <a:lnTo>
                    <a:pt x="743" y="216"/>
                  </a:lnTo>
                  <a:lnTo>
                    <a:pt x="735" y="215"/>
                  </a:lnTo>
                  <a:lnTo>
                    <a:pt x="728" y="213"/>
                  </a:lnTo>
                  <a:lnTo>
                    <a:pt x="721" y="210"/>
                  </a:lnTo>
                  <a:lnTo>
                    <a:pt x="714" y="207"/>
                  </a:lnTo>
                  <a:lnTo>
                    <a:pt x="709" y="204"/>
                  </a:lnTo>
                  <a:lnTo>
                    <a:pt x="703" y="200"/>
                  </a:lnTo>
                  <a:lnTo>
                    <a:pt x="700" y="196"/>
                  </a:lnTo>
                  <a:lnTo>
                    <a:pt x="696" y="191"/>
                  </a:lnTo>
                  <a:lnTo>
                    <a:pt x="692" y="186"/>
                  </a:lnTo>
                  <a:lnTo>
                    <a:pt x="690" y="181"/>
                  </a:lnTo>
                  <a:lnTo>
                    <a:pt x="688" y="174"/>
                  </a:lnTo>
                  <a:lnTo>
                    <a:pt x="686" y="168"/>
                  </a:lnTo>
                  <a:lnTo>
                    <a:pt x="684" y="156"/>
                  </a:lnTo>
                  <a:lnTo>
                    <a:pt x="684" y="143"/>
                  </a:lnTo>
                  <a:lnTo>
                    <a:pt x="679" y="143"/>
                  </a:lnTo>
                  <a:lnTo>
                    <a:pt x="675" y="144"/>
                  </a:lnTo>
                  <a:lnTo>
                    <a:pt x="670" y="145"/>
                  </a:lnTo>
                  <a:lnTo>
                    <a:pt x="667" y="146"/>
                  </a:lnTo>
                  <a:lnTo>
                    <a:pt x="662" y="150"/>
                  </a:lnTo>
                  <a:lnTo>
                    <a:pt x="657" y="155"/>
                  </a:lnTo>
                  <a:lnTo>
                    <a:pt x="646" y="154"/>
                  </a:lnTo>
                  <a:lnTo>
                    <a:pt x="639" y="152"/>
                  </a:lnTo>
                  <a:lnTo>
                    <a:pt x="636" y="150"/>
                  </a:lnTo>
                  <a:lnTo>
                    <a:pt x="634" y="148"/>
                  </a:lnTo>
                  <a:lnTo>
                    <a:pt x="632" y="146"/>
                  </a:lnTo>
                  <a:lnTo>
                    <a:pt x="631" y="144"/>
                  </a:lnTo>
                  <a:lnTo>
                    <a:pt x="630" y="134"/>
                  </a:lnTo>
                  <a:lnTo>
                    <a:pt x="630" y="124"/>
                  </a:lnTo>
                  <a:lnTo>
                    <a:pt x="624" y="124"/>
                  </a:lnTo>
                  <a:lnTo>
                    <a:pt x="618" y="121"/>
                  </a:lnTo>
                  <a:lnTo>
                    <a:pt x="610" y="119"/>
                  </a:lnTo>
                  <a:lnTo>
                    <a:pt x="602" y="115"/>
                  </a:lnTo>
                  <a:lnTo>
                    <a:pt x="595" y="111"/>
                  </a:lnTo>
                  <a:lnTo>
                    <a:pt x="589" y="106"/>
                  </a:lnTo>
                  <a:lnTo>
                    <a:pt x="587" y="103"/>
                  </a:lnTo>
                  <a:lnTo>
                    <a:pt x="585" y="100"/>
                  </a:lnTo>
                  <a:lnTo>
                    <a:pt x="584" y="97"/>
                  </a:lnTo>
                  <a:lnTo>
                    <a:pt x="584" y="93"/>
                  </a:lnTo>
                  <a:lnTo>
                    <a:pt x="587" y="83"/>
                  </a:lnTo>
                  <a:lnTo>
                    <a:pt x="590" y="69"/>
                  </a:lnTo>
                  <a:lnTo>
                    <a:pt x="544" y="69"/>
                  </a:lnTo>
                  <a:lnTo>
                    <a:pt x="536" y="75"/>
                  </a:lnTo>
                  <a:lnTo>
                    <a:pt x="530" y="80"/>
                  </a:lnTo>
                  <a:lnTo>
                    <a:pt x="523" y="83"/>
                  </a:lnTo>
                  <a:lnTo>
                    <a:pt x="518" y="85"/>
                  </a:lnTo>
                  <a:lnTo>
                    <a:pt x="505" y="87"/>
                  </a:lnTo>
                  <a:lnTo>
                    <a:pt x="490" y="87"/>
                  </a:lnTo>
                  <a:lnTo>
                    <a:pt x="485" y="88"/>
                  </a:lnTo>
                  <a:lnTo>
                    <a:pt x="478" y="92"/>
                  </a:lnTo>
                  <a:lnTo>
                    <a:pt x="475" y="94"/>
                  </a:lnTo>
                  <a:lnTo>
                    <a:pt x="473" y="97"/>
                  </a:lnTo>
                  <a:lnTo>
                    <a:pt x="472" y="101"/>
                  </a:lnTo>
                  <a:lnTo>
                    <a:pt x="471" y="105"/>
                  </a:lnTo>
                  <a:lnTo>
                    <a:pt x="457" y="111"/>
                  </a:lnTo>
                  <a:lnTo>
                    <a:pt x="444" y="117"/>
                  </a:lnTo>
                  <a:lnTo>
                    <a:pt x="439" y="117"/>
                  </a:lnTo>
                  <a:lnTo>
                    <a:pt x="434" y="116"/>
                  </a:lnTo>
                  <a:lnTo>
                    <a:pt x="430" y="115"/>
                  </a:lnTo>
                  <a:lnTo>
                    <a:pt x="426" y="113"/>
                  </a:lnTo>
                  <a:lnTo>
                    <a:pt x="422" y="110"/>
                  </a:lnTo>
                  <a:lnTo>
                    <a:pt x="420" y="107"/>
                  </a:lnTo>
                  <a:lnTo>
                    <a:pt x="418" y="104"/>
                  </a:lnTo>
                  <a:lnTo>
                    <a:pt x="418" y="99"/>
                  </a:lnTo>
                  <a:lnTo>
                    <a:pt x="410" y="103"/>
                  </a:lnTo>
                  <a:lnTo>
                    <a:pt x="404" y="104"/>
                  </a:lnTo>
                  <a:lnTo>
                    <a:pt x="398" y="104"/>
                  </a:lnTo>
                  <a:lnTo>
                    <a:pt x="393" y="102"/>
                  </a:lnTo>
                  <a:lnTo>
                    <a:pt x="388" y="98"/>
                  </a:lnTo>
                  <a:lnTo>
                    <a:pt x="384" y="93"/>
                  </a:lnTo>
                  <a:lnTo>
                    <a:pt x="381" y="88"/>
                  </a:lnTo>
                  <a:lnTo>
                    <a:pt x="378" y="81"/>
                  </a:lnTo>
                  <a:lnTo>
                    <a:pt x="359" y="83"/>
                  </a:lnTo>
                  <a:lnTo>
                    <a:pt x="340" y="86"/>
                  </a:lnTo>
                  <a:lnTo>
                    <a:pt x="331" y="86"/>
                  </a:lnTo>
                  <a:lnTo>
                    <a:pt x="323" y="86"/>
                  </a:lnTo>
                  <a:lnTo>
                    <a:pt x="320" y="86"/>
                  </a:lnTo>
                  <a:lnTo>
                    <a:pt x="317" y="85"/>
                  </a:lnTo>
                  <a:lnTo>
                    <a:pt x="314" y="83"/>
                  </a:lnTo>
                  <a:lnTo>
                    <a:pt x="311" y="81"/>
                  </a:lnTo>
                  <a:lnTo>
                    <a:pt x="305" y="86"/>
                  </a:lnTo>
                  <a:lnTo>
                    <a:pt x="298" y="89"/>
                  </a:lnTo>
                  <a:lnTo>
                    <a:pt x="291" y="92"/>
                  </a:lnTo>
                  <a:lnTo>
                    <a:pt x="285" y="93"/>
                  </a:lnTo>
                  <a:lnTo>
                    <a:pt x="275" y="93"/>
                  </a:lnTo>
                  <a:lnTo>
                    <a:pt x="265" y="93"/>
                  </a:lnTo>
                  <a:lnTo>
                    <a:pt x="258" y="93"/>
                  </a:lnTo>
                  <a:lnTo>
                    <a:pt x="252" y="93"/>
                  </a:lnTo>
                  <a:lnTo>
                    <a:pt x="251" y="83"/>
                  </a:lnTo>
                  <a:lnTo>
                    <a:pt x="249" y="73"/>
                  </a:lnTo>
                  <a:lnTo>
                    <a:pt x="244" y="65"/>
                  </a:lnTo>
                  <a:lnTo>
                    <a:pt x="240" y="58"/>
                  </a:lnTo>
                  <a:lnTo>
                    <a:pt x="233" y="52"/>
                  </a:lnTo>
                  <a:lnTo>
                    <a:pt x="227" y="47"/>
                  </a:lnTo>
                  <a:lnTo>
                    <a:pt x="219" y="42"/>
                  </a:lnTo>
                  <a:lnTo>
                    <a:pt x="211" y="38"/>
                  </a:lnTo>
                  <a:lnTo>
                    <a:pt x="195" y="30"/>
                  </a:lnTo>
                  <a:lnTo>
                    <a:pt x="179" y="22"/>
                  </a:lnTo>
                  <a:lnTo>
                    <a:pt x="171" y="18"/>
                  </a:lnTo>
                  <a:lnTo>
                    <a:pt x="164" y="13"/>
                  </a:lnTo>
                  <a:lnTo>
                    <a:pt x="158" y="7"/>
                  </a:lnTo>
                  <a:lnTo>
                    <a:pt x="152" y="0"/>
                  </a:lnTo>
                  <a:lnTo>
                    <a:pt x="148" y="10"/>
                  </a:lnTo>
                  <a:lnTo>
                    <a:pt x="146" y="20"/>
                  </a:lnTo>
                  <a:lnTo>
                    <a:pt x="146" y="31"/>
                  </a:lnTo>
                  <a:lnTo>
                    <a:pt x="146" y="44"/>
                  </a:lnTo>
                  <a:lnTo>
                    <a:pt x="140" y="44"/>
                  </a:lnTo>
                  <a:lnTo>
                    <a:pt x="136" y="46"/>
                  </a:lnTo>
                  <a:lnTo>
                    <a:pt x="131" y="49"/>
                  </a:lnTo>
                  <a:lnTo>
                    <a:pt x="127" y="52"/>
                  </a:lnTo>
                  <a:lnTo>
                    <a:pt x="124" y="57"/>
                  </a:lnTo>
                  <a:lnTo>
                    <a:pt x="121" y="62"/>
                  </a:lnTo>
                  <a:lnTo>
                    <a:pt x="119" y="69"/>
                  </a:lnTo>
                  <a:lnTo>
                    <a:pt x="119" y="75"/>
                  </a:lnTo>
                  <a:lnTo>
                    <a:pt x="119" y="96"/>
                  </a:lnTo>
                  <a:lnTo>
                    <a:pt x="119" y="108"/>
                  </a:lnTo>
                  <a:lnTo>
                    <a:pt x="119" y="118"/>
                  </a:lnTo>
                  <a:lnTo>
                    <a:pt x="119" y="137"/>
                  </a:lnTo>
                  <a:lnTo>
                    <a:pt x="116" y="150"/>
                  </a:lnTo>
                  <a:lnTo>
                    <a:pt x="109" y="169"/>
                  </a:lnTo>
                  <a:lnTo>
                    <a:pt x="107" y="180"/>
                  </a:lnTo>
                  <a:lnTo>
                    <a:pt x="105" y="188"/>
                  </a:lnTo>
                  <a:lnTo>
                    <a:pt x="104" y="194"/>
                  </a:lnTo>
                  <a:lnTo>
                    <a:pt x="105" y="198"/>
                  </a:lnTo>
                  <a:lnTo>
                    <a:pt x="99" y="197"/>
                  </a:lnTo>
                  <a:lnTo>
                    <a:pt x="93" y="194"/>
                  </a:lnTo>
                  <a:lnTo>
                    <a:pt x="90" y="193"/>
                  </a:lnTo>
                  <a:lnTo>
                    <a:pt x="87" y="190"/>
                  </a:lnTo>
                  <a:lnTo>
                    <a:pt x="86" y="188"/>
                  </a:lnTo>
                  <a:lnTo>
                    <a:pt x="85" y="186"/>
                  </a:lnTo>
                  <a:lnTo>
                    <a:pt x="80" y="186"/>
                  </a:lnTo>
                  <a:lnTo>
                    <a:pt x="74" y="185"/>
                  </a:lnTo>
                  <a:lnTo>
                    <a:pt x="70" y="184"/>
                  </a:lnTo>
                  <a:lnTo>
                    <a:pt x="67" y="182"/>
                  </a:lnTo>
                  <a:lnTo>
                    <a:pt x="63" y="179"/>
                  </a:lnTo>
                  <a:lnTo>
                    <a:pt x="60" y="176"/>
                  </a:lnTo>
                  <a:lnTo>
                    <a:pt x="58" y="173"/>
                  </a:lnTo>
                  <a:lnTo>
                    <a:pt x="57" y="169"/>
                  </a:lnTo>
                  <a:lnTo>
                    <a:pt x="54" y="161"/>
                  </a:lnTo>
                  <a:lnTo>
                    <a:pt x="52" y="152"/>
                  </a:lnTo>
                  <a:lnTo>
                    <a:pt x="52" y="142"/>
                  </a:lnTo>
                  <a:lnTo>
                    <a:pt x="52" y="131"/>
                  </a:lnTo>
                  <a:lnTo>
                    <a:pt x="52" y="119"/>
                  </a:lnTo>
                  <a:lnTo>
                    <a:pt x="54" y="109"/>
                  </a:lnTo>
                  <a:lnTo>
                    <a:pt x="56" y="100"/>
                  </a:lnTo>
                  <a:lnTo>
                    <a:pt x="59" y="91"/>
                  </a:lnTo>
                  <a:lnTo>
                    <a:pt x="65" y="76"/>
                  </a:lnTo>
                  <a:lnTo>
                    <a:pt x="73" y="61"/>
                  </a:lnTo>
                  <a:lnTo>
                    <a:pt x="81" y="49"/>
                  </a:lnTo>
                  <a:lnTo>
                    <a:pt x="89" y="36"/>
                  </a:lnTo>
                  <a:lnTo>
                    <a:pt x="92" y="29"/>
                  </a:lnTo>
                  <a:lnTo>
                    <a:pt x="95" y="22"/>
                  </a:lnTo>
                  <a:lnTo>
                    <a:pt x="97" y="15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3" y="18"/>
                  </a:lnTo>
                  <a:lnTo>
                    <a:pt x="62" y="24"/>
                  </a:lnTo>
                  <a:lnTo>
                    <a:pt x="52" y="30"/>
                  </a:lnTo>
                  <a:lnTo>
                    <a:pt x="43" y="37"/>
                  </a:lnTo>
                  <a:lnTo>
                    <a:pt x="35" y="44"/>
                  </a:lnTo>
                  <a:lnTo>
                    <a:pt x="28" y="52"/>
                  </a:lnTo>
                  <a:lnTo>
                    <a:pt x="22" y="60"/>
                  </a:lnTo>
                  <a:lnTo>
                    <a:pt x="16" y="70"/>
                  </a:lnTo>
                  <a:lnTo>
                    <a:pt x="12" y="79"/>
                  </a:lnTo>
                  <a:lnTo>
                    <a:pt x="7" y="89"/>
                  </a:lnTo>
                  <a:lnTo>
                    <a:pt x="4" y="99"/>
                  </a:lnTo>
                  <a:lnTo>
                    <a:pt x="2" y="109"/>
                  </a:lnTo>
                  <a:lnTo>
                    <a:pt x="1" y="120"/>
                  </a:lnTo>
                  <a:lnTo>
                    <a:pt x="0" y="131"/>
                  </a:lnTo>
                  <a:lnTo>
                    <a:pt x="0" y="143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172" name="Freeform 169"/>
          <p:cNvSpPr>
            <a:spLocks/>
          </p:cNvSpPr>
          <p:nvPr userDrawn="1">
            <p:custDataLst>
              <p:tags r:id="rId96"/>
            </p:custDataLst>
          </p:nvPr>
        </p:nvSpPr>
        <p:spPr bwMode="auto">
          <a:xfrm>
            <a:off x="7286625" y="3777854"/>
            <a:ext cx="31750" cy="8334"/>
          </a:xfrm>
          <a:custGeom>
            <a:avLst/>
            <a:gdLst>
              <a:gd name="T0" fmla="*/ 0 w 79"/>
              <a:gd name="T1" fmla="*/ 5368545 h 23"/>
              <a:gd name="T2" fmla="*/ 3553589 w 79"/>
              <a:gd name="T3" fmla="*/ 3034542 h 23"/>
              <a:gd name="T4" fmla="*/ 7268339 w 79"/>
              <a:gd name="T5" fmla="*/ 933891 h 23"/>
              <a:gd name="T6" fmla="*/ 9045133 w 79"/>
              <a:gd name="T7" fmla="*/ 233352 h 23"/>
              <a:gd name="T8" fmla="*/ 10498800 w 79"/>
              <a:gd name="T9" fmla="*/ 0 h 23"/>
              <a:gd name="T10" fmla="*/ 11145053 w 79"/>
              <a:gd name="T11" fmla="*/ 0 h 23"/>
              <a:gd name="T12" fmla="*/ 11952869 w 79"/>
              <a:gd name="T13" fmla="*/ 233352 h 23"/>
              <a:gd name="T14" fmla="*/ 12437157 w 79"/>
              <a:gd name="T15" fmla="*/ 466704 h 23"/>
              <a:gd name="T16" fmla="*/ 12760283 w 79"/>
              <a:gd name="T17" fmla="*/ 933891 h 23"/>
              <a:gd name="T18" fmla="*/ 12437157 w 79"/>
              <a:gd name="T19" fmla="*/ 1867299 h 23"/>
              <a:gd name="T20" fmla="*/ 12114030 w 79"/>
              <a:gd name="T21" fmla="*/ 3034542 h 23"/>
              <a:gd name="T22" fmla="*/ 11629742 w 79"/>
              <a:gd name="T23" fmla="*/ 3734598 h 23"/>
              <a:gd name="T24" fmla="*/ 10983489 w 79"/>
              <a:gd name="T25" fmla="*/ 4434655 h 23"/>
              <a:gd name="T26" fmla="*/ 10337638 w 79"/>
              <a:gd name="T27" fmla="*/ 4901842 h 23"/>
              <a:gd name="T28" fmla="*/ 9529822 w 79"/>
              <a:gd name="T29" fmla="*/ 5135194 h 23"/>
              <a:gd name="T30" fmla="*/ 8560845 w 79"/>
              <a:gd name="T31" fmla="*/ 5368545 h 23"/>
              <a:gd name="T32" fmla="*/ 7429902 w 79"/>
              <a:gd name="T33" fmla="*/ 5368545 h 23"/>
              <a:gd name="T34" fmla="*/ 5976233 w 79"/>
              <a:gd name="T35" fmla="*/ 5368545 h 23"/>
              <a:gd name="T36" fmla="*/ 5168819 w 79"/>
              <a:gd name="T37" fmla="*/ 4901842 h 23"/>
              <a:gd name="T38" fmla="*/ 4199440 w 79"/>
              <a:gd name="T39" fmla="*/ 4668490 h 23"/>
              <a:gd name="T40" fmla="*/ 3715152 w 79"/>
              <a:gd name="T41" fmla="*/ 4434655 h 23"/>
              <a:gd name="T42" fmla="*/ 3068898 w 79"/>
              <a:gd name="T43" fmla="*/ 4201303 h 23"/>
              <a:gd name="T44" fmla="*/ 2261484 w 79"/>
              <a:gd name="T45" fmla="*/ 4201303 h 23"/>
              <a:gd name="T46" fmla="*/ 1453668 w 79"/>
              <a:gd name="T47" fmla="*/ 4668490 h 23"/>
              <a:gd name="T48" fmla="*/ 0 w 79"/>
              <a:gd name="T49" fmla="*/ 5368545 h 23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79"/>
              <a:gd name="T76" fmla="*/ 0 h 23"/>
              <a:gd name="T77" fmla="*/ 79 w 79"/>
              <a:gd name="T78" fmla="*/ 23 h 23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79" h="23">
                <a:moveTo>
                  <a:pt x="0" y="23"/>
                </a:moveTo>
                <a:lnTo>
                  <a:pt x="22" y="13"/>
                </a:lnTo>
                <a:lnTo>
                  <a:pt x="45" y="4"/>
                </a:lnTo>
                <a:lnTo>
                  <a:pt x="56" y="1"/>
                </a:lnTo>
                <a:lnTo>
                  <a:pt x="65" y="0"/>
                </a:lnTo>
                <a:lnTo>
                  <a:pt x="69" y="0"/>
                </a:lnTo>
                <a:lnTo>
                  <a:pt x="74" y="1"/>
                </a:lnTo>
                <a:lnTo>
                  <a:pt x="77" y="2"/>
                </a:lnTo>
                <a:lnTo>
                  <a:pt x="79" y="4"/>
                </a:lnTo>
                <a:lnTo>
                  <a:pt x="77" y="8"/>
                </a:lnTo>
                <a:lnTo>
                  <a:pt x="75" y="13"/>
                </a:lnTo>
                <a:lnTo>
                  <a:pt x="72" y="16"/>
                </a:lnTo>
                <a:lnTo>
                  <a:pt x="68" y="19"/>
                </a:lnTo>
                <a:lnTo>
                  <a:pt x="64" y="21"/>
                </a:lnTo>
                <a:lnTo>
                  <a:pt x="59" y="22"/>
                </a:lnTo>
                <a:lnTo>
                  <a:pt x="53" y="23"/>
                </a:lnTo>
                <a:lnTo>
                  <a:pt x="46" y="23"/>
                </a:lnTo>
                <a:lnTo>
                  <a:pt x="37" y="23"/>
                </a:lnTo>
                <a:lnTo>
                  <a:pt x="32" y="21"/>
                </a:lnTo>
                <a:lnTo>
                  <a:pt x="26" y="20"/>
                </a:lnTo>
                <a:lnTo>
                  <a:pt x="23" y="19"/>
                </a:lnTo>
                <a:lnTo>
                  <a:pt x="19" y="18"/>
                </a:lnTo>
                <a:lnTo>
                  <a:pt x="14" y="18"/>
                </a:lnTo>
                <a:lnTo>
                  <a:pt x="9" y="20"/>
                </a:lnTo>
                <a:lnTo>
                  <a:pt x="0" y="23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173" name="Freeform 170"/>
          <p:cNvSpPr>
            <a:spLocks/>
          </p:cNvSpPr>
          <p:nvPr userDrawn="1">
            <p:custDataLst>
              <p:tags r:id="rId97"/>
            </p:custDataLst>
          </p:nvPr>
        </p:nvSpPr>
        <p:spPr bwMode="auto">
          <a:xfrm>
            <a:off x="7402515" y="3877877"/>
            <a:ext cx="1588" cy="3572"/>
          </a:xfrm>
          <a:custGeom>
            <a:avLst/>
            <a:gdLst>
              <a:gd name="T0" fmla="*/ 0 w 1588"/>
              <a:gd name="T1" fmla="*/ 0 h 6"/>
              <a:gd name="T2" fmla="*/ 0 w 1588"/>
              <a:gd name="T3" fmla="*/ 3779441 h 6"/>
              <a:gd name="T4" fmla="*/ 0 w 1588"/>
              <a:gd name="T5" fmla="*/ 0 h 6"/>
              <a:gd name="T6" fmla="*/ 0 60000 65536"/>
              <a:gd name="T7" fmla="*/ 0 60000 65536"/>
              <a:gd name="T8" fmla="*/ 0 60000 65536"/>
              <a:gd name="T9" fmla="*/ 0 w 1588"/>
              <a:gd name="T10" fmla="*/ 0 h 6"/>
              <a:gd name="T11" fmla="*/ 1588 w 1588"/>
              <a:gd name="T12" fmla="*/ 6 h 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588" h="6">
                <a:moveTo>
                  <a:pt x="0" y="0"/>
                </a:moveTo>
                <a:lnTo>
                  <a:pt x="0" y="6"/>
                </a:lnTo>
                <a:lnTo>
                  <a:pt x="0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174" name="Line 171"/>
          <p:cNvSpPr>
            <a:spLocks noChangeShapeType="1"/>
          </p:cNvSpPr>
          <p:nvPr userDrawn="1">
            <p:custDataLst>
              <p:tags r:id="rId98"/>
            </p:custDataLst>
          </p:nvPr>
        </p:nvSpPr>
        <p:spPr bwMode="auto">
          <a:xfrm flipV="1">
            <a:off x="7493003" y="3876677"/>
            <a:ext cx="1587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175" name="Freeform 172"/>
          <p:cNvSpPr>
            <a:spLocks/>
          </p:cNvSpPr>
          <p:nvPr userDrawn="1">
            <p:custDataLst>
              <p:tags r:id="rId99"/>
            </p:custDataLst>
          </p:nvPr>
        </p:nvSpPr>
        <p:spPr bwMode="auto">
          <a:xfrm>
            <a:off x="7493010" y="3876686"/>
            <a:ext cx="3175" cy="11906"/>
          </a:xfrm>
          <a:custGeom>
            <a:avLst/>
            <a:gdLst>
              <a:gd name="T0" fmla="*/ 0 w 5"/>
              <a:gd name="T1" fmla="*/ 0 h 30"/>
              <a:gd name="T2" fmla="*/ 806450 w 5"/>
              <a:gd name="T3" fmla="*/ 279929 h 30"/>
              <a:gd name="T4" fmla="*/ 1612900 w 5"/>
              <a:gd name="T5" fmla="*/ 1120246 h 30"/>
              <a:gd name="T6" fmla="*/ 2016125 w 5"/>
              <a:gd name="T7" fmla="*/ 2239963 h 30"/>
              <a:gd name="T8" fmla="*/ 2016125 w 5"/>
              <a:gd name="T9" fmla="*/ 3640138 h 30"/>
              <a:gd name="T10" fmla="*/ 2016125 w 5"/>
              <a:gd name="T11" fmla="*/ 5040313 h 30"/>
              <a:gd name="T12" fmla="*/ 1612900 w 5"/>
              <a:gd name="T13" fmla="*/ 6440488 h 30"/>
              <a:gd name="T14" fmla="*/ 806450 w 5"/>
              <a:gd name="T15" fmla="*/ 7560733 h 30"/>
              <a:gd name="T16" fmla="*/ 0 w 5"/>
              <a:gd name="T17" fmla="*/ 8400521 h 3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5"/>
              <a:gd name="T28" fmla="*/ 0 h 30"/>
              <a:gd name="T29" fmla="*/ 5 w 5"/>
              <a:gd name="T30" fmla="*/ 30 h 30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5" h="30">
                <a:moveTo>
                  <a:pt x="0" y="0"/>
                </a:moveTo>
                <a:lnTo>
                  <a:pt x="2" y="1"/>
                </a:lnTo>
                <a:lnTo>
                  <a:pt x="4" y="4"/>
                </a:lnTo>
                <a:lnTo>
                  <a:pt x="5" y="8"/>
                </a:lnTo>
                <a:lnTo>
                  <a:pt x="5" y="13"/>
                </a:lnTo>
                <a:lnTo>
                  <a:pt x="5" y="18"/>
                </a:lnTo>
                <a:lnTo>
                  <a:pt x="4" y="23"/>
                </a:lnTo>
                <a:lnTo>
                  <a:pt x="2" y="27"/>
                </a:lnTo>
                <a:lnTo>
                  <a:pt x="0" y="3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176" name="Freeform 173"/>
          <p:cNvSpPr>
            <a:spLocks/>
          </p:cNvSpPr>
          <p:nvPr userDrawn="1">
            <p:custDataLst>
              <p:tags r:id="rId100"/>
            </p:custDataLst>
          </p:nvPr>
        </p:nvSpPr>
        <p:spPr bwMode="auto">
          <a:xfrm>
            <a:off x="7791459" y="3479019"/>
            <a:ext cx="22225" cy="21431"/>
          </a:xfrm>
          <a:custGeom>
            <a:avLst/>
            <a:gdLst>
              <a:gd name="T0" fmla="*/ 0 w 53"/>
              <a:gd name="T1" fmla="*/ 3239366 h 55"/>
              <a:gd name="T2" fmla="*/ 175703 w 53"/>
              <a:gd name="T3" fmla="*/ 4588626 h 55"/>
              <a:gd name="T4" fmla="*/ 879355 w 53"/>
              <a:gd name="T5" fmla="*/ 5938405 h 55"/>
              <a:gd name="T6" fmla="*/ 1582588 w 53"/>
              <a:gd name="T7" fmla="*/ 7288184 h 55"/>
              <a:gd name="T8" fmla="*/ 2637646 w 53"/>
              <a:gd name="T9" fmla="*/ 8907608 h 55"/>
              <a:gd name="T10" fmla="*/ 4572060 w 53"/>
              <a:gd name="T11" fmla="*/ 11876810 h 55"/>
              <a:gd name="T12" fmla="*/ 5802822 w 53"/>
              <a:gd name="T13" fmla="*/ 14846011 h 55"/>
              <a:gd name="T14" fmla="*/ 9319824 w 53"/>
              <a:gd name="T15" fmla="*/ 14846011 h 55"/>
              <a:gd name="T16" fmla="*/ 7034004 w 53"/>
              <a:gd name="T17" fmla="*/ 11066839 h 55"/>
              <a:gd name="T18" fmla="*/ 4923886 w 53"/>
              <a:gd name="T19" fmla="*/ 7827991 h 55"/>
              <a:gd name="T20" fmla="*/ 4044531 w 53"/>
              <a:gd name="T21" fmla="*/ 6208568 h 55"/>
              <a:gd name="T22" fmla="*/ 3340879 w 53"/>
              <a:gd name="T23" fmla="*/ 4318982 h 55"/>
              <a:gd name="T24" fmla="*/ 2813350 w 53"/>
              <a:gd name="T25" fmla="*/ 2159231 h 55"/>
              <a:gd name="T26" fmla="*/ 2461943 w 53"/>
              <a:gd name="T27" fmla="*/ 0 h 55"/>
              <a:gd name="T28" fmla="*/ 1230762 w 53"/>
              <a:gd name="T29" fmla="*/ 1619423 h 55"/>
              <a:gd name="T30" fmla="*/ 0 w 53"/>
              <a:gd name="T31" fmla="*/ 3239366 h 55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53"/>
              <a:gd name="T49" fmla="*/ 0 h 55"/>
              <a:gd name="T50" fmla="*/ 53 w 53"/>
              <a:gd name="T51" fmla="*/ 55 h 55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53" h="55">
                <a:moveTo>
                  <a:pt x="0" y="12"/>
                </a:moveTo>
                <a:lnTo>
                  <a:pt x="1" y="17"/>
                </a:lnTo>
                <a:lnTo>
                  <a:pt x="5" y="22"/>
                </a:lnTo>
                <a:lnTo>
                  <a:pt x="9" y="27"/>
                </a:lnTo>
                <a:lnTo>
                  <a:pt x="15" y="33"/>
                </a:lnTo>
                <a:lnTo>
                  <a:pt x="26" y="44"/>
                </a:lnTo>
                <a:lnTo>
                  <a:pt x="33" y="55"/>
                </a:lnTo>
                <a:lnTo>
                  <a:pt x="53" y="55"/>
                </a:lnTo>
                <a:lnTo>
                  <a:pt x="40" y="41"/>
                </a:lnTo>
                <a:lnTo>
                  <a:pt x="28" y="29"/>
                </a:lnTo>
                <a:lnTo>
                  <a:pt x="23" y="23"/>
                </a:lnTo>
                <a:lnTo>
                  <a:pt x="19" y="16"/>
                </a:lnTo>
                <a:lnTo>
                  <a:pt x="16" y="8"/>
                </a:lnTo>
                <a:lnTo>
                  <a:pt x="14" y="0"/>
                </a:lnTo>
                <a:lnTo>
                  <a:pt x="7" y="6"/>
                </a:lnTo>
                <a:lnTo>
                  <a:pt x="0" y="12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177" name="Freeform 174"/>
          <p:cNvSpPr>
            <a:spLocks/>
          </p:cNvSpPr>
          <p:nvPr userDrawn="1">
            <p:custDataLst>
              <p:tags r:id="rId101"/>
            </p:custDataLst>
          </p:nvPr>
        </p:nvSpPr>
        <p:spPr bwMode="auto">
          <a:xfrm>
            <a:off x="7797808" y="3424238"/>
            <a:ext cx="26987" cy="29766"/>
          </a:xfrm>
          <a:custGeom>
            <a:avLst/>
            <a:gdLst>
              <a:gd name="T0" fmla="*/ 0 w 65"/>
              <a:gd name="T1" fmla="*/ 8961022 h 75"/>
              <a:gd name="T2" fmla="*/ 1551545 w 65"/>
              <a:gd name="T3" fmla="*/ 12040809 h 75"/>
              <a:gd name="T4" fmla="*/ 3447693 w 65"/>
              <a:gd name="T5" fmla="*/ 15401588 h 75"/>
              <a:gd name="T6" fmla="*/ 4481917 w 65"/>
              <a:gd name="T7" fmla="*/ 17081712 h 75"/>
              <a:gd name="T8" fmla="*/ 5516142 w 65"/>
              <a:gd name="T9" fmla="*/ 18761841 h 75"/>
              <a:gd name="T10" fmla="*/ 6722668 w 65"/>
              <a:gd name="T11" fmla="*/ 19881571 h 75"/>
              <a:gd name="T12" fmla="*/ 7929195 w 65"/>
              <a:gd name="T13" fmla="*/ 21001831 h 75"/>
              <a:gd name="T14" fmla="*/ 8791118 w 65"/>
              <a:gd name="T15" fmla="*/ 17081712 h 75"/>
              <a:gd name="T16" fmla="*/ 9998059 w 65"/>
              <a:gd name="T17" fmla="*/ 13441001 h 75"/>
              <a:gd name="T18" fmla="*/ 10514964 w 65"/>
              <a:gd name="T19" fmla="*/ 11760877 h 75"/>
              <a:gd name="T20" fmla="*/ 10859982 w 65"/>
              <a:gd name="T21" fmla="*/ 10080752 h 75"/>
              <a:gd name="T22" fmla="*/ 11204585 w 65"/>
              <a:gd name="T23" fmla="*/ 8680560 h 75"/>
              <a:gd name="T24" fmla="*/ 11204585 w 65"/>
              <a:gd name="T25" fmla="*/ 7280895 h 75"/>
              <a:gd name="T26" fmla="*/ 11204585 w 65"/>
              <a:gd name="T27" fmla="*/ 5880703 h 75"/>
              <a:gd name="T28" fmla="*/ 10859982 w 65"/>
              <a:gd name="T29" fmla="*/ 5040376 h 75"/>
              <a:gd name="T30" fmla="*/ 10514964 w 65"/>
              <a:gd name="T31" fmla="*/ 3640183 h 75"/>
              <a:gd name="T32" fmla="*/ 9998059 w 65"/>
              <a:gd name="T33" fmla="*/ 2800385 h 75"/>
              <a:gd name="T34" fmla="*/ 8791118 w 65"/>
              <a:gd name="T35" fmla="*/ 1400193 h 75"/>
              <a:gd name="T36" fmla="*/ 7929195 w 65"/>
              <a:gd name="T37" fmla="*/ 0 h 75"/>
              <a:gd name="T38" fmla="*/ 5860745 w 65"/>
              <a:gd name="T39" fmla="*/ 0 h 75"/>
              <a:gd name="T40" fmla="*/ 4481917 w 65"/>
              <a:gd name="T41" fmla="*/ 0 h 75"/>
              <a:gd name="T42" fmla="*/ 4309616 w 65"/>
              <a:gd name="T43" fmla="*/ 559865 h 75"/>
              <a:gd name="T44" fmla="*/ 4136899 w 65"/>
              <a:gd name="T45" fmla="*/ 1960058 h 75"/>
              <a:gd name="T46" fmla="*/ 3964598 w 65"/>
              <a:gd name="T47" fmla="*/ 2520453 h 75"/>
              <a:gd name="T48" fmla="*/ 3964598 w 65"/>
              <a:gd name="T49" fmla="*/ 3080318 h 75"/>
              <a:gd name="T50" fmla="*/ 4136899 w 65"/>
              <a:gd name="T51" fmla="*/ 3360250 h 75"/>
              <a:gd name="T52" fmla="*/ 4481917 w 65"/>
              <a:gd name="T53" fmla="*/ 3640183 h 75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65"/>
              <a:gd name="T82" fmla="*/ 0 h 75"/>
              <a:gd name="T83" fmla="*/ 65 w 65"/>
              <a:gd name="T84" fmla="*/ 75 h 75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65" h="75">
                <a:moveTo>
                  <a:pt x="0" y="32"/>
                </a:moveTo>
                <a:lnTo>
                  <a:pt x="9" y="43"/>
                </a:lnTo>
                <a:lnTo>
                  <a:pt x="20" y="55"/>
                </a:lnTo>
                <a:lnTo>
                  <a:pt x="26" y="61"/>
                </a:lnTo>
                <a:lnTo>
                  <a:pt x="32" y="67"/>
                </a:lnTo>
                <a:lnTo>
                  <a:pt x="39" y="71"/>
                </a:lnTo>
                <a:lnTo>
                  <a:pt x="46" y="75"/>
                </a:lnTo>
                <a:lnTo>
                  <a:pt x="51" y="61"/>
                </a:lnTo>
                <a:lnTo>
                  <a:pt x="58" y="48"/>
                </a:lnTo>
                <a:lnTo>
                  <a:pt x="61" y="42"/>
                </a:lnTo>
                <a:lnTo>
                  <a:pt x="63" y="36"/>
                </a:lnTo>
                <a:lnTo>
                  <a:pt x="65" y="31"/>
                </a:lnTo>
                <a:lnTo>
                  <a:pt x="65" y="26"/>
                </a:lnTo>
                <a:lnTo>
                  <a:pt x="65" y="21"/>
                </a:lnTo>
                <a:lnTo>
                  <a:pt x="63" y="18"/>
                </a:lnTo>
                <a:lnTo>
                  <a:pt x="61" y="13"/>
                </a:lnTo>
                <a:lnTo>
                  <a:pt x="58" y="10"/>
                </a:lnTo>
                <a:lnTo>
                  <a:pt x="51" y="5"/>
                </a:lnTo>
                <a:lnTo>
                  <a:pt x="46" y="0"/>
                </a:lnTo>
                <a:lnTo>
                  <a:pt x="34" y="0"/>
                </a:lnTo>
                <a:lnTo>
                  <a:pt x="26" y="0"/>
                </a:lnTo>
                <a:lnTo>
                  <a:pt x="25" y="2"/>
                </a:lnTo>
                <a:lnTo>
                  <a:pt x="24" y="7"/>
                </a:lnTo>
                <a:lnTo>
                  <a:pt x="23" y="9"/>
                </a:lnTo>
                <a:lnTo>
                  <a:pt x="23" y="11"/>
                </a:lnTo>
                <a:lnTo>
                  <a:pt x="24" y="12"/>
                </a:lnTo>
                <a:lnTo>
                  <a:pt x="26" y="13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178" name="Freeform 175"/>
          <p:cNvSpPr>
            <a:spLocks/>
          </p:cNvSpPr>
          <p:nvPr userDrawn="1">
            <p:custDataLst>
              <p:tags r:id="rId102"/>
            </p:custDataLst>
          </p:nvPr>
        </p:nvSpPr>
        <p:spPr bwMode="auto">
          <a:xfrm>
            <a:off x="7773990" y="3406388"/>
            <a:ext cx="17463" cy="22622"/>
          </a:xfrm>
          <a:custGeom>
            <a:avLst/>
            <a:gdLst>
              <a:gd name="T0" fmla="*/ 0 w 40"/>
              <a:gd name="T1" fmla="*/ 14673327 h 62"/>
              <a:gd name="T2" fmla="*/ 571913 w 40"/>
              <a:gd name="T3" fmla="*/ 12306583 h 62"/>
              <a:gd name="T4" fmla="*/ 1334173 w 40"/>
              <a:gd name="T5" fmla="*/ 10176757 h 62"/>
              <a:gd name="T6" fmla="*/ 2287216 w 40"/>
              <a:gd name="T7" fmla="*/ 7810012 h 62"/>
              <a:gd name="T8" fmla="*/ 3240259 w 40"/>
              <a:gd name="T9" fmla="*/ 5916617 h 62"/>
              <a:gd name="T10" fmla="*/ 4383650 w 40"/>
              <a:gd name="T11" fmla="*/ 4023223 h 62"/>
              <a:gd name="T12" fmla="*/ 5527476 w 40"/>
              <a:gd name="T13" fmla="*/ 2129827 h 62"/>
              <a:gd name="T14" fmla="*/ 6670865 w 40"/>
              <a:gd name="T15" fmla="*/ 709780 h 62"/>
              <a:gd name="T16" fmla="*/ 7623910 w 40"/>
              <a:gd name="T17" fmla="*/ 0 h 6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40"/>
              <a:gd name="T28" fmla="*/ 0 h 62"/>
              <a:gd name="T29" fmla="*/ 40 w 40"/>
              <a:gd name="T30" fmla="*/ 62 h 6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40" h="62">
                <a:moveTo>
                  <a:pt x="0" y="62"/>
                </a:moveTo>
                <a:lnTo>
                  <a:pt x="3" y="52"/>
                </a:lnTo>
                <a:lnTo>
                  <a:pt x="7" y="43"/>
                </a:lnTo>
                <a:lnTo>
                  <a:pt x="12" y="33"/>
                </a:lnTo>
                <a:lnTo>
                  <a:pt x="17" y="25"/>
                </a:lnTo>
                <a:lnTo>
                  <a:pt x="23" y="17"/>
                </a:lnTo>
                <a:lnTo>
                  <a:pt x="29" y="9"/>
                </a:lnTo>
                <a:lnTo>
                  <a:pt x="35" y="3"/>
                </a:lnTo>
                <a:lnTo>
                  <a:pt x="40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179" name="Line 177"/>
          <p:cNvSpPr>
            <a:spLocks noChangeShapeType="1"/>
          </p:cNvSpPr>
          <p:nvPr userDrawn="1">
            <p:custDataLst>
              <p:tags r:id="rId103"/>
            </p:custDataLst>
          </p:nvPr>
        </p:nvSpPr>
        <p:spPr bwMode="auto">
          <a:xfrm flipH="1" flipV="1">
            <a:off x="7686676" y="3289710"/>
            <a:ext cx="6350" cy="25003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180" name="Freeform 178"/>
          <p:cNvSpPr>
            <a:spLocks/>
          </p:cNvSpPr>
          <p:nvPr userDrawn="1">
            <p:custDataLst>
              <p:tags r:id="rId104"/>
            </p:custDataLst>
          </p:nvPr>
        </p:nvSpPr>
        <p:spPr bwMode="auto">
          <a:xfrm>
            <a:off x="7686676" y="3277802"/>
            <a:ext cx="6350" cy="11906"/>
          </a:xfrm>
          <a:custGeom>
            <a:avLst/>
            <a:gdLst>
              <a:gd name="T0" fmla="*/ 0 w 13"/>
              <a:gd name="T1" fmla="*/ 10080624 h 25"/>
              <a:gd name="T2" fmla="*/ 238369 w 13"/>
              <a:gd name="T3" fmla="*/ 7661275 h 25"/>
              <a:gd name="T4" fmla="*/ 954454 w 13"/>
              <a:gd name="T5" fmla="*/ 5241926 h 25"/>
              <a:gd name="T6" fmla="*/ 1908908 w 13"/>
              <a:gd name="T7" fmla="*/ 2419350 h 25"/>
              <a:gd name="T8" fmla="*/ 3101731 w 13"/>
              <a:gd name="T9" fmla="*/ 0 h 2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3"/>
              <a:gd name="T16" fmla="*/ 0 h 25"/>
              <a:gd name="T17" fmla="*/ 13 w 13"/>
              <a:gd name="T18" fmla="*/ 25 h 2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3" h="25">
                <a:moveTo>
                  <a:pt x="0" y="25"/>
                </a:moveTo>
                <a:lnTo>
                  <a:pt x="1" y="19"/>
                </a:lnTo>
                <a:lnTo>
                  <a:pt x="4" y="13"/>
                </a:lnTo>
                <a:lnTo>
                  <a:pt x="8" y="6"/>
                </a:lnTo>
                <a:lnTo>
                  <a:pt x="13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181" name="Line 179"/>
          <p:cNvSpPr>
            <a:spLocks noChangeShapeType="1"/>
          </p:cNvSpPr>
          <p:nvPr userDrawn="1">
            <p:custDataLst>
              <p:tags r:id="rId105"/>
            </p:custDataLst>
          </p:nvPr>
        </p:nvSpPr>
        <p:spPr bwMode="auto">
          <a:xfrm flipV="1">
            <a:off x="7693025" y="3268268"/>
            <a:ext cx="0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182" name="Freeform 180"/>
          <p:cNvSpPr>
            <a:spLocks/>
          </p:cNvSpPr>
          <p:nvPr userDrawn="1">
            <p:custDataLst>
              <p:tags r:id="rId106"/>
            </p:custDataLst>
          </p:nvPr>
        </p:nvSpPr>
        <p:spPr bwMode="auto">
          <a:xfrm>
            <a:off x="7646987" y="3218270"/>
            <a:ext cx="46038" cy="50006"/>
          </a:xfrm>
          <a:custGeom>
            <a:avLst/>
            <a:gdLst>
              <a:gd name="T0" fmla="*/ 21194975 w 100"/>
              <a:gd name="T1" fmla="*/ 36142737 h 123"/>
              <a:gd name="T2" fmla="*/ 19075386 w 100"/>
              <a:gd name="T3" fmla="*/ 35848933 h 123"/>
              <a:gd name="T4" fmla="*/ 16108238 w 100"/>
              <a:gd name="T5" fmla="*/ 34967514 h 123"/>
              <a:gd name="T6" fmla="*/ 12717076 w 100"/>
              <a:gd name="T7" fmla="*/ 33497954 h 123"/>
              <a:gd name="T8" fmla="*/ 9113683 w 100"/>
              <a:gd name="T9" fmla="*/ 31441329 h 123"/>
              <a:gd name="T10" fmla="*/ 7206328 w 100"/>
              <a:gd name="T11" fmla="*/ 30266114 h 123"/>
              <a:gd name="T12" fmla="*/ 5722523 w 100"/>
              <a:gd name="T13" fmla="*/ 29090358 h 123"/>
              <a:gd name="T14" fmla="*/ 4239180 w 100"/>
              <a:gd name="T15" fmla="*/ 27621340 h 123"/>
              <a:gd name="T16" fmla="*/ 2755374 w 100"/>
              <a:gd name="T17" fmla="*/ 26152322 h 123"/>
              <a:gd name="T18" fmla="*/ 1695579 w 100"/>
              <a:gd name="T19" fmla="*/ 24682762 h 123"/>
              <a:gd name="T20" fmla="*/ 848020 w 100"/>
              <a:gd name="T21" fmla="*/ 23213744 h 123"/>
              <a:gd name="T22" fmla="*/ 211775 w 100"/>
              <a:gd name="T23" fmla="*/ 21450381 h 123"/>
              <a:gd name="T24" fmla="*/ 0 w 100"/>
              <a:gd name="T25" fmla="*/ 19981363 h 123"/>
              <a:gd name="T26" fmla="*/ 424010 w 100"/>
              <a:gd name="T27" fmla="*/ 16161370 h 123"/>
              <a:gd name="T28" fmla="*/ 1483805 w 100"/>
              <a:gd name="T29" fmla="*/ 10578560 h 123"/>
              <a:gd name="T30" fmla="*/ 2331365 w 100"/>
              <a:gd name="T31" fmla="*/ 4995205 h 123"/>
              <a:gd name="T32" fmla="*/ 2755374 w 100"/>
              <a:gd name="T33" fmla="*/ 0 h 123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00"/>
              <a:gd name="T52" fmla="*/ 0 h 123"/>
              <a:gd name="T53" fmla="*/ 100 w 100"/>
              <a:gd name="T54" fmla="*/ 123 h 123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00" h="123">
                <a:moveTo>
                  <a:pt x="100" y="123"/>
                </a:moveTo>
                <a:lnTo>
                  <a:pt x="90" y="122"/>
                </a:lnTo>
                <a:lnTo>
                  <a:pt x="76" y="119"/>
                </a:lnTo>
                <a:lnTo>
                  <a:pt x="60" y="114"/>
                </a:lnTo>
                <a:lnTo>
                  <a:pt x="43" y="107"/>
                </a:lnTo>
                <a:lnTo>
                  <a:pt x="34" y="103"/>
                </a:lnTo>
                <a:lnTo>
                  <a:pt x="27" y="99"/>
                </a:lnTo>
                <a:lnTo>
                  <a:pt x="20" y="94"/>
                </a:lnTo>
                <a:lnTo>
                  <a:pt x="13" y="89"/>
                </a:lnTo>
                <a:lnTo>
                  <a:pt x="8" y="84"/>
                </a:lnTo>
                <a:lnTo>
                  <a:pt x="4" y="79"/>
                </a:lnTo>
                <a:lnTo>
                  <a:pt x="1" y="73"/>
                </a:lnTo>
                <a:lnTo>
                  <a:pt x="0" y="68"/>
                </a:lnTo>
                <a:lnTo>
                  <a:pt x="2" y="55"/>
                </a:lnTo>
                <a:lnTo>
                  <a:pt x="7" y="36"/>
                </a:lnTo>
                <a:lnTo>
                  <a:pt x="11" y="17"/>
                </a:lnTo>
                <a:lnTo>
                  <a:pt x="13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183" name="Freeform 181"/>
          <p:cNvSpPr>
            <a:spLocks/>
          </p:cNvSpPr>
          <p:nvPr userDrawn="1">
            <p:custDataLst>
              <p:tags r:id="rId107"/>
            </p:custDataLst>
          </p:nvPr>
        </p:nvSpPr>
        <p:spPr bwMode="auto">
          <a:xfrm>
            <a:off x="7661280" y="3175397"/>
            <a:ext cx="1587" cy="38100"/>
          </a:xfrm>
          <a:custGeom>
            <a:avLst/>
            <a:gdLst>
              <a:gd name="T0" fmla="*/ 503714 w 5"/>
              <a:gd name="T1" fmla="*/ 0 h 99"/>
              <a:gd name="T2" fmla="*/ 403098 w 5"/>
              <a:gd name="T3" fmla="*/ 8952090 h 99"/>
              <a:gd name="T4" fmla="*/ 100616 w 5"/>
              <a:gd name="T5" fmla="*/ 15535050 h 99"/>
              <a:gd name="T6" fmla="*/ 0 w 5"/>
              <a:gd name="T7" fmla="*/ 18167930 h 99"/>
              <a:gd name="T8" fmla="*/ 0 w 5"/>
              <a:gd name="T9" fmla="*/ 20537569 h 99"/>
              <a:gd name="T10" fmla="*/ 201549 w 5"/>
              <a:gd name="T11" fmla="*/ 22907209 h 99"/>
              <a:gd name="T12" fmla="*/ 503714 w 5"/>
              <a:gd name="T13" fmla="*/ 26067071 h 9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"/>
              <a:gd name="T22" fmla="*/ 0 h 99"/>
              <a:gd name="T23" fmla="*/ 5 w 5"/>
              <a:gd name="T24" fmla="*/ 99 h 9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" h="99">
                <a:moveTo>
                  <a:pt x="5" y="0"/>
                </a:moveTo>
                <a:lnTo>
                  <a:pt x="4" y="34"/>
                </a:lnTo>
                <a:lnTo>
                  <a:pt x="1" y="59"/>
                </a:lnTo>
                <a:lnTo>
                  <a:pt x="0" y="69"/>
                </a:lnTo>
                <a:lnTo>
                  <a:pt x="0" y="78"/>
                </a:lnTo>
                <a:lnTo>
                  <a:pt x="2" y="87"/>
                </a:lnTo>
                <a:lnTo>
                  <a:pt x="5" y="99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184" name="Freeform 182"/>
          <p:cNvSpPr>
            <a:spLocks/>
          </p:cNvSpPr>
          <p:nvPr userDrawn="1">
            <p:custDataLst>
              <p:tags r:id="rId108"/>
            </p:custDataLst>
          </p:nvPr>
        </p:nvSpPr>
        <p:spPr bwMode="auto">
          <a:xfrm>
            <a:off x="7667634" y="3170635"/>
            <a:ext cx="7937" cy="27384"/>
          </a:xfrm>
          <a:custGeom>
            <a:avLst/>
            <a:gdLst>
              <a:gd name="T0" fmla="*/ 4499712 w 14"/>
              <a:gd name="T1" fmla="*/ 0 h 68"/>
              <a:gd name="T2" fmla="*/ 2571021 w 14"/>
              <a:gd name="T3" fmla="*/ 4612862 h 68"/>
              <a:gd name="T4" fmla="*/ 1285794 w 14"/>
              <a:gd name="T5" fmla="*/ 9514061 h 68"/>
              <a:gd name="T6" fmla="*/ 642897 w 14"/>
              <a:gd name="T7" fmla="*/ 14991932 h 68"/>
              <a:gd name="T8" fmla="*/ 0 w 14"/>
              <a:gd name="T9" fmla="*/ 19604796 h 6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4"/>
              <a:gd name="T16" fmla="*/ 0 h 68"/>
              <a:gd name="T17" fmla="*/ 14 w 14"/>
              <a:gd name="T18" fmla="*/ 68 h 6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4" h="68">
                <a:moveTo>
                  <a:pt x="14" y="0"/>
                </a:moveTo>
                <a:lnTo>
                  <a:pt x="8" y="16"/>
                </a:lnTo>
                <a:lnTo>
                  <a:pt x="4" y="33"/>
                </a:lnTo>
                <a:lnTo>
                  <a:pt x="2" y="52"/>
                </a:lnTo>
                <a:lnTo>
                  <a:pt x="0" y="68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185" name="Freeform 183"/>
          <p:cNvSpPr>
            <a:spLocks/>
          </p:cNvSpPr>
          <p:nvPr userDrawn="1">
            <p:custDataLst>
              <p:tags r:id="rId109"/>
            </p:custDataLst>
          </p:nvPr>
        </p:nvSpPr>
        <p:spPr bwMode="auto">
          <a:xfrm>
            <a:off x="7683504" y="3156359"/>
            <a:ext cx="1587" cy="16669"/>
          </a:xfrm>
          <a:custGeom>
            <a:avLst/>
            <a:gdLst>
              <a:gd name="T0" fmla="*/ 0 w 1587"/>
              <a:gd name="T1" fmla="*/ 0 h 43"/>
              <a:gd name="T2" fmla="*/ 0 w 1587"/>
              <a:gd name="T3" fmla="*/ 3472785 h 43"/>
              <a:gd name="T4" fmla="*/ 0 w 1587"/>
              <a:gd name="T5" fmla="*/ 6945570 h 43"/>
              <a:gd name="T6" fmla="*/ 0 w 1587"/>
              <a:gd name="T7" fmla="*/ 9884440 h 43"/>
              <a:gd name="T8" fmla="*/ 0 w 1587"/>
              <a:gd name="T9" fmla="*/ 11487224 h 4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587"/>
              <a:gd name="T16" fmla="*/ 0 h 43"/>
              <a:gd name="T17" fmla="*/ 1587 w 1587"/>
              <a:gd name="T18" fmla="*/ 43 h 4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587" h="43">
                <a:moveTo>
                  <a:pt x="0" y="0"/>
                </a:moveTo>
                <a:lnTo>
                  <a:pt x="0" y="13"/>
                </a:lnTo>
                <a:lnTo>
                  <a:pt x="0" y="26"/>
                </a:lnTo>
                <a:lnTo>
                  <a:pt x="0" y="37"/>
                </a:lnTo>
                <a:lnTo>
                  <a:pt x="0" y="43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186" name="Line 184"/>
          <p:cNvSpPr>
            <a:spLocks noChangeShapeType="1"/>
          </p:cNvSpPr>
          <p:nvPr userDrawn="1">
            <p:custDataLst>
              <p:tags r:id="rId110"/>
            </p:custDataLst>
          </p:nvPr>
        </p:nvSpPr>
        <p:spPr bwMode="auto">
          <a:xfrm flipV="1">
            <a:off x="7683504" y="3170647"/>
            <a:ext cx="1587" cy="2381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187" name="Freeform 185"/>
          <p:cNvSpPr>
            <a:spLocks/>
          </p:cNvSpPr>
          <p:nvPr userDrawn="1">
            <p:custDataLst>
              <p:tags r:id="rId111"/>
            </p:custDataLst>
          </p:nvPr>
        </p:nvSpPr>
        <p:spPr bwMode="auto">
          <a:xfrm>
            <a:off x="7667631" y="3158740"/>
            <a:ext cx="1587" cy="11906"/>
          </a:xfrm>
          <a:custGeom>
            <a:avLst/>
            <a:gdLst>
              <a:gd name="T0" fmla="*/ 0 w 1587"/>
              <a:gd name="T1" fmla="*/ 8129536 h 31"/>
              <a:gd name="T2" fmla="*/ 0 w 1587"/>
              <a:gd name="T3" fmla="*/ 5769283 h 31"/>
              <a:gd name="T4" fmla="*/ 0 w 1587"/>
              <a:gd name="T5" fmla="*/ 3933415 h 31"/>
              <a:gd name="T6" fmla="*/ 0 w 1587"/>
              <a:gd name="T7" fmla="*/ 2098061 h 31"/>
              <a:gd name="T8" fmla="*/ 0 w 1587"/>
              <a:gd name="T9" fmla="*/ 0 h 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587"/>
              <a:gd name="T16" fmla="*/ 0 h 31"/>
              <a:gd name="T17" fmla="*/ 1587 w 1587"/>
              <a:gd name="T18" fmla="*/ 31 h 3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587" h="31">
                <a:moveTo>
                  <a:pt x="0" y="31"/>
                </a:moveTo>
                <a:lnTo>
                  <a:pt x="0" y="22"/>
                </a:lnTo>
                <a:lnTo>
                  <a:pt x="0" y="15"/>
                </a:lnTo>
                <a:lnTo>
                  <a:pt x="0" y="8"/>
                </a:lnTo>
                <a:lnTo>
                  <a:pt x="0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188" name="Freeform 186"/>
          <p:cNvSpPr>
            <a:spLocks/>
          </p:cNvSpPr>
          <p:nvPr userDrawn="1">
            <p:custDataLst>
              <p:tags r:id="rId112"/>
            </p:custDataLst>
          </p:nvPr>
        </p:nvSpPr>
        <p:spPr bwMode="auto">
          <a:xfrm>
            <a:off x="7388229" y="3900500"/>
            <a:ext cx="96837" cy="65485"/>
          </a:xfrm>
          <a:custGeom>
            <a:avLst/>
            <a:gdLst>
              <a:gd name="T0" fmla="*/ 3519272 w 225"/>
              <a:gd name="T1" fmla="*/ 43190134 h 167"/>
              <a:gd name="T2" fmla="*/ 1296755 w 225"/>
              <a:gd name="T3" fmla="*/ 38816120 h 167"/>
              <a:gd name="T4" fmla="*/ 0 w 225"/>
              <a:gd name="T5" fmla="*/ 35535872 h 167"/>
              <a:gd name="T6" fmla="*/ 185066 w 225"/>
              <a:gd name="T7" fmla="*/ 29522248 h 167"/>
              <a:gd name="T8" fmla="*/ 2037451 w 225"/>
              <a:gd name="T9" fmla="*/ 18588259 h 167"/>
              <a:gd name="T10" fmla="*/ 4445464 w 225"/>
              <a:gd name="T11" fmla="*/ 10660552 h 167"/>
              <a:gd name="T12" fmla="*/ 6297848 w 225"/>
              <a:gd name="T13" fmla="*/ 5740176 h 167"/>
              <a:gd name="T14" fmla="*/ 8150233 w 225"/>
              <a:gd name="T15" fmla="*/ 2459926 h 167"/>
              <a:gd name="T16" fmla="*/ 10002617 w 225"/>
              <a:gd name="T17" fmla="*/ 273441 h 167"/>
              <a:gd name="T18" fmla="*/ 12040067 w 225"/>
              <a:gd name="T19" fmla="*/ 273441 h 167"/>
              <a:gd name="T20" fmla="*/ 14077517 w 225"/>
              <a:gd name="T21" fmla="*/ 819801 h 167"/>
              <a:gd name="T22" fmla="*/ 16300467 w 225"/>
              <a:gd name="T23" fmla="*/ 2187008 h 167"/>
              <a:gd name="T24" fmla="*/ 18523413 w 225"/>
              <a:gd name="T25" fmla="*/ 4646934 h 167"/>
              <a:gd name="T26" fmla="*/ 20745930 w 225"/>
              <a:gd name="T27" fmla="*/ 6560500 h 167"/>
              <a:gd name="T28" fmla="*/ 23710002 w 225"/>
              <a:gd name="T29" fmla="*/ 6560500 h 167"/>
              <a:gd name="T30" fmla="*/ 26858710 w 225"/>
              <a:gd name="T31" fmla="*/ 5193817 h 167"/>
              <a:gd name="T32" fmla="*/ 30563484 w 225"/>
              <a:gd name="T33" fmla="*/ 1913566 h 167"/>
              <a:gd name="T34" fmla="*/ 41677356 w 225"/>
              <a:gd name="T35" fmla="*/ 0 h 167"/>
              <a:gd name="T36" fmla="*/ 39824972 w 225"/>
              <a:gd name="T37" fmla="*/ 6013617 h 167"/>
              <a:gd name="T38" fmla="*/ 37231893 w 225"/>
              <a:gd name="T39" fmla="*/ 11207434 h 167"/>
              <a:gd name="T40" fmla="*/ 31119113 w 225"/>
              <a:gd name="T41" fmla="*/ 19681501 h 167"/>
              <a:gd name="T42" fmla="*/ 25561955 w 225"/>
              <a:gd name="T43" fmla="*/ 27335241 h 167"/>
              <a:gd name="T44" fmla="*/ 23895068 w 225"/>
              <a:gd name="T45" fmla="*/ 31162372 h 167"/>
              <a:gd name="T46" fmla="*/ 23339439 w 225"/>
              <a:gd name="T47" fmla="*/ 35535872 h 167"/>
              <a:gd name="T48" fmla="*/ 22783810 w 225"/>
              <a:gd name="T49" fmla="*/ 34442630 h 167"/>
              <a:gd name="T50" fmla="*/ 22227750 w 225"/>
              <a:gd name="T51" fmla="*/ 31982173 h 167"/>
              <a:gd name="T52" fmla="*/ 19634672 w 225"/>
              <a:gd name="T53" fmla="*/ 33075938 h 167"/>
              <a:gd name="T54" fmla="*/ 17967784 w 225"/>
              <a:gd name="T55" fmla="*/ 34989512 h 167"/>
              <a:gd name="T56" fmla="*/ 14818646 w 225"/>
              <a:gd name="T57" fmla="*/ 39636444 h 167"/>
              <a:gd name="T58" fmla="*/ 13151325 w 225"/>
              <a:gd name="T59" fmla="*/ 41822928 h 167"/>
              <a:gd name="T60" fmla="*/ 11113875 w 225"/>
              <a:gd name="T61" fmla="*/ 43736494 h 167"/>
              <a:gd name="T62" fmla="*/ 8520796 w 225"/>
              <a:gd name="T63" fmla="*/ 45103177 h 167"/>
              <a:gd name="T64" fmla="*/ 4816027 w 225"/>
              <a:gd name="T65" fmla="*/ 45650059 h 16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225"/>
              <a:gd name="T100" fmla="*/ 0 h 167"/>
              <a:gd name="T101" fmla="*/ 225 w 225"/>
              <a:gd name="T102" fmla="*/ 167 h 167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225" h="167">
                <a:moveTo>
                  <a:pt x="26" y="167"/>
                </a:moveTo>
                <a:lnTo>
                  <a:pt x="19" y="158"/>
                </a:lnTo>
                <a:lnTo>
                  <a:pt x="10" y="148"/>
                </a:lnTo>
                <a:lnTo>
                  <a:pt x="7" y="142"/>
                </a:lnTo>
                <a:lnTo>
                  <a:pt x="3" y="136"/>
                </a:lnTo>
                <a:lnTo>
                  <a:pt x="0" y="130"/>
                </a:lnTo>
                <a:lnTo>
                  <a:pt x="0" y="123"/>
                </a:lnTo>
                <a:lnTo>
                  <a:pt x="1" y="108"/>
                </a:lnTo>
                <a:lnTo>
                  <a:pt x="5" y="89"/>
                </a:lnTo>
                <a:lnTo>
                  <a:pt x="11" y="68"/>
                </a:lnTo>
                <a:lnTo>
                  <a:pt x="20" y="48"/>
                </a:lnTo>
                <a:lnTo>
                  <a:pt x="24" y="39"/>
                </a:lnTo>
                <a:lnTo>
                  <a:pt x="28" y="29"/>
                </a:lnTo>
                <a:lnTo>
                  <a:pt x="34" y="21"/>
                </a:lnTo>
                <a:lnTo>
                  <a:pt x="38" y="14"/>
                </a:lnTo>
                <a:lnTo>
                  <a:pt x="44" y="9"/>
                </a:lnTo>
                <a:lnTo>
                  <a:pt x="49" y="4"/>
                </a:lnTo>
                <a:lnTo>
                  <a:pt x="54" y="1"/>
                </a:lnTo>
                <a:lnTo>
                  <a:pt x="59" y="0"/>
                </a:lnTo>
                <a:lnTo>
                  <a:pt x="65" y="1"/>
                </a:lnTo>
                <a:lnTo>
                  <a:pt x="70" y="1"/>
                </a:lnTo>
                <a:lnTo>
                  <a:pt x="76" y="3"/>
                </a:lnTo>
                <a:lnTo>
                  <a:pt x="80" y="4"/>
                </a:lnTo>
                <a:lnTo>
                  <a:pt x="88" y="8"/>
                </a:lnTo>
                <a:lnTo>
                  <a:pt x="94" y="13"/>
                </a:lnTo>
                <a:lnTo>
                  <a:pt x="100" y="17"/>
                </a:lnTo>
                <a:lnTo>
                  <a:pt x="106" y="21"/>
                </a:lnTo>
                <a:lnTo>
                  <a:pt x="112" y="24"/>
                </a:lnTo>
                <a:lnTo>
                  <a:pt x="120" y="25"/>
                </a:lnTo>
                <a:lnTo>
                  <a:pt x="128" y="24"/>
                </a:lnTo>
                <a:lnTo>
                  <a:pt x="137" y="22"/>
                </a:lnTo>
                <a:lnTo>
                  <a:pt x="145" y="19"/>
                </a:lnTo>
                <a:lnTo>
                  <a:pt x="151" y="15"/>
                </a:lnTo>
                <a:lnTo>
                  <a:pt x="165" y="7"/>
                </a:lnTo>
                <a:lnTo>
                  <a:pt x="179" y="0"/>
                </a:lnTo>
                <a:lnTo>
                  <a:pt x="225" y="0"/>
                </a:lnTo>
                <a:lnTo>
                  <a:pt x="221" y="11"/>
                </a:lnTo>
                <a:lnTo>
                  <a:pt x="215" y="22"/>
                </a:lnTo>
                <a:lnTo>
                  <a:pt x="209" y="31"/>
                </a:lnTo>
                <a:lnTo>
                  <a:pt x="201" y="41"/>
                </a:lnTo>
                <a:lnTo>
                  <a:pt x="185" y="57"/>
                </a:lnTo>
                <a:lnTo>
                  <a:pt x="168" y="72"/>
                </a:lnTo>
                <a:lnTo>
                  <a:pt x="151" y="86"/>
                </a:lnTo>
                <a:lnTo>
                  <a:pt x="138" y="100"/>
                </a:lnTo>
                <a:lnTo>
                  <a:pt x="133" y="107"/>
                </a:lnTo>
                <a:lnTo>
                  <a:pt x="129" y="114"/>
                </a:lnTo>
                <a:lnTo>
                  <a:pt x="126" y="122"/>
                </a:lnTo>
                <a:lnTo>
                  <a:pt x="126" y="130"/>
                </a:lnTo>
                <a:lnTo>
                  <a:pt x="125" y="129"/>
                </a:lnTo>
                <a:lnTo>
                  <a:pt x="123" y="126"/>
                </a:lnTo>
                <a:lnTo>
                  <a:pt x="120" y="122"/>
                </a:lnTo>
                <a:lnTo>
                  <a:pt x="120" y="117"/>
                </a:lnTo>
                <a:lnTo>
                  <a:pt x="112" y="119"/>
                </a:lnTo>
                <a:lnTo>
                  <a:pt x="106" y="121"/>
                </a:lnTo>
                <a:lnTo>
                  <a:pt x="101" y="124"/>
                </a:lnTo>
                <a:lnTo>
                  <a:pt x="97" y="128"/>
                </a:lnTo>
                <a:lnTo>
                  <a:pt x="88" y="135"/>
                </a:lnTo>
                <a:lnTo>
                  <a:pt x="80" y="145"/>
                </a:lnTo>
                <a:lnTo>
                  <a:pt x="76" y="149"/>
                </a:lnTo>
                <a:lnTo>
                  <a:pt x="71" y="153"/>
                </a:lnTo>
                <a:lnTo>
                  <a:pt x="66" y="157"/>
                </a:lnTo>
                <a:lnTo>
                  <a:pt x="60" y="160"/>
                </a:lnTo>
                <a:lnTo>
                  <a:pt x="54" y="163"/>
                </a:lnTo>
                <a:lnTo>
                  <a:pt x="46" y="165"/>
                </a:lnTo>
                <a:lnTo>
                  <a:pt x="36" y="166"/>
                </a:lnTo>
                <a:lnTo>
                  <a:pt x="26" y="167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189" name="Freeform 187"/>
          <p:cNvSpPr>
            <a:spLocks/>
          </p:cNvSpPr>
          <p:nvPr userDrawn="1">
            <p:custDataLst>
              <p:tags r:id="rId113"/>
            </p:custDataLst>
          </p:nvPr>
        </p:nvSpPr>
        <p:spPr bwMode="auto">
          <a:xfrm>
            <a:off x="7526347" y="3314713"/>
            <a:ext cx="3175" cy="13097"/>
          </a:xfrm>
          <a:custGeom>
            <a:avLst/>
            <a:gdLst>
              <a:gd name="T0" fmla="*/ 0 w 7"/>
              <a:gd name="T1" fmla="*/ 9837304 h 31"/>
              <a:gd name="T2" fmla="*/ 1028700 w 7"/>
              <a:gd name="T3" fmla="*/ 6981257 h 31"/>
              <a:gd name="T4" fmla="*/ 1234168 w 7"/>
              <a:gd name="T5" fmla="*/ 4125211 h 31"/>
              <a:gd name="T6" fmla="*/ 1440089 w 7"/>
              <a:gd name="T7" fmla="*/ 1904030 h 31"/>
              <a:gd name="T8" fmla="*/ 1440089 w 7"/>
              <a:gd name="T9" fmla="*/ 0 h 31"/>
              <a:gd name="T10" fmla="*/ 1234168 w 7"/>
              <a:gd name="T11" fmla="*/ 1904030 h 31"/>
              <a:gd name="T12" fmla="*/ 822779 w 7"/>
              <a:gd name="T13" fmla="*/ 4125211 h 31"/>
              <a:gd name="T14" fmla="*/ 205921 w 7"/>
              <a:gd name="T15" fmla="*/ 6981257 h 31"/>
              <a:gd name="T16" fmla="*/ 0 w 7"/>
              <a:gd name="T17" fmla="*/ 9837304 h 3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7"/>
              <a:gd name="T28" fmla="*/ 0 h 31"/>
              <a:gd name="T29" fmla="*/ 7 w 7"/>
              <a:gd name="T30" fmla="*/ 31 h 31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7" h="31">
                <a:moveTo>
                  <a:pt x="0" y="31"/>
                </a:moveTo>
                <a:lnTo>
                  <a:pt x="5" y="22"/>
                </a:lnTo>
                <a:lnTo>
                  <a:pt x="6" y="13"/>
                </a:lnTo>
                <a:lnTo>
                  <a:pt x="7" y="6"/>
                </a:lnTo>
                <a:lnTo>
                  <a:pt x="7" y="0"/>
                </a:lnTo>
                <a:lnTo>
                  <a:pt x="6" y="6"/>
                </a:lnTo>
                <a:lnTo>
                  <a:pt x="4" y="13"/>
                </a:lnTo>
                <a:lnTo>
                  <a:pt x="1" y="22"/>
                </a:lnTo>
                <a:lnTo>
                  <a:pt x="0" y="31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190" name="Freeform 188"/>
          <p:cNvSpPr>
            <a:spLocks/>
          </p:cNvSpPr>
          <p:nvPr userDrawn="1">
            <p:custDataLst>
              <p:tags r:id="rId114"/>
            </p:custDataLst>
          </p:nvPr>
        </p:nvSpPr>
        <p:spPr bwMode="auto">
          <a:xfrm>
            <a:off x="7459671" y="3256370"/>
            <a:ext cx="15875" cy="11906"/>
          </a:xfrm>
          <a:custGeom>
            <a:avLst/>
            <a:gdLst>
              <a:gd name="T0" fmla="*/ 7636835 w 33"/>
              <a:gd name="T1" fmla="*/ 8129536 h 31"/>
              <a:gd name="T2" fmla="*/ 7636835 w 33"/>
              <a:gd name="T3" fmla="*/ 0 h 31"/>
              <a:gd name="T4" fmla="*/ 6248495 w 33"/>
              <a:gd name="T5" fmla="*/ 0 h 31"/>
              <a:gd name="T6" fmla="*/ 5091064 w 33"/>
              <a:gd name="T7" fmla="*/ 524387 h 31"/>
              <a:gd name="T8" fmla="*/ 3702723 w 33"/>
              <a:gd name="T9" fmla="*/ 1310968 h 31"/>
              <a:gd name="T10" fmla="*/ 2545772 w 33"/>
              <a:gd name="T11" fmla="*/ 2098061 h 31"/>
              <a:gd name="T12" fmla="*/ 1388341 w 33"/>
              <a:gd name="T13" fmla="*/ 3146835 h 31"/>
              <a:gd name="T14" fmla="*/ 694170 w 33"/>
              <a:gd name="T15" fmla="*/ 4196122 h 31"/>
              <a:gd name="T16" fmla="*/ 231390 w 33"/>
              <a:gd name="T17" fmla="*/ 5507089 h 31"/>
              <a:gd name="T18" fmla="*/ 0 w 33"/>
              <a:gd name="T19" fmla="*/ 6555863 h 31"/>
              <a:gd name="T20" fmla="*/ 231390 w 33"/>
              <a:gd name="T21" fmla="*/ 7080762 h 31"/>
              <a:gd name="T22" fmla="*/ 694170 w 33"/>
              <a:gd name="T23" fmla="*/ 7605149 h 31"/>
              <a:gd name="T24" fmla="*/ 1388341 w 33"/>
              <a:gd name="T25" fmla="*/ 7867343 h 31"/>
              <a:gd name="T26" fmla="*/ 2545772 w 33"/>
              <a:gd name="T27" fmla="*/ 7867343 h 31"/>
              <a:gd name="T28" fmla="*/ 5091064 w 33"/>
              <a:gd name="T29" fmla="*/ 8129536 h 31"/>
              <a:gd name="T30" fmla="*/ 7636835 w 33"/>
              <a:gd name="T31" fmla="*/ 8129536 h 3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33"/>
              <a:gd name="T49" fmla="*/ 0 h 31"/>
              <a:gd name="T50" fmla="*/ 33 w 33"/>
              <a:gd name="T51" fmla="*/ 31 h 31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33" h="31">
                <a:moveTo>
                  <a:pt x="33" y="31"/>
                </a:moveTo>
                <a:lnTo>
                  <a:pt x="33" y="0"/>
                </a:lnTo>
                <a:lnTo>
                  <a:pt x="27" y="0"/>
                </a:lnTo>
                <a:lnTo>
                  <a:pt x="22" y="2"/>
                </a:lnTo>
                <a:lnTo>
                  <a:pt x="16" y="5"/>
                </a:lnTo>
                <a:lnTo>
                  <a:pt x="11" y="8"/>
                </a:lnTo>
                <a:lnTo>
                  <a:pt x="6" y="12"/>
                </a:lnTo>
                <a:lnTo>
                  <a:pt x="3" y="16"/>
                </a:lnTo>
                <a:lnTo>
                  <a:pt x="1" y="21"/>
                </a:lnTo>
                <a:lnTo>
                  <a:pt x="0" y="25"/>
                </a:lnTo>
                <a:lnTo>
                  <a:pt x="1" y="27"/>
                </a:lnTo>
                <a:lnTo>
                  <a:pt x="3" y="29"/>
                </a:lnTo>
                <a:lnTo>
                  <a:pt x="6" y="30"/>
                </a:lnTo>
                <a:lnTo>
                  <a:pt x="11" y="30"/>
                </a:lnTo>
                <a:lnTo>
                  <a:pt x="22" y="31"/>
                </a:lnTo>
                <a:lnTo>
                  <a:pt x="33" y="31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191" name="Freeform 189"/>
          <p:cNvSpPr>
            <a:spLocks/>
          </p:cNvSpPr>
          <p:nvPr userDrawn="1">
            <p:custDataLst>
              <p:tags r:id="rId115"/>
            </p:custDataLst>
          </p:nvPr>
        </p:nvSpPr>
        <p:spPr bwMode="auto">
          <a:xfrm>
            <a:off x="7475547" y="3190885"/>
            <a:ext cx="3175" cy="7144"/>
          </a:xfrm>
          <a:custGeom>
            <a:avLst/>
            <a:gdLst>
              <a:gd name="T0" fmla="*/ 0 w 13"/>
              <a:gd name="T1" fmla="*/ 4775033 h 19"/>
              <a:gd name="T2" fmla="*/ 119185 w 13"/>
              <a:gd name="T3" fmla="*/ 4523874 h 19"/>
              <a:gd name="T4" fmla="*/ 298206 w 13"/>
              <a:gd name="T5" fmla="*/ 4272213 h 19"/>
              <a:gd name="T6" fmla="*/ 417635 w 13"/>
              <a:gd name="T7" fmla="*/ 3769894 h 19"/>
              <a:gd name="T8" fmla="*/ 477227 w 13"/>
              <a:gd name="T9" fmla="*/ 3015916 h 19"/>
              <a:gd name="T10" fmla="*/ 715840 w 13"/>
              <a:gd name="T11" fmla="*/ 1507958 h 19"/>
              <a:gd name="T12" fmla="*/ 775433 w 13"/>
              <a:gd name="T13" fmla="*/ 0 h 19"/>
              <a:gd name="T14" fmla="*/ 0 w 13"/>
              <a:gd name="T15" fmla="*/ 4775033 h 1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3"/>
              <a:gd name="T25" fmla="*/ 0 h 19"/>
              <a:gd name="T26" fmla="*/ 13 w 13"/>
              <a:gd name="T27" fmla="*/ 19 h 19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3" h="19">
                <a:moveTo>
                  <a:pt x="0" y="19"/>
                </a:moveTo>
                <a:lnTo>
                  <a:pt x="2" y="18"/>
                </a:lnTo>
                <a:lnTo>
                  <a:pt x="5" y="17"/>
                </a:lnTo>
                <a:lnTo>
                  <a:pt x="7" y="15"/>
                </a:lnTo>
                <a:lnTo>
                  <a:pt x="8" y="12"/>
                </a:lnTo>
                <a:lnTo>
                  <a:pt x="12" y="6"/>
                </a:lnTo>
                <a:lnTo>
                  <a:pt x="13" y="0"/>
                </a:lnTo>
                <a:lnTo>
                  <a:pt x="0" y="19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192" name="Freeform 190"/>
          <p:cNvSpPr>
            <a:spLocks/>
          </p:cNvSpPr>
          <p:nvPr userDrawn="1">
            <p:custDataLst>
              <p:tags r:id="rId116"/>
            </p:custDataLst>
          </p:nvPr>
        </p:nvSpPr>
        <p:spPr bwMode="auto">
          <a:xfrm>
            <a:off x="7315201" y="3193269"/>
            <a:ext cx="36512" cy="16669"/>
          </a:xfrm>
          <a:custGeom>
            <a:avLst/>
            <a:gdLst>
              <a:gd name="T0" fmla="*/ 9511166 w 87"/>
              <a:gd name="T1" fmla="*/ 11760729 h 42"/>
              <a:gd name="T2" fmla="*/ 10391651 w 87"/>
              <a:gd name="T3" fmla="*/ 11760729 h 42"/>
              <a:gd name="T4" fmla="*/ 11272135 w 87"/>
              <a:gd name="T5" fmla="*/ 11480800 h 42"/>
              <a:gd name="T6" fmla="*/ 11976774 w 87"/>
              <a:gd name="T7" fmla="*/ 11200871 h 42"/>
              <a:gd name="T8" fmla="*/ 12505149 w 87"/>
              <a:gd name="T9" fmla="*/ 10640484 h 42"/>
              <a:gd name="T10" fmla="*/ 13209788 w 87"/>
              <a:gd name="T11" fmla="*/ 9520767 h 42"/>
              <a:gd name="T12" fmla="*/ 13738163 w 87"/>
              <a:gd name="T13" fmla="*/ 7840662 h 42"/>
              <a:gd name="T14" fmla="*/ 13914431 w 87"/>
              <a:gd name="T15" fmla="*/ 6160558 h 42"/>
              <a:gd name="T16" fmla="*/ 14090276 w 87"/>
              <a:gd name="T17" fmla="*/ 4480455 h 42"/>
              <a:gd name="T18" fmla="*/ 14442806 w 87"/>
              <a:gd name="T19" fmla="*/ 3080279 h 42"/>
              <a:gd name="T20" fmla="*/ 15323290 w 87"/>
              <a:gd name="T21" fmla="*/ 1680104 h 42"/>
              <a:gd name="T22" fmla="*/ 13561898 w 87"/>
              <a:gd name="T23" fmla="*/ 559858 h 42"/>
              <a:gd name="T24" fmla="*/ 11800510 w 87"/>
              <a:gd name="T25" fmla="*/ 0 h 42"/>
              <a:gd name="T26" fmla="*/ 10039541 w 87"/>
              <a:gd name="T27" fmla="*/ 0 h 42"/>
              <a:gd name="T28" fmla="*/ 8278152 w 87"/>
              <a:gd name="T29" fmla="*/ 0 h 42"/>
              <a:gd name="T30" fmla="*/ 7045138 w 87"/>
              <a:gd name="T31" fmla="*/ 0 h 42"/>
              <a:gd name="T32" fmla="*/ 5636277 w 87"/>
              <a:gd name="T33" fmla="*/ 559858 h 42"/>
              <a:gd name="T34" fmla="*/ 4403263 w 87"/>
              <a:gd name="T35" fmla="*/ 1120246 h 42"/>
              <a:gd name="T36" fmla="*/ 3346513 w 87"/>
              <a:gd name="T37" fmla="*/ 1680104 h 42"/>
              <a:gd name="T38" fmla="*/ 1408860 w 87"/>
              <a:gd name="T39" fmla="*/ 3360208 h 42"/>
              <a:gd name="T40" fmla="*/ 0 w 87"/>
              <a:gd name="T41" fmla="*/ 5040313 h 42"/>
              <a:gd name="T42" fmla="*/ 1937235 w 87"/>
              <a:gd name="T43" fmla="*/ 6720416 h 42"/>
              <a:gd name="T44" fmla="*/ 4755373 w 87"/>
              <a:gd name="T45" fmla="*/ 8960380 h 42"/>
              <a:gd name="T46" fmla="*/ 7573513 w 87"/>
              <a:gd name="T47" fmla="*/ 10920942 h 42"/>
              <a:gd name="T48" fmla="*/ 9511166 w 87"/>
              <a:gd name="T49" fmla="*/ 11760729 h 4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87"/>
              <a:gd name="T76" fmla="*/ 0 h 42"/>
              <a:gd name="T77" fmla="*/ 87 w 87"/>
              <a:gd name="T78" fmla="*/ 42 h 42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87" h="42">
                <a:moveTo>
                  <a:pt x="54" y="42"/>
                </a:moveTo>
                <a:lnTo>
                  <a:pt x="59" y="42"/>
                </a:lnTo>
                <a:lnTo>
                  <a:pt x="64" y="41"/>
                </a:lnTo>
                <a:lnTo>
                  <a:pt x="68" y="40"/>
                </a:lnTo>
                <a:lnTo>
                  <a:pt x="71" y="38"/>
                </a:lnTo>
                <a:lnTo>
                  <a:pt x="75" y="34"/>
                </a:lnTo>
                <a:lnTo>
                  <a:pt x="78" y="28"/>
                </a:lnTo>
                <a:lnTo>
                  <a:pt x="79" y="22"/>
                </a:lnTo>
                <a:lnTo>
                  <a:pt x="80" y="16"/>
                </a:lnTo>
                <a:lnTo>
                  <a:pt x="82" y="11"/>
                </a:lnTo>
                <a:lnTo>
                  <a:pt x="87" y="6"/>
                </a:lnTo>
                <a:lnTo>
                  <a:pt x="77" y="2"/>
                </a:lnTo>
                <a:lnTo>
                  <a:pt x="67" y="0"/>
                </a:lnTo>
                <a:lnTo>
                  <a:pt x="57" y="0"/>
                </a:lnTo>
                <a:lnTo>
                  <a:pt x="47" y="0"/>
                </a:lnTo>
                <a:lnTo>
                  <a:pt x="40" y="0"/>
                </a:lnTo>
                <a:lnTo>
                  <a:pt x="32" y="2"/>
                </a:lnTo>
                <a:lnTo>
                  <a:pt x="25" y="4"/>
                </a:lnTo>
                <a:lnTo>
                  <a:pt x="19" y="6"/>
                </a:lnTo>
                <a:lnTo>
                  <a:pt x="8" y="12"/>
                </a:lnTo>
                <a:lnTo>
                  <a:pt x="0" y="18"/>
                </a:lnTo>
                <a:lnTo>
                  <a:pt x="11" y="24"/>
                </a:lnTo>
                <a:lnTo>
                  <a:pt x="27" y="32"/>
                </a:lnTo>
                <a:lnTo>
                  <a:pt x="43" y="39"/>
                </a:lnTo>
                <a:lnTo>
                  <a:pt x="54" y="42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193" name="Freeform 191"/>
          <p:cNvSpPr>
            <a:spLocks/>
          </p:cNvSpPr>
          <p:nvPr userDrawn="1">
            <p:custDataLst>
              <p:tags r:id="rId117"/>
            </p:custDataLst>
          </p:nvPr>
        </p:nvSpPr>
        <p:spPr bwMode="auto">
          <a:xfrm>
            <a:off x="7559679" y="3540919"/>
            <a:ext cx="1587" cy="10716"/>
          </a:xfrm>
          <a:custGeom>
            <a:avLst/>
            <a:gdLst>
              <a:gd name="T0" fmla="*/ 0 w 7"/>
              <a:gd name="T1" fmla="*/ 0 h 31"/>
              <a:gd name="T2" fmla="*/ 359796 w 7"/>
              <a:gd name="T3" fmla="*/ 0 h 31"/>
              <a:gd name="T4" fmla="*/ 359796 w 7"/>
              <a:gd name="T5" fmla="*/ 3823654 h 31"/>
              <a:gd name="T6" fmla="*/ 0 w 7"/>
              <a:gd name="T7" fmla="*/ 6585385 h 31"/>
              <a:gd name="T8" fmla="*/ 0 w 7"/>
              <a:gd name="T9" fmla="*/ 0 h 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"/>
              <a:gd name="T16" fmla="*/ 0 h 31"/>
              <a:gd name="T17" fmla="*/ 7 w 7"/>
              <a:gd name="T18" fmla="*/ 31 h 3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" h="31">
                <a:moveTo>
                  <a:pt x="0" y="0"/>
                </a:moveTo>
                <a:lnTo>
                  <a:pt x="7" y="0"/>
                </a:lnTo>
                <a:lnTo>
                  <a:pt x="7" y="18"/>
                </a:lnTo>
                <a:lnTo>
                  <a:pt x="0" y="31"/>
                </a:lnTo>
                <a:lnTo>
                  <a:pt x="0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194" name="Freeform 192"/>
          <p:cNvSpPr>
            <a:spLocks/>
          </p:cNvSpPr>
          <p:nvPr userDrawn="1">
            <p:custDataLst>
              <p:tags r:id="rId118"/>
            </p:custDataLst>
          </p:nvPr>
        </p:nvSpPr>
        <p:spPr bwMode="auto">
          <a:xfrm>
            <a:off x="6796089" y="3170645"/>
            <a:ext cx="1019175" cy="681038"/>
          </a:xfrm>
          <a:custGeom>
            <a:avLst/>
            <a:gdLst>
              <a:gd name="T0" fmla="*/ 40874508 w 2332"/>
              <a:gd name="T1" fmla="*/ 194556149 h 1731"/>
              <a:gd name="T2" fmla="*/ 62076150 w 2332"/>
              <a:gd name="T3" fmla="*/ 178595247 h 1731"/>
              <a:gd name="T4" fmla="*/ 83086355 w 2332"/>
              <a:gd name="T5" fmla="*/ 166762273 h 1731"/>
              <a:gd name="T6" fmla="*/ 115557057 w 2332"/>
              <a:gd name="T7" fmla="*/ 156855561 h 1731"/>
              <a:gd name="T8" fmla="*/ 129308921 w 2332"/>
              <a:gd name="T9" fmla="*/ 120256035 h 1731"/>
              <a:gd name="T10" fmla="*/ 144780533 w 2332"/>
              <a:gd name="T11" fmla="*/ 120806320 h 1731"/>
              <a:gd name="T12" fmla="*/ 149746605 w 2332"/>
              <a:gd name="T13" fmla="*/ 99892324 h 1731"/>
              <a:gd name="T14" fmla="*/ 165408766 w 2332"/>
              <a:gd name="T15" fmla="*/ 86958779 h 1731"/>
              <a:gd name="T16" fmla="*/ 179352053 w 2332"/>
              <a:gd name="T17" fmla="*/ 67695623 h 1731"/>
              <a:gd name="T18" fmla="*/ 196160130 w 2332"/>
              <a:gd name="T19" fmla="*/ 61366553 h 1731"/>
              <a:gd name="T20" fmla="*/ 205901289 w 2332"/>
              <a:gd name="T21" fmla="*/ 78152638 h 1731"/>
              <a:gd name="T22" fmla="*/ 216788363 w 2332"/>
              <a:gd name="T23" fmla="*/ 74300115 h 1731"/>
              <a:gd name="T24" fmla="*/ 224619662 w 2332"/>
              <a:gd name="T25" fmla="*/ 47331913 h 1731"/>
              <a:gd name="T26" fmla="*/ 252123882 w 2332"/>
              <a:gd name="T27" fmla="*/ 32196693 h 1731"/>
              <a:gd name="T28" fmla="*/ 255180095 w 2332"/>
              <a:gd name="T29" fmla="*/ 11282693 h 1731"/>
              <a:gd name="T30" fmla="*/ 273516496 w 2332"/>
              <a:gd name="T31" fmla="*/ 29444741 h 1731"/>
              <a:gd name="T32" fmla="*/ 294908674 w 2332"/>
              <a:gd name="T33" fmla="*/ 32196693 h 1731"/>
              <a:gd name="T34" fmla="*/ 279819471 w 2332"/>
              <a:gd name="T35" fmla="*/ 72098448 h 1731"/>
              <a:gd name="T36" fmla="*/ 288223727 w 2332"/>
              <a:gd name="T37" fmla="*/ 91636993 h 1731"/>
              <a:gd name="T38" fmla="*/ 302167015 w 2332"/>
              <a:gd name="T39" fmla="*/ 97415777 h 1731"/>
              <a:gd name="T40" fmla="*/ 318593119 w 2332"/>
              <a:gd name="T41" fmla="*/ 116403512 h 1731"/>
              <a:gd name="T42" fmla="*/ 336929521 w 2332"/>
              <a:gd name="T43" fmla="*/ 113651560 h 1731"/>
              <a:gd name="T44" fmla="*/ 349535469 w 2332"/>
              <a:gd name="T45" fmla="*/ 56412935 h 1731"/>
              <a:gd name="T46" fmla="*/ 363669742 w 2332"/>
              <a:gd name="T47" fmla="*/ 2751953 h 1731"/>
              <a:gd name="T48" fmla="*/ 369208773 w 2332"/>
              <a:gd name="T49" fmla="*/ 22014575 h 1731"/>
              <a:gd name="T50" fmla="*/ 371310055 w 2332"/>
              <a:gd name="T51" fmla="*/ 48432484 h 1731"/>
              <a:gd name="T52" fmla="*/ 379331903 w 2332"/>
              <a:gd name="T53" fmla="*/ 66044242 h 1731"/>
              <a:gd name="T54" fmla="*/ 389646020 w 2332"/>
              <a:gd name="T55" fmla="*/ 118054368 h 1731"/>
              <a:gd name="T56" fmla="*/ 399005644 w 2332"/>
              <a:gd name="T57" fmla="*/ 148600229 h 1731"/>
              <a:gd name="T58" fmla="*/ 413139480 w 2332"/>
              <a:gd name="T59" fmla="*/ 188777365 h 1731"/>
              <a:gd name="T60" fmla="*/ 423836005 w 2332"/>
              <a:gd name="T61" fmla="*/ 211617622 h 1731"/>
              <a:gd name="T62" fmla="*/ 445419168 w 2332"/>
              <a:gd name="T63" fmla="*/ 245465163 h 1731"/>
              <a:gd name="T64" fmla="*/ 434723080 w 2332"/>
              <a:gd name="T65" fmla="*/ 304079814 h 1731"/>
              <a:gd name="T66" fmla="*/ 398623235 w 2332"/>
              <a:gd name="T67" fmla="*/ 374802778 h 1731"/>
              <a:gd name="T68" fmla="*/ 382961074 w 2332"/>
              <a:gd name="T69" fmla="*/ 394065393 h 1731"/>
              <a:gd name="T70" fmla="*/ 351063794 w 2332"/>
              <a:gd name="T71" fmla="*/ 437820171 h 1731"/>
              <a:gd name="T72" fmla="*/ 334064294 w 2332"/>
              <a:gd name="T73" fmla="*/ 461210714 h 1731"/>
              <a:gd name="T74" fmla="*/ 303503916 w 2332"/>
              <a:gd name="T75" fmla="*/ 474969949 h 1731"/>
              <a:gd name="T76" fmla="*/ 289751615 w 2332"/>
              <a:gd name="T77" fmla="*/ 465888927 h 1731"/>
              <a:gd name="T78" fmla="*/ 269314368 w 2332"/>
              <a:gd name="T79" fmla="*/ 475795640 h 1731"/>
              <a:gd name="T80" fmla="*/ 247731205 w 2332"/>
              <a:gd name="T81" fmla="*/ 465888927 h 1731"/>
              <a:gd name="T82" fmla="*/ 244293020 w 2332"/>
              <a:gd name="T83" fmla="*/ 444149241 h 1731"/>
              <a:gd name="T84" fmla="*/ 241236808 w 2332"/>
              <a:gd name="T85" fmla="*/ 417181055 h 1731"/>
              <a:gd name="T86" fmla="*/ 233978904 w 2332"/>
              <a:gd name="T87" fmla="*/ 412778247 h 1731"/>
              <a:gd name="T88" fmla="*/ 244484006 w 2332"/>
              <a:gd name="T89" fmla="*/ 380306157 h 1731"/>
              <a:gd name="T90" fmla="*/ 207811149 w 2332"/>
              <a:gd name="T91" fmla="*/ 374802778 h 1731"/>
              <a:gd name="T92" fmla="*/ 183553745 w 2332"/>
              <a:gd name="T93" fmla="*/ 352787686 h 1731"/>
              <a:gd name="T94" fmla="*/ 144016152 w 2332"/>
              <a:gd name="T95" fmla="*/ 364070375 h 1731"/>
              <a:gd name="T96" fmla="*/ 96838656 w 2332"/>
              <a:gd name="T97" fmla="*/ 390488275 h 1731"/>
              <a:gd name="T98" fmla="*/ 40874508 w 2332"/>
              <a:gd name="T99" fmla="*/ 405348081 h 1731"/>
              <a:gd name="T100" fmla="*/ 10505106 w 2332"/>
              <a:gd name="T101" fmla="*/ 410026295 h 1731"/>
              <a:gd name="T102" fmla="*/ 381972 w 2332"/>
              <a:gd name="T103" fmla="*/ 391588846 h 1731"/>
              <a:gd name="T104" fmla="*/ 18527394 w 2332"/>
              <a:gd name="T105" fmla="*/ 369849159 h 1731"/>
              <a:gd name="T106" fmla="*/ 14325266 w 2332"/>
              <a:gd name="T107" fmla="*/ 341504997 h 1731"/>
              <a:gd name="T108" fmla="*/ 21583170 w 2332"/>
              <a:gd name="T109" fmla="*/ 321966977 h 1731"/>
              <a:gd name="T110" fmla="*/ 11078064 w 2332"/>
              <a:gd name="T111" fmla="*/ 259499804 h 1731"/>
              <a:gd name="T112" fmla="*/ 21583170 w 2332"/>
              <a:gd name="T113" fmla="*/ 265278589 h 1731"/>
              <a:gd name="T114" fmla="*/ 20246268 w 2332"/>
              <a:gd name="T115" fmla="*/ 237209832 h 1731"/>
              <a:gd name="T116" fmla="*/ 28077567 w 2332"/>
              <a:gd name="T117" fmla="*/ 210517051 h 173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2332"/>
              <a:gd name="T178" fmla="*/ 0 h 1731"/>
              <a:gd name="T179" fmla="*/ 2332 w 2332"/>
              <a:gd name="T180" fmla="*/ 1731 h 1731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2332" h="1731">
                <a:moveTo>
                  <a:pt x="153" y="721"/>
                </a:moveTo>
                <a:lnTo>
                  <a:pt x="156" y="727"/>
                </a:lnTo>
                <a:lnTo>
                  <a:pt x="159" y="732"/>
                </a:lnTo>
                <a:lnTo>
                  <a:pt x="162" y="735"/>
                </a:lnTo>
                <a:lnTo>
                  <a:pt x="167" y="738"/>
                </a:lnTo>
                <a:lnTo>
                  <a:pt x="173" y="744"/>
                </a:lnTo>
                <a:lnTo>
                  <a:pt x="180" y="751"/>
                </a:lnTo>
                <a:lnTo>
                  <a:pt x="189" y="744"/>
                </a:lnTo>
                <a:lnTo>
                  <a:pt x="195" y="737"/>
                </a:lnTo>
                <a:lnTo>
                  <a:pt x="201" y="729"/>
                </a:lnTo>
                <a:lnTo>
                  <a:pt x="205" y="722"/>
                </a:lnTo>
                <a:lnTo>
                  <a:pt x="210" y="714"/>
                </a:lnTo>
                <a:lnTo>
                  <a:pt x="214" y="707"/>
                </a:lnTo>
                <a:lnTo>
                  <a:pt x="219" y="701"/>
                </a:lnTo>
                <a:lnTo>
                  <a:pt x="226" y="696"/>
                </a:lnTo>
                <a:lnTo>
                  <a:pt x="234" y="690"/>
                </a:lnTo>
                <a:lnTo>
                  <a:pt x="241" y="685"/>
                </a:lnTo>
                <a:lnTo>
                  <a:pt x="249" y="680"/>
                </a:lnTo>
                <a:lnTo>
                  <a:pt x="258" y="677"/>
                </a:lnTo>
                <a:lnTo>
                  <a:pt x="274" y="672"/>
                </a:lnTo>
                <a:lnTo>
                  <a:pt x="290" y="667"/>
                </a:lnTo>
                <a:lnTo>
                  <a:pt x="297" y="665"/>
                </a:lnTo>
                <a:lnTo>
                  <a:pt x="305" y="661"/>
                </a:lnTo>
                <a:lnTo>
                  <a:pt x="312" y="658"/>
                </a:lnTo>
                <a:lnTo>
                  <a:pt x="318" y="654"/>
                </a:lnTo>
                <a:lnTo>
                  <a:pt x="325" y="649"/>
                </a:lnTo>
                <a:lnTo>
                  <a:pt x="330" y="644"/>
                </a:lnTo>
                <a:lnTo>
                  <a:pt x="335" y="637"/>
                </a:lnTo>
                <a:lnTo>
                  <a:pt x="339" y="628"/>
                </a:lnTo>
                <a:lnTo>
                  <a:pt x="360" y="631"/>
                </a:lnTo>
                <a:lnTo>
                  <a:pt x="370" y="631"/>
                </a:lnTo>
                <a:lnTo>
                  <a:pt x="375" y="629"/>
                </a:lnTo>
                <a:lnTo>
                  <a:pt x="385" y="628"/>
                </a:lnTo>
                <a:lnTo>
                  <a:pt x="393" y="628"/>
                </a:lnTo>
                <a:lnTo>
                  <a:pt x="400" y="627"/>
                </a:lnTo>
                <a:lnTo>
                  <a:pt x="405" y="624"/>
                </a:lnTo>
                <a:lnTo>
                  <a:pt x="412" y="622"/>
                </a:lnTo>
                <a:lnTo>
                  <a:pt x="423" y="615"/>
                </a:lnTo>
                <a:lnTo>
                  <a:pt x="435" y="606"/>
                </a:lnTo>
                <a:lnTo>
                  <a:pt x="447" y="598"/>
                </a:lnTo>
                <a:lnTo>
                  <a:pt x="461" y="592"/>
                </a:lnTo>
                <a:lnTo>
                  <a:pt x="469" y="589"/>
                </a:lnTo>
                <a:lnTo>
                  <a:pt x="478" y="587"/>
                </a:lnTo>
                <a:lnTo>
                  <a:pt x="487" y="585"/>
                </a:lnTo>
                <a:lnTo>
                  <a:pt x="498" y="585"/>
                </a:lnTo>
                <a:lnTo>
                  <a:pt x="520" y="585"/>
                </a:lnTo>
                <a:lnTo>
                  <a:pt x="544" y="584"/>
                </a:lnTo>
                <a:lnTo>
                  <a:pt x="558" y="584"/>
                </a:lnTo>
                <a:lnTo>
                  <a:pt x="570" y="582"/>
                </a:lnTo>
                <a:lnTo>
                  <a:pt x="581" y="581"/>
                </a:lnTo>
                <a:lnTo>
                  <a:pt x="592" y="579"/>
                </a:lnTo>
                <a:lnTo>
                  <a:pt x="605" y="570"/>
                </a:lnTo>
                <a:lnTo>
                  <a:pt x="619" y="558"/>
                </a:lnTo>
                <a:lnTo>
                  <a:pt x="635" y="542"/>
                </a:lnTo>
                <a:lnTo>
                  <a:pt x="650" y="525"/>
                </a:lnTo>
                <a:lnTo>
                  <a:pt x="664" y="508"/>
                </a:lnTo>
                <a:lnTo>
                  <a:pt x="677" y="490"/>
                </a:lnTo>
                <a:lnTo>
                  <a:pt x="688" y="475"/>
                </a:lnTo>
                <a:lnTo>
                  <a:pt x="698" y="462"/>
                </a:lnTo>
                <a:lnTo>
                  <a:pt x="695" y="461"/>
                </a:lnTo>
                <a:lnTo>
                  <a:pt x="693" y="459"/>
                </a:lnTo>
                <a:lnTo>
                  <a:pt x="691" y="456"/>
                </a:lnTo>
                <a:lnTo>
                  <a:pt x="688" y="452"/>
                </a:lnTo>
                <a:lnTo>
                  <a:pt x="683" y="444"/>
                </a:lnTo>
                <a:lnTo>
                  <a:pt x="677" y="437"/>
                </a:lnTo>
                <a:lnTo>
                  <a:pt x="688" y="432"/>
                </a:lnTo>
                <a:lnTo>
                  <a:pt x="697" y="426"/>
                </a:lnTo>
                <a:lnTo>
                  <a:pt x="705" y="419"/>
                </a:lnTo>
                <a:lnTo>
                  <a:pt x="710" y="413"/>
                </a:lnTo>
                <a:lnTo>
                  <a:pt x="716" y="406"/>
                </a:lnTo>
                <a:lnTo>
                  <a:pt x="721" y="399"/>
                </a:lnTo>
                <a:lnTo>
                  <a:pt x="729" y="393"/>
                </a:lnTo>
                <a:lnTo>
                  <a:pt x="738" y="388"/>
                </a:lnTo>
                <a:lnTo>
                  <a:pt x="739" y="399"/>
                </a:lnTo>
                <a:lnTo>
                  <a:pt x="741" y="409"/>
                </a:lnTo>
                <a:lnTo>
                  <a:pt x="744" y="418"/>
                </a:lnTo>
                <a:lnTo>
                  <a:pt x="749" y="425"/>
                </a:lnTo>
                <a:lnTo>
                  <a:pt x="758" y="439"/>
                </a:lnTo>
                <a:lnTo>
                  <a:pt x="764" y="450"/>
                </a:lnTo>
                <a:lnTo>
                  <a:pt x="768" y="437"/>
                </a:lnTo>
                <a:lnTo>
                  <a:pt x="770" y="428"/>
                </a:lnTo>
                <a:lnTo>
                  <a:pt x="771" y="418"/>
                </a:lnTo>
                <a:lnTo>
                  <a:pt x="771" y="406"/>
                </a:lnTo>
                <a:lnTo>
                  <a:pt x="775" y="402"/>
                </a:lnTo>
                <a:lnTo>
                  <a:pt x="776" y="397"/>
                </a:lnTo>
                <a:lnTo>
                  <a:pt x="777" y="391"/>
                </a:lnTo>
                <a:lnTo>
                  <a:pt x="777" y="385"/>
                </a:lnTo>
                <a:lnTo>
                  <a:pt x="777" y="379"/>
                </a:lnTo>
                <a:lnTo>
                  <a:pt x="778" y="373"/>
                </a:lnTo>
                <a:lnTo>
                  <a:pt x="781" y="368"/>
                </a:lnTo>
                <a:lnTo>
                  <a:pt x="784" y="363"/>
                </a:lnTo>
                <a:lnTo>
                  <a:pt x="787" y="370"/>
                </a:lnTo>
                <a:lnTo>
                  <a:pt x="790" y="381"/>
                </a:lnTo>
                <a:lnTo>
                  <a:pt x="838" y="381"/>
                </a:lnTo>
                <a:lnTo>
                  <a:pt x="833" y="369"/>
                </a:lnTo>
                <a:lnTo>
                  <a:pt x="832" y="358"/>
                </a:lnTo>
                <a:lnTo>
                  <a:pt x="831" y="349"/>
                </a:lnTo>
                <a:lnTo>
                  <a:pt x="832" y="341"/>
                </a:lnTo>
                <a:lnTo>
                  <a:pt x="835" y="327"/>
                </a:lnTo>
                <a:lnTo>
                  <a:pt x="838" y="314"/>
                </a:lnTo>
                <a:lnTo>
                  <a:pt x="852" y="315"/>
                </a:lnTo>
                <a:lnTo>
                  <a:pt x="860" y="316"/>
                </a:lnTo>
                <a:lnTo>
                  <a:pt x="863" y="316"/>
                </a:lnTo>
                <a:lnTo>
                  <a:pt x="866" y="316"/>
                </a:lnTo>
                <a:lnTo>
                  <a:pt x="871" y="315"/>
                </a:lnTo>
                <a:lnTo>
                  <a:pt x="877" y="314"/>
                </a:lnTo>
                <a:lnTo>
                  <a:pt x="885" y="295"/>
                </a:lnTo>
                <a:lnTo>
                  <a:pt x="891" y="281"/>
                </a:lnTo>
                <a:lnTo>
                  <a:pt x="898" y="268"/>
                </a:lnTo>
                <a:lnTo>
                  <a:pt x="910" y="252"/>
                </a:lnTo>
                <a:lnTo>
                  <a:pt x="916" y="255"/>
                </a:lnTo>
                <a:lnTo>
                  <a:pt x="921" y="256"/>
                </a:lnTo>
                <a:lnTo>
                  <a:pt x="925" y="256"/>
                </a:lnTo>
                <a:lnTo>
                  <a:pt x="930" y="255"/>
                </a:lnTo>
                <a:lnTo>
                  <a:pt x="933" y="253"/>
                </a:lnTo>
                <a:lnTo>
                  <a:pt x="935" y="250"/>
                </a:lnTo>
                <a:lnTo>
                  <a:pt x="939" y="246"/>
                </a:lnTo>
                <a:lnTo>
                  <a:pt x="940" y="242"/>
                </a:lnTo>
                <a:lnTo>
                  <a:pt x="946" y="224"/>
                </a:lnTo>
                <a:lnTo>
                  <a:pt x="951" y="209"/>
                </a:lnTo>
                <a:lnTo>
                  <a:pt x="957" y="212"/>
                </a:lnTo>
                <a:lnTo>
                  <a:pt x="965" y="214"/>
                </a:lnTo>
                <a:lnTo>
                  <a:pt x="973" y="215"/>
                </a:lnTo>
                <a:lnTo>
                  <a:pt x="980" y="214"/>
                </a:lnTo>
                <a:lnTo>
                  <a:pt x="989" y="214"/>
                </a:lnTo>
                <a:lnTo>
                  <a:pt x="998" y="213"/>
                </a:lnTo>
                <a:lnTo>
                  <a:pt x="1007" y="213"/>
                </a:lnTo>
                <a:lnTo>
                  <a:pt x="1017" y="215"/>
                </a:lnTo>
                <a:lnTo>
                  <a:pt x="1022" y="219"/>
                </a:lnTo>
                <a:lnTo>
                  <a:pt x="1027" y="223"/>
                </a:lnTo>
                <a:lnTo>
                  <a:pt x="1031" y="227"/>
                </a:lnTo>
                <a:lnTo>
                  <a:pt x="1033" y="232"/>
                </a:lnTo>
                <a:lnTo>
                  <a:pt x="1037" y="244"/>
                </a:lnTo>
                <a:lnTo>
                  <a:pt x="1040" y="257"/>
                </a:lnTo>
                <a:lnTo>
                  <a:pt x="1043" y="269"/>
                </a:lnTo>
                <a:lnTo>
                  <a:pt x="1046" y="280"/>
                </a:lnTo>
                <a:lnTo>
                  <a:pt x="1050" y="284"/>
                </a:lnTo>
                <a:lnTo>
                  <a:pt x="1053" y="287"/>
                </a:lnTo>
                <a:lnTo>
                  <a:pt x="1057" y="289"/>
                </a:lnTo>
                <a:lnTo>
                  <a:pt x="1063" y="290"/>
                </a:lnTo>
                <a:lnTo>
                  <a:pt x="1069" y="289"/>
                </a:lnTo>
                <a:lnTo>
                  <a:pt x="1076" y="286"/>
                </a:lnTo>
                <a:lnTo>
                  <a:pt x="1078" y="284"/>
                </a:lnTo>
                <a:lnTo>
                  <a:pt x="1081" y="282"/>
                </a:lnTo>
                <a:lnTo>
                  <a:pt x="1083" y="280"/>
                </a:lnTo>
                <a:lnTo>
                  <a:pt x="1084" y="277"/>
                </a:lnTo>
                <a:lnTo>
                  <a:pt x="1088" y="279"/>
                </a:lnTo>
                <a:lnTo>
                  <a:pt x="1092" y="280"/>
                </a:lnTo>
                <a:lnTo>
                  <a:pt x="1096" y="280"/>
                </a:lnTo>
                <a:lnTo>
                  <a:pt x="1099" y="280"/>
                </a:lnTo>
                <a:lnTo>
                  <a:pt x="1104" y="278"/>
                </a:lnTo>
                <a:lnTo>
                  <a:pt x="1110" y="277"/>
                </a:lnTo>
                <a:lnTo>
                  <a:pt x="1120" y="277"/>
                </a:lnTo>
                <a:lnTo>
                  <a:pt x="1128" y="276"/>
                </a:lnTo>
                <a:lnTo>
                  <a:pt x="1133" y="274"/>
                </a:lnTo>
                <a:lnTo>
                  <a:pt x="1135" y="270"/>
                </a:lnTo>
                <a:lnTo>
                  <a:pt x="1136" y="261"/>
                </a:lnTo>
                <a:lnTo>
                  <a:pt x="1136" y="246"/>
                </a:lnTo>
                <a:lnTo>
                  <a:pt x="1136" y="240"/>
                </a:lnTo>
                <a:lnTo>
                  <a:pt x="1137" y="234"/>
                </a:lnTo>
                <a:lnTo>
                  <a:pt x="1140" y="228"/>
                </a:lnTo>
                <a:lnTo>
                  <a:pt x="1143" y="223"/>
                </a:lnTo>
                <a:lnTo>
                  <a:pt x="1148" y="212"/>
                </a:lnTo>
                <a:lnTo>
                  <a:pt x="1156" y="204"/>
                </a:lnTo>
                <a:lnTo>
                  <a:pt x="1164" y="195"/>
                </a:lnTo>
                <a:lnTo>
                  <a:pt x="1170" y="186"/>
                </a:lnTo>
                <a:lnTo>
                  <a:pt x="1173" y="182"/>
                </a:lnTo>
                <a:lnTo>
                  <a:pt x="1175" y="177"/>
                </a:lnTo>
                <a:lnTo>
                  <a:pt x="1176" y="172"/>
                </a:lnTo>
                <a:lnTo>
                  <a:pt x="1176" y="167"/>
                </a:lnTo>
                <a:lnTo>
                  <a:pt x="1189" y="154"/>
                </a:lnTo>
                <a:lnTo>
                  <a:pt x="1201" y="146"/>
                </a:lnTo>
                <a:lnTo>
                  <a:pt x="1213" y="139"/>
                </a:lnTo>
                <a:lnTo>
                  <a:pt x="1225" y="134"/>
                </a:lnTo>
                <a:lnTo>
                  <a:pt x="1237" y="131"/>
                </a:lnTo>
                <a:lnTo>
                  <a:pt x="1248" y="128"/>
                </a:lnTo>
                <a:lnTo>
                  <a:pt x="1259" y="127"/>
                </a:lnTo>
                <a:lnTo>
                  <a:pt x="1270" y="126"/>
                </a:lnTo>
                <a:lnTo>
                  <a:pt x="1289" y="125"/>
                </a:lnTo>
                <a:lnTo>
                  <a:pt x="1305" y="123"/>
                </a:lnTo>
                <a:lnTo>
                  <a:pt x="1313" y="121"/>
                </a:lnTo>
                <a:lnTo>
                  <a:pt x="1320" y="117"/>
                </a:lnTo>
                <a:lnTo>
                  <a:pt x="1324" y="112"/>
                </a:lnTo>
                <a:lnTo>
                  <a:pt x="1328" y="104"/>
                </a:lnTo>
                <a:lnTo>
                  <a:pt x="1322" y="94"/>
                </a:lnTo>
                <a:lnTo>
                  <a:pt x="1314" y="86"/>
                </a:lnTo>
                <a:lnTo>
                  <a:pt x="1308" y="80"/>
                </a:lnTo>
                <a:lnTo>
                  <a:pt x="1301" y="75"/>
                </a:lnTo>
                <a:lnTo>
                  <a:pt x="1297" y="69"/>
                </a:lnTo>
                <a:lnTo>
                  <a:pt x="1292" y="64"/>
                </a:lnTo>
                <a:lnTo>
                  <a:pt x="1290" y="58"/>
                </a:lnTo>
                <a:lnTo>
                  <a:pt x="1289" y="49"/>
                </a:lnTo>
                <a:lnTo>
                  <a:pt x="1305" y="48"/>
                </a:lnTo>
                <a:lnTo>
                  <a:pt x="1322" y="45"/>
                </a:lnTo>
                <a:lnTo>
                  <a:pt x="1336" y="41"/>
                </a:lnTo>
                <a:lnTo>
                  <a:pt x="1349" y="36"/>
                </a:lnTo>
                <a:lnTo>
                  <a:pt x="1352" y="46"/>
                </a:lnTo>
                <a:lnTo>
                  <a:pt x="1356" y="56"/>
                </a:lnTo>
                <a:lnTo>
                  <a:pt x="1360" y="64"/>
                </a:lnTo>
                <a:lnTo>
                  <a:pt x="1366" y="72"/>
                </a:lnTo>
                <a:lnTo>
                  <a:pt x="1372" y="78"/>
                </a:lnTo>
                <a:lnTo>
                  <a:pt x="1379" y="84"/>
                </a:lnTo>
                <a:lnTo>
                  <a:pt x="1387" y="90"/>
                </a:lnTo>
                <a:lnTo>
                  <a:pt x="1394" y="94"/>
                </a:lnTo>
                <a:lnTo>
                  <a:pt x="1403" y="98"/>
                </a:lnTo>
                <a:lnTo>
                  <a:pt x="1412" y="101"/>
                </a:lnTo>
                <a:lnTo>
                  <a:pt x="1422" y="104"/>
                </a:lnTo>
                <a:lnTo>
                  <a:pt x="1432" y="107"/>
                </a:lnTo>
                <a:lnTo>
                  <a:pt x="1443" y="109"/>
                </a:lnTo>
                <a:lnTo>
                  <a:pt x="1453" y="110"/>
                </a:lnTo>
                <a:lnTo>
                  <a:pt x="1464" y="111"/>
                </a:lnTo>
                <a:lnTo>
                  <a:pt x="1476" y="111"/>
                </a:lnTo>
                <a:lnTo>
                  <a:pt x="1481" y="110"/>
                </a:lnTo>
                <a:lnTo>
                  <a:pt x="1489" y="108"/>
                </a:lnTo>
                <a:lnTo>
                  <a:pt x="1499" y="105"/>
                </a:lnTo>
                <a:lnTo>
                  <a:pt x="1509" y="104"/>
                </a:lnTo>
                <a:lnTo>
                  <a:pt x="1514" y="109"/>
                </a:lnTo>
                <a:lnTo>
                  <a:pt x="1523" y="113"/>
                </a:lnTo>
                <a:lnTo>
                  <a:pt x="1532" y="116"/>
                </a:lnTo>
                <a:lnTo>
                  <a:pt x="1541" y="117"/>
                </a:lnTo>
                <a:lnTo>
                  <a:pt x="1544" y="117"/>
                </a:lnTo>
                <a:lnTo>
                  <a:pt x="1547" y="115"/>
                </a:lnTo>
                <a:lnTo>
                  <a:pt x="1549" y="113"/>
                </a:lnTo>
                <a:lnTo>
                  <a:pt x="1551" y="110"/>
                </a:lnTo>
                <a:lnTo>
                  <a:pt x="1557" y="103"/>
                </a:lnTo>
                <a:lnTo>
                  <a:pt x="1561" y="98"/>
                </a:lnTo>
                <a:lnTo>
                  <a:pt x="1561" y="135"/>
                </a:lnTo>
                <a:lnTo>
                  <a:pt x="1556" y="146"/>
                </a:lnTo>
                <a:lnTo>
                  <a:pt x="1545" y="163"/>
                </a:lnTo>
                <a:lnTo>
                  <a:pt x="1530" y="183"/>
                </a:lnTo>
                <a:lnTo>
                  <a:pt x="1513" y="205"/>
                </a:lnTo>
                <a:lnTo>
                  <a:pt x="1495" y="228"/>
                </a:lnTo>
                <a:lnTo>
                  <a:pt x="1479" y="247"/>
                </a:lnTo>
                <a:lnTo>
                  <a:pt x="1465" y="262"/>
                </a:lnTo>
                <a:lnTo>
                  <a:pt x="1455" y="270"/>
                </a:lnTo>
                <a:lnTo>
                  <a:pt x="1464" y="275"/>
                </a:lnTo>
                <a:lnTo>
                  <a:pt x="1470" y="278"/>
                </a:lnTo>
                <a:lnTo>
                  <a:pt x="1474" y="282"/>
                </a:lnTo>
                <a:lnTo>
                  <a:pt x="1479" y="286"/>
                </a:lnTo>
                <a:lnTo>
                  <a:pt x="1485" y="294"/>
                </a:lnTo>
                <a:lnTo>
                  <a:pt x="1489" y="302"/>
                </a:lnTo>
                <a:lnTo>
                  <a:pt x="1492" y="310"/>
                </a:lnTo>
                <a:lnTo>
                  <a:pt x="1495" y="317"/>
                </a:lnTo>
                <a:lnTo>
                  <a:pt x="1498" y="321"/>
                </a:lnTo>
                <a:lnTo>
                  <a:pt x="1500" y="325"/>
                </a:lnTo>
                <a:lnTo>
                  <a:pt x="1504" y="328"/>
                </a:lnTo>
                <a:lnTo>
                  <a:pt x="1509" y="333"/>
                </a:lnTo>
                <a:lnTo>
                  <a:pt x="1514" y="336"/>
                </a:lnTo>
                <a:lnTo>
                  <a:pt x="1520" y="338"/>
                </a:lnTo>
                <a:lnTo>
                  <a:pt x="1525" y="339"/>
                </a:lnTo>
                <a:lnTo>
                  <a:pt x="1532" y="338"/>
                </a:lnTo>
                <a:lnTo>
                  <a:pt x="1538" y="338"/>
                </a:lnTo>
                <a:lnTo>
                  <a:pt x="1544" y="337"/>
                </a:lnTo>
                <a:lnTo>
                  <a:pt x="1549" y="337"/>
                </a:lnTo>
                <a:lnTo>
                  <a:pt x="1555" y="339"/>
                </a:lnTo>
                <a:lnTo>
                  <a:pt x="1560" y="340"/>
                </a:lnTo>
                <a:lnTo>
                  <a:pt x="1566" y="342"/>
                </a:lnTo>
                <a:lnTo>
                  <a:pt x="1570" y="345"/>
                </a:lnTo>
                <a:lnTo>
                  <a:pt x="1574" y="347"/>
                </a:lnTo>
                <a:lnTo>
                  <a:pt x="1582" y="354"/>
                </a:lnTo>
                <a:lnTo>
                  <a:pt x="1588" y="361"/>
                </a:lnTo>
                <a:lnTo>
                  <a:pt x="1594" y="368"/>
                </a:lnTo>
                <a:lnTo>
                  <a:pt x="1602" y="376"/>
                </a:lnTo>
                <a:lnTo>
                  <a:pt x="1605" y="379"/>
                </a:lnTo>
                <a:lnTo>
                  <a:pt x="1611" y="382"/>
                </a:lnTo>
                <a:lnTo>
                  <a:pt x="1615" y="386"/>
                </a:lnTo>
                <a:lnTo>
                  <a:pt x="1622" y="388"/>
                </a:lnTo>
                <a:lnTo>
                  <a:pt x="1629" y="391"/>
                </a:lnTo>
                <a:lnTo>
                  <a:pt x="1637" y="394"/>
                </a:lnTo>
                <a:lnTo>
                  <a:pt x="1644" y="398"/>
                </a:lnTo>
                <a:lnTo>
                  <a:pt x="1649" y="403"/>
                </a:lnTo>
                <a:lnTo>
                  <a:pt x="1659" y="413"/>
                </a:lnTo>
                <a:lnTo>
                  <a:pt x="1668" y="423"/>
                </a:lnTo>
                <a:lnTo>
                  <a:pt x="1677" y="433"/>
                </a:lnTo>
                <a:lnTo>
                  <a:pt x="1686" y="442"/>
                </a:lnTo>
                <a:lnTo>
                  <a:pt x="1692" y="445"/>
                </a:lnTo>
                <a:lnTo>
                  <a:pt x="1698" y="448"/>
                </a:lnTo>
                <a:lnTo>
                  <a:pt x="1706" y="449"/>
                </a:lnTo>
                <a:lnTo>
                  <a:pt x="1714" y="450"/>
                </a:lnTo>
                <a:lnTo>
                  <a:pt x="1719" y="449"/>
                </a:lnTo>
                <a:lnTo>
                  <a:pt x="1724" y="448"/>
                </a:lnTo>
                <a:lnTo>
                  <a:pt x="1729" y="446"/>
                </a:lnTo>
                <a:lnTo>
                  <a:pt x="1735" y="444"/>
                </a:lnTo>
                <a:lnTo>
                  <a:pt x="1745" y="435"/>
                </a:lnTo>
                <a:lnTo>
                  <a:pt x="1754" y="425"/>
                </a:lnTo>
                <a:lnTo>
                  <a:pt x="1764" y="413"/>
                </a:lnTo>
                <a:lnTo>
                  <a:pt x="1773" y="400"/>
                </a:lnTo>
                <a:lnTo>
                  <a:pt x="1782" y="385"/>
                </a:lnTo>
                <a:lnTo>
                  <a:pt x="1791" y="368"/>
                </a:lnTo>
                <a:lnTo>
                  <a:pt x="1798" y="351"/>
                </a:lnTo>
                <a:lnTo>
                  <a:pt x="1805" y="334"/>
                </a:lnTo>
                <a:lnTo>
                  <a:pt x="1812" y="316"/>
                </a:lnTo>
                <a:lnTo>
                  <a:pt x="1817" y="299"/>
                </a:lnTo>
                <a:lnTo>
                  <a:pt x="1821" y="283"/>
                </a:lnTo>
                <a:lnTo>
                  <a:pt x="1825" y="266"/>
                </a:lnTo>
                <a:lnTo>
                  <a:pt x="1827" y="252"/>
                </a:lnTo>
                <a:lnTo>
                  <a:pt x="1827" y="240"/>
                </a:lnTo>
                <a:lnTo>
                  <a:pt x="1828" y="223"/>
                </a:lnTo>
                <a:lnTo>
                  <a:pt x="1830" y="205"/>
                </a:lnTo>
                <a:lnTo>
                  <a:pt x="1834" y="189"/>
                </a:lnTo>
                <a:lnTo>
                  <a:pt x="1839" y="174"/>
                </a:lnTo>
                <a:lnTo>
                  <a:pt x="1845" y="159"/>
                </a:lnTo>
                <a:lnTo>
                  <a:pt x="1850" y="145"/>
                </a:lnTo>
                <a:lnTo>
                  <a:pt x="1857" y="131"/>
                </a:lnTo>
                <a:lnTo>
                  <a:pt x="1863" y="118"/>
                </a:lnTo>
                <a:lnTo>
                  <a:pt x="1877" y="90"/>
                </a:lnTo>
                <a:lnTo>
                  <a:pt x="1888" y="63"/>
                </a:lnTo>
                <a:lnTo>
                  <a:pt x="1894" y="47"/>
                </a:lnTo>
                <a:lnTo>
                  <a:pt x="1897" y="32"/>
                </a:lnTo>
                <a:lnTo>
                  <a:pt x="1899" y="17"/>
                </a:lnTo>
                <a:lnTo>
                  <a:pt x="1901" y="0"/>
                </a:lnTo>
                <a:lnTo>
                  <a:pt x="1904" y="10"/>
                </a:lnTo>
                <a:lnTo>
                  <a:pt x="1909" y="21"/>
                </a:lnTo>
                <a:lnTo>
                  <a:pt x="1917" y="32"/>
                </a:lnTo>
                <a:lnTo>
                  <a:pt x="1925" y="43"/>
                </a:lnTo>
                <a:lnTo>
                  <a:pt x="1932" y="55"/>
                </a:lnTo>
                <a:lnTo>
                  <a:pt x="1940" y="63"/>
                </a:lnTo>
                <a:lnTo>
                  <a:pt x="1948" y="70"/>
                </a:lnTo>
                <a:lnTo>
                  <a:pt x="1953" y="74"/>
                </a:lnTo>
                <a:lnTo>
                  <a:pt x="1952" y="76"/>
                </a:lnTo>
                <a:lnTo>
                  <a:pt x="1950" y="77"/>
                </a:lnTo>
                <a:lnTo>
                  <a:pt x="1947" y="78"/>
                </a:lnTo>
                <a:lnTo>
                  <a:pt x="1943" y="79"/>
                </a:lnTo>
                <a:lnTo>
                  <a:pt x="1937" y="80"/>
                </a:lnTo>
                <a:lnTo>
                  <a:pt x="1933" y="80"/>
                </a:lnTo>
                <a:lnTo>
                  <a:pt x="1935" y="90"/>
                </a:lnTo>
                <a:lnTo>
                  <a:pt x="1937" y="98"/>
                </a:lnTo>
                <a:lnTo>
                  <a:pt x="1940" y="104"/>
                </a:lnTo>
                <a:lnTo>
                  <a:pt x="1943" y="110"/>
                </a:lnTo>
                <a:lnTo>
                  <a:pt x="1947" y="115"/>
                </a:lnTo>
                <a:lnTo>
                  <a:pt x="1950" y="121"/>
                </a:lnTo>
                <a:lnTo>
                  <a:pt x="1952" y="127"/>
                </a:lnTo>
                <a:lnTo>
                  <a:pt x="1953" y="135"/>
                </a:lnTo>
                <a:lnTo>
                  <a:pt x="1953" y="144"/>
                </a:lnTo>
                <a:lnTo>
                  <a:pt x="1951" y="152"/>
                </a:lnTo>
                <a:lnTo>
                  <a:pt x="1949" y="160"/>
                </a:lnTo>
                <a:lnTo>
                  <a:pt x="1947" y="169"/>
                </a:lnTo>
                <a:lnTo>
                  <a:pt x="1944" y="176"/>
                </a:lnTo>
                <a:lnTo>
                  <a:pt x="1942" y="183"/>
                </a:lnTo>
                <a:lnTo>
                  <a:pt x="1941" y="190"/>
                </a:lnTo>
                <a:lnTo>
                  <a:pt x="1940" y="197"/>
                </a:lnTo>
                <a:lnTo>
                  <a:pt x="1940" y="201"/>
                </a:lnTo>
                <a:lnTo>
                  <a:pt x="1941" y="206"/>
                </a:lnTo>
                <a:lnTo>
                  <a:pt x="1942" y="210"/>
                </a:lnTo>
                <a:lnTo>
                  <a:pt x="1944" y="214"/>
                </a:lnTo>
                <a:lnTo>
                  <a:pt x="1950" y="222"/>
                </a:lnTo>
                <a:lnTo>
                  <a:pt x="1955" y="228"/>
                </a:lnTo>
                <a:lnTo>
                  <a:pt x="1963" y="233"/>
                </a:lnTo>
                <a:lnTo>
                  <a:pt x="1971" y="237"/>
                </a:lnTo>
                <a:lnTo>
                  <a:pt x="1978" y="239"/>
                </a:lnTo>
                <a:lnTo>
                  <a:pt x="1986" y="240"/>
                </a:lnTo>
                <a:lnTo>
                  <a:pt x="1987" y="244"/>
                </a:lnTo>
                <a:lnTo>
                  <a:pt x="1989" y="248"/>
                </a:lnTo>
                <a:lnTo>
                  <a:pt x="1993" y="251"/>
                </a:lnTo>
                <a:lnTo>
                  <a:pt x="1997" y="254"/>
                </a:lnTo>
                <a:lnTo>
                  <a:pt x="2006" y="257"/>
                </a:lnTo>
                <a:lnTo>
                  <a:pt x="2014" y="258"/>
                </a:lnTo>
                <a:lnTo>
                  <a:pt x="2014" y="278"/>
                </a:lnTo>
                <a:lnTo>
                  <a:pt x="2015" y="297"/>
                </a:lnTo>
                <a:lnTo>
                  <a:pt x="2017" y="314"/>
                </a:lnTo>
                <a:lnTo>
                  <a:pt x="2019" y="332"/>
                </a:lnTo>
                <a:lnTo>
                  <a:pt x="2026" y="365"/>
                </a:lnTo>
                <a:lnTo>
                  <a:pt x="2033" y="398"/>
                </a:lnTo>
                <a:lnTo>
                  <a:pt x="2040" y="429"/>
                </a:lnTo>
                <a:lnTo>
                  <a:pt x="2047" y="461"/>
                </a:lnTo>
                <a:lnTo>
                  <a:pt x="2050" y="476"/>
                </a:lnTo>
                <a:lnTo>
                  <a:pt x="2051" y="491"/>
                </a:lnTo>
                <a:lnTo>
                  <a:pt x="2053" y="508"/>
                </a:lnTo>
                <a:lnTo>
                  <a:pt x="2053" y="523"/>
                </a:lnTo>
                <a:lnTo>
                  <a:pt x="2053" y="526"/>
                </a:lnTo>
                <a:lnTo>
                  <a:pt x="2054" y="528"/>
                </a:lnTo>
                <a:lnTo>
                  <a:pt x="2056" y="529"/>
                </a:lnTo>
                <a:lnTo>
                  <a:pt x="2060" y="531"/>
                </a:lnTo>
                <a:lnTo>
                  <a:pt x="2066" y="533"/>
                </a:lnTo>
                <a:lnTo>
                  <a:pt x="2074" y="536"/>
                </a:lnTo>
                <a:lnTo>
                  <a:pt x="2082" y="538"/>
                </a:lnTo>
                <a:lnTo>
                  <a:pt x="2089" y="540"/>
                </a:lnTo>
                <a:lnTo>
                  <a:pt x="2096" y="544"/>
                </a:lnTo>
                <a:lnTo>
                  <a:pt x="2099" y="548"/>
                </a:lnTo>
                <a:lnTo>
                  <a:pt x="2108" y="562"/>
                </a:lnTo>
                <a:lnTo>
                  <a:pt x="2116" y="574"/>
                </a:lnTo>
                <a:lnTo>
                  <a:pt x="2120" y="578"/>
                </a:lnTo>
                <a:lnTo>
                  <a:pt x="2123" y="582"/>
                </a:lnTo>
                <a:lnTo>
                  <a:pt x="2128" y="584"/>
                </a:lnTo>
                <a:lnTo>
                  <a:pt x="2133" y="585"/>
                </a:lnTo>
                <a:lnTo>
                  <a:pt x="2134" y="596"/>
                </a:lnTo>
                <a:lnTo>
                  <a:pt x="2139" y="615"/>
                </a:lnTo>
                <a:lnTo>
                  <a:pt x="2146" y="637"/>
                </a:lnTo>
                <a:lnTo>
                  <a:pt x="2154" y="661"/>
                </a:lnTo>
                <a:lnTo>
                  <a:pt x="2163" y="686"/>
                </a:lnTo>
                <a:lnTo>
                  <a:pt x="2172" y="707"/>
                </a:lnTo>
                <a:lnTo>
                  <a:pt x="2179" y="724"/>
                </a:lnTo>
                <a:lnTo>
                  <a:pt x="2186" y="733"/>
                </a:lnTo>
                <a:lnTo>
                  <a:pt x="2188" y="735"/>
                </a:lnTo>
                <a:lnTo>
                  <a:pt x="2194" y="737"/>
                </a:lnTo>
                <a:lnTo>
                  <a:pt x="2201" y="738"/>
                </a:lnTo>
                <a:lnTo>
                  <a:pt x="2211" y="739"/>
                </a:lnTo>
                <a:lnTo>
                  <a:pt x="2231" y="742"/>
                </a:lnTo>
                <a:lnTo>
                  <a:pt x="2245" y="745"/>
                </a:lnTo>
                <a:lnTo>
                  <a:pt x="2242" y="756"/>
                </a:lnTo>
                <a:lnTo>
                  <a:pt x="2238" y="762"/>
                </a:lnTo>
                <a:lnTo>
                  <a:pt x="2231" y="766"/>
                </a:lnTo>
                <a:lnTo>
                  <a:pt x="2219" y="769"/>
                </a:lnTo>
                <a:lnTo>
                  <a:pt x="2223" y="781"/>
                </a:lnTo>
                <a:lnTo>
                  <a:pt x="2228" y="790"/>
                </a:lnTo>
                <a:lnTo>
                  <a:pt x="2233" y="800"/>
                </a:lnTo>
                <a:lnTo>
                  <a:pt x="2239" y="809"/>
                </a:lnTo>
                <a:lnTo>
                  <a:pt x="2251" y="827"/>
                </a:lnTo>
                <a:lnTo>
                  <a:pt x="2263" y="846"/>
                </a:lnTo>
                <a:lnTo>
                  <a:pt x="2289" y="879"/>
                </a:lnTo>
                <a:lnTo>
                  <a:pt x="2312" y="912"/>
                </a:lnTo>
                <a:lnTo>
                  <a:pt x="2318" y="907"/>
                </a:lnTo>
                <a:lnTo>
                  <a:pt x="2324" y="902"/>
                </a:lnTo>
                <a:lnTo>
                  <a:pt x="2328" y="899"/>
                </a:lnTo>
                <a:lnTo>
                  <a:pt x="2330" y="896"/>
                </a:lnTo>
                <a:lnTo>
                  <a:pt x="2332" y="892"/>
                </a:lnTo>
                <a:lnTo>
                  <a:pt x="2332" y="887"/>
                </a:lnTo>
                <a:lnTo>
                  <a:pt x="2332" y="896"/>
                </a:lnTo>
                <a:lnTo>
                  <a:pt x="2332" y="903"/>
                </a:lnTo>
                <a:lnTo>
                  <a:pt x="2332" y="910"/>
                </a:lnTo>
                <a:lnTo>
                  <a:pt x="2332" y="918"/>
                </a:lnTo>
                <a:lnTo>
                  <a:pt x="2293" y="1010"/>
                </a:lnTo>
                <a:lnTo>
                  <a:pt x="2295" y="1024"/>
                </a:lnTo>
                <a:lnTo>
                  <a:pt x="2296" y="1038"/>
                </a:lnTo>
                <a:lnTo>
                  <a:pt x="2295" y="1051"/>
                </a:lnTo>
                <a:lnTo>
                  <a:pt x="2291" y="1066"/>
                </a:lnTo>
                <a:lnTo>
                  <a:pt x="2288" y="1079"/>
                </a:lnTo>
                <a:lnTo>
                  <a:pt x="2283" y="1092"/>
                </a:lnTo>
                <a:lnTo>
                  <a:pt x="2276" y="1105"/>
                </a:lnTo>
                <a:lnTo>
                  <a:pt x="2269" y="1118"/>
                </a:lnTo>
                <a:lnTo>
                  <a:pt x="2253" y="1143"/>
                </a:lnTo>
                <a:lnTo>
                  <a:pt x="2237" y="1167"/>
                </a:lnTo>
                <a:lnTo>
                  <a:pt x="2220" y="1188"/>
                </a:lnTo>
                <a:lnTo>
                  <a:pt x="2206" y="1207"/>
                </a:lnTo>
                <a:lnTo>
                  <a:pt x="2188" y="1233"/>
                </a:lnTo>
                <a:lnTo>
                  <a:pt x="2172" y="1260"/>
                </a:lnTo>
                <a:lnTo>
                  <a:pt x="2153" y="1289"/>
                </a:lnTo>
                <a:lnTo>
                  <a:pt x="2133" y="1317"/>
                </a:lnTo>
                <a:lnTo>
                  <a:pt x="2123" y="1329"/>
                </a:lnTo>
                <a:lnTo>
                  <a:pt x="2111" y="1342"/>
                </a:lnTo>
                <a:lnTo>
                  <a:pt x="2100" y="1352"/>
                </a:lnTo>
                <a:lnTo>
                  <a:pt x="2087" y="1362"/>
                </a:lnTo>
                <a:lnTo>
                  <a:pt x="2081" y="1366"/>
                </a:lnTo>
                <a:lnTo>
                  <a:pt x="2074" y="1369"/>
                </a:lnTo>
                <a:lnTo>
                  <a:pt x="2066" y="1372"/>
                </a:lnTo>
                <a:lnTo>
                  <a:pt x="2059" y="1375"/>
                </a:lnTo>
                <a:lnTo>
                  <a:pt x="2051" y="1377"/>
                </a:lnTo>
                <a:lnTo>
                  <a:pt x="2043" y="1378"/>
                </a:lnTo>
                <a:lnTo>
                  <a:pt x="2036" y="1379"/>
                </a:lnTo>
                <a:lnTo>
                  <a:pt x="2027" y="1380"/>
                </a:lnTo>
                <a:lnTo>
                  <a:pt x="2026" y="1393"/>
                </a:lnTo>
                <a:lnTo>
                  <a:pt x="2022" y="1404"/>
                </a:lnTo>
                <a:lnTo>
                  <a:pt x="2018" y="1414"/>
                </a:lnTo>
                <a:lnTo>
                  <a:pt x="2013" y="1423"/>
                </a:lnTo>
                <a:lnTo>
                  <a:pt x="2005" y="1432"/>
                </a:lnTo>
                <a:lnTo>
                  <a:pt x="1997" y="1440"/>
                </a:lnTo>
                <a:lnTo>
                  <a:pt x="1988" y="1449"/>
                </a:lnTo>
                <a:lnTo>
                  <a:pt x="1978" y="1456"/>
                </a:lnTo>
                <a:lnTo>
                  <a:pt x="1958" y="1470"/>
                </a:lnTo>
                <a:lnTo>
                  <a:pt x="1937" y="1483"/>
                </a:lnTo>
                <a:lnTo>
                  <a:pt x="1917" y="1495"/>
                </a:lnTo>
                <a:lnTo>
                  <a:pt x="1901" y="1510"/>
                </a:lnTo>
                <a:lnTo>
                  <a:pt x="1885" y="1525"/>
                </a:lnTo>
                <a:lnTo>
                  <a:pt x="1873" y="1539"/>
                </a:lnTo>
                <a:lnTo>
                  <a:pt x="1864" y="1553"/>
                </a:lnTo>
                <a:lnTo>
                  <a:pt x="1857" y="1565"/>
                </a:lnTo>
                <a:lnTo>
                  <a:pt x="1848" y="1578"/>
                </a:lnTo>
                <a:lnTo>
                  <a:pt x="1838" y="1591"/>
                </a:lnTo>
                <a:lnTo>
                  <a:pt x="1825" y="1604"/>
                </a:lnTo>
                <a:lnTo>
                  <a:pt x="1807" y="1621"/>
                </a:lnTo>
                <a:lnTo>
                  <a:pt x="1801" y="1630"/>
                </a:lnTo>
                <a:lnTo>
                  <a:pt x="1796" y="1639"/>
                </a:lnTo>
                <a:lnTo>
                  <a:pt x="1793" y="1648"/>
                </a:lnTo>
                <a:lnTo>
                  <a:pt x="1790" y="1657"/>
                </a:lnTo>
                <a:lnTo>
                  <a:pt x="1786" y="1665"/>
                </a:lnTo>
                <a:lnTo>
                  <a:pt x="1782" y="1671"/>
                </a:lnTo>
                <a:lnTo>
                  <a:pt x="1780" y="1673"/>
                </a:lnTo>
                <a:lnTo>
                  <a:pt x="1776" y="1675"/>
                </a:lnTo>
                <a:lnTo>
                  <a:pt x="1772" y="1676"/>
                </a:lnTo>
                <a:lnTo>
                  <a:pt x="1768" y="1676"/>
                </a:lnTo>
                <a:lnTo>
                  <a:pt x="1749" y="1676"/>
                </a:lnTo>
                <a:lnTo>
                  <a:pt x="1733" y="1676"/>
                </a:lnTo>
                <a:lnTo>
                  <a:pt x="1718" y="1676"/>
                </a:lnTo>
                <a:lnTo>
                  <a:pt x="1707" y="1676"/>
                </a:lnTo>
                <a:lnTo>
                  <a:pt x="1702" y="1676"/>
                </a:lnTo>
                <a:lnTo>
                  <a:pt x="1695" y="1678"/>
                </a:lnTo>
                <a:lnTo>
                  <a:pt x="1689" y="1680"/>
                </a:lnTo>
                <a:lnTo>
                  <a:pt x="1682" y="1683"/>
                </a:lnTo>
                <a:lnTo>
                  <a:pt x="1668" y="1690"/>
                </a:lnTo>
                <a:lnTo>
                  <a:pt x="1652" y="1699"/>
                </a:lnTo>
                <a:lnTo>
                  <a:pt x="1634" y="1708"/>
                </a:lnTo>
                <a:lnTo>
                  <a:pt x="1613" y="1717"/>
                </a:lnTo>
                <a:lnTo>
                  <a:pt x="1602" y="1722"/>
                </a:lnTo>
                <a:lnTo>
                  <a:pt x="1589" y="1726"/>
                </a:lnTo>
                <a:lnTo>
                  <a:pt x="1576" y="1729"/>
                </a:lnTo>
                <a:lnTo>
                  <a:pt x="1561" y="1731"/>
                </a:lnTo>
                <a:lnTo>
                  <a:pt x="1558" y="1725"/>
                </a:lnTo>
                <a:lnTo>
                  <a:pt x="1555" y="1718"/>
                </a:lnTo>
                <a:lnTo>
                  <a:pt x="1548" y="1718"/>
                </a:lnTo>
                <a:lnTo>
                  <a:pt x="1541" y="1717"/>
                </a:lnTo>
                <a:lnTo>
                  <a:pt x="1536" y="1715"/>
                </a:lnTo>
                <a:lnTo>
                  <a:pt x="1532" y="1713"/>
                </a:lnTo>
                <a:lnTo>
                  <a:pt x="1528" y="1711"/>
                </a:lnTo>
                <a:lnTo>
                  <a:pt x="1525" y="1708"/>
                </a:lnTo>
                <a:lnTo>
                  <a:pt x="1522" y="1705"/>
                </a:lnTo>
                <a:lnTo>
                  <a:pt x="1520" y="1701"/>
                </a:lnTo>
                <a:lnTo>
                  <a:pt x="1517" y="1693"/>
                </a:lnTo>
                <a:lnTo>
                  <a:pt x="1515" y="1685"/>
                </a:lnTo>
                <a:lnTo>
                  <a:pt x="1515" y="1677"/>
                </a:lnTo>
                <a:lnTo>
                  <a:pt x="1515" y="1670"/>
                </a:lnTo>
                <a:lnTo>
                  <a:pt x="1489" y="1690"/>
                </a:lnTo>
                <a:lnTo>
                  <a:pt x="1462" y="1709"/>
                </a:lnTo>
                <a:lnTo>
                  <a:pt x="1449" y="1718"/>
                </a:lnTo>
                <a:lnTo>
                  <a:pt x="1437" y="1725"/>
                </a:lnTo>
                <a:lnTo>
                  <a:pt x="1432" y="1728"/>
                </a:lnTo>
                <a:lnTo>
                  <a:pt x="1426" y="1730"/>
                </a:lnTo>
                <a:lnTo>
                  <a:pt x="1421" y="1731"/>
                </a:lnTo>
                <a:lnTo>
                  <a:pt x="1415" y="1731"/>
                </a:lnTo>
                <a:lnTo>
                  <a:pt x="1413" y="1731"/>
                </a:lnTo>
                <a:lnTo>
                  <a:pt x="1410" y="1729"/>
                </a:lnTo>
                <a:lnTo>
                  <a:pt x="1406" y="1727"/>
                </a:lnTo>
                <a:lnTo>
                  <a:pt x="1403" y="1725"/>
                </a:lnTo>
                <a:lnTo>
                  <a:pt x="1400" y="1722"/>
                </a:lnTo>
                <a:lnTo>
                  <a:pt x="1398" y="1718"/>
                </a:lnTo>
                <a:lnTo>
                  <a:pt x="1395" y="1715"/>
                </a:lnTo>
                <a:lnTo>
                  <a:pt x="1395" y="1712"/>
                </a:lnTo>
                <a:lnTo>
                  <a:pt x="1372" y="1711"/>
                </a:lnTo>
                <a:lnTo>
                  <a:pt x="1349" y="1709"/>
                </a:lnTo>
                <a:lnTo>
                  <a:pt x="1338" y="1707"/>
                </a:lnTo>
                <a:lnTo>
                  <a:pt x="1327" y="1704"/>
                </a:lnTo>
                <a:lnTo>
                  <a:pt x="1316" y="1701"/>
                </a:lnTo>
                <a:lnTo>
                  <a:pt x="1307" y="1697"/>
                </a:lnTo>
                <a:lnTo>
                  <a:pt x="1297" y="1693"/>
                </a:lnTo>
                <a:lnTo>
                  <a:pt x="1289" y="1688"/>
                </a:lnTo>
                <a:lnTo>
                  <a:pt x="1281" y="1683"/>
                </a:lnTo>
                <a:lnTo>
                  <a:pt x="1275" y="1677"/>
                </a:lnTo>
                <a:lnTo>
                  <a:pt x="1269" y="1670"/>
                </a:lnTo>
                <a:lnTo>
                  <a:pt x="1266" y="1662"/>
                </a:lnTo>
                <a:lnTo>
                  <a:pt x="1264" y="1653"/>
                </a:lnTo>
                <a:lnTo>
                  <a:pt x="1263" y="1645"/>
                </a:lnTo>
                <a:lnTo>
                  <a:pt x="1263" y="1639"/>
                </a:lnTo>
                <a:lnTo>
                  <a:pt x="1264" y="1635"/>
                </a:lnTo>
                <a:lnTo>
                  <a:pt x="1266" y="1631"/>
                </a:lnTo>
                <a:lnTo>
                  <a:pt x="1268" y="1627"/>
                </a:lnTo>
                <a:lnTo>
                  <a:pt x="1272" y="1620"/>
                </a:lnTo>
                <a:lnTo>
                  <a:pt x="1279" y="1614"/>
                </a:lnTo>
                <a:lnTo>
                  <a:pt x="1286" y="1609"/>
                </a:lnTo>
                <a:lnTo>
                  <a:pt x="1290" y="1601"/>
                </a:lnTo>
                <a:lnTo>
                  <a:pt x="1292" y="1597"/>
                </a:lnTo>
                <a:lnTo>
                  <a:pt x="1294" y="1593"/>
                </a:lnTo>
                <a:lnTo>
                  <a:pt x="1296" y="1589"/>
                </a:lnTo>
                <a:lnTo>
                  <a:pt x="1296" y="1583"/>
                </a:lnTo>
                <a:lnTo>
                  <a:pt x="1296" y="1546"/>
                </a:lnTo>
                <a:lnTo>
                  <a:pt x="1309" y="1528"/>
                </a:lnTo>
                <a:lnTo>
                  <a:pt x="1309" y="1522"/>
                </a:lnTo>
                <a:lnTo>
                  <a:pt x="1256" y="1522"/>
                </a:lnTo>
                <a:lnTo>
                  <a:pt x="1249" y="1534"/>
                </a:lnTo>
                <a:lnTo>
                  <a:pt x="1255" y="1525"/>
                </a:lnTo>
                <a:lnTo>
                  <a:pt x="1263" y="1516"/>
                </a:lnTo>
                <a:lnTo>
                  <a:pt x="1269" y="1509"/>
                </a:lnTo>
                <a:lnTo>
                  <a:pt x="1276" y="1504"/>
                </a:lnTo>
                <a:lnTo>
                  <a:pt x="1276" y="1460"/>
                </a:lnTo>
                <a:lnTo>
                  <a:pt x="1270" y="1462"/>
                </a:lnTo>
                <a:lnTo>
                  <a:pt x="1265" y="1464"/>
                </a:lnTo>
                <a:lnTo>
                  <a:pt x="1260" y="1466"/>
                </a:lnTo>
                <a:lnTo>
                  <a:pt x="1256" y="1469"/>
                </a:lnTo>
                <a:lnTo>
                  <a:pt x="1249" y="1475"/>
                </a:lnTo>
                <a:lnTo>
                  <a:pt x="1243" y="1481"/>
                </a:lnTo>
                <a:lnTo>
                  <a:pt x="1237" y="1488"/>
                </a:lnTo>
                <a:lnTo>
                  <a:pt x="1232" y="1494"/>
                </a:lnTo>
                <a:lnTo>
                  <a:pt x="1229" y="1498"/>
                </a:lnTo>
                <a:lnTo>
                  <a:pt x="1225" y="1500"/>
                </a:lnTo>
                <a:lnTo>
                  <a:pt x="1221" y="1502"/>
                </a:lnTo>
                <a:lnTo>
                  <a:pt x="1216" y="1504"/>
                </a:lnTo>
                <a:lnTo>
                  <a:pt x="1189" y="1504"/>
                </a:lnTo>
                <a:lnTo>
                  <a:pt x="1222" y="1472"/>
                </a:lnTo>
                <a:lnTo>
                  <a:pt x="1252" y="1442"/>
                </a:lnTo>
                <a:lnTo>
                  <a:pt x="1280" y="1411"/>
                </a:lnTo>
                <a:lnTo>
                  <a:pt x="1309" y="1380"/>
                </a:lnTo>
                <a:lnTo>
                  <a:pt x="1305" y="1378"/>
                </a:lnTo>
                <a:lnTo>
                  <a:pt x="1301" y="1377"/>
                </a:lnTo>
                <a:lnTo>
                  <a:pt x="1298" y="1376"/>
                </a:lnTo>
                <a:lnTo>
                  <a:pt x="1294" y="1376"/>
                </a:lnTo>
                <a:lnTo>
                  <a:pt x="1287" y="1378"/>
                </a:lnTo>
                <a:lnTo>
                  <a:pt x="1280" y="1382"/>
                </a:lnTo>
                <a:lnTo>
                  <a:pt x="1267" y="1392"/>
                </a:lnTo>
                <a:lnTo>
                  <a:pt x="1256" y="1399"/>
                </a:lnTo>
                <a:lnTo>
                  <a:pt x="1230" y="1418"/>
                </a:lnTo>
                <a:lnTo>
                  <a:pt x="1185" y="1450"/>
                </a:lnTo>
                <a:lnTo>
                  <a:pt x="1142" y="1478"/>
                </a:lnTo>
                <a:lnTo>
                  <a:pt x="1123" y="1490"/>
                </a:lnTo>
                <a:lnTo>
                  <a:pt x="1123" y="1380"/>
                </a:lnTo>
                <a:lnTo>
                  <a:pt x="1113" y="1379"/>
                </a:lnTo>
                <a:lnTo>
                  <a:pt x="1106" y="1377"/>
                </a:lnTo>
                <a:lnTo>
                  <a:pt x="1099" y="1375"/>
                </a:lnTo>
                <a:lnTo>
                  <a:pt x="1093" y="1371"/>
                </a:lnTo>
                <a:lnTo>
                  <a:pt x="1090" y="1367"/>
                </a:lnTo>
                <a:lnTo>
                  <a:pt x="1088" y="1362"/>
                </a:lnTo>
                <a:lnTo>
                  <a:pt x="1088" y="1356"/>
                </a:lnTo>
                <a:lnTo>
                  <a:pt x="1090" y="1349"/>
                </a:lnTo>
                <a:lnTo>
                  <a:pt x="1078" y="1338"/>
                </a:lnTo>
                <a:lnTo>
                  <a:pt x="1064" y="1325"/>
                </a:lnTo>
                <a:lnTo>
                  <a:pt x="1047" y="1314"/>
                </a:lnTo>
                <a:lnTo>
                  <a:pt x="1030" y="1304"/>
                </a:lnTo>
                <a:lnTo>
                  <a:pt x="1020" y="1299"/>
                </a:lnTo>
                <a:lnTo>
                  <a:pt x="1011" y="1295"/>
                </a:lnTo>
                <a:lnTo>
                  <a:pt x="1001" y="1291"/>
                </a:lnTo>
                <a:lnTo>
                  <a:pt x="990" y="1288"/>
                </a:lnTo>
                <a:lnTo>
                  <a:pt x="980" y="1285"/>
                </a:lnTo>
                <a:lnTo>
                  <a:pt x="971" y="1283"/>
                </a:lnTo>
                <a:lnTo>
                  <a:pt x="961" y="1282"/>
                </a:lnTo>
                <a:lnTo>
                  <a:pt x="951" y="1282"/>
                </a:lnTo>
                <a:lnTo>
                  <a:pt x="941" y="1283"/>
                </a:lnTo>
                <a:lnTo>
                  <a:pt x="931" y="1285"/>
                </a:lnTo>
                <a:lnTo>
                  <a:pt x="923" y="1289"/>
                </a:lnTo>
                <a:lnTo>
                  <a:pt x="917" y="1294"/>
                </a:lnTo>
                <a:lnTo>
                  <a:pt x="831" y="1294"/>
                </a:lnTo>
                <a:lnTo>
                  <a:pt x="819" y="1301"/>
                </a:lnTo>
                <a:lnTo>
                  <a:pt x="807" y="1307"/>
                </a:lnTo>
                <a:lnTo>
                  <a:pt x="796" y="1312"/>
                </a:lnTo>
                <a:lnTo>
                  <a:pt x="785" y="1316"/>
                </a:lnTo>
                <a:lnTo>
                  <a:pt x="775" y="1319"/>
                </a:lnTo>
                <a:lnTo>
                  <a:pt x="764" y="1321"/>
                </a:lnTo>
                <a:lnTo>
                  <a:pt x="754" y="1323"/>
                </a:lnTo>
                <a:lnTo>
                  <a:pt x="745" y="1324"/>
                </a:lnTo>
                <a:lnTo>
                  <a:pt x="726" y="1326"/>
                </a:lnTo>
                <a:lnTo>
                  <a:pt x="706" y="1328"/>
                </a:lnTo>
                <a:lnTo>
                  <a:pt x="686" y="1332"/>
                </a:lnTo>
                <a:lnTo>
                  <a:pt x="664" y="1337"/>
                </a:lnTo>
                <a:lnTo>
                  <a:pt x="636" y="1345"/>
                </a:lnTo>
                <a:lnTo>
                  <a:pt x="596" y="1356"/>
                </a:lnTo>
                <a:lnTo>
                  <a:pt x="577" y="1362"/>
                </a:lnTo>
                <a:lnTo>
                  <a:pt x="560" y="1369"/>
                </a:lnTo>
                <a:lnTo>
                  <a:pt x="547" y="1374"/>
                </a:lnTo>
                <a:lnTo>
                  <a:pt x="538" y="1380"/>
                </a:lnTo>
                <a:lnTo>
                  <a:pt x="521" y="1402"/>
                </a:lnTo>
                <a:lnTo>
                  <a:pt x="507" y="1419"/>
                </a:lnTo>
                <a:lnTo>
                  <a:pt x="501" y="1426"/>
                </a:lnTo>
                <a:lnTo>
                  <a:pt x="493" y="1431"/>
                </a:lnTo>
                <a:lnTo>
                  <a:pt x="488" y="1433"/>
                </a:lnTo>
                <a:lnTo>
                  <a:pt x="483" y="1434"/>
                </a:lnTo>
                <a:lnTo>
                  <a:pt x="478" y="1435"/>
                </a:lnTo>
                <a:lnTo>
                  <a:pt x="472" y="1435"/>
                </a:lnTo>
                <a:lnTo>
                  <a:pt x="306" y="1435"/>
                </a:lnTo>
                <a:lnTo>
                  <a:pt x="291" y="1439"/>
                </a:lnTo>
                <a:lnTo>
                  <a:pt x="277" y="1444"/>
                </a:lnTo>
                <a:lnTo>
                  <a:pt x="265" y="1448"/>
                </a:lnTo>
                <a:lnTo>
                  <a:pt x="254" y="1453"/>
                </a:lnTo>
                <a:lnTo>
                  <a:pt x="233" y="1463"/>
                </a:lnTo>
                <a:lnTo>
                  <a:pt x="214" y="1473"/>
                </a:lnTo>
                <a:lnTo>
                  <a:pt x="204" y="1478"/>
                </a:lnTo>
                <a:lnTo>
                  <a:pt x="193" y="1482"/>
                </a:lnTo>
                <a:lnTo>
                  <a:pt x="182" y="1486"/>
                </a:lnTo>
                <a:lnTo>
                  <a:pt x="170" y="1490"/>
                </a:lnTo>
                <a:lnTo>
                  <a:pt x="157" y="1493"/>
                </a:lnTo>
                <a:lnTo>
                  <a:pt x="142" y="1495"/>
                </a:lnTo>
                <a:lnTo>
                  <a:pt x="125" y="1496"/>
                </a:lnTo>
                <a:lnTo>
                  <a:pt x="106" y="1496"/>
                </a:lnTo>
                <a:lnTo>
                  <a:pt x="95" y="1496"/>
                </a:lnTo>
                <a:lnTo>
                  <a:pt x="84" y="1495"/>
                </a:lnTo>
                <a:lnTo>
                  <a:pt x="75" y="1494"/>
                </a:lnTo>
                <a:lnTo>
                  <a:pt x="65" y="1492"/>
                </a:lnTo>
                <a:lnTo>
                  <a:pt x="55" y="1490"/>
                </a:lnTo>
                <a:lnTo>
                  <a:pt x="46" y="1487"/>
                </a:lnTo>
                <a:lnTo>
                  <a:pt x="38" y="1483"/>
                </a:lnTo>
                <a:lnTo>
                  <a:pt x="31" y="1479"/>
                </a:lnTo>
                <a:lnTo>
                  <a:pt x="24" y="1475"/>
                </a:lnTo>
                <a:lnTo>
                  <a:pt x="19" y="1470"/>
                </a:lnTo>
                <a:lnTo>
                  <a:pt x="13" y="1464"/>
                </a:lnTo>
                <a:lnTo>
                  <a:pt x="9" y="1458"/>
                </a:lnTo>
                <a:lnTo>
                  <a:pt x="4" y="1452"/>
                </a:lnTo>
                <a:lnTo>
                  <a:pt x="2" y="1445"/>
                </a:lnTo>
                <a:lnTo>
                  <a:pt x="1" y="1437"/>
                </a:lnTo>
                <a:lnTo>
                  <a:pt x="0" y="1429"/>
                </a:lnTo>
                <a:lnTo>
                  <a:pt x="1" y="1426"/>
                </a:lnTo>
                <a:lnTo>
                  <a:pt x="2" y="1423"/>
                </a:lnTo>
                <a:lnTo>
                  <a:pt x="4" y="1421"/>
                </a:lnTo>
                <a:lnTo>
                  <a:pt x="6" y="1418"/>
                </a:lnTo>
                <a:lnTo>
                  <a:pt x="13" y="1415"/>
                </a:lnTo>
                <a:lnTo>
                  <a:pt x="22" y="1413"/>
                </a:lnTo>
                <a:lnTo>
                  <a:pt x="39" y="1411"/>
                </a:lnTo>
                <a:lnTo>
                  <a:pt x="54" y="1411"/>
                </a:lnTo>
                <a:lnTo>
                  <a:pt x="58" y="1408"/>
                </a:lnTo>
                <a:lnTo>
                  <a:pt x="64" y="1404"/>
                </a:lnTo>
                <a:lnTo>
                  <a:pt x="68" y="1399"/>
                </a:lnTo>
                <a:lnTo>
                  <a:pt x="72" y="1393"/>
                </a:lnTo>
                <a:lnTo>
                  <a:pt x="82" y="1378"/>
                </a:lnTo>
                <a:lnTo>
                  <a:pt x="90" y="1361"/>
                </a:lnTo>
                <a:lnTo>
                  <a:pt x="97" y="1344"/>
                </a:lnTo>
                <a:lnTo>
                  <a:pt x="102" y="1325"/>
                </a:lnTo>
                <a:lnTo>
                  <a:pt x="105" y="1309"/>
                </a:lnTo>
                <a:lnTo>
                  <a:pt x="106" y="1294"/>
                </a:lnTo>
                <a:lnTo>
                  <a:pt x="106" y="1288"/>
                </a:lnTo>
                <a:lnTo>
                  <a:pt x="105" y="1284"/>
                </a:lnTo>
                <a:lnTo>
                  <a:pt x="103" y="1279"/>
                </a:lnTo>
                <a:lnTo>
                  <a:pt x="101" y="1275"/>
                </a:lnTo>
                <a:lnTo>
                  <a:pt x="95" y="1267"/>
                </a:lnTo>
                <a:lnTo>
                  <a:pt x="90" y="1260"/>
                </a:lnTo>
                <a:lnTo>
                  <a:pt x="83" y="1254"/>
                </a:lnTo>
                <a:lnTo>
                  <a:pt x="79" y="1248"/>
                </a:lnTo>
                <a:lnTo>
                  <a:pt x="77" y="1244"/>
                </a:lnTo>
                <a:lnTo>
                  <a:pt x="75" y="1241"/>
                </a:lnTo>
                <a:lnTo>
                  <a:pt x="73" y="1237"/>
                </a:lnTo>
                <a:lnTo>
                  <a:pt x="73" y="1232"/>
                </a:lnTo>
                <a:lnTo>
                  <a:pt x="73" y="1225"/>
                </a:lnTo>
                <a:lnTo>
                  <a:pt x="75" y="1218"/>
                </a:lnTo>
                <a:lnTo>
                  <a:pt x="77" y="1212"/>
                </a:lnTo>
                <a:lnTo>
                  <a:pt x="79" y="1207"/>
                </a:lnTo>
                <a:lnTo>
                  <a:pt x="86" y="1200"/>
                </a:lnTo>
                <a:lnTo>
                  <a:pt x="93" y="1193"/>
                </a:lnTo>
                <a:lnTo>
                  <a:pt x="101" y="1188"/>
                </a:lnTo>
                <a:lnTo>
                  <a:pt x="106" y="1182"/>
                </a:lnTo>
                <a:lnTo>
                  <a:pt x="110" y="1179"/>
                </a:lnTo>
                <a:lnTo>
                  <a:pt x="112" y="1175"/>
                </a:lnTo>
                <a:lnTo>
                  <a:pt x="113" y="1170"/>
                </a:lnTo>
                <a:lnTo>
                  <a:pt x="113" y="1165"/>
                </a:lnTo>
                <a:lnTo>
                  <a:pt x="113" y="1150"/>
                </a:lnTo>
                <a:lnTo>
                  <a:pt x="111" y="1137"/>
                </a:lnTo>
                <a:lnTo>
                  <a:pt x="109" y="1123"/>
                </a:lnTo>
                <a:lnTo>
                  <a:pt x="105" y="1110"/>
                </a:lnTo>
                <a:lnTo>
                  <a:pt x="98" y="1082"/>
                </a:lnTo>
                <a:lnTo>
                  <a:pt x="88" y="1056"/>
                </a:lnTo>
                <a:lnTo>
                  <a:pt x="78" y="1030"/>
                </a:lnTo>
                <a:lnTo>
                  <a:pt x="68" y="1006"/>
                </a:lnTo>
                <a:lnTo>
                  <a:pt x="59" y="982"/>
                </a:lnTo>
                <a:lnTo>
                  <a:pt x="54" y="961"/>
                </a:lnTo>
                <a:lnTo>
                  <a:pt x="54" y="930"/>
                </a:lnTo>
                <a:lnTo>
                  <a:pt x="58" y="943"/>
                </a:lnTo>
                <a:lnTo>
                  <a:pt x="64" y="954"/>
                </a:lnTo>
                <a:lnTo>
                  <a:pt x="71" y="964"/>
                </a:lnTo>
                <a:lnTo>
                  <a:pt x="80" y="973"/>
                </a:lnTo>
                <a:lnTo>
                  <a:pt x="80" y="949"/>
                </a:lnTo>
                <a:lnTo>
                  <a:pt x="80" y="954"/>
                </a:lnTo>
                <a:lnTo>
                  <a:pt x="82" y="958"/>
                </a:lnTo>
                <a:lnTo>
                  <a:pt x="84" y="962"/>
                </a:lnTo>
                <a:lnTo>
                  <a:pt x="88" y="966"/>
                </a:lnTo>
                <a:lnTo>
                  <a:pt x="92" y="969"/>
                </a:lnTo>
                <a:lnTo>
                  <a:pt x="97" y="971"/>
                </a:lnTo>
                <a:lnTo>
                  <a:pt x="102" y="973"/>
                </a:lnTo>
                <a:lnTo>
                  <a:pt x="106" y="973"/>
                </a:lnTo>
                <a:lnTo>
                  <a:pt x="113" y="964"/>
                </a:lnTo>
                <a:lnTo>
                  <a:pt x="122" y="955"/>
                </a:lnTo>
                <a:lnTo>
                  <a:pt x="126" y="951"/>
                </a:lnTo>
                <a:lnTo>
                  <a:pt x="129" y="946"/>
                </a:lnTo>
                <a:lnTo>
                  <a:pt x="132" y="940"/>
                </a:lnTo>
                <a:lnTo>
                  <a:pt x="133" y="936"/>
                </a:lnTo>
                <a:lnTo>
                  <a:pt x="132" y="923"/>
                </a:lnTo>
                <a:lnTo>
                  <a:pt x="128" y="913"/>
                </a:lnTo>
                <a:lnTo>
                  <a:pt x="125" y="903"/>
                </a:lnTo>
                <a:lnTo>
                  <a:pt x="120" y="895"/>
                </a:lnTo>
                <a:lnTo>
                  <a:pt x="115" y="887"/>
                </a:lnTo>
                <a:lnTo>
                  <a:pt x="111" y="879"/>
                </a:lnTo>
                <a:lnTo>
                  <a:pt x="107" y="871"/>
                </a:lnTo>
                <a:lnTo>
                  <a:pt x="106" y="862"/>
                </a:lnTo>
                <a:lnTo>
                  <a:pt x="107" y="855"/>
                </a:lnTo>
                <a:lnTo>
                  <a:pt x="111" y="847"/>
                </a:lnTo>
                <a:lnTo>
                  <a:pt x="115" y="839"/>
                </a:lnTo>
                <a:lnTo>
                  <a:pt x="121" y="831"/>
                </a:lnTo>
                <a:lnTo>
                  <a:pt x="126" y="823"/>
                </a:lnTo>
                <a:lnTo>
                  <a:pt x="132" y="818"/>
                </a:lnTo>
                <a:lnTo>
                  <a:pt x="136" y="814"/>
                </a:lnTo>
                <a:lnTo>
                  <a:pt x="139" y="813"/>
                </a:lnTo>
                <a:lnTo>
                  <a:pt x="139" y="807"/>
                </a:lnTo>
                <a:lnTo>
                  <a:pt x="140" y="800"/>
                </a:lnTo>
                <a:lnTo>
                  <a:pt x="143" y="792"/>
                </a:lnTo>
                <a:lnTo>
                  <a:pt x="146" y="783"/>
                </a:lnTo>
                <a:lnTo>
                  <a:pt x="147" y="765"/>
                </a:lnTo>
                <a:lnTo>
                  <a:pt x="149" y="751"/>
                </a:lnTo>
                <a:lnTo>
                  <a:pt x="151" y="737"/>
                </a:lnTo>
                <a:lnTo>
                  <a:pt x="153" y="721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195" name="Freeform 193"/>
          <p:cNvSpPr>
            <a:spLocks/>
          </p:cNvSpPr>
          <p:nvPr userDrawn="1">
            <p:custDataLst>
              <p:tags r:id="rId119"/>
            </p:custDataLst>
          </p:nvPr>
        </p:nvSpPr>
        <p:spPr bwMode="auto">
          <a:xfrm>
            <a:off x="1282704" y="2170522"/>
            <a:ext cx="668337" cy="435769"/>
          </a:xfrm>
          <a:custGeom>
            <a:avLst/>
            <a:gdLst>
              <a:gd name="T0" fmla="*/ 235638244 w 1535"/>
              <a:gd name="T1" fmla="*/ 253903163 h 1109"/>
              <a:gd name="T2" fmla="*/ 246254132 w 1535"/>
              <a:gd name="T3" fmla="*/ 269548918 h 1109"/>
              <a:gd name="T4" fmla="*/ 231277728 w 1535"/>
              <a:gd name="T5" fmla="*/ 274215453 h 1109"/>
              <a:gd name="T6" fmla="*/ 223126141 w 1535"/>
              <a:gd name="T7" fmla="*/ 300566484 h 1109"/>
              <a:gd name="T8" fmla="*/ 201894366 w 1535"/>
              <a:gd name="T9" fmla="*/ 276136725 h 1109"/>
              <a:gd name="T10" fmla="*/ 188434455 w 1535"/>
              <a:gd name="T11" fmla="*/ 277783922 h 1109"/>
              <a:gd name="T12" fmla="*/ 173079254 w 1535"/>
              <a:gd name="T13" fmla="*/ 285195262 h 1109"/>
              <a:gd name="T14" fmla="*/ 149003455 w 1535"/>
              <a:gd name="T15" fmla="*/ 266529580 h 1109"/>
              <a:gd name="T16" fmla="*/ 122842533 w 1535"/>
              <a:gd name="T17" fmla="*/ 251707424 h 1109"/>
              <a:gd name="T18" fmla="*/ 111468154 w 1535"/>
              <a:gd name="T19" fmla="*/ 242374354 h 1109"/>
              <a:gd name="T20" fmla="*/ 101800129 w 1535"/>
              <a:gd name="T21" fmla="*/ 229198871 h 1109"/>
              <a:gd name="T22" fmla="*/ 91942270 w 1535"/>
              <a:gd name="T23" fmla="*/ 226728599 h 1109"/>
              <a:gd name="T24" fmla="*/ 83222108 w 1535"/>
              <a:gd name="T25" fmla="*/ 207788974 h 1109"/>
              <a:gd name="T26" fmla="*/ 88530052 w 1535"/>
              <a:gd name="T27" fmla="*/ 193515360 h 1109"/>
              <a:gd name="T28" fmla="*/ 85307231 w 1535"/>
              <a:gd name="T29" fmla="*/ 164968656 h 1109"/>
              <a:gd name="T30" fmla="*/ 66729210 w 1535"/>
              <a:gd name="T31" fmla="*/ 128461513 h 1109"/>
              <a:gd name="T32" fmla="*/ 57629816 w 1535"/>
              <a:gd name="T33" fmla="*/ 116932703 h 1109"/>
              <a:gd name="T34" fmla="*/ 55544679 w 1535"/>
              <a:gd name="T35" fmla="*/ 101286949 h 1109"/>
              <a:gd name="T36" fmla="*/ 41137340 w 1535"/>
              <a:gd name="T37" fmla="*/ 68073693 h 1109"/>
              <a:gd name="T38" fmla="*/ 31658714 w 1535"/>
              <a:gd name="T39" fmla="*/ 20312298 h 1109"/>
              <a:gd name="T40" fmla="*/ 15923838 w 1535"/>
              <a:gd name="T41" fmla="*/ 28546713 h 1109"/>
              <a:gd name="T42" fmla="*/ 21421616 w 1535"/>
              <a:gd name="T43" fmla="*/ 60936886 h 1109"/>
              <a:gd name="T44" fmla="*/ 28435887 w 1535"/>
              <a:gd name="T45" fmla="*/ 89483606 h 1109"/>
              <a:gd name="T46" fmla="*/ 37156056 w 1535"/>
              <a:gd name="T47" fmla="*/ 110344962 h 1109"/>
              <a:gd name="T48" fmla="*/ 37914520 w 1535"/>
              <a:gd name="T49" fmla="*/ 127637914 h 1109"/>
              <a:gd name="T50" fmla="*/ 40378876 w 1535"/>
              <a:gd name="T51" fmla="*/ 143832767 h 1109"/>
              <a:gd name="T52" fmla="*/ 49099038 w 1535"/>
              <a:gd name="T53" fmla="*/ 156733717 h 1109"/>
              <a:gd name="T54" fmla="*/ 40568274 w 1535"/>
              <a:gd name="T55" fmla="*/ 163595991 h 1109"/>
              <a:gd name="T56" fmla="*/ 36587425 w 1535"/>
              <a:gd name="T57" fmla="*/ 148773835 h 1109"/>
              <a:gd name="T58" fmla="*/ 22748711 w 1535"/>
              <a:gd name="T59" fmla="*/ 130108186 h 1109"/>
              <a:gd name="T60" fmla="*/ 27677422 w 1535"/>
              <a:gd name="T61" fmla="*/ 115286030 h 1109"/>
              <a:gd name="T62" fmla="*/ 16871701 w 1535"/>
              <a:gd name="T63" fmla="*/ 100463350 h 1109"/>
              <a:gd name="T64" fmla="*/ 5118547 w 1535"/>
              <a:gd name="T65" fmla="*/ 84268530 h 1109"/>
              <a:gd name="T66" fmla="*/ 12322218 w 1535"/>
              <a:gd name="T67" fmla="*/ 79327462 h 1109"/>
              <a:gd name="T68" fmla="*/ 12132820 w 1535"/>
              <a:gd name="T69" fmla="*/ 61760484 h 1109"/>
              <a:gd name="T70" fmla="*/ 1137261 w 1535"/>
              <a:gd name="T71" fmla="*/ 32115116 h 1109"/>
              <a:gd name="T72" fmla="*/ 7203673 w 1535"/>
              <a:gd name="T73" fmla="*/ 1372665 h 1109"/>
              <a:gd name="T74" fmla="*/ 39999644 w 1535"/>
              <a:gd name="T75" fmla="*/ 4941070 h 1109"/>
              <a:gd name="T76" fmla="*/ 68435537 w 1535"/>
              <a:gd name="T77" fmla="*/ 20861364 h 1109"/>
              <a:gd name="T78" fmla="*/ 94407061 w 1535"/>
              <a:gd name="T79" fmla="*/ 15096693 h 1109"/>
              <a:gd name="T80" fmla="*/ 112416016 w 1535"/>
              <a:gd name="T81" fmla="*/ 14822684 h 1109"/>
              <a:gd name="T82" fmla="*/ 119998945 w 1535"/>
              <a:gd name="T83" fmla="*/ 30193910 h 1109"/>
              <a:gd name="T84" fmla="*/ 132700392 w 1535"/>
              <a:gd name="T85" fmla="*/ 59015155 h 1109"/>
              <a:gd name="T86" fmla="*/ 142179018 w 1535"/>
              <a:gd name="T87" fmla="*/ 52701947 h 1109"/>
              <a:gd name="T88" fmla="*/ 155828328 w 1535"/>
              <a:gd name="T89" fmla="*/ 48310469 h 1109"/>
              <a:gd name="T90" fmla="*/ 166633614 w 1535"/>
              <a:gd name="T91" fmla="*/ 66975561 h 1109"/>
              <a:gd name="T92" fmla="*/ 171562761 w 1535"/>
              <a:gd name="T93" fmla="*/ 99365218 h 1109"/>
              <a:gd name="T94" fmla="*/ 182747279 w 1535"/>
              <a:gd name="T95" fmla="*/ 111168561 h 1109"/>
              <a:gd name="T96" fmla="*/ 185211635 w 1535"/>
              <a:gd name="T97" fmla="*/ 125167642 h 1109"/>
              <a:gd name="T98" fmla="*/ 176491473 w 1535"/>
              <a:gd name="T99" fmla="*/ 135049254 h 1109"/>
              <a:gd name="T100" fmla="*/ 173837718 w 1535"/>
              <a:gd name="T101" fmla="*/ 174026669 h 1109"/>
              <a:gd name="T102" fmla="*/ 181230786 w 1535"/>
              <a:gd name="T103" fmla="*/ 217121520 h 1109"/>
              <a:gd name="T104" fmla="*/ 199808807 w 1535"/>
              <a:gd name="T105" fmla="*/ 240727681 h 1109"/>
              <a:gd name="T106" fmla="*/ 221041018 w 1535"/>
              <a:gd name="T107" fmla="*/ 233041808 h 1109"/>
              <a:gd name="T108" fmla="*/ 236775505 w 1535"/>
              <a:gd name="T109" fmla="*/ 233316341 h 1109"/>
              <a:gd name="T110" fmla="*/ 245685501 w 1535"/>
              <a:gd name="T111" fmla="*/ 203671505 h 1109"/>
              <a:gd name="T112" fmla="*/ 253268403 w 1535"/>
              <a:gd name="T113" fmla="*/ 190221489 h 1109"/>
              <a:gd name="T114" fmla="*/ 285495298 w 1535"/>
              <a:gd name="T115" fmla="*/ 186104020 h 1109"/>
              <a:gd name="T116" fmla="*/ 284926667 w 1535"/>
              <a:gd name="T117" fmla="*/ 200103101 h 1109"/>
              <a:gd name="T118" fmla="*/ 278291629 w 1535"/>
              <a:gd name="T119" fmla="*/ 225356459 h 1109"/>
              <a:gd name="T120" fmla="*/ 259524209 w 1535"/>
              <a:gd name="T121" fmla="*/ 243747019 h 1109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1535"/>
              <a:gd name="T184" fmla="*/ 0 h 1109"/>
              <a:gd name="T185" fmla="*/ 1535 w 1535"/>
              <a:gd name="T186" fmla="*/ 1109 h 1109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1535" h="1109">
                <a:moveTo>
                  <a:pt x="1336" y="888"/>
                </a:moveTo>
                <a:lnTo>
                  <a:pt x="1319" y="891"/>
                </a:lnTo>
                <a:lnTo>
                  <a:pt x="1287" y="901"/>
                </a:lnTo>
                <a:lnTo>
                  <a:pt x="1270" y="907"/>
                </a:lnTo>
                <a:lnTo>
                  <a:pt x="1256" y="913"/>
                </a:lnTo>
                <a:lnTo>
                  <a:pt x="1251" y="916"/>
                </a:lnTo>
                <a:lnTo>
                  <a:pt x="1246" y="919"/>
                </a:lnTo>
                <a:lnTo>
                  <a:pt x="1244" y="922"/>
                </a:lnTo>
                <a:lnTo>
                  <a:pt x="1243" y="925"/>
                </a:lnTo>
                <a:lnTo>
                  <a:pt x="1243" y="929"/>
                </a:lnTo>
                <a:lnTo>
                  <a:pt x="1244" y="933"/>
                </a:lnTo>
                <a:lnTo>
                  <a:pt x="1246" y="937"/>
                </a:lnTo>
                <a:lnTo>
                  <a:pt x="1248" y="940"/>
                </a:lnTo>
                <a:lnTo>
                  <a:pt x="1255" y="946"/>
                </a:lnTo>
                <a:lnTo>
                  <a:pt x="1263" y="951"/>
                </a:lnTo>
                <a:lnTo>
                  <a:pt x="1282" y="961"/>
                </a:lnTo>
                <a:lnTo>
                  <a:pt x="1302" y="973"/>
                </a:lnTo>
                <a:lnTo>
                  <a:pt x="1299" y="982"/>
                </a:lnTo>
                <a:lnTo>
                  <a:pt x="1294" y="988"/>
                </a:lnTo>
                <a:lnTo>
                  <a:pt x="1289" y="993"/>
                </a:lnTo>
                <a:lnTo>
                  <a:pt x="1282" y="996"/>
                </a:lnTo>
                <a:lnTo>
                  <a:pt x="1275" y="998"/>
                </a:lnTo>
                <a:lnTo>
                  <a:pt x="1267" y="999"/>
                </a:lnTo>
                <a:lnTo>
                  <a:pt x="1258" y="999"/>
                </a:lnTo>
                <a:lnTo>
                  <a:pt x="1251" y="999"/>
                </a:lnTo>
                <a:lnTo>
                  <a:pt x="1234" y="999"/>
                </a:lnTo>
                <a:lnTo>
                  <a:pt x="1220" y="999"/>
                </a:lnTo>
                <a:lnTo>
                  <a:pt x="1213" y="1000"/>
                </a:lnTo>
                <a:lnTo>
                  <a:pt x="1209" y="1002"/>
                </a:lnTo>
                <a:lnTo>
                  <a:pt x="1204" y="1006"/>
                </a:lnTo>
                <a:lnTo>
                  <a:pt x="1203" y="1011"/>
                </a:lnTo>
                <a:lnTo>
                  <a:pt x="1193" y="1036"/>
                </a:lnTo>
                <a:lnTo>
                  <a:pt x="1185" y="1058"/>
                </a:lnTo>
                <a:lnTo>
                  <a:pt x="1181" y="1069"/>
                </a:lnTo>
                <a:lnTo>
                  <a:pt x="1178" y="1080"/>
                </a:lnTo>
                <a:lnTo>
                  <a:pt x="1177" y="1095"/>
                </a:lnTo>
                <a:lnTo>
                  <a:pt x="1176" y="1109"/>
                </a:lnTo>
                <a:lnTo>
                  <a:pt x="1165" y="1100"/>
                </a:lnTo>
                <a:lnTo>
                  <a:pt x="1153" y="1091"/>
                </a:lnTo>
                <a:lnTo>
                  <a:pt x="1141" y="1081"/>
                </a:lnTo>
                <a:lnTo>
                  <a:pt x="1130" y="1072"/>
                </a:lnTo>
                <a:lnTo>
                  <a:pt x="1112" y="1051"/>
                </a:lnTo>
                <a:lnTo>
                  <a:pt x="1090" y="1026"/>
                </a:lnTo>
                <a:lnTo>
                  <a:pt x="1078" y="1015"/>
                </a:lnTo>
                <a:lnTo>
                  <a:pt x="1065" y="1006"/>
                </a:lnTo>
                <a:lnTo>
                  <a:pt x="1058" y="1003"/>
                </a:lnTo>
                <a:lnTo>
                  <a:pt x="1052" y="1001"/>
                </a:lnTo>
                <a:lnTo>
                  <a:pt x="1044" y="999"/>
                </a:lnTo>
                <a:lnTo>
                  <a:pt x="1036" y="998"/>
                </a:lnTo>
                <a:lnTo>
                  <a:pt x="1028" y="999"/>
                </a:lnTo>
                <a:lnTo>
                  <a:pt x="1019" y="1000"/>
                </a:lnTo>
                <a:lnTo>
                  <a:pt x="1011" y="1002"/>
                </a:lnTo>
                <a:lnTo>
                  <a:pt x="1006" y="1005"/>
                </a:lnTo>
                <a:lnTo>
                  <a:pt x="994" y="1012"/>
                </a:lnTo>
                <a:lnTo>
                  <a:pt x="984" y="1020"/>
                </a:lnTo>
                <a:lnTo>
                  <a:pt x="974" y="1027"/>
                </a:lnTo>
                <a:lnTo>
                  <a:pt x="962" y="1035"/>
                </a:lnTo>
                <a:lnTo>
                  <a:pt x="955" y="1038"/>
                </a:lnTo>
                <a:lnTo>
                  <a:pt x="949" y="1040"/>
                </a:lnTo>
                <a:lnTo>
                  <a:pt x="940" y="1041"/>
                </a:lnTo>
                <a:lnTo>
                  <a:pt x="930" y="1042"/>
                </a:lnTo>
                <a:lnTo>
                  <a:pt x="922" y="1041"/>
                </a:lnTo>
                <a:lnTo>
                  <a:pt x="913" y="1039"/>
                </a:lnTo>
                <a:lnTo>
                  <a:pt x="902" y="1037"/>
                </a:lnTo>
                <a:lnTo>
                  <a:pt x="891" y="1032"/>
                </a:lnTo>
                <a:lnTo>
                  <a:pt x="868" y="1023"/>
                </a:lnTo>
                <a:lnTo>
                  <a:pt x="845" y="1011"/>
                </a:lnTo>
                <a:lnTo>
                  <a:pt x="823" y="999"/>
                </a:lnTo>
                <a:lnTo>
                  <a:pt x="805" y="987"/>
                </a:lnTo>
                <a:lnTo>
                  <a:pt x="797" y="982"/>
                </a:lnTo>
                <a:lnTo>
                  <a:pt x="790" y="976"/>
                </a:lnTo>
                <a:lnTo>
                  <a:pt x="786" y="971"/>
                </a:lnTo>
                <a:lnTo>
                  <a:pt x="784" y="967"/>
                </a:lnTo>
                <a:lnTo>
                  <a:pt x="731" y="973"/>
                </a:lnTo>
                <a:lnTo>
                  <a:pt x="714" y="962"/>
                </a:lnTo>
                <a:lnTo>
                  <a:pt x="697" y="953"/>
                </a:lnTo>
                <a:lnTo>
                  <a:pt x="680" y="945"/>
                </a:lnTo>
                <a:lnTo>
                  <a:pt x="658" y="937"/>
                </a:lnTo>
                <a:lnTo>
                  <a:pt x="653" y="932"/>
                </a:lnTo>
                <a:lnTo>
                  <a:pt x="650" y="925"/>
                </a:lnTo>
                <a:lnTo>
                  <a:pt x="648" y="917"/>
                </a:lnTo>
                <a:lnTo>
                  <a:pt x="644" y="910"/>
                </a:lnTo>
                <a:lnTo>
                  <a:pt x="642" y="904"/>
                </a:lnTo>
                <a:lnTo>
                  <a:pt x="639" y="898"/>
                </a:lnTo>
                <a:lnTo>
                  <a:pt x="638" y="896"/>
                </a:lnTo>
                <a:lnTo>
                  <a:pt x="636" y="895"/>
                </a:lnTo>
                <a:lnTo>
                  <a:pt x="633" y="894"/>
                </a:lnTo>
                <a:lnTo>
                  <a:pt x="631" y="894"/>
                </a:lnTo>
                <a:lnTo>
                  <a:pt x="607" y="887"/>
                </a:lnTo>
                <a:lnTo>
                  <a:pt x="588" y="883"/>
                </a:lnTo>
                <a:lnTo>
                  <a:pt x="575" y="882"/>
                </a:lnTo>
                <a:lnTo>
                  <a:pt x="565" y="880"/>
                </a:lnTo>
                <a:lnTo>
                  <a:pt x="561" y="879"/>
                </a:lnTo>
                <a:lnTo>
                  <a:pt x="558" y="877"/>
                </a:lnTo>
                <a:lnTo>
                  <a:pt x="554" y="874"/>
                </a:lnTo>
                <a:lnTo>
                  <a:pt x="551" y="870"/>
                </a:lnTo>
                <a:lnTo>
                  <a:pt x="546" y="857"/>
                </a:lnTo>
                <a:lnTo>
                  <a:pt x="538" y="838"/>
                </a:lnTo>
                <a:lnTo>
                  <a:pt x="537" y="835"/>
                </a:lnTo>
                <a:lnTo>
                  <a:pt x="535" y="833"/>
                </a:lnTo>
                <a:lnTo>
                  <a:pt x="532" y="831"/>
                </a:lnTo>
                <a:lnTo>
                  <a:pt x="530" y="829"/>
                </a:lnTo>
                <a:lnTo>
                  <a:pt x="524" y="828"/>
                </a:lnTo>
                <a:lnTo>
                  <a:pt x="517" y="828"/>
                </a:lnTo>
                <a:lnTo>
                  <a:pt x="509" y="828"/>
                </a:lnTo>
                <a:lnTo>
                  <a:pt x="501" y="828"/>
                </a:lnTo>
                <a:lnTo>
                  <a:pt x="493" y="828"/>
                </a:lnTo>
                <a:lnTo>
                  <a:pt x="485" y="826"/>
                </a:lnTo>
                <a:lnTo>
                  <a:pt x="480" y="822"/>
                </a:lnTo>
                <a:lnTo>
                  <a:pt x="472" y="816"/>
                </a:lnTo>
                <a:lnTo>
                  <a:pt x="464" y="806"/>
                </a:lnTo>
                <a:lnTo>
                  <a:pt x="457" y="796"/>
                </a:lnTo>
                <a:lnTo>
                  <a:pt x="450" y="784"/>
                </a:lnTo>
                <a:lnTo>
                  <a:pt x="445" y="773"/>
                </a:lnTo>
                <a:lnTo>
                  <a:pt x="442" y="768"/>
                </a:lnTo>
                <a:lnTo>
                  <a:pt x="440" y="762"/>
                </a:lnTo>
                <a:lnTo>
                  <a:pt x="439" y="757"/>
                </a:lnTo>
                <a:lnTo>
                  <a:pt x="439" y="751"/>
                </a:lnTo>
                <a:lnTo>
                  <a:pt x="439" y="747"/>
                </a:lnTo>
                <a:lnTo>
                  <a:pt x="440" y="743"/>
                </a:lnTo>
                <a:lnTo>
                  <a:pt x="441" y="739"/>
                </a:lnTo>
                <a:lnTo>
                  <a:pt x="443" y="735"/>
                </a:lnTo>
                <a:lnTo>
                  <a:pt x="449" y="728"/>
                </a:lnTo>
                <a:lnTo>
                  <a:pt x="456" y="720"/>
                </a:lnTo>
                <a:lnTo>
                  <a:pt x="461" y="713"/>
                </a:lnTo>
                <a:lnTo>
                  <a:pt x="467" y="705"/>
                </a:lnTo>
                <a:lnTo>
                  <a:pt x="469" y="700"/>
                </a:lnTo>
                <a:lnTo>
                  <a:pt x="471" y="694"/>
                </a:lnTo>
                <a:lnTo>
                  <a:pt x="472" y="689"/>
                </a:lnTo>
                <a:lnTo>
                  <a:pt x="472" y="684"/>
                </a:lnTo>
                <a:lnTo>
                  <a:pt x="471" y="664"/>
                </a:lnTo>
                <a:lnTo>
                  <a:pt x="468" y="647"/>
                </a:lnTo>
                <a:lnTo>
                  <a:pt x="463" y="630"/>
                </a:lnTo>
                <a:lnTo>
                  <a:pt x="457" y="615"/>
                </a:lnTo>
                <a:lnTo>
                  <a:pt x="450" y="601"/>
                </a:lnTo>
                <a:lnTo>
                  <a:pt x="441" y="589"/>
                </a:lnTo>
                <a:lnTo>
                  <a:pt x="431" y="576"/>
                </a:lnTo>
                <a:lnTo>
                  <a:pt x="423" y="565"/>
                </a:lnTo>
                <a:lnTo>
                  <a:pt x="402" y="543"/>
                </a:lnTo>
                <a:lnTo>
                  <a:pt x="382" y="520"/>
                </a:lnTo>
                <a:lnTo>
                  <a:pt x="373" y="509"/>
                </a:lnTo>
                <a:lnTo>
                  <a:pt x="366" y="496"/>
                </a:lnTo>
                <a:lnTo>
                  <a:pt x="358" y="483"/>
                </a:lnTo>
                <a:lnTo>
                  <a:pt x="352" y="468"/>
                </a:lnTo>
                <a:lnTo>
                  <a:pt x="350" y="464"/>
                </a:lnTo>
                <a:lnTo>
                  <a:pt x="348" y="460"/>
                </a:lnTo>
                <a:lnTo>
                  <a:pt x="345" y="456"/>
                </a:lnTo>
                <a:lnTo>
                  <a:pt x="341" y="453"/>
                </a:lnTo>
                <a:lnTo>
                  <a:pt x="333" y="447"/>
                </a:lnTo>
                <a:lnTo>
                  <a:pt x="324" y="441"/>
                </a:lnTo>
                <a:lnTo>
                  <a:pt x="314" y="435"/>
                </a:lnTo>
                <a:lnTo>
                  <a:pt x="306" y="429"/>
                </a:lnTo>
                <a:lnTo>
                  <a:pt x="304" y="426"/>
                </a:lnTo>
                <a:lnTo>
                  <a:pt x="301" y="422"/>
                </a:lnTo>
                <a:lnTo>
                  <a:pt x="300" y="417"/>
                </a:lnTo>
                <a:lnTo>
                  <a:pt x="300" y="413"/>
                </a:lnTo>
                <a:lnTo>
                  <a:pt x="306" y="404"/>
                </a:lnTo>
                <a:lnTo>
                  <a:pt x="313" y="394"/>
                </a:lnTo>
                <a:lnTo>
                  <a:pt x="306" y="391"/>
                </a:lnTo>
                <a:lnTo>
                  <a:pt x="300" y="388"/>
                </a:lnTo>
                <a:lnTo>
                  <a:pt x="297" y="380"/>
                </a:lnTo>
                <a:lnTo>
                  <a:pt x="293" y="369"/>
                </a:lnTo>
                <a:lnTo>
                  <a:pt x="286" y="356"/>
                </a:lnTo>
                <a:lnTo>
                  <a:pt x="279" y="344"/>
                </a:lnTo>
                <a:lnTo>
                  <a:pt x="262" y="321"/>
                </a:lnTo>
                <a:lnTo>
                  <a:pt x="252" y="308"/>
                </a:lnTo>
                <a:lnTo>
                  <a:pt x="245" y="291"/>
                </a:lnTo>
                <a:lnTo>
                  <a:pt x="238" y="278"/>
                </a:lnTo>
                <a:lnTo>
                  <a:pt x="230" y="267"/>
                </a:lnTo>
                <a:lnTo>
                  <a:pt x="224" y="258"/>
                </a:lnTo>
                <a:lnTo>
                  <a:pt x="217" y="248"/>
                </a:lnTo>
                <a:lnTo>
                  <a:pt x="211" y="239"/>
                </a:lnTo>
                <a:lnTo>
                  <a:pt x="205" y="228"/>
                </a:lnTo>
                <a:lnTo>
                  <a:pt x="200" y="216"/>
                </a:lnTo>
                <a:lnTo>
                  <a:pt x="193" y="195"/>
                </a:lnTo>
                <a:lnTo>
                  <a:pt x="187" y="176"/>
                </a:lnTo>
                <a:lnTo>
                  <a:pt x="182" y="158"/>
                </a:lnTo>
                <a:lnTo>
                  <a:pt x="178" y="140"/>
                </a:lnTo>
                <a:lnTo>
                  <a:pt x="171" y="107"/>
                </a:lnTo>
                <a:lnTo>
                  <a:pt x="167" y="74"/>
                </a:lnTo>
                <a:lnTo>
                  <a:pt x="155" y="74"/>
                </a:lnTo>
                <a:lnTo>
                  <a:pt x="146" y="73"/>
                </a:lnTo>
                <a:lnTo>
                  <a:pt x="138" y="71"/>
                </a:lnTo>
                <a:lnTo>
                  <a:pt x="132" y="69"/>
                </a:lnTo>
                <a:lnTo>
                  <a:pt x="120" y="64"/>
                </a:lnTo>
                <a:lnTo>
                  <a:pt x="106" y="56"/>
                </a:lnTo>
                <a:lnTo>
                  <a:pt x="97" y="74"/>
                </a:lnTo>
                <a:lnTo>
                  <a:pt x="89" y="94"/>
                </a:lnTo>
                <a:lnTo>
                  <a:pt x="84" y="104"/>
                </a:lnTo>
                <a:lnTo>
                  <a:pt x="82" y="114"/>
                </a:lnTo>
                <a:lnTo>
                  <a:pt x="80" y="124"/>
                </a:lnTo>
                <a:lnTo>
                  <a:pt x="80" y="135"/>
                </a:lnTo>
                <a:lnTo>
                  <a:pt x="81" y="148"/>
                </a:lnTo>
                <a:lnTo>
                  <a:pt x="83" y="160"/>
                </a:lnTo>
                <a:lnTo>
                  <a:pt x="87" y="171"/>
                </a:lnTo>
                <a:lnTo>
                  <a:pt x="90" y="182"/>
                </a:lnTo>
                <a:lnTo>
                  <a:pt x="101" y="203"/>
                </a:lnTo>
                <a:lnTo>
                  <a:pt x="113" y="222"/>
                </a:lnTo>
                <a:lnTo>
                  <a:pt x="125" y="241"/>
                </a:lnTo>
                <a:lnTo>
                  <a:pt x="136" y="263"/>
                </a:lnTo>
                <a:lnTo>
                  <a:pt x="140" y="273"/>
                </a:lnTo>
                <a:lnTo>
                  <a:pt x="144" y="284"/>
                </a:lnTo>
                <a:lnTo>
                  <a:pt x="146" y="296"/>
                </a:lnTo>
                <a:lnTo>
                  <a:pt x="146" y="308"/>
                </a:lnTo>
                <a:lnTo>
                  <a:pt x="147" y="314"/>
                </a:lnTo>
                <a:lnTo>
                  <a:pt x="148" y="320"/>
                </a:lnTo>
                <a:lnTo>
                  <a:pt x="150" y="326"/>
                </a:lnTo>
                <a:lnTo>
                  <a:pt x="154" y="332"/>
                </a:lnTo>
                <a:lnTo>
                  <a:pt x="161" y="344"/>
                </a:lnTo>
                <a:lnTo>
                  <a:pt x="170" y="355"/>
                </a:lnTo>
                <a:lnTo>
                  <a:pt x="178" y="366"/>
                </a:lnTo>
                <a:lnTo>
                  <a:pt x="185" y="375"/>
                </a:lnTo>
                <a:lnTo>
                  <a:pt x="191" y="383"/>
                </a:lnTo>
                <a:lnTo>
                  <a:pt x="193" y="388"/>
                </a:lnTo>
                <a:lnTo>
                  <a:pt x="195" y="395"/>
                </a:lnTo>
                <a:lnTo>
                  <a:pt x="196" y="402"/>
                </a:lnTo>
                <a:lnTo>
                  <a:pt x="196" y="409"/>
                </a:lnTo>
                <a:lnTo>
                  <a:pt x="198" y="415"/>
                </a:lnTo>
                <a:lnTo>
                  <a:pt x="196" y="429"/>
                </a:lnTo>
                <a:lnTo>
                  <a:pt x="195" y="441"/>
                </a:lnTo>
                <a:lnTo>
                  <a:pt x="195" y="446"/>
                </a:lnTo>
                <a:lnTo>
                  <a:pt x="195" y="452"/>
                </a:lnTo>
                <a:lnTo>
                  <a:pt x="196" y="456"/>
                </a:lnTo>
                <a:lnTo>
                  <a:pt x="198" y="461"/>
                </a:lnTo>
                <a:lnTo>
                  <a:pt x="200" y="465"/>
                </a:lnTo>
                <a:lnTo>
                  <a:pt x="203" y="469"/>
                </a:lnTo>
                <a:lnTo>
                  <a:pt x="207" y="472"/>
                </a:lnTo>
                <a:lnTo>
                  <a:pt x="213" y="474"/>
                </a:lnTo>
                <a:lnTo>
                  <a:pt x="211" y="483"/>
                </a:lnTo>
                <a:lnTo>
                  <a:pt x="210" y="489"/>
                </a:lnTo>
                <a:lnTo>
                  <a:pt x="210" y="495"/>
                </a:lnTo>
                <a:lnTo>
                  <a:pt x="211" y="499"/>
                </a:lnTo>
                <a:lnTo>
                  <a:pt x="212" y="509"/>
                </a:lnTo>
                <a:lnTo>
                  <a:pt x="213" y="524"/>
                </a:lnTo>
                <a:lnTo>
                  <a:pt x="221" y="525"/>
                </a:lnTo>
                <a:lnTo>
                  <a:pt x="228" y="528"/>
                </a:lnTo>
                <a:lnTo>
                  <a:pt x="236" y="533"/>
                </a:lnTo>
                <a:lnTo>
                  <a:pt x="244" y="539"/>
                </a:lnTo>
                <a:lnTo>
                  <a:pt x="250" y="546"/>
                </a:lnTo>
                <a:lnTo>
                  <a:pt x="255" y="553"/>
                </a:lnTo>
                <a:lnTo>
                  <a:pt x="258" y="560"/>
                </a:lnTo>
                <a:lnTo>
                  <a:pt x="259" y="567"/>
                </a:lnTo>
                <a:lnTo>
                  <a:pt x="259" y="571"/>
                </a:lnTo>
                <a:lnTo>
                  <a:pt x="258" y="575"/>
                </a:lnTo>
                <a:lnTo>
                  <a:pt x="257" y="579"/>
                </a:lnTo>
                <a:lnTo>
                  <a:pt x="255" y="583"/>
                </a:lnTo>
                <a:lnTo>
                  <a:pt x="250" y="590"/>
                </a:lnTo>
                <a:lnTo>
                  <a:pt x="245" y="596"/>
                </a:lnTo>
                <a:lnTo>
                  <a:pt x="232" y="604"/>
                </a:lnTo>
                <a:lnTo>
                  <a:pt x="219" y="610"/>
                </a:lnTo>
                <a:lnTo>
                  <a:pt x="216" y="603"/>
                </a:lnTo>
                <a:lnTo>
                  <a:pt x="214" y="596"/>
                </a:lnTo>
                <a:lnTo>
                  <a:pt x="213" y="587"/>
                </a:lnTo>
                <a:lnTo>
                  <a:pt x="213" y="580"/>
                </a:lnTo>
                <a:lnTo>
                  <a:pt x="213" y="573"/>
                </a:lnTo>
                <a:lnTo>
                  <a:pt x="212" y="566"/>
                </a:lnTo>
                <a:lnTo>
                  <a:pt x="210" y="560"/>
                </a:lnTo>
                <a:lnTo>
                  <a:pt x="206" y="555"/>
                </a:lnTo>
                <a:lnTo>
                  <a:pt x="203" y="550"/>
                </a:lnTo>
                <a:lnTo>
                  <a:pt x="199" y="546"/>
                </a:lnTo>
                <a:lnTo>
                  <a:pt x="193" y="542"/>
                </a:lnTo>
                <a:lnTo>
                  <a:pt x="188" y="537"/>
                </a:lnTo>
                <a:lnTo>
                  <a:pt x="173" y="528"/>
                </a:lnTo>
                <a:lnTo>
                  <a:pt x="158" y="519"/>
                </a:lnTo>
                <a:lnTo>
                  <a:pt x="144" y="510"/>
                </a:lnTo>
                <a:lnTo>
                  <a:pt x="132" y="499"/>
                </a:lnTo>
                <a:lnTo>
                  <a:pt x="126" y="494"/>
                </a:lnTo>
                <a:lnTo>
                  <a:pt x="123" y="488"/>
                </a:lnTo>
                <a:lnTo>
                  <a:pt x="121" y="482"/>
                </a:lnTo>
                <a:lnTo>
                  <a:pt x="120" y="474"/>
                </a:lnTo>
                <a:lnTo>
                  <a:pt x="121" y="468"/>
                </a:lnTo>
                <a:lnTo>
                  <a:pt x="124" y="461"/>
                </a:lnTo>
                <a:lnTo>
                  <a:pt x="128" y="456"/>
                </a:lnTo>
                <a:lnTo>
                  <a:pt x="133" y="450"/>
                </a:lnTo>
                <a:lnTo>
                  <a:pt x="138" y="444"/>
                </a:lnTo>
                <a:lnTo>
                  <a:pt x="143" y="438"/>
                </a:lnTo>
                <a:lnTo>
                  <a:pt x="145" y="432"/>
                </a:lnTo>
                <a:lnTo>
                  <a:pt x="146" y="426"/>
                </a:lnTo>
                <a:lnTo>
                  <a:pt x="146" y="420"/>
                </a:lnTo>
                <a:lnTo>
                  <a:pt x="145" y="415"/>
                </a:lnTo>
                <a:lnTo>
                  <a:pt x="144" y="411"/>
                </a:lnTo>
                <a:lnTo>
                  <a:pt x="142" y="406"/>
                </a:lnTo>
                <a:lnTo>
                  <a:pt x="136" y="399"/>
                </a:lnTo>
                <a:lnTo>
                  <a:pt x="128" y="391"/>
                </a:lnTo>
                <a:lnTo>
                  <a:pt x="120" y="385"/>
                </a:lnTo>
                <a:lnTo>
                  <a:pt x="111" y="378"/>
                </a:lnTo>
                <a:lnTo>
                  <a:pt x="100" y="372"/>
                </a:lnTo>
                <a:lnTo>
                  <a:pt x="89" y="366"/>
                </a:lnTo>
                <a:lnTo>
                  <a:pt x="78" y="359"/>
                </a:lnTo>
                <a:lnTo>
                  <a:pt x="68" y="353"/>
                </a:lnTo>
                <a:lnTo>
                  <a:pt x="57" y="347"/>
                </a:lnTo>
                <a:lnTo>
                  <a:pt x="48" y="339"/>
                </a:lnTo>
                <a:lnTo>
                  <a:pt x="41" y="332"/>
                </a:lnTo>
                <a:lnTo>
                  <a:pt x="34" y="323"/>
                </a:lnTo>
                <a:lnTo>
                  <a:pt x="32" y="318"/>
                </a:lnTo>
                <a:lnTo>
                  <a:pt x="30" y="313"/>
                </a:lnTo>
                <a:lnTo>
                  <a:pt x="27" y="307"/>
                </a:lnTo>
                <a:lnTo>
                  <a:pt x="27" y="302"/>
                </a:lnTo>
                <a:lnTo>
                  <a:pt x="34" y="302"/>
                </a:lnTo>
                <a:lnTo>
                  <a:pt x="41" y="301"/>
                </a:lnTo>
                <a:lnTo>
                  <a:pt x="46" y="300"/>
                </a:lnTo>
                <a:lnTo>
                  <a:pt x="50" y="298"/>
                </a:lnTo>
                <a:lnTo>
                  <a:pt x="55" y="297"/>
                </a:lnTo>
                <a:lnTo>
                  <a:pt x="59" y="294"/>
                </a:lnTo>
                <a:lnTo>
                  <a:pt x="62" y="292"/>
                </a:lnTo>
                <a:lnTo>
                  <a:pt x="65" y="289"/>
                </a:lnTo>
                <a:lnTo>
                  <a:pt x="69" y="282"/>
                </a:lnTo>
                <a:lnTo>
                  <a:pt x="71" y="274"/>
                </a:lnTo>
                <a:lnTo>
                  <a:pt x="73" y="264"/>
                </a:lnTo>
                <a:lnTo>
                  <a:pt x="73" y="252"/>
                </a:lnTo>
                <a:lnTo>
                  <a:pt x="73" y="247"/>
                </a:lnTo>
                <a:lnTo>
                  <a:pt x="72" y="242"/>
                </a:lnTo>
                <a:lnTo>
                  <a:pt x="71" y="237"/>
                </a:lnTo>
                <a:lnTo>
                  <a:pt x="69" y="233"/>
                </a:lnTo>
                <a:lnTo>
                  <a:pt x="64" y="225"/>
                </a:lnTo>
                <a:lnTo>
                  <a:pt x="58" y="217"/>
                </a:lnTo>
                <a:lnTo>
                  <a:pt x="43" y="205"/>
                </a:lnTo>
                <a:lnTo>
                  <a:pt x="27" y="191"/>
                </a:lnTo>
                <a:lnTo>
                  <a:pt x="19" y="176"/>
                </a:lnTo>
                <a:lnTo>
                  <a:pt x="13" y="163"/>
                </a:lnTo>
                <a:lnTo>
                  <a:pt x="10" y="151"/>
                </a:lnTo>
                <a:lnTo>
                  <a:pt x="9" y="139"/>
                </a:lnTo>
                <a:lnTo>
                  <a:pt x="8" y="128"/>
                </a:lnTo>
                <a:lnTo>
                  <a:pt x="6" y="117"/>
                </a:lnTo>
                <a:lnTo>
                  <a:pt x="4" y="106"/>
                </a:lnTo>
                <a:lnTo>
                  <a:pt x="0" y="93"/>
                </a:lnTo>
                <a:lnTo>
                  <a:pt x="0" y="50"/>
                </a:lnTo>
                <a:lnTo>
                  <a:pt x="1" y="36"/>
                </a:lnTo>
                <a:lnTo>
                  <a:pt x="3" y="22"/>
                </a:lnTo>
                <a:lnTo>
                  <a:pt x="5" y="10"/>
                </a:lnTo>
                <a:lnTo>
                  <a:pt x="6" y="0"/>
                </a:lnTo>
                <a:lnTo>
                  <a:pt x="23" y="4"/>
                </a:lnTo>
                <a:lnTo>
                  <a:pt x="38" y="5"/>
                </a:lnTo>
                <a:lnTo>
                  <a:pt x="53" y="6"/>
                </a:lnTo>
                <a:lnTo>
                  <a:pt x="66" y="5"/>
                </a:lnTo>
                <a:lnTo>
                  <a:pt x="92" y="2"/>
                </a:lnTo>
                <a:lnTo>
                  <a:pt x="120" y="0"/>
                </a:lnTo>
                <a:lnTo>
                  <a:pt x="140" y="1"/>
                </a:lnTo>
                <a:lnTo>
                  <a:pt x="159" y="4"/>
                </a:lnTo>
                <a:lnTo>
                  <a:pt x="178" y="7"/>
                </a:lnTo>
                <a:lnTo>
                  <a:pt x="194" y="13"/>
                </a:lnTo>
                <a:lnTo>
                  <a:pt x="211" y="18"/>
                </a:lnTo>
                <a:lnTo>
                  <a:pt x="226" y="25"/>
                </a:lnTo>
                <a:lnTo>
                  <a:pt x="243" y="33"/>
                </a:lnTo>
                <a:lnTo>
                  <a:pt x="258" y="41"/>
                </a:lnTo>
                <a:lnTo>
                  <a:pt x="273" y="48"/>
                </a:lnTo>
                <a:lnTo>
                  <a:pt x="290" y="55"/>
                </a:lnTo>
                <a:lnTo>
                  <a:pt x="306" y="62"/>
                </a:lnTo>
                <a:lnTo>
                  <a:pt x="324" y="68"/>
                </a:lnTo>
                <a:lnTo>
                  <a:pt x="342" y="73"/>
                </a:lnTo>
                <a:lnTo>
                  <a:pt x="361" y="76"/>
                </a:lnTo>
                <a:lnTo>
                  <a:pt x="383" y="79"/>
                </a:lnTo>
                <a:lnTo>
                  <a:pt x="405" y="80"/>
                </a:lnTo>
                <a:lnTo>
                  <a:pt x="419" y="79"/>
                </a:lnTo>
                <a:lnTo>
                  <a:pt x="432" y="78"/>
                </a:lnTo>
                <a:lnTo>
                  <a:pt x="443" y="77"/>
                </a:lnTo>
                <a:lnTo>
                  <a:pt x="452" y="74"/>
                </a:lnTo>
                <a:lnTo>
                  <a:pt x="470" y="68"/>
                </a:lnTo>
                <a:lnTo>
                  <a:pt x="484" y="62"/>
                </a:lnTo>
                <a:lnTo>
                  <a:pt x="498" y="55"/>
                </a:lnTo>
                <a:lnTo>
                  <a:pt x="515" y="49"/>
                </a:lnTo>
                <a:lnTo>
                  <a:pt x="524" y="47"/>
                </a:lnTo>
                <a:lnTo>
                  <a:pt x="534" y="45"/>
                </a:lnTo>
                <a:lnTo>
                  <a:pt x="546" y="44"/>
                </a:lnTo>
                <a:lnTo>
                  <a:pt x="559" y="44"/>
                </a:lnTo>
                <a:lnTo>
                  <a:pt x="569" y="44"/>
                </a:lnTo>
                <a:lnTo>
                  <a:pt x="577" y="46"/>
                </a:lnTo>
                <a:lnTo>
                  <a:pt x="585" y="50"/>
                </a:lnTo>
                <a:lnTo>
                  <a:pt x="593" y="54"/>
                </a:lnTo>
                <a:lnTo>
                  <a:pt x="598" y="59"/>
                </a:lnTo>
                <a:lnTo>
                  <a:pt x="603" y="65"/>
                </a:lnTo>
                <a:lnTo>
                  <a:pt x="607" y="71"/>
                </a:lnTo>
                <a:lnTo>
                  <a:pt x="610" y="77"/>
                </a:lnTo>
                <a:lnTo>
                  <a:pt x="617" y="90"/>
                </a:lnTo>
                <a:lnTo>
                  <a:pt x="622" y="101"/>
                </a:lnTo>
                <a:lnTo>
                  <a:pt x="626" y="105"/>
                </a:lnTo>
                <a:lnTo>
                  <a:pt x="629" y="108"/>
                </a:lnTo>
                <a:lnTo>
                  <a:pt x="633" y="110"/>
                </a:lnTo>
                <a:lnTo>
                  <a:pt x="638" y="111"/>
                </a:lnTo>
                <a:lnTo>
                  <a:pt x="642" y="121"/>
                </a:lnTo>
                <a:lnTo>
                  <a:pt x="649" y="134"/>
                </a:lnTo>
                <a:lnTo>
                  <a:pt x="658" y="151"/>
                </a:lnTo>
                <a:lnTo>
                  <a:pt x="667" y="169"/>
                </a:lnTo>
                <a:lnTo>
                  <a:pt x="678" y="186"/>
                </a:lnTo>
                <a:lnTo>
                  <a:pt x="689" y="202"/>
                </a:lnTo>
                <a:lnTo>
                  <a:pt x="695" y="209"/>
                </a:lnTo>
                <a:lnTo>
                  <a:pt x="700" y="215"/>
                </a:lnTo>
                <a:lnTo>
                  <a:pt x="706" y="219"/>
                </a:lnTo>
                <a:lnTo>
                  <a:pt x="711" y="222"/>
                </a:lnTo>
                <a:lnTo>
                  <a:pt x="738" y="222"/>
                </a:lnTo>
                <a:lnTo>
                  <a:pt x="738" y="217"/>
                </a:lnTo>
                <a:lnTo>
                  <a:pt x="739" y="211"/>
                </a:lnTo>
                <a:lnTo>
                  <a:pt x="741" y="206"/>
                </a:lnTo>
                <a:lnTo>
                  <a:pt x="743" y="202"/>
                </a:lnTo>
                <a:lnTo>
                  <a:pt x="747" y="196"/>
                </a:lnTo>
                <a:lnTo>
                  <a:pt x="750" y="192"/>
                </a:lnTo>
                <a:lnTo>
                  <a:pt x="754" y="189"/>
                </a:lnTo>
                <a:lnTo>
                  <a:pt x="759" y="185"/>
                </a:lnTo>
                <a:lnTo>
                  <a:pt x="768" y="180"/>
                </a:lnTo>
                <a:lnTo>
                  <a:pt x="779" y="176"/>
                </a:lnTo>
                <a:lnTo>
                  <a:pt x="792" y="173"/>
                </a:lnTo>
                <a:lnTo>
                  <a:pt x="805" y="173"/>
                </a:lnTo>
                <a:lnTo>
                  <a:pt x="810" y="173"/>
                </a:lnTo>
                <a:lnTo>
                  <a:pt x="816" y="174"/>
                </a:lnTo>
                <a:lnTo>
                  <a:pt x="822" y="176"/>
                </a:lnTo>
                <a:lnTo>
                  <a:pt x="828" y="178"/>
                </a:lnTo>
                <a:lnTo>
                  <a:pt x="833" y="181"/>
                </a:lnTo>
                <a:lnTo>
                  <a:pt x="838" y="185"/>
                </a:lnTo>
                <a:lnTo>
                  <a:pt x="843" y="189"/>
                </a:lnTo>
                <a:lnTo>
                  <a:pt x="848" y="193"/>
                </a:lnTo>
                <a:lnTo>
                  <a:pt x="856" y="205"/>
                </a:lnTo>
                <a:lnTo>
                  <a:pt x="865" y="217"/>
                </a:lnTo>
                <a:lnTo>
                  <a:pt x="872" y="230"/>
                </a:lnTo>
                <a:lnTo>
                  <a:pt x="879" y="244"/>
                </a:lnTo>
                <a:lnTo>
                  <a:pt x="885" y="260"/>
                </a:lnTo>
                <a:lnTo>
                  <a:pt x="889" y="275"/>
                </a:lnTo>
                <a:lnTo>
                  <a:pt x="894" y="290"/>
                </a:lnTo>
                <a:lnTo>
                  <a:pt x="898" y="305"/>
                </a:lnTo>
                <a:lnTo>
                  <a:pt x="900" y="320"/>
                </a:lnTo>
                <a:lnTo>
                  <a:pt x="902" y="334"/>
                </a:lnTo>
                <a:lnTo>
                  <a:pt x="904" y="346"/>
                </a:lnTo>
                <a:lnTo>
                  <a:pt x="904" y="357"/>
                </a:lnTo>
                <a:lnTo>
                  <a:pt x="905" y="362"/>
                </a:lnTo>
                <a:lnTo>
                  <a:pt x="906" y="367"/>
                </a:lnTo>
                <a:lnTo>
                  <a:pt x="908" y="372"/>
                </a:lnTo>
                <a:lnTo>
                  <a:pt x="910" y="376"/>
                </a:lnTo>
                <a:lnTo>
                  <a:pt x="918" y="384"/>
                </a:lnTo>
                <a:lnTo>
                  <a:pt x="928" y="391"/>
                </a:lnTo>
                <a:lnTo>
                  <a:pt x="939" y="398"/>
                </a:lnTo>
                <a:lnTo>
                  <a:pt x="952" y="402"/>
                </a:lnTo>
                <a:lnTo>
                  <a:pt x="957" y="404"/>
                </a:lnTo>
                <a:lnTo>
                  <a:pt x="964" y="405"/>
                </a:lnTo>
                <a:lnTo>
                  <a:pt x="971" y="406"/>
                </a:lnTo>
                <a:lnTo>
                  <a:pt x="977" y="407"/>
                </a:lnTo>
                <a:lnTo>
                  <a:pt x="977" y="394"/>
                </a:lnTo>
                <a:lnTo>
                  <a:pt x="976" y="414"/>
                </a:lnTo>
                <a:lnTo>
                  <a:pt x="975" y="430"/>
                </a:lnTo>
                <a:lnTo>
                  <a:pt x="974" y="437"/>
                </a:lnTo>
                <a:lnTo>
                  <a:pt x="974" y="443"/>
                </a:lnTo>
                <a:lnTo>
                  <a:pt x="975" y="449"/>
                </a:lnTo>
                <a:lnTo>
                  <a:pt x="977" y="456"/>
                </a:lnTo>
                <a:lnTo>
                  <a:pt x="971" y="457"/>
                </a:lnTo>
                <a:lnTo>
                  <a:pt x="964" y="458"/>
                </a:lnTo>
                <a:lnTo>
                  <a:pt x="958" y="461"/>
                </a:lnTo>
                <a:lnTo>
                  <a:pt x="953" y="464"/>
                </a:lnTo>
                <a:lnTo>
                  <a:pt x="949" y="467"/>
                </a:lnTo>
                <a:lnTo>
                  <a:pt x="944" y="471"/>
                </a:lnTo>
                <a:lnTo>
                  <a:pt x="940" y="475"/>
                </a:lnTo>
                <a:lnTo>
                  <a:pt x="936" y="481"/>
                </a:lnTo>
                <a:lnTo>
                  <a:pt x="931" y="492"/>
                </a:lnTo>
                <a:lnTo>
                  <a:pt x="926" y="504"/>
                </a:lnTo>
                <a:lnTo>
                  <a:pt x="922" y="517"/>
                </a:lnTo>
                <a:lnTo>
                  <a:pt x="920" y="531"/>
                </a:lnTo>
                <a:lnTo>
                  <a:pt x="918" y="546"/>
                </a:lnTo>
                <a:lnTo>
                  <a:pt x="917" y="561"/>
                </a:lnTo>
                <a:lnTo>
                  <a:pt x="917" y="575"/>
                </a:lnTo>
                <a:lnTo>
                  <a:pt x="917" y="590"/>
                </a:lnTo>
                <a:lnTo>
                  <a:pt x="917" y="615"/>
                </a:lnTo>
                <a:lnTo>
                  <a:pt x="917" y="634"/>
                </a:lnTo>
                <a:lnTo>
                  <a:pt x="917" y="654"/>
                </a:lnTo>
                <a:lnTo>
                  <a:pt x="918" y="685"/>
                </a:lnTo>
                <a:lnTo>
                  <a:pt x="919" y="702"/>
                </a:lnTo>
                <a:lnTo>
                  <a:pt x="920" y="717"/>
                </a:lnTo>
                <a:lnTo>
                  <a:pt x="921" y="730"/>
                </a:lnTo>
                <a:lnTo>
                  <a:pt x="923" y="739"/>
                </a:lnTo>
                <a:lnTo>
                  <a:pt x="933" y="758"/>
                </a:lnTo>
                <a:lnTo>
                  <a:pt x="947" y="780"/>
                </a:lnTo>
                <a:lnTo>
                  <a:pt x="956" y="791"/>
                </a:lnTo>
                <a:lnTo>
                  <a:pt x="965" y="803"/>
                </a:lnTo>
                <a:lnTo>
                  <a:pt x="975" y="816"/>
                </a:lnTo>
                <a:lnTo>
                  <a:pt x="985" y="827"/>
                </a:lnTo>
                <a:lnTo>
                  <a:pt x="996" y="838"/>
                </a:lnTo>
                <a:lnTo>
                  <a:pt x="1007" y="848"/>
                </a:lnTo>
                <a:lnTo>
                  <a:pt x="1019" y="857"/>
                </a:lnTo>
                <a:lnTo>
                  <a:pt x="1030" y="865"/>
                </a:lnTo>
                <a:lnTo>
                  <a:pt x="1042" y="872"/>
                </a:lnTo>
                <a:lnTo>
                  <a:pt x="1054" y="877"/>
                </a:lnTo>
                <a:lnTo>
                  <a:pt x="1065" y="880"/>
                </a:lnTo>
                <a:lnTo>
                  <a:pt x="1077" y="881"/>
                </a:lnTo>
                <a:lnTo>
                  <a:pt x="1090" y="877"/>
                </a:lnTo>
                <a:lnTo>
                  <a:pt x="1114" y="865"/>
                </a:lnTo>
                <a:lnTo>
                  <a:pt x="1126" y="860"/>
                </a:lnTo>
                <a:lnTo>
                  <a:pt x="1140" y="855"/>
                </a:lnTo>
                <a:lnTo>
                  <a:pt x="1149" y="852"/>
                </a:lnTo>
                <a:lnTo>
                  <a:pt x="1156" y="850"/>
                </a:lnTo>
                <a:lnTo>
                  <a:pt x="1166" y="849"/>
                </a:lnTo>
                <a:lnTo>
                  <a:pt x="1178" y="849"/>
                </a:lnTo>
                <a:lnTo>
                  <a:pt x="1192" y="851"/>
                </a:lnTo>
                <a:lnTo>
                  <a:pt x="1208" y="852"/>
                </a:lnTo>
                <a:lnTo>
                  <a:pt x="1222" y="854"/>
                </a:lnTo>
                <a:lnTo>
                  <a:pt x="1235" y="854"/>
                </a:lnTo>
                <a:lnTo>
                  <a:pt x="1240" y="854"/>
                </a:lnTo>
                <a:lnTo>
                  <a:pt x="1244" y="853"/>
                </a:lnTo>
                <a:lnTo>
                  <a:pt x="1247" y="852"/>
                </a:lnTo>
                <a:lnTo>
                  <a:pt x="1249" y="850"/>
                </a:lnTo>
                <a:lnTo>
                  <a:pt x="1257" y="842"/>
                </a:lnTo>
                <a:lnTo>
                  <a:pt x="1264" y="834"/>
                </a:lnTo>
                <a:lnTo>
                  <a:pt x="1269" y="826"/>
                </a:lnTo>
                <a:lnTo>
                  <a:pt x="1274" y="818"/>
                </a:lnTo>
                <a:lnTo>
                  <a:pt x="1280" y="801"/>
                </a:lnTo>
                <a:lnTo>
                  <a:pt x="1285" y="785"/>
                </a:lnTo>
                <a:lnTo>
                  <a:pt x="1288" y="768"/>
                </a:lnTo>
                <a:lnTo>
                  <a:pt x="1292" y="750"/>
                </a:lnTo>
                <a:lnTo>
                  <a:pt x="1296" y="742"/>
                </a:lnTo>
                <a:lnTo>
                  <a:pt x="1299" y="733"/>
                </a:lnTo>
                <a:lnTo>
                  <a:pt x="1303" y="724"/>
                </a:lnTo>
                <a:lnTo>
                  <a:pt x="1309" y="715"/>
                </a:lnTo>
                <a:lnTo>
                  <a:pt x="1311" y="712"/>
                </a:lnTo>
                <a:lnTo>
                  <a:pt x="1313" y="709"/>
                </a:lnTo>
                <a:lnTo>
                  <a:pt x="1315" y="706"/>
                </a:lnTo>
                <a:lnTo>
                  <a:pt x="1319" y="703"/>
                </a:lnTo>
                <a:lnTo>
                  <a:pt x="1326" y="697"/>
                </a:lnTo>
                <a:lnTo>
                  <a:pt x="1336" y="693"/>
                </a:lnTo>
                <a:lnTo>
                  <a:pt x="1347" y="690"/>
                </a:lnTo>
                <a:lnTo>
                  <a:pt x="1359" y="687"/>
                </a:lnTo>
                <a:lnTo>
                  <a:pt x="1373" y="684"/>
                </a:lnTo>
                <a:lnTo>
                  <a:pt x="1387" y="682"/>
                </a:lnTo>
                <a:lnTo>
                  <a:pt x="1416" y="680"/>
                </a:lnTo>
                <a:lnTo>
                  <a:pt x="1446" y="678"/>
                </a:lnTo>
                <a:lnTo>
                  <a:pt x="1472" y="678"/>
                </a:lnTo>
                <a:lnTo>
                  <a:pt x="1495" y="678"/>
                </a:lnTo>
                <a:lnTo>
                  <a:pt x="1506" y="678"/>
                </a:lnTo>
                <a:lnTo>
                  <a:pt x="1522" y="678"/>
                </a:lnTo>
                <a:lnTo>
                  <a:pt x="1524" y="684"/>
                </a:lnTo>
                <a:lnTo>
                  <a:pt x="1528" y="693"/>
                </a:lnTo>
                <a:lnTo>
                  <a:pt x="1533" y="703"/>
                </a:lnTo>
                <a:lnTo>
                  <a:pt x="1535" y="709"/>
                </a:lnTo>
                <a:lnTo>
                  <a:pt x="1526" y="714"/>
                </a:lnTo>
                <a:lnTo>
                  <a:pt x="1515" y="720"/>
                </a:lnTo>
                <a:lnTo>
                  <a:pt x="1510" y="724"/>
                </a:lnTo>
                <a:lnTo>
                  <a:pt x="1503" y="729"/>
                </a:lnTo>
                <a:lnTo>
                  <a:pt x="1498" y="735"/>
                </a:lnTo>
                <a:lnTo>
                  <a:pt x="1492" y="741"/>
                </a:lnTo>
                <a:lnTo>
                  <a:pt x="1487" y="748"/>
                </a:lnTo>
                <a:lnTo>
                  <a:pt x="1481" y="758"/>
                </a:lnTo>
                <a:lnTo>
                  <a:pt x="1477" y="767"/>
                </a:lnTo>
                <a:lnTo>
                  <a:pt x="1473" y="778"/>
                </a:lnTo>
                <a:lnTo>
                  <a:pt x="1470" y="791"/>
                </a:lnTo>
                <a:lnTo>
                  <a:pt x="1469" y="804"/>
                </a:lnTo>
                <a:lnTo>
                  <a:pt x="1468" y="821"/>
                </a:lnTo>
                <a:lnTo>
                  <a:pt x="1469" y="838"/>
                </a:lnTo>
                <a:lnTo>
                  <a:pt x="1455" y="854"/>
                </a:lnTo>
                <a:lnTo>
                  <a:pt x="1444" y="868"/>
                </a:lnTo>
                <a:lnTo>
                  <a:pt x="1435" y="878"/>
                </a:lnTo>
                <a:lnTo>
                  <a:pt x="1428" y="888"/>
                </a:lnTo>
                <a:lnTo>
                  <a:pt x="1414" y="888"/>
                </a:lnTo>
                <a:lnTo>
                  <a:pt x="1401" y="888"/>
                </a:lnTo>
                <a:lnTo>
                  <a:pt x="1387" y="888"/>
                </a:lnTo>
                <a:lnTo>
                  <a:pt x="1369" y="888"/>
                </a:lnTo>
                <a:lnTo>
                  <a:pt x="1367" y="888"/>
                </a:lnTo>
                <a:lnTo>
                  <a:pt x="1359" y="888"/>
                </a:lnTo>
                <a:lnTo>
                  <a:pt x="1349" y="888"/>
                </a:lnTo>
                <a:lnTo>
                  <a:pt x="1336" y="888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196" name="Freeform 194"/>
          <p:cNvSpPr>
            <a:spLocks/>
          </p:cNvSpPr>
          <p:nvPr userDrawn="1">
            <p:custDataLst>
              <p:tags r:id="rId120"/>
            </p:custDataLst>
          </p:nvPr>
        </p:nvSpPr>
        <p:spPr bwMode="auto">
          <a:xfrm>
            <a:off x="2557464" y="3400437"/>
            <a:ext cx="211138" cy="198835"/>
          </a:xfrm>
          <a:custGeom>
            <a:avLst/>
            <a:gdLst>
              <a:gd name="T0" fmla="*/ 2642266 w 486"/>
              <a:gd name="T1" fmla="*/ 48505709 h 505"/>
              <a:gd name="T2" fmla="*/ 5851043 w 486"/>
              <a:gd name="T3" fmla="*/ 54568658 h 505"/>
              <a:gd name="T4" fmla="*/ 9625461 w 486"/>
              <a:gd name="T5" fmla="*/ 63938957 h 505"/>
              <a:gd name="T6" fmla="*/ 15476505 w 486"/>
              <a:gd name="T7" fmla="*/ 73309797 h 505"/>
              <a:gd name="T8" fmla="*/ 23780830 w 486"/>
              <a:gd name="T9" fmla="*/ 80750808 h 505"/>
              <a:gd name="T10" fmla="*/ 32085596 w 486"/>
              <a:gd name="T11" fmla="*/ 85436220 h 505"/>
              <a:gd name="T12" fmla="*/ 46429509 w 486"/>
              <a:gd name="T13" fmla="*/ 90396719 h 505"/>
              <a:gd name="T14" fmla="*/ 55677872 w 486"/>
              <a:gd name="T15" fmla="*/ 94806519 h 505"/>
              <a:gd name="T16" fmla="*/ 56432929 w 486"/>
              <a:gd name="T17" fmla="*/ 105003655 h 505"/>
              <a:gd name="T18" fmla="*/ 52280550 w 486"/>
              <a:gd name="T19" fmla="*/ 115200791 h 505"/>
              <a:gd name="T20" fmla="*/ 50393341 w 486"/>
              <a:gd name="T21" fmla="*/ 122090577 h 505"/>
              <a:gd name="T22" fmla="*/ 50204360 w 486"/>
              <a:gd name="T23" fmla="*/ 127602826 h 505"/>
              <a:gd name="T24" fmla="*/ 52469097 w 486"/>
              <a:gd name="T25" fmla="*/ 132839463 h 505"/>
              <a:gd name="T26" fmla="*/ 56432929 w 486"/>
              <a:gd name="T27" fmla="*/ 136146287 h 505"/>
              <a:gd name="T28" fmla="*/ 64925815 w 486"/>
              <a:gd name="T29" fmla="*/ 138902445 h 505"/>
              <a:gd name="T30" fmla="*/ 73041592 w 486"/>
              <a:gd name="T31" fmla="*/ 138902445 h 505"/>
              <a:gd name="T32" fmla="*/ 78326558 w 486"/>
              <a:gd name="T33" fmla="*/ 136146287 h 505"/>
              <a:gd name="T34" fmla="*/ 84177164 w 486"/>
              <a:gd name="T35" fmla="*/ 130634563 h 505"/>
              <a:gd name="T36" fmla="*/ 89273148 w 486"/>
              <a:gd name="T37" fmla="*/ 123193027 h 505"/>
              <a:gd name="T38" fmla="*/ 91538319 w 486"/>
              <a:gd name="T39" fmla="*/ 115200791 h 505"/>
              <a:gd name="T40" fmla="*/ 91349338 w 486"/>
              <a:gd name="T41" fmla="*/ 109413454 h 505"/>
              <a:gd name="T42" fmla="*/ 90216752 w 486"/>
              <a:gd name="T43" fmla="*/ 98665093 h 505"/>
              <a:gd name="T44" fmla="*/ 88895619 w 486"/>
              <a:gd name="T45" fmla="*/ 87089895 h 505"/>
              <a:gd name="T46" fmla="*/ 87763468 w 486"/>
              <a:gd name="T47" fmla="*/ 74412247 h 505"/>
              <a:gd name="T48" fmla="*/ 86064807 w 486"/>
              <a:gd name="T49" fmla="*/ 69451222 h 505"/>
              <a:gd name="T50" fmla="*/ 82856031 w 486"/>
              <a:gd name="T51" fmla="*/ 65868244 h 505"/>
              <a:gd name="T52" fmla="*/ 77949029 w 486"/>
              <a:gd name="T53" fmla="*/ 63938957 h 505"/>
              <a:gd name="T54" fmla="*/ 73985631 w 486"/>
              <a:gd name="T55" fmla="*/ 61183357 h 505"/>
              <a:gd name="T56" fmla="*/ 69833251 w 486"/>
              <a:gd name="T57" fmla="*/ 57049170 h 505"/>
              <a:gd name="T58" fmla="*/ 62283549 w 486"/>
              <a:gd name="T59" fmla="*/ 51813059 h 505"/>
              <a:gd name="T60" fmla="*/ 54734268 w 486"/>
              <a:gd name="T61" fmla="*/ 47403259 h 505"/>
              <a:gd name="T62" fmla="*/ 51525493 w 486"/>
              <a:gd name="T63" fmla="*/ 44095910 h 505"/>
              <a:gd name="T64" fmla="*/ 49826831 w 486"/>
              <a:gd name="T65" fmla="*/ 41615398 h 505"/>
              <a:gd name="T66" fmla="*/ 49260756 w 486"/>
              <a:gd name="T67" fmla="*/ 34449999 h 505"/>
              <a:gd name="T68" fmla="*/ 49260756 w 486"/>
              <a:gd name="T69" fmla="*/ 24804079 h 505"/>
              <a:gd name="T70" fmla="*/ 48128170 w 486"/>
              <a:gd name="T71" fmla="*/ 19567443 h 505"/>
              <a:gd name="T72" fmla="*/ 45485905 w 486"/>
              <a:gd name="T73" fmla="*/ 15158164 h 505"/>
              <a:gd name="T74" fmla="*/ 44164772 w 486"/>
              <a:gd name="T75" fmla="*/ 10197140 h 505"/>
              <a:gd name="T76" fmla="*/ 37559108 w 486"/>
              <a:gd name="T77" fmla="*/ 3307351 h 505"/>
              <a:gd name="T78" fmla="*/ 35105390 w 486"/>
              <a:gd name="T79" fmla="*/ 2204901 h 505"/>
              <a:gd name="T80" fmla="*/ 32651672 w 486"/>
              <a:gd name="T81" fmla="*/ 551225 h 505"/>
              <a:gd name="T82" fmla="*/ 26234548 w 486"/>
              <a:gd name="T83" fmla="*/ 275613 h 505"/>
              <a:gd name="T84" fmla="*/ 13211765 w 486"/>
              <a:gd name="T85" fmla="*/ 3031738 h 505"/>
              <a:gd name="T86" fmla="*/ 7926800 w 486"/>
              <a:gd name="T87" fmla="*/ 5787864 h 505"/>
              <a:gd name="T88" fmla="*/ 4529910 w 486"/>
              <a:gd name="T89" fmla="*/ 10197140 h 505"/>
              <a:gd name="T90" fmla="*/ 3774853 w 486"/>
              <a:gd name="T91" fmla="*/ 17638156 h 505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486"/>
              <a:gd name="T139" fmla="*/ 0 h 505"/>
              <a:gd name="T140" fmla="*/ 486 w 486"/>
              <a:gd name="T141" fmla="*/ 505 h 505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486" h="505">
                <a:moveTo>
                  <a:pt x="0" y="166"/>
                </a:moveTo>
                <a:lnTo>
                  <a:pt x="7" y="171"/>
                </a:lnTo>
                <a:lnTo>
                  <a:pt x="14" y="176"/>
                </a:lnTo>
                <a:lnTo>
                  <a:pt x="19" y="181"/>
                </a:lnTo>
                <a:lnTo>
                  <a:pt x="24" y="186"/>
                </a:lnTo>
                <a:lnTo>
                  <a:pt x="31" y="198"/>
                </a:lnTo>
                <a:lnTo>
                  <a:pt x="39" y="210"/>
                </a:lnTo>
                <a:lnTo>
                  <a:pt x="44" y="221"/>
                </a:lnTo>
                <a:lnTo>
                  <a:pt x="51" y="232"/>
                </a:lnTo>
                <a:lnTo>
                  <a:pt x="58" y="242"/>
                </a:lnTo>
                <a:lnTo>
                  <a:pt x="66" y="253"/>
                </a:lnTo>
                <a:lnTo>
                  <a:pt x="82" y="266"/>
                </a:lnTo>
                <a:lnTo>
                  <a:pt x="96" y="276"/>
                </a:lnTo>
                <a:lnTo>
                  <a:pt x="111" y="285"/>
                </a:lnTo>
                <a:lnTo>
                  <a:pt x="126" y="293"/>
                </a:lnTo>
                <a:lnTo>
                  <a:pt x="140" y="299"/>
                </a:lnTo>
                <a:lnTo>
                  <a:pt x="155" y="305"/>
                </a:lnTo>
                <a:lnTo>
                  <a:pt x="170" y="310"/>
                </a:lnTo>
                <a:lnTo>
                  <a:pt x="185" y="314"/>
                </a:lnTo>
                <a:lnTo>
                  <a:pt x="215" y="321"/>
                </a:lnTo>
                <a:lnTo>
                  <a:pt x="246" y="328"/>
                </a:lnTo>
                <a:lnTo>
                  <a:pt x="262" y="332"/>
                </a:lnTo>
                <a:lnTo>
                  <a:pt x="278" y="338"/>
                </a:lnTo>
                <a:lnTo>
                  <a:pt x="295" y="344"/>
                </a:lnTo>
                <a:lnTo>
                  <a:pt x="312" y="351"/>
                </a:lnTo>
                <a:lnTo>
                  <a:pt x="307" y="367"/>
                </a:lnTo>
                <a:lnTo>
                  <a:pt x="299" y="381"/>
                </a:lnTo>
                <a:lnTo>
                  <a:pt x="291" y="394"/>
                </a:lnTo>
                <a:lnTo>
                  <a:pt x="284" y="406"/>
                </a:lnTo>
                <a:lnTo>
                  <a:pt x="277" y="418"/>
                </a:lnTo>
                <a:lnTo>
                  <a:pt x="272" y="430"/>
                </a:lnTo>
                <a:lnTo>
                  <a:pt x="269" y="436"/>
                </a:lnTo>
                <a:lnTo>
                  <a:pt x="267" y="443"/>
                </a:lnTo>
                <a:lnTo>
                  <a:pt x="266" y="449"/>
                </a:lnTo>
                <a:lnTo>
                  <a:pt x="266" y="456"/>
                </a:lnTo>
                <a:lnTo>
                  <a:pt x="266" y="463"/>
                </a:lnTo>
                <a:lnTo>
                  <a:pt x="269" y="471"/>
                </a:lnTo>
                <a:lnTo>
                  <a:pt x="273" y="477"/>
                </a:lnTo>
                <a:lnTo>
                  <a:pt x="278" y="482"/>
                </a:lnTo>
                <a:lnTo>
                  <a:pt x="284" y="487"/>
                </a:lnTo>
                <a:lnTo>
                  <a:pt x="291" y="491"/>
                </a:lnTo>
                <a:lnTo>
                  <a:pt x="299" y="494"/>
                </a:lnTo>
                <a:lnTo>
                  <a:pt x="308" y="497"/>
                </a:lnTo>
                <a:lnTo>
                  <a:pt x="325" y="501"/>
                </a:lnTo>
                <a:lnTo>
                  <a:pt x="344" y="504"/>
                </a:lnTo>
                <a:lnTo>
                  <a:pt x="363" y="505"/>
                </a:lnTo>
                <a:lnTo>
                  <a:pt x="379" y="505"/>
                </a:lnTo>
                <a:lnTo>
                  <a:pt x="387" y="504"/>
                </a:lnTo>
                <a:lnTo>
                  <a:pt x="396" y="502"/>
                </a:lnTo>
                <a:lnTo>
                  <a:pt x="406" y="499"/>
                </a:lnTo>
                <a:lnTo>
                  <a:pt x="415" y="494"/>
                </a:lnTo>
                <a:lnTo>
                  <a:pt x="426" y="488"/>
                </a:lnTo>
                <a:lnTo>
                  <a:pt x="436" y="482"/>
                </a:lnTo>
                <a:lnTo>
                  <a:pt x="446" y="474"/>
                </a:lnTo>
                <a:lnTo>
                  <a:pt x="456" y="465"/>
                </a:lnTo>
                <a:lnTo>
                  <a:pt x="465" y="456"/>
                </a:lnTo>
                <a:lnTo>
                  <a:pt x="473" y="447"/>
                </a:lnTo>
                <a:lnTo>
                  <a:pt x="478" y="437"/>
                </a:lnTo>
                <a:lnTo>
                  <a:pt x="482" y="428"/>
                </a:lnTo>
                <a:lnTo>
                  <a:pt x="485" y="418"/>
                </a:lnTo>
                <a:lnTo>
                  <a:pt x="486" y="407"/>
                </a:lnTo>
                <a:lnTo>
                  <a:pt x="485" y="402"/>
                </a:lnTo>
                <a:lnTo>
                  <a:pt x="484" y="397"/>
                </a:lnTo>
                <a:lnTo>
                  <a:pt x="481" y="393"/>
                </a:lnTo>
                <a:lnTo>
                  <a:pt x="478" y="388"/>
                </a:lnTo>
                <a:lnTo>
                  <a:pt x="478" y="358"/>
                </a:lnTo>
                <a:lnTo>
                  <a:pt x="475" y="345"/>
                </a:lnTo>
                <a:lnTo>
                  <a:pt x="473" y="331"/>
                </a:lnTo>
                <a:lnTo>
                  <a:pt x="471" y="316"/>
                </a:lnTo>
                <a:lnTo>
                  <a:pt x="470" y="299"/>
                </a:lnTo>
                <a:lnTo>
                  <a:pt x="468" y="284"/>
                </a:lnTo>
                <a:lnTo>
                  <a:pt x="465" y="270"/>
                </a:lnTo>
                <a:lnTo>
                  <a:pt x="463" y="263"/>
                </a:lnTo>
                <a:lnTo>
                  <a:pt x="461" y="257"/>
                </a:lnTo>
                <a:lnTo>
                  <a:pt x="456" y="252"/>
                </a:lnTo>
                <a:lnTo>
                  <a:pt x="452" y="247"/>
                </a:lnTo>
                <a:lnTo>
                  <a:pt x="446" y="242"/>
                </a:lnTo>
                <a:lnTo>
                  <a:pt x="439" y="239"/>
                </a:lnTo>
                <a:lnTo>
                  <a:pt x="431" y="236"/>
                </a:lnTo>
                <a:lnTo>
                  <a:pt x="422" y="234"/>
                </a:lnTo>
                <a:lnTo>
                  <a:pt x="413" y="232"/>
                </a:lnTo>
                <a:lnTo>
                  <a:pt x="406" y="229"/>
                </a:lnTo>
                <a:lnTo>
                  <a:pt x="398" y="226"/>
                </a:lnTo>
                <a:lnTo>
                  <a:pt x="392" y="222"/>
                </a:lnTo>
                <a:lnTo>
                  <a:pt x="386" y="216"/>
                </a:lnTo>
                <a:lnTo>
                  <a:pt x="378" y="212"/>
                </a:lnTo>
                <a:lnTo>
                  <a:pt x="370" y="207"/>
                </a:lnTo>
                <a:lnTo>
                  <a:pt x="363" y="203"/>
                </a:lnTo>
                <a:lnTo>
                  <a:pt x="346" y="196"/>
                </a:lnTo>
                <a:lnTo>
                  <a:pt x="330" y="188"/>
                </a:lnTo>
                <a:lnTo>
                  <a:pt x="313" y="182"/>
                </a:lnTo>
                <a:lnTo>
                  <a:pt x="298" y="176"/>
                </a:lnTo>
                <a:lnTo>
                  <a:pt x="290" y="172"/>
                </a:lnTo>
                <a:lnTo>
                  <a:pt x="284" y="169"/>
                </a:lnTo>
                <a:lnTo>
                  <a:pt x="278" y="165"/>
                </a:lnTo>
                <a:lnTo>
                  <a:pt x="273" y="160"/>
                </a:lnTo>
                <a:lnTo>
                  <a:pt x="269" y="158"/>
                </a:lnTo>
                <a:lnTo>
                  <a:pt x="266" y="154"/>
                </a:lnTo>
                <a:lnTo>
                  <a:pt x="264" y="151"/>
                </a:lnTo>
                <a:lnTo>
                  <a:pt x="263" y="146"/>
                </a:lnTo>
                <a:lnTo>
                  <a:pt x="262" y="136"/>
                </a:lnTo>
                <a:lnTo>
                  <a:pt x="261" y="125"/>
                </a:lnTo>
                <a:lnTo>
                  <a:pt x="261" y="113"/>
                </a:lnTo>
                <a:lnTo>
                  <a:pt x="262" y="101"/>
                </a:lnTo>
                <a:lnTo>
                  <a:pt x="261" y="90"/>
                </a:lnTo>
                <a:lnTo>
                  <a:pt x="260" y="81"/>
                </a:lnTo>
                <a:lnTo>
                  <a:pt x="258" y="75"/>
                </a:lnTo>
                <a:lnTo>
                  <a:pt x="255" y="71"/>
                </a:lnTo>
                <a:lnTo>
                  <a:pt x="251" y="67"/>
                </a:lnTo>
                <a:lnTo>
                  <a:pt x="246" y="61"/>
                </a:lnTo>
                <a:lnTo>
                  <a:pt x="241" y="55"/>
                </a:lnTo>
                <a:lnTo>
                  <a:pt x="237" y="47"/>
                </a:lnTo>
                <a:lnTo>
                  <a:pt x="235" y="43"/>
                </a:lnTo>
                <a:lnTo>
                  <a:pt x="234" y="37"/>
                </a:lnTo>
                <a:lnTo>
                  <a:pt x="233" y="32"/>
                </a:lnTo>
                <a:lnTo>
                  <a:pt x="233" y="25"/>
                </a:lnTo>
                <a:lnTo>
                  <a:pt x="199" y="12"/>
                </a:lnTo>
                <a:lnTo>
                  <a:pt x="195" y="12"/>
                </a:lnTo>
                <a:lnTo>
                  <a:pt x="190" y="10"/>
                </a:lnTo>
                <a:lnTo>
                  <a:pt x="186" y="8"/>
                </a:lnTo>
                <a:lnTo>
                  <a:pt x="182" y="6"/>
                </a:lnTo>
                <a:lnTo>
                  <a:pt x="177" y="4"/>
                </a:lnTo>
                <a:lnTo>
                  <a:pt x="173" y="2"/>
                </a:lnTo>
                <a:lnTo>
                  <a:pt x="166" y="0"/>
                </a:lnTo>
                <a:lnTo>
                  <a:pt x="160" y="0"/>
                </a:lnTo>
                <a:lnTo>
                  <a:pt x="139" y="1"/>
                </a:lnTo>
                <a:lnTo>
                  <a:pt x="116" y="2"/>
                </a:lnTo>
                <a:lnTo>
                  <a:pt x="92" y="6"/>
                </a:lnTo>
                <a:lnTo>
                  <a:pt x="70" y="11"/>
                </a:lnTo>
                <a:lnTo>
                  <a:pt x="60" y="14"/>
                </a:lnTo>
                <a:lnTo>
                  <a:pt x="50" y="17"/>
                </a:lnTo>
                <a:lnTo>
                  <a:pt x="42" y="21"/>
                </a:lnTo>
                <a:lnTo>
                  <a:pt x="34" y="27"/>
                </a:lnTo>
                <a:lnTo>
                  <a:pt x="28" y="31"/>
                </a:lnTo>
                <a:lnTo>
                  <a:pt x="24" y="37"/>
                </a:lnTo>
                <a:lnTo>
                  <a:pt x="21" y="43"/>
                </a:lnTo>
                <a:lnTo>
                  <a:pt x="20" y="49"/>
                </a:lnTo>
                <a:lnTo>
                  <a:pt x="20" y="64"/>
                </a:lnTo>
                <a:lnTo>
                  <a:pt x="20" y="74"/>
                </a:lnTo>
                <a:lnTo>
                  <a:pt x="0" y="166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197" name="Freeform 195"/>
          <p:cNvSpPr>
            <a:spLocks/>
          </p:cNvSpPr>
          <p:nvPr userDrawn="1">
            <p:custDataLst>
              <p:tags r:id="rId121"/>
            </p:custDataLst>
          </p:nvPr>
        </p:nvSpPr>
        <p:spPr bwMode="auto">
          <a:xfrm>
            <a:off x="2727334" y="2803927"/>
            <a:ext cx="73025" cy="82153"/>
          </a:xfrm>
          <a:custGeom>
            <a:avLst/>
            <a:gdLst>
              <a:gd name="T0" fmla="*/ 1354482 w 166"/>
              <a:gd name="T1" fmla="*/ 50750916 h 208"/>
              <a:gd name="T2" fmla="*/ 15288181 w 166"/>
              <a:gd name="T3" fmla="*/ 57684396 h 208"/>
              <a:gd name="T4" fmla="*/ 16449102 w 166"/>
              <a:gd name="T5" fmla="*/ 57406867 h 208"/>
              <a:gd name="T6" fmla="*/ 17416903 w 166"/>
              <a:gd name="T7" fmla="*/ 56575334 h 208"/>
              <a:gd name="T8" fmla="*/ 18771384 w 166"/>
              <a:gd name="T9" fmla="*/ 54911214 h 208"/>
              <a:gd name="T10" fmla="*/ 20126305 w 166"/>
              <a:gd name="T11" fmla="*/ 53247095 h 208"/>
              <a:gd name="T12" fmla="*/ 22641708 w 166"/>
              <a:gd name="T13" fmla="*/ 48809795 h 208"/>
              <a:gd name="T14" fmla="*/ 25157550 w 166"/>
              <a:gd name="T15" fmla="*/ 43817963 h 208"/>
              <a:gd name="T16" fmla="*/ 29802121 w 166"/>
              <a:gd name="T17" fmla="*/ 33834292 h 208"/>
              <a:gd name="T18" fmla="*/ 32124403 w 166"/>
              <a:gd name="T19" fmla="*/ 28564932 h 208"/>
              <a:gd name="T20" fmla="*/ 27866953 w 166"/>
              <a:gd name="T21" fmla="*/ 26068753 h 208"/>
              <a:gd name="T22" fmla="*/ 24383749 w 166"/>
              <a:gd name="T23" fmla="*/ 23295572 h 208"/>
              <a:gd name="T24" fmla="*/ 20900106 w 166"/>
              <a:gd name="T25" fmla="*/ 20522391 h 208"/>
              <a:gd name="T26" fmla="*/ 17997583 w 166"/>
              <a:gd name="T27" fmla="*/ 17749210 h 208"/>
              <a:gd name="T28" fmla="*/ 16642662 w 166"/>
              <a:gd name="T29" fmla="*/ 16085087 h 208"/>
              <a:gd name="T30" fmla="*/ 15675301 w 166"/>
              <a:gd name="T31" fmla="*/ 14698496 h 208"/>
              <a:gd name="T32" fmla="*/ 14513940 w 166"/>
              <a:gd name="T33" fmla="*/ 13034377 h 208"/>
              <a:gd name="T34" fmla="*/ 13740136 w 166"/>
              <a:gd name="T35" fmla="*/ 11093255 h 208"/>
              <a:gd name="T36" fmla="*/ 12965895 w 166"/>
              <a:gd name="T37" fmla="*/ 9151607 h 208"/>
              <a:gd name="T38" fmla="*/ 12385215 w 166"/>
              <a:gd name="T39" fmla="*/ 7210484 h 208"/>
              <a:gd name="T40" fmla="*/ 11998095 w 166"/>
              <a:gd name="T41" fmla="*/ 4991833 h 208"/>
              <a:gd name="T42" fmla="*/ 11611414 w 166"/>
              <a:gd name="T43" fmla="*/ 3050711 h 208"/>
              <a:gd name="T44" fmla="*/ 9675812 w 166"/>
              <a:gd name="T45" fmla="*/ 2773182 h 208"/>
              <a:gd name="T46" fmla="*/ 8321331 w 166"/>
              <a:gd name="T47" fmla="*/ 2218651 h 208"/>
              <a:gd name="T48" fmla="*/ 7740651 w 166"/>
              <a:gd name="T49" fmla="*/ 1386591 h 208"/>
              <a:gd name="T50" fmla="*/ 7547090 w 166"/>
              <a:gd name="T51" fmla="*/ 832060 h 208"/>
              <a:gd name="T52" fmla="*/ 7353970 w 166"/>
              <a:gd name="T53" fmla="*/ 277529 h 208"/>
              <a:gd name="T54" fmla="*/ 6966848 w 166"/>
              <a:gd name="T55" fmla="*/ 0 h 208"/>
              <a:gd name="T56" fmla="*/ 6192607 w 166"/>
              <a:gd name="T57" fmla="*/ 277529 h 208"/>
              <a:gd name="T58" fmla="*/ 5225246 w 166"/>
              <a:gd name="T59" fmla="*/ 1386591 h 208"/>
              <a:gd name="T60" fmla="*/ 3870325 w 166"/>
              <a:gd name="T61" fmla="*/ 3050711 h 208"/>
              <a:gd name="T62" fmla="*/ 2128723 w 166"/>
              <a:gd name="T63" fmla="*/ 6101422 h 208"/>
              <a:gd name="T64" fmla="*/ 1354482 w 166"/>
              <a:gd name="T65" fmla="*/ 8042543 h 208"/>
              <a:gd name="T66" fmla="*/ 774241 w 166"/>
              <a:gd name="T67" fmla="*/ 10261196 h 208"/>
              <a:gd name="T68" fmla="*/ 387120 w 166"/>
              <a:gd name="T69" fmla="*/ 12479846 h 208"/>
              <a:gd name="T70" fmla="*/ 0 w 166"/>
              <a:gd name="T71" fmla="*/ 14975498 h 208"/>
              <a:gd name="T72" fmla="*/ 0 w 166"/>
              <a:gd name="T73" fmla="*/ 16639617 h 208"/>
              <a:gd name="T74" fmla="*/ 387120 w 166"/>
              <a:gd name="T75" fmla="*/ 18026212 h 208"/>
              <a:gd name="T76" fmla="*/ 580681 w 166"/>
              <a:gd name="T77" fmla="*/ 19412803 h 208"/>
              <a:gd name="T78" fmla="*/ 967801 w 166"/>
              <a:gd name="T79" fmla="*/ 21076922 h 208"/>
              <a:gd name="T80" fmla="*/ 1935163 w 166"/>
              <a:gd name="T81" fmla="*/ 23850103 h 208"/>
              <a:gd name="T82" fmla="*/ 3289644 w 166"/>
              <a:gd name="T83" fmla="*/ 27178342 h 208"/>
              <a:gd name="T84" fmla="*/ 4257446 w 166"/>
              <a:gd name="T85" fmla="*/ 30229052 h 208"/>
              <a:gd name="T86" fmla="*/ 5418367 w 166"/>
              <a:gd name="T87" fmla="*/ 33279235 h 208"/>
              <a:gd name="T88" fmla="*/ 5805487 w 166"/>
              <a:gd name="T89" fmla="*/ 34943362 h 208"/>
              <a:gd name="T90" fmla="*/ 6192607 w 166"/>
              <a:gd name="T91" fmla="*/ 36884484 h 208"/>
              <a:gd name="T92" fmla="*/ 6386168 w 166"/>
              <a:gd name="T93" fmla="*/ 38548603 h 208"/>
              <a:gd name="T94" fmla="*/ 6386168 w 166"/>
              <a:gd name="T95" fmla="*/ 40767253 h 208"/>
              <a:gd name="T96" fmla="*/ 6192607 w 166"/>
              <a:gd name="T97" fmla="*/ 42431373 h 208"/>
              <a:gd name="T98" fmla="*/ 5999047 w 166"/>
              <a:gd name="T99" fmla="*/ 44095492 h 208"/>
              <a:gd name="T100" fmla="*/ 5418367 w 166"/>
              <a:gd name="T101" fmla="*/ 45759085 h 208"/>
              <a:gd name="T102" fmla="*/ 4838126 w 166"/>
              <a:gd name="T103" fmla="*/ 46868673 h 208"/>
              <a:gd name="T104" fmla="*/ 4063885 w 166"/>
              <a:gd name="T105" fmla="*/ 48255264 h 208"/>
              <a:gd name="T106" fmla="*/ 3289644 w 166"/>
              <a:gd name="T107" fmla="*/ 49087323 h 208"/>
              <a:gd name="T108" fmla="*/ 2128723 w 166"/>
              <a:gd name="T109" fmla="*/ 49919383 h 208"/>
              <a:gd name="T110" fmla="*/ 1354482 w 166"/>
              <a:gd name="T111" fmla="*/ 50750916 h 20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166"/>
              <a:gd name="T169" fmla="*/ 0 h 208"/>
              <a:gd name="T170" fmla="*/ 166 w 166"/>
              <a:gd name="T171" fmla="*/ 208 h 208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166" h="208">
                <a:moveTo>
                  <a:pt x="7" y="183"/>
                </a:moveTo>
                <a:lnTo>
                  <a:pt x="79" y="208"/>
                </a:lnTo>
                <a:lnTo>
                  <a:pt x="85" y="207"/>
                </a:lnTo>
                <a:lnTo>
                  <a:pt x="90" y="204"/>
                </a:lnTo>
                <a:lnTo>
                  <a:pt x="97" y="198"/>
                </a:lnTo>
                <a:lnTo>
                  <a:pt x="104" y="192"/>
                </a:lnTo>
                <a:lnTo>
                  <a:pt x="117" y="176"/>
                </a:lnTo>
                <a:lnTo>
                  <a:pt x="130" y="158"/>
                </a:lnTo>
                <a:lnTo>
                  <a:pt x="154" y="122"/>
                </a:lnTo>
                <a:lnTo>
                  <a:pt x="166" y="103"/>
                </a:lnTo>
                <a:lnTo>
                  <a:pt x="144" y="94"/>
                </a:lnTo>
                <a:lnTo>
                  <a:pt x="126" y="84"/>
                </a:lnTo>
                <a:lnTo>
                  <a:pt x="108" y="74"/>
                </a:lnTo>
                <a:lnTo>
                  <a:pt x="93" y="64"/>
                </a:lnTo>
                <a:lnTo>
                  <a:pt x="86" y="58"/>
                </a:lnTo>
                <a:lnTo>
                  <a:pt x="81" y="53"/>
                </a:lnTo>
                <a:lnTo>
                  <a:pt x="75" y="47"/>
                </a:lnTo>
                <a:lnTo>
                  <a:pt x="71" y="40"/>
                </a:lnTo>
                <a:lnTo>
                  <a:pt x="67" y="33"/>
                </a:lnTo>
                <a:lnTo>
                  <a:pt x="64" y="26"/>
                </a:lnTo>
                <a:lnTo>
                  <a:pt x="62" y="18"/>
                </a:lnTo>
                <a:lnTo>
                  <a:pt x="60" y="11"/>
                </a:lnTo>
                <a:lnTo>
                  <a:pt x="50" y="10"/>
                </a:lnTo>
                <a:lnTo>
                  <a:pt x="43" y="8"/>
                </a:lnTo>
                <a:lnTo>
                  <a:pt x="40" y="5"/>
                </a:lnTo>
                <a:lnTo>
                  <a:pt x="39" y="3"/>
                </a:lnTo>
                <a:lnTo>
                  <a:pt x="38" y="1"/>
                </a:lnTo>
                <a:lnTo>
                  <a:pt x="36" y="0"/>
                </a:lnTo>
                <a:lnTo>
                  <a:pt x="32" y="1"/>
                </a:lnTo>
                <a:lnTo>
                  <a:pt x="27" y="5"/>
                </a:lnTo>
                <a:lnTo>
                  <a:pt x="20" y="11"/>
                </a:lnTo>
                <a:lnTo>
                  <a:pt x="11" y="22"/>
                </a:lnTo>
                <a:lnTo>
                  <a:pt x="7" y="29"/>
                </a:lnTo>
                <a:lnTo>
                  <a:pt x="4" y="37"/>
                </a:lnTo>
                <a:lnTo>
                  <a:pt x="2" y="45"/>
                </a:lnTo>
                <a:lnTo>
                  <a:pt x="0" y="54"/>
                </a:lnTo>
                <a:lnTo>
                  <a:pt x="0" y="60"/>
                </a:lnTo>
                <a:lnTo>
                  <a:pt x="2" y="65"/>
                </a:lnTo>
                <a:lnTo>
                  <a:pt x="3" y="70"/>
                </a:lnTo>
                <a:lnTo>
                  <a:pt x="5" y="76"/>
                </a:lnTo>
                <a:lnTo>
                  <a:pt x="10" y="86"/>
                </a:lnTo>
                <a:lnTo>
                  <a:pt x="17" y="98"/>
                </a:lnTo>
                <a:lnTo>
                  <a:pt x="22" y="109"/>
                </a:lnTo>
                <a:lnTo>
                  <a:pt x="28" y="120"/>
                </a:lnTo>
                <a:lnTo>
                  <a:pt x="30" y="126"/>
                </a:lnTo>
                <a:lnTo>
                  <a:pt x="32" y="133"/>
                </a:lnTo>
                <a:lnTo>
                  <a:pt x="33" y="139"/>
                </a:lnTo>
                <a:lnTo>
                  <a:pt x="33" y="147"/>
                </a:lnTo>
                <a:lnTo>
                  <a:pt x="32" y="153"/>
                </a:lnTo>
                <a:lnTo>
                  <a:pt x="31" y="159"/>
                </a:lnTo>
                <a:lnTo>
                  <a:pt x="28" y="165"/>
                </a:lnTo>
                <a:lnTo>
                  <a:pt x="25" y="169"/>
                </a:lnTo>
                <a:lnTo>
                  <a:pt x="21" y="174"/>
                </a:lnTo>
                <a:lnTo>
                  <a:pt x="17" y="177"/>
                </a:lnTo>
                <a:lnTo>
                  <a:pt x="11" y="180"/>
                </a:lnTo>
                <a:lnTo>
                  <a:pt x="7" y="183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198" name="Freeform 196"/>
          <p:cNvSpPr>
            <a:spLocks/>
          </p:cNvSpPr>
          <p:nvPr userDrawn="1">
            <p:custDataLst>
              <p:tags r:id="rId122"/>
            </p:custDataLst>
          </p:nvPr>
        </p:nvSpPr>
        <p:spPr bwMode="auto">
          <a:xfrm>
            <a:off x="2241552" y="2472941"/>
            <a:ext cx="69850" cy="44053"/>
          </a:xfrm>
          <a:custGeom>
            <a:avLst/>
            <a:gdLst>
              <a:gd name="T0" fmla="*/ 27754723 w 164"/>
              <a:gd name="T1" fmla="*/ 33173414 h 104"/>
              <a:gd name="T2" fmla="*/ 24308224 w 164"/>
              <a:gd name="T3" fmla="*/ 32535214 h 104"/>
              <a:gd name="T4" fmla="*/ 19954526 w 164"/>
              <a:gd name="T5" fmla="*/ 30940844 h 104"/>
              <a:gd name="T6" fmla="*/ 17414798 w 164"/>
              <a:gd name="T7" fmla="*/ 29983544 h 104"/>
              <a:gd name="T8" fmla="*/ 14512191 w 164"/>
              <a:gd name="T9" fmla="*/ 29664444 h 104"/>
              <a:gd name="T10" fmla="*/ 13242536 w 164"/>
              <a:gd name="T11" fmla="*/ 29664444 h 104"/>
              <a:gd name="T12" fmla="*/ 11610006 w 164"/>
              <a:gd name="T13" fmla="*/ 29983544 h 104"/>
              <a:gd name="T14" fmla="*/ 9977050 w 164"/>
              <a:gd name="T15" fmla="*/ 30621744 h 104"/>
              <a:gd name="T16" fmla="*/ 8525959 w 164"/>
              <a:gd name="T17" fmla="*/ 31259379 h 104"/>
              <a:gd name="T18" fmla="*/ 7437748 w 164"/>
              <a:gd name="T19" fmla="*/ 31897579 h 104"/>
              <a:gd name="T20" fmla="*/ 6167669 w 164"/>
              <a:gd name="T21" fmla="*/ 31897579 h 104"/>
              <a:gd name="T22" fmla="*/ 4898018 w 164"/>
              <a:gd name="T23" fmla="*/ 31578479 h 104"/>
              <a:gd name="T24" fmla="*/ 3446501 w 164"/>
              <a:gd name="T25" fmla="*/ 30621744 h 104"/>
              <a:gd name="T26" fmla="*/ 1995410 w 164"/>
              <a:gd name="T27" fmla="*/ 29345909 h 104"/>
              <a:gd name="T28" fmla="*/ 1088212 w 164"/>
              <a:gd name="T29" fmla="*/ 28070074 h 104"/>
              <a:gd name="T30" fmla="*/ 544319 w 164"/>
              <a:gd name="T31" fmla="*/ 27431874 h 104"/>
              <a:gd name="T32" fmla="*/ 181440 w 164"/>
              <a:gd name="T33" fmla="*/ 26793674 h 104"/>
              <a:gd name="T34" fmla="*/ 0 w 164"/>
              <a:gd name="T35" fmla="*/ 25836939 h 104"/>
              <a:gd name="T36" fmla="*/ 0 w 164"/>
              <a:gd name="T37" fmla="*/ 25199304 h 104"/>
              <a:gd name="T38" fmla="*/ 0 w 164"/>
              <a:gd name="T39" fmla="*/ 24242004 h 104"/>
              <a:gd name="T40" fmla="*/ 181440 w 164"/>
              <a:gd name="T41" fmla="*/ 23604369 h 104"/>
              <a:gd name="T42" fmla="*/ 544319 w 164"/>
              <a:gd name="T43" fmla="*/ 22647069 h 104"/>
              <a:gd name="T44" fmla="*/ 1088212 w 164"/>
              <a:gd name="T45" fmla="*/ 22328534 h 104"/>
              <a:gd name="T46" fmla="*/ 2176850 w 164"/>
              <a:gd name="T47" fmla="*/ 21371234 h 104"/>
              <a:gd name="T48" fmla="*/ 3627941 w 164"/>
              <a:gd name="T49" fmla="*/ 21052134 h 104"/>
              <a:gd name="T50" fmla="*/ 7256308 w 164"/>
              <a:gd name="T51" fmla="*/ 21052134 h 104"/>
              <a:gd name="T52" fmla="*/ 11065687 w 164"/>
              <a:gd name="T53" fmla="*/ 21371234 h 104"/>
              <a:gd name="T54" fmla="*/ 12698218 w 164"/>
              <a:gd name="T55" fmla="*/ 21371234 h 104"/>
              <a:gd name="T56" fmla="*/ 14330751 w 164"/>
              <a:gd name="T57" fmla="*/ 21371234 h 104"/>
              <a:gd name="T58" fmla="*/ 15782268 w 164"/>
              <a:gd name="T59" fmla="*/ 21371234 h 104"/>
              <a:gd name="T60" fmla="*/ 17051919 w 164"/>
              <a:gd name="T61" fmla="*/ 21371234 h 104"/>
              <a:gd name="T62" fmla="*/ 17051919 w 164"/>
              <a:gd name="T63" fmla="*/ 17862825 h 104"/>
              <a:gd name="T64" fmla="*/ 17051919 w 164"/>
              <a:gd name="T65" fmla="*/ 13715655 h 104"/>
              <a:gd name="T66" fmla="*/ 17051919 w 164"/>
              <a:gd name="T67" fmla="*/ 9250512 h 104"/>
              <a:gd name="T68" fmla="*/ 17051919 w 164"/>
              <a:gd name="T69" fmla="*/ 5741542 h 104"/>
              <a:gd name="T70" fmla="*/ 14330751 w 164"/>
              <a:gd name="T71" fmla="*/ 5422442 h 104"/>
              <a:gd name="T72" fmla="*/ 12153899 w 164"/>
              <a:gd name="T73" fmla="*/ 4784807 h 104"/>
              <a:gd name="T74" fmla="*/ 11247127 w 164"/>
              <a:gd name="T75" fmla="*/ 4146606 h 104"/>
              <a:gd name="T76" fmla="*/ 10339929 w 164"/>
              <a:gd name="T77" fmla="*/ 3189871 h 104"/>
              <a:gd name="T78" fmla="*/ 9433157 w 164"/>
              <a:gd name="T79" fmla="*/ 1914035 h 104"/>
              <a:gd name="T80" fmla="*/ 8525959 w 164"/>
              <a:gd name="T81" fmla="*/ 0 h 104"/>
              <a:gd name="T82" fmla="*/ 26485072 w 164"/>
              <a:gd name="T83" fmla="*/ 0 h 104"/>
              <a:gd name="T84" fmla="*/ 26666086 w 164"/>
              <a:gd name="T85" fmla="*/ 1914035 h 104"/>
              <a:gd name="T86" fmla="*/ 26847526 w 164"/>
              <a:gd name="T87" fmla="*/ 4146606 h 104"/>
              <a:gd name="T88" fmla="*/ 27210405 w 164"/>
              <a:gd name="T89" fmla="*/ 6060642 h 104"/>
              <a:gd name="T90" fmla="*/ 27573284 w 164"/>
              <a:gd name="T91" fmla="*/ 7974112 h 104"/>
              <a:gd name="T92" fmla="*/ 28299049 w 164"/>
              <a:gd name="T93" fmla="*/ 11163985 h 104"/>
              <a:gd name="T94" fmla="*/ 28842942 w 164"/>
              <a:gd name="T95" fmla="*/ 14672955 h 104"/>
              <a:gd name="T96" fmla="*/ 29568700 w 164"/>
              <a:gd name="T97" fmla="*/ 17224625 h 104"/>
              <a:gd name="T98" fmla="*/ 29750139 w 164"/>
              <a:gd name="T99" fmla="*/ 19776299 h 104"/>
              <a:gd name="T100" fmla="*/ 29568700 w 164"/>
              <a:gd name="T101" fmla="*/ 20733599 h 104"/>
              <a:gd name="T102" fmla="*/ 29024381 w 164"/>
              <a:gd name="T103" fmla="*/ 21690334 h 104"/>
              <a:gd name="T104" fmla="*/ 28480488 w 164"/>
              <a:gd name="T105" fmla="*/ 22647069 h 104"/>
              <a:gd name="T106" fmla="*/ 27754723 w 164"/>
              <a:gd name="T107" fmla="*/ 23285269 h 104"/>
              <a:gd name="T108" fmla="*/ 27754723 w 164"/>
              <a:gd name="T109" fmla="*/ 33173414 h 10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64"/>
              <a:gd name="T166" fmla="*/ 0 h 104"/>
              <a:gd name="T167" fmla="*/ 164 w 164"/>
              <a:gd name="T168" fmla="*/ 104 h 104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64" h="104">
                <a:moveTo>
                  <a:pt x="153" y="104"/>
                </a:moveTo>
                <a:lnTo>
                  <a:pt x="134" y="102"/>
                </a:lnTo>
                <a:lnTo>
                  <a:pt x="110" y="97"/>
                </a:lnTo>
                <a:lnTo>
                  <a:pt x="96" y="94"/>
                </a:lnTo>
                <a:lnTo>
                  <a:pt x="80" y="93"/>
                </a:lnTo>
                <a:lnTo>
                  <a:pt x="73" y="93"/>
                </a:lnTo>
                <a:lnTo>
                  <a:pt x="64" y="94"/>
                </a:lnTo>
                <a:lnTo>
                  <a:pt x="55" y="96"/>
                </a:lnTo>
                <a:lnTo>
                  <a:pt x="47" y="98"/>
                </a:lnTo>
                <a:lnTo>
                  <a:pt x="41" y="100"/>
                </a:lnTo>
                <a:lnTo>
                  <a:pt x="34" y="100"/>
                </a:lnTo>
                <a:lnTo>
                  <a:pt x="27" y="99"/>
                </a:lnTo>
                <a:lnTo>
                  <a:pt x="19" y="96"/>
                </a:lnTo>
                <a:lnTo>
                  <a:pt x="11" y="92"/>
                </a:lnTo>
                <a:lnTo>
                  <a:pt x="6" y="88"/>
                </a:lnTo>
                <a:lnTo>
                  <a:pt x="3" y="86"/>
                </a:lnTo>
                <a:lnTo>
                  <a:pt x="1" y="84"/>
                </a:lnTo>
                <a:lnTo>
                  <a:pt x="0" y="81"/>
                </a:lnTo>
                <a:lnTo>
                  <a:pt x="0" y="79"/>
                </a:lnTo>
                <a:lnTo>
                  <a:pt x="0" y="76"/>
                </a:lnTo>
                <a:lnTo>
                  <a:pt x="1" y="74"/>
                </a:lnTo>
                <a:lnTo>
                  <a:pt x="3" y="71"/>
                </a:lnTo>
                <a:lnTo>
                  <a:pt x="6" y="70"/>
                </a:lnTo>
                <a:lnTo>
                  <a:pt x="12" y="67"/>
                </a:lnTo>
                <a:lnTo>
                  <a:pt x="20" y="66"/>
                </a:lnTo>
                <a:lnTo>
                  <a:pt x="40" y="66"/>
                </a:lnTo>
                <a:lnTo>
                  <a:pt x="61" y="67"/>
                </a:lnTo>
                <a:lnTo>
                  <a:pt x="70" y="67"/>
                </a:lnTo>
                <a:lnTo>
                  <a:pt x="79" y="67"/>
                </a:lnTo>
                <a:lnTo>
                  <a:pt x="87" y="67"/>
                </a:lnTo>
                <a:lnTo>
                  <a:pt x="94" y="67"/>
                </a:lnTo>
                <a:lnTo>
                  <a:pt x="94" y="56"/>
                </a:lnTo>
                <a:lnTo>
                  <a:pt x="94" y="43"/>
                </a:lnTo>
                <a:lnTo>
                  <a:pt x="94" y="29"/>
                </a:lnTo>
                <a:lnTo>
                  <a:pt x="94" y="18"/>
                </a:lnTo>
                <a:lnTo>
                  <a:pt x="79" y="17"/>
                </a:lnTo>
                <a:lnTo>
                  <a:pt x="67" y="15"/>
                </a:lnTo>
                <a:lnTo>
                  <a:pt x="62" y="13"/>
                </a:lnTo>
                <a:lnTo>
                  <a:pt x="57" y="10"/>
                </a:lnTo>
                <a:lnTo>
                  <a:pt x="52" y="6"/>
                </a:lnTo>
                <a:lnTo>
                  <a:pt x="47" y="0"/>
                </a:lnTo>
                <a:lnTo>
                  <a:pt x="146" y="0"/>
                </a:lnTo>
                <a:lnTo>
                  <a:pt x="147" y="6"/>
                </a:lnTo>
                <a:lnTo>
                  <a:pt x="148" y="13"/>
                </a:lnTo>
                <a:lnTo>
                  <a:pt x="150" y="19"/>
                </a:lnTo>
                <a:lnTo>
                  <a:pt x="152" y="25"/>
                </a:lnTo>
                <a:lnTo>
                  <a:pt x="156" y="35"/>
                </a:lnTo>
                <a:lnTo>
                  <a:pt x="159" y="46"/>
                </a:lnTo>
                <a:lnTo>
                  <a:pt x="163" y="54"/>
                </a:lnTo>
                <a:lnTo>
                  <a:pt x="164" y="62"/>
                </a:lnTo>
                <a:lnTo>
                  <a:pt x="163" y="65"/>
                </a:lnTo>
                <a:lnTo>
                  <a:pt x="160" y="68"/>
                </a:lnTo>
                <a:lnTo>
                  <a:pt x="157" y="71"/>
                </a:lnTo>
                <a:lnTo>
                  <a:pt x="153" y="73"/>
                </a:lnTo>
                <a:lnTo>
                  <a:pt x="153" y="104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199" name="Freeform 197"/>
          <p:cNvSpPr>
            <a:spLocks/>
          </p:cNvSpPr>
          <p:nvPr userDrawn="1">
            <p:custDataLst>
              <p:tags r:id="rId123"/>
            </p:custDataLst>
          </p:nvPr>
        </p:nvSpPr>
        <p:spPr bwMode="auto">
          <a:xfrm>
            <a:off x="2608270" y="4238637"/>
            <a:ext cx="23813" cy="42863"/>
          </a:xfrm>
          <a:custGeom>
            <a:avLst/>
            <a:gdLst>
              <a:gd name="T0" fmla="*/ 0 w 53"/>
              <a:gd name="T1" fmla="*/ 72378965 h 19"/>
              <a:gd name="T2" fmla="*/ 1413054 w 53"/>
              <a:gd name="T3" fmla="*/ 117617708 h 19"/>
              <a:gd name="T4" fmla="*/ 2826109 w 53"/>
              <a:gd name="T5" fmla="*/ 153805675 h 19"/>
              <a:gd name="T6" fmla="*/ 4441350 w 53"/>
              <a:gd name="T7" fmla="*/ 171901162 h 19"/>
              <a:gd name="T8" fmla="*/ 5854404 w 53"/>
              <a:gd name="T9" fmla="*/ 171901162 h 19"/>
              <a:gd name="T10" fmla="*/ 7065721 w 53"/>
              <a:gd name="T11" fmla="*/ 162853418 h 19"/>
              <a:gd name="T12" fmla="*/ 8478777 w 53"/>
              <a:gd name="T13" fmla="*/ 135710187 h 19"/>
              <a:gd name="T14" fmla="*/ 9487909 w 53"/>
              <a:gd name="T15" fmla="*/ 108569964 h 19"/>
              <a:gd name="T16" fmla="*/ 10699226 w 53"/>
              <a:gd name="T17" fmla="*/ 72378965 h 19"/>
              <a:gd name="T18" fmla="*/ 9487909 w 53"/>
              <a:gd name="T19" fmla="*/ 45235723 h 19"/>
              <a:gd name="T20" fmla="*/ 8478777 w 53"/>
              <a:gd name="T21" fmla="*/ 18095493 h 19"/>
              <a:gd name="T22" fmla="*/ 7065721 w 53"/>
              <a:gd name="T23" fmla="*/ 9047747 h 19"/>
              <a:gd name="T24" fmla="*/ 5854404 w 53"/>
              <a:gd name="T25" fmla="*/ 0 h 19"/>
              <a:gd name="T26" fmla="*/ 4441350 w 53"/>
              <a:gd name="T27" fmla="*/ 0 h 19"/>
              <a:gd name="T28" fmla="*/ 2826109 w 53"/>
              <a:gd name="T29" fmla="*/ 9047747 h 19"/>
              <a:gd name="T30" fmla="*/ 1413054 w 53"/>
              <a:gd name="T31" fmla="*/ 27143243 h 19"/>
              <a:gd name="T32" fmla="*/ 0 w 53"/>
              <a:gd name="T33" fmla="*/ 72378965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53"/>
              <a:gd name="T52" fmla="*/ 0 h 19"/>
              <a:gd name="T53" fmla="*/ 53 w 53"/>
              <a:gd name="T54" fmla="*/ 19 h 19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00" name="Freeform 198"/>
          <p:cNvSpPr>
            <a:spLocks/>
          </p:cNvSpPr>
          <p:nvPr userDrawn="1">
            <p:custDataLst>
              <p:tags r:id="rId124"/>
            </p:custDataLst>
          </p:nvPr>
        </p:nvSpPr>
        <p:spPr bwMode="auto">
          <a:xfrm>
            <a:off x="2573346" y="4223160"/>
            <a:ext cx="34925" cy="44053"/>
          </a:xfrm>
          <a:custGeom>
            <a:avLst/>
            <a:gdLst>
              <a:gd name="T0" fmla="*/ 0 w 80"/>
              <a:gd name="T1" fmla="*/ 0 h 18"/>
              <a:gd name="T2" fmla="*/ 190778 w 80"/>
              <a:gd name="T3" fmla="*/ 63889539 h 18"/>
              <a:gd name="T4" fmla="*/ 953016 w 80"/>
              <a:gd name="T5" fmla="*/ 127779077 h 18"/>
              <a:gd name="T6" fmla="*/ 1524913 w 80"/>
              <a:gd name="T7" fmla="*/ 149074494 h 18"/>
              <a:gd name="T8" fmla="*/ 2096373 w 80"/>
              <a:gd name="T9" fmla="*/ 170373174 h 18"/>
              <a:gd name="T10" fmla="*/ 2858611 w 80"/>
              <a:gd name="T11" fmla="*/ 191668590 h 18"/>
              <a:gd name="T12" fmla="*/ 3811627 w 80"/>
              <a:gd name="T13" fmla="*/ 191668590 h 18"/>
              <a:gd name="T14" fmla="*/ 4192746 w 80"/>
              <a:gd name="T15" fmla="*/ 159722202 h 18"/>
              <a:gd name="T16" fmla="*/ 4573865 w 80"/>
              <a:gd name="T17" fmla="*/ 138426785 h 18"/>
              <a:gd name="T18" fmla="*/ 4955421 w 80"/>
              <a:gd name="T19" fmla="*/ 117131369 h 18"/>
              <a:gd name="T20" fmla="*/ 5908000 w 80"/>
              <a:gd name="T21" fmla="*/ 106483635 h 18"/>
              <a:gd name="T22" fmla="*/ 7242136 w 80"/>
              <a:gd name="T23" fmla="*/ 85184955 h 18"/>
              <a:gd name="T24" fmla="*/ 8957389 w 80"/>
              <a:gd name="T25" fmla="*/ 74537247 h 18"/>
              <a:gd name="T26" fmla="*/ 10863421 w 80"/>
              <a:gd name="T27" fmla="*/ 74537247 h 18"/>
              <a:gd name="T28" fmla="*/ 12578674 w 80"/>
              <a:gd name="T29" fmla="*/ 63889539 h 18"/>
              <a:gd name="T30" fmla="*/ 13340912 w 80"/>
              <a:gd name="T31" fmla="*/ 53241818 h 18"/>
              <a:gd name="T32" fmla="*/ 14103586 w 80"/>
              <a:gd name="T33" fmla="*/ 42594109 h 18"/>
              <a:gd name="T34" fmla="*/ 14675050 w 80"/>
              <a:gd name="T35" fmla="*/ 21295423 h 18"/>
              <a:gd name="T36" fmla="*/ 15246946 w 80"/>
              <a:gd name="T37" fmla="*/ 0 h 18"/>
              <a:gd name="T38" fmla="*/ 0 w 80"/>
              <a:gd name="T39" fmla="*/ 0 h 18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80"/>
              <a:gd name="T61" fmla="*/ 0 h 18"/>
              <a:gd name="T62" fmla="*/ 80 w 80"/>
              <a:gd name="T63" fmla="*/ 18 h 18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80" h="18">
                <a:moveTo>
                  <a:pt x="0" y="0"/>
                </a:moveTo>
                <a:lnTo>
                  <a:pt x="1" y="6"/>
                </a:lnTo>
                <a:lnTo>
                  <a:pt x="5" y="12"/>
                </a:lnTo>
                <a:lnTo>
                  <a:pt x="8" y="14"/>
                </a:lnTo>
                <a:lnTo>
                  <a:pt x="11" y="16"/>
                </a:lnTo>
                <a:lnTo>
                  <a:pt x="15" y="18"/>
                </a:lnTo>
                <a:lnTo>
                  <a:pt x="20" y="18"/>
                </a:lnTo>
                <a:lnTo>
                  <a:pt x="22" y="15"/>
                </a:lnTo>
                <a:lnTo>
                  <a:pt x="24" y="13"/>
                </a:lnTo>
                <a:lnTo>
                  <a:pt x="26" y="11"/>
                </a:lnTo>
                <a:lnTo>
                  <a:pt x="31" y="10"/>
                </a:lnTo>
                <a:lnTo>
                  <a:pt x="38" y="8"/>
                </a:lnTo>
                <a:lnTo>
                  <a:pt x="47" y="7"/>
                </a:lnTo>
                <a:lnTo>
                  <a:pt x="57" y="7"/>
                </a:lnTo>
                <a:lnTo>
                  <a:pt x="66" y="6"/>
                </a:lnTo>
                <a:lnTo>
                  <a:pt x="70" y="5"/>
                </a:lnTo>
                <a:lnTo>
                  <a:pt x="74" y="4"/>
                </a:lnTo>
                <a:lnTo>
                  <a:pt x="77" y="2"/>
                </a:lnTo>
                <a:lnTo>
                  <a:pt x="80" y="0"/>
                </a:lnTo>
                <a:lnTo>
                  <a:pt x="0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01" name="Freeform 199"/>
          <p:cNvSpPr>
            <a:spLocks/>
          </p:cNvSpPr>
          <p:nvPr userDrawn="1">
            <p:custDataLst>
              <p:tags r:id="rId125"/>
            </p:custDataLst>
          </p:nvPr>
        </p:nvSpPr>
        <p:spPr bwMode="auto">
          <a:xfrm>
            <a:off x="2573346" y="4207680"/>
            <a:ext cx="22225" cy="45244"/>
          </a:xfrm>
          <a:custGeom>
            <a:avLst/>
            <a:gdLst>
              <a:gd name="T0" fmla="*/ 4668700 w 46"/>
              <a:gd name="T1" fmla="*/ 0 h 27"/>
              <a:gd name="T2" fmla="*/ 0 w 46"/>
              <a:gd name="T3" fmla="*/ 89855214 h 27"/>
              <a:gd name="T4" fmla="*/ 2100746 w 46"/>
              <a:gd name="T5" fmla="*/ 109822784 h 27"/>
              <a:gd name="T6" fmla="*/ 3734766 w 46"/>
              <a:gd name="T7" fmla="*/ 124796785 h 27"/>
              <a:gd name="T8" fmla="*/ 5369270 w 46"/>
              <a:gd name="T9" fmla="*/ 134781687 h 27"/>
              <a:gd name="T10" fmla="*/ 6769445 w 46"/>
              <a:gd name="T11" fmla="*/ 134781687 h 27"/>
              <a:gd name="T12" fmla="*/ 7703378 w 46"/>
              <a:gd name="T13" fmla="*/ 134781687 h 27"/>
              <a:gd name="T14" fmla="*/ 8637312 w 46"/>
              <a:gd name="T15" fmla="*/ 124796785 h 27"/>
              <a:gd name="T16" fmla="*/ 9804124 w 46"/>
              <a:gd name="T17" fmla="*/ 109822784 h 27"/>
              <a:gd name="T18" fmla="*/ 10738057 w 46"/>
              <a:gd name="T19" fmla="*/ 89855214 h 27"/>
              <a:gd name="T20" fmla="*/ 9570762 w 46"/>
              <a:gd name="T21" fmla="*/ 79870312 h 27"/>
              <a:gd name="T22" fmla="*/ 7703378 w 46"/>
              <a:gd name="T23" fmla="*/ 54911392 h 27"/>
              <a:gd name="T24" fmla="*/ 6069357 w 46"/>
              <a:gd name="T25" fmla="*/ 24958912 h 27"/>
              <a:gd name="T26" fmla="*/ 4668700 w 46"/>
              <a:gd name="T27" fmla="*/ 0 h 27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46"/>
              <a:gd name="T43" fmla="*/ 0 h 27"/>
              <a:gd name="T44" fmla="*/ 46 w 46"/>
              <a:gd name="T45" fmla="*/ 27 h 27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46" h="27">
                <a:moveTo>
                  <a:pt x="20" y="0"/>
                </a:moveTo>
                <a:lnTo>
                  <a:pt x="0" y="18"/>
                </a:lnTo>
                <a:lnTo>
                  <a:pt x="9" y="22"/>
                </a:lnTo>
                <a:lnTo>
                  <a:pt x="16" y="25"/>
                </a:lnTo>
                <a:lnTo>
                  <a:pt x="23" y="27"/>
                </a:lnTo>
                <a:lnTo>
                  <a:pt x="29" y="27"/>
                </a:lnTo>
                <a:lnTo>
                  <a:pt x="33" y="27"/>
                </a:lnTo>
                <a:lnTo>
                  <a:pt x="37" y="25"/>
                </a:lnTo>
                <a:lnTo>
                  <a:pt x="42" y="22"/>
                </a:lnTo>
                <a:lnTo>
                  <a:pt x="46" y="18"/>
                </a:lnTo>
                <a:lnTo>
                  <a:pt x="41" y="16"/>
                </a:lnTo>
                <a:lnTo>
                  <a:pt x="33" y="11"/>
                </a:lnTo>
                <a:lnTo>
                  <a:pt x="26" y="5"/>
                </a:lnTo>
                <a:lnTo>
                  <a:pt x="20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02" name="Freeform 200"/>
          <p:cNvSpPr>
            <a:spLocks/>
          </p:cNvSpPr>
          <p:nvPr userDrawn="1">
            <p:custDataLst>
              <p:tags r:id="rId126"/>
            </p:custDataLst>
          </p:nvPr>
        </p:nvSpPr>
        <p:spPr bwMode="auto">
          <a:xfrm>
            <a:off x="2543176" y="4202917"/>
            <a:ext cx="25400" cy="45244"/>
          </a:xfrm>
          <a:custGeom>
            <a:avLst/>
            <a:gdLst>
              <a:gd name="T0" fmla="*/ 7522633 w 54"/>
              <a:gd name="T1" fmla="*/ 0 h 39"/>
              <a:gd name="T2" fmla="*/ 4424775 w 54"/>
              <a:gd name="T3" fmla="*/ 9570019 h 39"/>
              <a:gd name="T4" fmla="*/ 2212623 w 54"/>
              <a:gd name="T5" fmla="*/ 23925820 h 39"/>
              <a:gd name="T6" fmla="*/ 1327385 w 54"/>
              <a:gd name="T7" fmla="*/ 31102951 h 39"/>
              <a:gd name="T8" fmla="*/ 884767 w 54"/>
              <a:gd name="T9" fmla="*/ 38281623 h 39"/>
              <a:gd name="T10" fmla="*/ 442619 w 54"/>
              <a:gd name="T11" fmla="*/ 47851640 h 39"/>
              <a:gd name="T12" fmla="*/ 0 w 54"/>
              <a:gd name="T13" fmla="*/ 57421668 h 39"/>
              <a:gd name="T14" fmla="*/ 442619 w 54"/>
              <a:gd name="T15" fmla="*/ 66991684 h 39"/>
              <a:gd name="T16" fmla="*/ 663693 w 54"/>
              <a:gd name="T17" fmla="*/ 76561700 h 39"/>
              <a:gd name="T18" fmla="*/ 1106311 w 54"/>
              <a:gd name="T19" fmla="*/ 83740372 h 39"/>
              <a:gd name="T20" fmla="*/ 1770004 w 54"/>
              <a:gd name="T21" fmla="*/ 88524607 h 39"/>
              <a:gd name="T22" fmla="*/ 2433697 w 54"/>
              <a:gd name="T23" fmla="*/ 90917498 h 39"/>
              <a:gd name="T24" fmla="*/ 3540007 w 54"/>
              <a:gd name="T25" fmla="*/ 93310388 h 39"/>
              <a:gd name="T26" fmla="*/ 4424775 w 54"/>
              <a:gd name="T27" fmla="*/ 93310388 h 39"/>
              <a:gd name="T28" fmla="*/ 5531085 w 54"/>
              <a:gd name="T29" fmla="*/ 93310388 h 39"/>
              <a:gd name="T30" fmla="*/ 6637396 w 54"/>
              <a:gd name="T31" fmla="*/ 90917498 h 39"/>
              <a:gd name="T32" fmla="*/ 7522633 w 54"/>
              <a:gd name="T33" fmla="*/ 88524607 h 39"/>
              <a:gd name="T34" fmla="*/ 8628475 w 54"/>
              <a:gd name="T35" fmla="*/ 83740372 h 39"/>
              <a:gd name="T36" fmla="*/ 9513712 w 54"/>
              <a:gd name="T37" fmla="*/ 78954591 h 39"/>
              <a:gd name="T38" fmla="*/ 10398479 w 54"/>
              <a:gd name="T39" fmla="*/ 71777465 h 39"/>
              <a:gd name="T40" fmla="*/ 11062641 w 54"/>
              <a:gd name="T41" fmla="*/ 62207449 h 39"/>
              <a:gd name="T42" fmla="*/ 11504789 w 54"/>
              <a:gd name="T43" fmla="*/ 52635886 h 39"/>
              <a:gd name="T44" fmla="*/ 11947408 w 54"/>
              <a:gd name="T45" fmla="*/ 43065858 h 39"/>
              <a:gd name="T46" fmla="*/ 11283715 w 54"/>
              <a:gd name="T47" fmla="*/ 40674514 h 39"/>
              <a:gd name="T48" fmla="*/ 10620023 w 54"/>
              <a:gd name="T49" fmla="*/ 38281623 h 39"/>
              <a:gd name="T50" fmla="*/ 9734786 w 54"/>
              <a:gd name="T51" fmla="*/ 33495842 h 39"/>
              <a:gd name="T52" fmla="*/ 9292638 w 54"/>
              <a:gd name="T53" fmla="*/ 26318717 h 39"/>
              <a:gd name="T54" fmla="*/ 8628475 w 54"/>
              <a:gd name="T55" fmla="*/ 19140038 h 39"/>
              <a:gd name="T56" fmla="*/ 8186327 w 54"/>
              <a:gd name="T57" fmla="*/ 11962910 h 39"/>
              <a:gd name="T58" fmla="*/ 7522633 w 54"/>
              <a:gd name="T59" fmla="*/ 4785783 h 39"/>
              <a:gd name="T60" fmla="*/ 7522633 w 54"/>
              <a:gd name="T61" fmla="*/ 0 h 39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54"/>
              <a:gd name="T94" fmla="*/ 0 h 39"/>
              <a:gd name="T95" fmla="*/ 54 w 54"/>
              <a:gd name="T96" fmla="*/ 39 h 39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54" h="39">
                <a:moveTo>
                  <a:pt x="34" y="0"/>
                </a:moveTo>
                <a:lnTo>
                  <a:pt x="20" y="4"/>
                </a:lnTo>
                <a:lnTo>
                  <a:pt x="10" y="10"/>
                </a:lnTo>
                <a:lnTo>
                  <a:pt x="6" y="13"/>
                </a:lnTo>
                <a:lnTo>
                  <a:pt x="4" y="16"/>
                </a:lnTo>
                <a:lnTo>
                  <a:pt x="2" y="20"/>
                </a:lnTo>
                <a:lnTo>
                  <a:pt x="0" y="24"/>
                </a:lnTo>
                <a:lnTo>
                  <a:pt x="2" y="28"/>
                </a:lnTo>
                <a:lnTo>
                  <a:pt x="3" y="32"/>
                </a:lnTo>
                <a:lnTo>
                  <a:pt x="5" y="35"/>
                </a:lnTo>
                <a:lnTo>
                  <a:pt x="8" y="37"/>
                </a:lnTo>
                <a:lnTo>
                  <a:pt x="11" y="38"/>
                </a:lnTo>
                <a:lnTo>
                  <a:pt x="16" y="39"/>
                </a:lnTo>
                <a:lnTo>
                  <a:pt x="20" y="39"/>
                </a:lnTo>
                <a:lnTo>
                  <a:pt x="25" y="39"/>
                </a:lnTo>
                <a:lnTo>
                  <a:pt x="30" y="38"/>
                </a:lnTo>
                <a:lnTo>
                  <a:pt x="34" y="37"/>
                </a:lnTo>
                <a:lnTo>
                  <a:pt x="39" y="35"/>
                </a:lnTo>
                <a:lnTo>
                  <a:pt x="43" y="33"/>
                </a:lnTo>
                <a:lnTo>
                  <a:pt x="47" y="30"/>
                </a:lnTo>
                <a:lnTo>
                  <a:pt x="50" y="26"/>
                </a:lnTo>
                <a:lnTo>
                  <a:pt x="52" y="22"/>
                </a:lnTo>
                <a:lnTo>
                  <a:pt x="54" y="18"/>
                </a:lnTo>
                <a:lnTo>
                  <a:pt x="51" y="17"/>
                </a:lnTo>
                <a:lnTo>
                  <a:pt x="48" y="16"/>
                </a:lnTo>
                <a:lnTo>
                  <a:pt x="44" y="14"/>
                </a:lnTo>
                <a:lnTo>
                  <a:pt x="42" y="11"/>
                </a:lnTo>
                <a:lnTo>
                  <a:pt x="39" y="8"/>
                </a:lnTo>
                <a:lnTo>
                  <a:pt x="37" y="5"/>
                </a:lnTo>
                <a:lnTo>
                  <a:pt x="34" y="2"/>
                </a:lnTo>
                <a:lnTo>
                  <a:pt x="34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03" name="Freeform 201"/>
          <p:cNvSpPr>
            <a:spLocks/>
          </p:cNvSpPr>
          <p:nvPr userDrawn="1">
            <p:custDataLst>
              <p:tags r:id="rId127"/>
            </p:custDataLst>
          </p:nvPr>
        </p:nvSpPr>
        <p:spPr bwMode="auto">
          <a:xfrm>
            <a:off x="2517777" y="4195772"/>
            <a:ext cx="28575" cy="44054"/>
          </a:xfrm>
          <a:custGeom>
            <a:avLst/>
            <a:gdLst>
              <a:gd name="T0" fmla="*/ 0 w 60"/>
              <a:gd name="T1" fmla="*/ 168675975 h 15"/>
              <a:gd name="T2" fmla="*/ 2268379 w 60"/>
              <a:gd name="T3" fmla="*/ 199341119 h 15"/>
              <a:gd name="T4" fmla="*/ 4082892 w 60"/>
              <a:gd name="T5" fmla="*/ 214675649 h 15"/>
              <a:gd name="T6" fmla="*/ 6124099 w 60"/>
              <a:gd name="T7" fmla="*/ 230010179 h 15"/>
              <a:gd name="T8" fmla="*/ 7938613 w 60"/>
              <a:gd name="T9" fmla="*/ 230010179 h 15"/>
              <a:gd name="T10" fmla="*/ 9299259 w 60"/>
              <a:gd name="T11" fmla="*/ 214675649 h 15"/>
              <a:gd name="T12" fmla="*/ 10887076 w 60"/>
              <a:gd name="T13" fmla="*/ 184006589 h 15"/>
              <a:gd name="T14" fmla="*/ 12474893 w 60"/>
              <a:gd name="T15" fmla="*/ 138006915 h 15"/>
              <a:gd name="T16" fmla="*/ 13608844 w 60"/>
              <a:gd name="T17" fmla="*/ 76668765 h 15"/>
              <a:gd name="T18" fmla="*/ 12928283 w 60"/>
              <a:gd name="T19" fmla="*/ 46003605 h 15"/>
              <a:gd name="T20" fmla="*/ 12248198 w 60"/>
              <a:gd name="T21" fmla="*/ 0 h 15"/>
              <a:gd name="T22" fmla="*/ 11567637 w 60"/>
              <a:gd name="T23" fmla="*/ 0 h 15"/>
              <a:gd name="T24" fmla="*/ 10660381 w 60"/>
              <a:gd name="T25" fmla="*/ 0 h 15"/>
              <a:gd name="T26" fmla="*/ 9072564 w 60"/>
              <a:gd name="T27" fmla="*/ 0 h 15"/>
              <a:gd name="T28" fmla="*/ 7484745 w 60"/>
              <a:gd name="T29" fmla="*/ 46003605 h 15"/>
              <a:gd name="T30" fmla="*/ 5443538 w 60"/>
              <a:gd name="T31" fmla="*/ 92003295 h 15"/>
              <a:gd name="T32" fmla="*/ 3629025 w 60"/>
              <a:gd name="T33" fmla="*/ 122672354 h 15"/>
              <a:gd name="T34" fmla="*/ 1587818 w 60"/>
              <a:gd name="T35" fmla="*/ 153341445 h 15"/>
              <a:gd name="T36" fmla="*/ 0 w 60"/>
              <a:gd name="T37" fmla="*/ 168675975 h 15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60"/>
              <a:gd name="T58" fmla="*/ 0 h 15"/>
              <a:gd name="T59" fmla="*/ 60 w 60"/>
              <a:gd name="T60" fmla="*/ 15 h 15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60" h="15">
                <a:moveTo>
                  <a:pt x="0" y="11"/>
                </a:moveTo>
                <a:lnTo>
                  <a:pt x="10" y="13"/>
                </a:lnTo>
                <a:lnTo>
                  <a:pt x="18" y="14"/>
                </a:lnTo>
                <a:lnTo>
                  <a:pt x="27" y="15"/>
                </a:lnTo>
                <a:lnTo>
                  <a:pt x="35" y="15"/>
                </a:lnTo>
                <a:lnTo>
                  <a:pt x="41" y="14"/>
                </a:lnTo>
                <a:lnTo>
                  <a:pt x="48" y="12"/>
                </a:lnTo>
                <a:lnTo>
                  <a:pt x="55" y="9"/>
                </a:lnTo>
                <a:lnTo>
                  <a:pt x="60" y="5"/>
                </a:lnTo>
                <a:lnTo>
                  <a:pt x="57" y="3"/>
                </a:lnTo>
                <a:lnTo>
                  <a:pt x="54" y="0"/>
                </a:lnTo>
                <a:lnTo>
                  <a:pt x="51" y="0"/>
                </a:lnTo>
                <a:lnTo>
                  <a:pt x="47" y="0"/>
                </a:lnTo>
                <a:lnTo>
                  <a:pt x="40" y="0"/>
                </a:lnTo>
                <a:lnTo>
                  <a:pt x="33" y="3"/>
                </a:lnTo>
                <a:lnTo>
                  <a:pt x="24" y="6"/>
                </a:lnTo>
                <a:lnTo>
                  <a:pt x="16" y="8"/>
                </a:lnTo>
                <a:lnTo>
                  <a:pt x="7" y="10"/>
                </a:lnTo>
                <a:lnTo>
                  <a:pt x="0" y="11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04" name="Freeform 202"/>
          <p:cNvSpPr>
            <a:spLocks/>
          </p:cNvSpPr>
          <p:nvPr userDrawn="1">
            <p:custDataLst>
              <p:tags r:id="rId128"/>
            </p:custDataLst>
          </p:nvPr>
        </p:nvSpPr>
        <p:spPr bwMode="auto">
          <a:xfrm>
            <a:off x="2493964" y="4186249"/>
            <a:ext cx="33338" cy="42863"/>
          </a:xfrm>
          <a:custGeom>
            <a:avLst/>
            <a:gdLst>
              <a:gd name="T0" fmla="*/ 7123361 w 79"/>
              <a:gd name="T1" fmla="*/ 0 h 32"/>
              <a:gd name="T2" fmla="*/ 6054855 w 79"/>
              <a:gd name="T3" fmla="*/ 3189684 h 32"/>
              <a:gd name="T4" fmla="*/ 5342520 w 79"/>
              <a:gd name="T5" fmla="*/ 6379367 h 32"/>
              <a:gd name="T6" fmla="*/ 4452100 w 79"/>
              <a:gd name="T7" fmla="*/ 12758735 h 32"/>
              <a:gd name="T8" fmla="*/ 3561680 w 79"/>
              <a:gd name="T9" fmla="*/ 19138104 h 32"/>
              <a:gd name="T10" fmla="*/ 2671260 w 79"/>
              <a:gd name="T11" fmla="*/ 28705367 h 32"/>
              <a:gd name="T12" fmla="*/ 1780840 w 79"/>
              <a:gd name="T13" fmla="*/ 35084739 h 32"/>
              <a:gd name="T14" fmla="*/ 890420 w 79"/>
              <a:gd name="T15" fmla="*/ 38274422 h 32"/>
              <a:gd name="T16" fmla="*/ 0 w 79"/>
              <a:gd name="T17" fmla="*/ 41464105 h 32"/>
              <a:gd name="T18" fmla="*/ 890420 w 79"/>
              <a:gd name="T19" fmla="*/ 66981582 h 32"/>
              <a:gd name="T20" fmla="*/ 1780840 w 79"/>
              <a:gd name="T21" fmla="*/ 82928210 h 32"/>
              <a:gd name="T22" fmla="*/ 2137008 w 79"/>
              <a:gd name="T23" fmla="*/ 92497259 h 32"/>
              <a:gd name="T24" fmla="*/ 2671260 w 79"/>
              <a:gd name="T25" fmla="*/ 98876625 h 32"/>
              <a:gd name="T26" fmla="*/ 3205512 w 79"/>
              <a:gd name="T27" fmla="*/ 98876625 h 32"/>
              <a:gd name="T28" fmla="*/ 3561680 w 79"/>
              <a:gd name="T29" fmla="*/ 102066307 h 32"/>
              <a:gd name="T30" fmla="*/ 4808268 w 79"/>
              <a:gd name="T31" fmla="*/ 98876625 h 32"/>
              <a:gd name="T32" fmla="*/ 6054855 w 79"/>
              <a:gd name="T33" fmla="*/ 95686942 h 32"/>
              <a:gd name="T34" fmla="*/ 7301444 w 79"/>
              <a:gd name="T35" fmla="*/ 86117893 h 32"/>
              <a:gd name="T36" fmla="*/ 8548032 w 79"/>
              <a:gd name="T37" fmla="*/ 76548845 h 32"/>
              <a:gd name="T38" fmla="*/ 11041207 w 79"/>
              <a:gd name="T39" fmla="*/ 57412519 h 32"/>
              <a:gd name="T40" fmla="*/ 14068637 w 79"/>
              <a:gd name="T41" fmla="*/ 41464105 h 32"/>
              <a:gd name="T42" fmla="*/ 11931627 w 79"/>
              <a:gd name="T43" fmla="*/ 19138104 h 32"/>
              <a:gd name="T44" fmla="*/ 10328871 w 79"/>
              <a:gd name="T45" fmla="*/ 6379367 h 32"/>
              <a:gd name="T46" fmla="*/ 8726116 w 79"/>
              <a:gd name="T47" fmla="*/ 3189684 h 32"/>
              <a:gd name="T48" fmla="*/ 7123361 w 79"/>
              <a:gd name="T49" fmla="*/ 0 h 3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79"/>
              <a:gd name="T76" fmla="*/ 0 h 32"/>
              <a:gd name="T77" fmla="*/ 79 w 79"/>
              <a:gd name="T78" fmla="*/ 32 h 32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79" h="32">
                <a:moveTo>
                  <a:pt x="40" y="0"/>
                </a:moveTo>
                <a:lnTo>
                  <a:pt x="34" y="1"/>
                </a:lnTo>
                <a:lnTo>
                  <a:pt x="30" y="2"/>
                </a:lnTo>
                <a:lnTo>
                  <a:pt x="25" y="4"/>
                </a:lnTo>
                <a:lnTo>
                  <a:pt x="20" y="6"/>
                </a:lnTo>
                <a:lnTo>
                  <a:pt x="15" y="9"/>
                </a:lnTo>
                <a:lnTo>
                  <a:pt x="10" y="11"/>
                </a:lnTo>
                <a:lnTo>
                  <a:pt x="5" y="12"/>
                </a:lnTo>
                <a:lnTo>
                  <a:pt x="0" y="13"/>
                </a:lnTo>
                <a:lnTo>
                  <a:pt x="5" y="21"/>
                </a:lnTo>
                <a:lnTo>
                  <a:pt x="10" y="26"/>
                </a:lnTo>
                <a:lnTo>
                  <a:pt x="12" y="29"/>
                </a:lnTo>
                <a:lnTo>
                  <a:pt x="15" y="31"/>
                </a:lnTo>
                <a:lnTo>
                  <a:pt x="18" y="31"/>
                </a:lnTo>
                <a:lnTo>
                  <a:pt x="20" y="32"/>
                </a:lnTo>
                <a:lnTo>
                  <a:pt x="27" y="31"/>
                </a:lnTo>
                <a:lnTo>
                  <a:pt x="34" y="30"/>
                </a:lnTo>
                <a:lnTo>
                  <a:pt x="41" y="27"/>
                </a:lnTo>
                <a:lnTo>
                  <a:pt x="48" y="24"/>
                </a:lnTo>
                <a:lnTo>
                  <a:pt x="62" y="18"/>
                </a:lnTo>
                <a:lnTo>
                  <a:pt x="79" y="13"/>
                </a:lnTo>
                <a:lnTo>
                  <a:pt x="67" y="6"/>
                </a:lnTo>
                <a:lnTo>
                  <a:pt x="58" y="2"/>
                </a:lnTo>
                <a:lnTo>
                  <a:pt x="49" y="1"/>
                </a:lnTo>
                <a:lnTo>
                  <a:pt x="40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05" name="Freeform 203"/>
          <p:cNvSpPr>
            <a:spLocks/>
          </p:cNvSpPr>
          <p:nvPr userDrawn="1">
            <p:custDataLst>
              <p:tags r:id="rId129"/>
            </p:custDataLst>
          </p:nvPr>
        </p:nvSpPr>
        <p:spPr bwMode="auto">
          <a:xfrm>
            <a:off x="2487621" y="4171962"/>
            <a:ext cx="30163" cy="42863"/>
          </a:xfrm>
          <a:custGeom>
            <a:avLst/>
            <a:gdLst>
              <a:gd name="T0" fmla="*/ 6892701 w 66"/>
              <a:gd name="T1" fmla="*/ 0 h 19"/>
              <a:gd name="T2" fmla="*/ 5221397 w 66"/>
              <a:gd name="T3" fmla="*/ 9047747 h 19"/>
              <a:gd name="T4" fmla="*/ 3968263 w 66"/>
              <a:gd name="T5" fmla="*/ 18095493 h 19"/>
              <a:gd name="T6" fmla="*/ 2715127 w 66"/>
              <a:gd name="T7" fmla="*/ 36190987 h 19"/>
              <a:gd name="T8" fmla="*/ 1879703 w 66"/>
              <a:gd name="T9" fmla="*/ 63331222 h 19"/>
              <a:gd name="T10" fmla="*/ 1044280 w 66"/>
              <a:gd name="T11" fmla="*/ 99522220 h 19"/>
              <a:gd name="T12" fmla="*/ 417712 w 66"/>
              <a:gd name="T13" fmla="*/ 126665451 h 19"/>
              <a:gd name="T14" fmla="*/ 0 w 66"/>
              <a:gd name="T15" fmla="*/ 153805675 h 19"/>
              <a:gd name="T16" fmla="*/ 0 w 66"/>
              <a:gd name="T17" fmla="*/ 171901162 h 19"/>
              <a:gd name="T18" fmla="*/ 3968263 w 66"/>
              <a:gd name="T19" fmla="*/ 171901162 h 19"/>
              <a:gd name="T20" fmla="*/ 7936982 w 66"/>
              <a:gd name="T21" fmla="*/ 171901162 h 19"/>
              <a:gd name="T22" fmla="*/ 9607829 w 66"/>
              <a:gd name="T23" fmla="*/ 162853418 h 19"/>
              <a:gd name="T24" fmla="*/ 11278675 w 66"/>
              <a:gd name="T25" fmla="*/ 153805675 h 19"/>
              <a:gd name="T26" fmla="*/ 12740666 w 66"/>
              <a:gd name="T27" fmla="*/ 135710187 h 19"/>
              <a:gd name="T28" fmla="*/ 13784945 w 66"/>
              <a:gd name="T29" fmla="*/ 117617708 h 19"/>
              <a:gd name="T30" fmla="*/ 11905243 w 66"/>
              <a:gd name="T31" fmla="*/ 72378965 h 19"/>
              <a:gd name="T32" fmla="*/ 10443252 w 66"/>
              <a:gd name="T33" fmla="*/ 36190987 h 19"/>
              <a:gd name="T34" fmla="*/ 8772405 w 66"/>
              <a:gd name="T35" fmla="*/ 9047747 h 19"/>
              <a:gd name="T36" fmla="*/ 6892701 w 66"/>
              <a:gd name="T37" fmla="*/ 0 h 1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66"/>
              <a:gd name="T58" fmla="*/ 0 h 19"/>
              <a:gd name="T59" fmla="*/ 66 w 66"/>
              <a:gd name="T60" fmla="*/ 19 h 19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66" h="19">
                <a:moveTo>
                  <a:pt x="33" y="0"/>
                </a:moveTo>
                <a:lnTo>
                  <a:pt x="25" y="1"/>
                </a:lnTo>
                <a:lnTo>
                  <a:pt x="19" y="2"/>
                </a:lnTo>
                <a:lnTo>
                  <a:pt x="13" y="4"/>
                </a:lnTo>
                <a:lnTo>
                  <a:pt x="9" y="7"/>
                </a:lnTo>
                <a:lnTo>
                  <a:pt x="5" y="11"/>
                </a:lnTo>
                <a:lnTo>
                  <a:pt x="2" y="14"/>
                </a:lnTo>
                <a:lnTo>
                  <a:pt x="0" y="17"/>
                </a:lnTo>
                <a:lnTo>
                  <a:pt x="0" y="19"/>
                </a:lnTo>
                <a:lnTo>
                  <a:pt x="19" y="19"/>
                </a:lnTo>
                <a:lnTo>
                  <a:pt x="38" y="19"/>
                </a:lnTo>
                <a:lnTo>
                  <a:pt x="46" y="18"/>
                </a:lnTo>
                <a:lnTo>
                  <a:pt x="54" y="17"/>
                </a:lnTo>
                <a:lnTo>
                  <a:pt x="61" y="15"/>
                </a:lnTo>
                <a:lnTo>
                  <a:pt x="66" y="13"/>
                </a:lnTo>
                <a:lnTo>
                  <a:pt x="57" y="8"/>
                </a:lnTo>
                <a:lnTo>
                  <a:pt x="50" y="4"/>
                </a:lnTo>
                <a:lnTo>
                  <a:pt x="42" y="1"/>
                </a:lnTo>
                <a:lnTo>
                  <a:pt x="33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06" name="Freeform 204"/>
          <p:cNvSpPr>
            <a:spLocks/>
          </p:cNvSpPr>
          <p:nvPr userDrawn="1">
            <p:custDataLst>
              <p:tags r:id="rId130"/>
            </p:custDataLst>
          </p:nvPr>
        </p:nvSpPr>
        <p:spPr bwMode="auto">
          <a:xfrm>
            <a:off x="2387602" y="3939790"/>
            <a:ext cx="25400" cy="45244"/>
          </a:xfrm>
          <a:custGeom>
            <a:avLst/>
            <a:gdLst>
              <a:gd name="T0" fmla="*/ 2985698 w 53"/>
              <a:gd name="T1" fmla="*/ 0 h 80"/>
              <a:gd name="T2" fmla="*/ 1837426 w 53"/>
              <a:gd name="T3" fmla="*/ 2842815 h 80"/>
              <a:gd name="T4" fmla="*/ 918713 w 53"/>
              <a:gd name="T5" fmla="*/ 5686385 h 80"/>
              <a:gd name="T6" fmla="*/ 459117 w 53"/>
              <a:gd name="T7" fmla="*/ 7392075 h 80"/>
              <a:gd name="T8" fmla="*/ 229558 w 53"/>
              <a:gd name="T9" fmla="*/ 9097764 h 80"/>
              <a:gd name="T10" fmla="*/ 0 w 53"/>
              <a:gd name="T11" fmla="*/ 11372015 h 80"/>
              <a:gd name="T12" fmla="*/ 0 w 53"/>
              <a:gd name="T13" fmla="*/ 14215587 h 80"/>
              <a:gd name="T14" fmla="*/ 0 w 53"/>
              <a:gd name="T15" fmla="*/ 17058401 h 80"/>
              <a:gd name="T16" fmla="*/ 459117 w 53"/>
              <a:gd name="T17" fmla="*/ 22175467 h 80"/>
              <a:gd name="T18" fmla="*/ 1377830 w 53"/>
              <a:gd name="T19" fmla="*/ 27293294 h 80"/>
              <a:gd name="T20" fmla="*/ 2066985 w 53"/>
              <a:gd name="T21" fmla="*/ 32411114 h 80"/>
              <a:gd name="T22" fmla="*/ 2985698 w 53"/>
              <a:gd name="T23" fmla="*/ 37528180 h 80"/>
              <a:gd name="T24" fmla="*/ 4593567 w 53"/>
              <a:gd name="T25" fmla="*/ 41508874 h 80"/>
              <a:gd name="T26" fmla="*/ 5052683 w 53"/>
              <a:gd name="T27" fmla="*/ 43214563 h 80"/>
              <a:gd name="T28" fmla="*/ 5971396 w 53"/>
              <a:gd name="T29" fmla="*/ 44351689 h 80"/>
              <a:gd name="T30" fmla="*/ 6890109 w 53"/>
              <a:gd name="T31" fmla="*/ 45488815 h 80"/>
              <a:gd name="T32" fmla="*/ 7579264 w 53"/>
              <a:gd name="T33" fmla="*/ 45488815 h 80"/>
              <a:gd name="T34" fmla="*/ 8268420 w 53"/>
              <a:gd name="T35" fmla="*/ 44920252 h 80"/>
              <a:gd name="T36" fmla="*/ 8727537 w 53"/>
              <a:gd name="T37" fmla="*/ 44351689 h 80"/>
              <a:gd name="T38" fmla="*/ 9646250 w 53"/>
              <a:gd name="T39" fmla="*/ 43214563 h 80"/>
              <a:gd name="T40" fmla="*/ 10335405 w 53"/>
              <a:gd name="T41" fmla="*/ 41508874 h 80"/>
              <a:gd name="T42" fmla="*/ 11024559 w 53"/>
              <a:gd name="T43" fmla="*/ 39802432 h 80"/>
              <a:gd name="T44" fmla="*/ 11713714 w 53"/>
              <a:gd name="T45" fmla="*/ 38096743 h 80"/>
              <a:gd name="T46" fmla="*/ 12172830 w 53"/>
              <a:gd name="T47" fmla="*/ 36391054 h 80"/>
              <a:gd name="T48" fmla="*/ 12172830 w 53"/>
              <a:gd name="T49" fmla="*/ 35253928 h 80"/>
              <a:gd name="T50" fmla="*/ 11943272 w 53"/>
              <a:gd name="T51" fmla="*/ 30704671 h 80"/>
              <a:gd name="T52" fmla="*/ 11254117 w 53"/>
              <a:gd name="T53" fmla="*/ 26724731 h 80"/>
              <a:gd name="T54" fmla="*/ 10564963 w 53"/>
              <a:gd name="T55" fmla="*/ 23881910 h 80"/>
              <a:gd name="T56" fmla="*/ 9876288 w 53"/>
              <a:gd name="T57" fmla="*/ 21038342 h 80"/>
              <a:gd name="T58" fmla="*/ 9187133 w 53"/>
              <a:gd name="T59" fmla="*/ 18195527 h 80"/>
              <a:gd name="T60" fmla="*/ 8268420 w 53"/>
              <a:gd name="T61" fmla="*/ 15352713 h 80"/>
              <a:gd name="T62" fmla="*/ 7808822 w 53"/>
              <a:gd name="T63" fmla="*/ 11372015 h 80"/>
              <a:gd name="T64" fmla="*/ 7579264 w 53"/>
              <a:gd name="T65" fmla="*/ 6823512 h 80"/>
              <a:gd name="T66" fmla="*/ 7579264 w 53"/>
              <a:gd name="T67" fmla="*/ 5686385 h 80"/>
              <a:gd name="T68" fmla="*/ 7120147 w 53"/>
              <a:gd name="T69" fmla="*/ 4549259 h 80"/>
              <a:gd name="T70" fmla="*/ 6660551 w 53"/>
              <a:gd name="T71" fmla="*/ 3411379 h 80"/>
              <a:gd name="T72" fmla="*/ 5741838 w 53"/>
              <a:gd name="T73" fmla="*/ 2274252 h 80"/>
              <a:gd name="T74" fmla="*/ 4364008 w 53"/>
              <a:gd name="T75" fmla="*/ 568563 h 80"/>
              <a:gd name="T76" fmla="*/ 2985698 w 53"/>
              <a:gd name="T77" fmla="*/ 0 h 80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53"/>
              <a:gd name="T118" fmla="*/ 0 h 80"/>
              <a:gd name="T119" fmla="*/ 53 w 53"/>
              <a:gd name="T120" fmla="*/ 80 h 80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53" h="80">
                <a:moveTo>
                  <a:pt x="13" y="0"/>
                </a:moveTo>
                <a:lnTo>
                  <a:pt x="8" y="5"/>
                </a:lnTo>
                <a:lnTo>
                  <a:pt x="4" y="10"/>
                </a:lnTo>
                <a:lnTo>
                  <a:pt x="2" y="13"/>
                </a:lnTo>
                <a:lnTo>
                  <a:pt x="1" y="16"/>
                </a:lnTo>
                <a:lnTo>
                  <a:pt x="0" y="20"/>
                </a:lnTo>
                <a:lnTo>
                  <a:pt x="0" y="25"/>
                </a:lnTo>
                <a:lnTo>
                  <a:pt x="0" y="30"/>
                </a:lnTo>
                <a:lnTo>
                  <a:pt x="2" y="39"/>
                </a:lnTo>
                <a:lnTo>
                  <a:pt x="6" y="48"/>
                </a:lnTo>
                <a:lnTo>
                  <a:pt x="9" y="57"/>
                </a:lnTo>
                <a:lnTo>
                  <a:pt x="13" y="66"/>
                </a:lnTo>
                <a:lnTo>
                  <a:pt x="20" y="73"/>
                </a:lnTo>
                <a:lnTo>
                  <a:pt x="22" y="76"/>
                </a:lnTo>
                <a:lnTo>
                  <a:pt x="26" y="78"/>
                </a:lnTo>
                <a:lnTo>
                  <a:pt x="30" y="80"/>
                </a:lnTo>
                <a:lnTo>
                  <a:pt x="33" y="80"/>
                </a:lnTo>
                <a:lnTo>
                  <a:pt x="36" y="79"/>
                </a:lnTo>
                <a:lnTo>
                  <a:pt x="38" y="78"/>
                </a:lnTo>
                <a:lnTo>
                  <a:pt x="42" y="76"/>
                </a:lnTo>
                <a:lnTo>
                  <a:pt x="45" y="73"/>
                </a:lnTo>
                <a:lnTo>
                  <a:pt x="48" y="70"/>
                </a:lnTo>
                <a:lnTo>
                  <a:pt x="51" y="67"/>
                </a:lnTo>
                <a:lnTo>
                  <a:pt x="53" y="64"/>
                </a:lnTo>
                <a:lnTo>
                  <a:pt x="53" y="62"/>
                </a:lnTo>
                <a:lnTo>
                  <a:pt x="52" y="54"/>
                </a:lnTo>
                <a:lnTo>
                  <a:pt x="49" y="47"/>
                </a:lnTo>
                <a:lnTo>
                  <a:pt x="46" y="42"/>
                </a:lnTo>
                <a:lnTo>
                  <a:pt x="43" y="37"/>
                </a:lnTo>
                <a:lnTo>
                  <a:pt x="40" y="32"/>
                </a:lnTo>
                <a:lnTo>
                  <a:pt x="36" y="27"/>
                </a:lnTo>
                <a:lnTo>
                  <a:pt x="34" y="20"/>
                </a:lnTo>
                <a:lnTo>
                  <a:pt x="33" y="12"/>
                </a:lnTo>
                <a:lnTo>
                  <a:pt x="33" y="10"/>
                </a:lnTo>
                <a:lnTo>
                  <a:pt x="31" y="8"/>
                </a:lnTo>
                <a:lnTo>
                  <a:pt x="29" y="6"/>
                </a:lnTo>
                <a:lnTo>
                  <a:pt x="25" y="4"/>
                </a:lnTo>
                <a:lnTo>
                  <a:pt x="19" y="1"/>
                </a:lnTo>
                <a:lnTo>
                  <a:pt x="13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07" name="Freeform 205"/>
          <p:cNvSpPr>
            <a:spLocks/>
          </p:cNvSpPr>
          <p:nvPr userDrawn="1">
            <p:custDataLst>
              <p:tags r:id="rId131"/>
            </p:custDataLst>
          </p:nvPr>
        </p:nvSpPr>
        <p:spPr bwMode="auto">
          <a:xfrm>
            <a:off x="2417765" y="4011228"/>
            <a:ext cx="17463" cy="40481"/>
          </a:xfrm>
          <a:custGeom>
            <a:avLst/>
            <a:gdLst>
              <a:gd name="T0" fmla="*/ 0 w 41"/>
              <a:gd name="T1" fmla="*/ 67751173 h 43"/>
              <a:gd name="T2" fmla="*/ 4898158 w 41"/>
              <a:gd name="T3" fmla="*/ 67751173 h 43"/>
              <a:gd name="T4" fmla="*/ 7437961 w 41"/>
              <a:gd name="T5" fmla="*/ 37815132 h 43"/>
              <a:gd name="T6" fmla="*/ 6893625 w 41"/>
              <a:gd name="T7" fmla="*/ 18907566 h 43"/>
              <a:gd name="T8" fmla="*/ 6168272 w 41"/>
              <a:gd name="T9" fmla="*/ 0 h 43"/>
              <a:gd name="T10" fmla="*/ 4898158 w 41"/>
              <a:gd name="T11" fmla="*/ 6302523 h 43"/>
              <a:gd name="T12" fmla="*/ 3628471 w 41"/>
              <a:gd name="T13" fmla="*/ 14180362 h 43"/>
              <a:gd name="T14" fmla="*/ 2721246 w 41"/>
              <a:gd name="T15" fmla="*/ 22058204 h 43"/>
              <a:gd name="T16" fmla="*/ 1814023 w 41"/>
              <a:gd name="T17" fmla="*/ 29936040 h 43"/>
              <a:gd name="T18" fmla="*/ 1088669 w 41"/>
              <a:gd name="T19" fmla="*/ 37815132 h 43"/>
              <a:gd name="T20" fmla="*/ 544334 w 41"/>
              <a:gd name="T21" fmla="*/ 47268295 h 43"/>
              <a:gd name="T22" fmla="*/ 181445 w 41"/>
              <a:gd name="T23" fmla="*/ 58298020 h 43"/>
              <a:gd name="T24" fmla="*/ 0 w 41"/>
              <a:gd name="T25" fmla="*/ 67751173 h 4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41"/>
              <a:gd name="T40" fmla="*/ 0 h 43"/>
              <a:gd name="T41" fmla="*/ 41 w 41"/>
              <a:gd name="T42" fmla="*/ 43 h 4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41" h="43">
                <a:moveTo>
                  <a:pt x="0" y="43"/>
                </a:moveTo>
                <a:lnTo>
                  <a:pt x="27" y="43"/>
                </a:lnTo>
                <a:lnTo>
                  <a:pt x="41" y="24"/>
                </a:lnTo>
                <a:lnTo>
                  <a:pt x="38" y="12"/>
                </a:lnTo>
                <a:lnTo>
                  <a:pt x="34" y="0"/>
                </a:lnTo>
                <a:lnTo>
                  <a:pt x="27" y="4"/>
                </a:lnTo>
                <a:lnTo>
                  <a:pt x="20" y="9"/>
                </a:lnTo>
                <a:lnTo>
                  <a:pt x="15" y="14"/>
                </a:lnTo>
                <a:lnTo>
                  <a:pt x="10" y="19"/>
                </a:lnTo>
                <a:lnTo>
                  <a:pt x="6" y="24"/>
                </a:lnTo>
                <a:lnTo>
                  <a:pt x="3" y="30"/>
                </a:lnTo>
                <a:lnTo>
                  <a:pt x="1" y="37"/>
                </a:lnTo>
                <a:lnTo>
                  <a:pt x="0" y="43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08" name="Freeform 206"/>
          <p:cNvSpPr>
            <a:spLocks/>
          </p:cNvSpPr>
          <p:nvPr userDrawn="1">
            <p:custDataLst>
              <p:tags r:id="rId132"/>
            </p:custDataLst>
          </p:nvPr>
        </p:nvSpPr>
        <p:spPr bwMode="auto">
          <a:xfrm>
            <a:off x="2422535" y="4027897"/>
            <a:ext cx="7937" cy="44053"/>
          </a:xfrm>
          <a:custGeom>
            <a:avLst/>
            <a:gdLst>
              <a:gd name="T0" fmla="*/ 3149798 w 20"/>
              <a:gd name="T1" fmla="*/ 0 h 24"/>
              <a:gd name="T2" fmla="*/ 0 w 20"/>
              <a:gd name="T3" fmla="*/ 0 h 24"/>
              <a:gd name="T4" fmla="*/ 157549 w 20"/>
              <a:gd name="T5" fmla="*/ 29948528 h 24"/>
              <a:gd name="T6" fmla="*/ 315099 w 20"/>
              <a:gd name="T7" fmla="*/ 53905884 h 24"/>
              <a:gd name="T8" fmla="*/ 629801 w 20"/>
              <a:gd name="T9" fmla="*/ 77865677 h 24"/>
              <a:gd name="T10" fmla="*/ 1102449 w 20"/>
              <a:gd name="T11" fmla="*/ 101823043 h 24"/>
              <a:gd name="T12" fmla="*/ 1575097 w 20"/>
              <a:gd name="T13" fmla="*/ 119794112 h 24"/>
              <a:gd name="T14" fmla="*/ 2204899 w 20"/>
              <a:gd name="T15" fmla="*/ 131771561 h 24"/>
              <a:gd name="T16" fmla="*/ 2677150 w 20"/>
              <a:gd name="T17" fmla="*/ 143751458 h 24"/>
              <a:gd name="T18" fmla="*/ 3149798 w 20"/>
              <a:gd name="T19" fmla="*/ 143751458 h 24"/>
              <a:gd name="T20" fmla="*/ 3149798 w 20"/>
              <a:gd name="T21" fmla="*/ 0 h 2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20"/>
              <a:gd name="T34" fmla="*/ 0 h 24"/>
              <a:gd name="T35" fmla="*/ 20 w 20"/>
              <a:gd name="T36" fmla="*/ 24 h 24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20" h="24">
                <a:moveTo>
                  <a:pt x="20" y="0"/>
                </a:moveTo>
                <a:lnTo>
                  <a:pt x="0" y="0"/>
                </a:lnTo>
                <a:lnTo>
                  <a:pt x="1" y="5"/>
                </a:lnTo>
                <a:lnTo>
                  <a:pt x="2" y="9"/>
                </a:lnTo>
                <a:lnTo>
                  <a:pt x="4" y="13"/>
                </a:lnTo>
                <a:lnTo>
                  <a:pt x="7" y="17"/>
                </a:lnTo>
                <a:lnTo>
                  <a:pt x="10" y="20"/>
                </a:lnTo>
                <a:lnTo>
                  <a:pt x="14" y="22"/>
                </a:lnTo>
                <a:lnTo>
                  <a:pt x="17" y="24"/>
                </a:lnTo>
                <a:lnTo>
                  <a:pt x="20" y="24"/>
                </a:lnTo>
                <a:lnTo>
                  <a:pt x="20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09" name="Freeform 207"/>
          <p:cNvSpPr>
            <a:spLocks/>
          </p:cNvSpPr>
          <p:nvPr userDrawn="1">
            <p:custDataLst>
              <p:tags r:id="rId133"/>
            </p:custDataLst>
          </p:nvPr>
        </p:nvSpPr>
        <p:spPr bwMode="auto">
          <a:xfrm>
            <a:off x="2436814" y="4074330"/>
            <a:ext cx="17463" cy="45244"/>
          </a:xfrm>
          <a:custGeom>
            <a:avLst/>
            <a:gdLst>
              <a:gd name="T0" fmla="*/ 0 w 39"/>
              <a:gd name="T1" fmla="*/ 23617942 h 43"/>
              <a:gd name="T2" fmla="*/ 401201 w 39"/>
              <a:gd name="T3" fmla="*/ 33457928 h 43"/>
              <a:gd name="T4" fmla="*/ 1203156 w 39"/>
              <a:gd name="T5" fmla="*/ 43299317 h 43"/>
              <a:gd name="T6" fmla="*/ 2405864 w 39"/>
              <a:gd name="T7" fmla="*/ 53139314 h 43"/>
              <a:gd name="T8" fmla="*/ 3207818 w 39"/>
              <a:gd name="T9" fmla="*/ 62980702 h 43"/>
              <a:gd name="T10" fmla="*/ 4611575 w 39"/>
              <a:gd name="T11" fmla="*/ 72822091 h 43"/>
              <a:gd name="T12" fmla="*/ 5614130 w 39"/>
              <a:gd name="T13" fmla="*/ 78725522 h 43"/>
              <a:gd name="T14" fmla="*/ 6816838 w 39"/>
              <a:gd name="T15" fmla="*/ 84630355 h 43"/>
              <a:gd name="T16" fmla="*/ 7819395 w 39"/>
              <a:gd name="T17" fmla="*/ 84630355 h 43"/>
              <a:gd name="T18" fmla="*/ 7618794 w 39"/>
              <a:gd name="T19" fmla="*/ 62980702 h 43"/>
              <a:gd name="T20" fmla="*/ 7218039 w 39"/>
              <a:gd name="T21" fmla="*/ 37394483 h 43"/>
              <a:gd name="T22" fmla="*/ 6816838 w 39"/>
              <a:gd name="T23" fmla="*/ 15744825 h 43"/>
              <a:gd name="T24" fmla="*/ 6416085 w 39"/>
              <a:gd name="T25" fmla="*/ 0 h 43"/>
              <a:gd name="T26" fmla="*/ 3809621 w 39"/>
              <a:gd name="T27" fmla="*/ 5904836 h 43"/>
              <a:gd name="T28" fmla="*/ 1203156 w 39"/>
              <a:gd name="T29" fmla="*/ 11808269 h 43"/>
              <a:gd name="T30" fmla="*/ 0 w 39"/>
              <a:gd name="T31" fmla="*/ 23617942 h 43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39"/>
              <a:gd name="T49" fmla="*/ 0 h 43"/>
              <a:gd name="T50" fmla="*/ 39 w 39"/>
              <a:gd name="T51" fmla="*/ 43 h 43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39" h="43">
                <a:moveTo>
                  <a:pt x="0" y="12"/>
                </a:moveTo>
                <a:lnTo>
                  <a:pt x="2" y="17"/>
                </a:lnTo>
                <a:lnTo>
                  <a:pt x="6" y="22"/>
                </a:lnTo>
                <a:lnTo>
                  <a:pt x="12" y="27"/>
                </a:lnTo>
                <a:lnTo>
                  <a:pt x="16" y="32"/>
                </a:lnTo>
                <a:lnTo>
                  <a:pt x="23" y="37"/>
                </a:lnTo>
                <a:lnTo>
                  <a:pt x="28" y="40"/>
                </a:lnTo>
                <a:lnTo>
                  <a:pt x="34" y="43"/>
                </a:lnTo>
                <a:lnTo>
                  <a:pt x="39" y="43"/>
                </a:lnTo>
                <a:lnTo>
                  <a:pt x="38" y="32"/>
                </a:lnTo>
                <a:lnTo>
                  <a:pt x="36" y="19"/>
                </a:lnTo>
                <a:lnTo>
                  <a:pt x="34" y="8"/>
                </a:lnTo>
                <a:lnTo>
                  <a:pt x="32" y="0"/>
                </a:lnTo>
                <a:lnTo>
                  <a:pt x="19" y="3"/>
                </a:lnTo>
                <a:lnTo>
                  <a:pt x="6" y="6"/>
                </a:lnTo>
                <a:lnTo>
                  <a:pt x="0" y="12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10" name="Freeform 208"/>
          <p:cNvSpPr>
            <a:spLocks/>
          </p:cNvSpPr>
          <p:nvPr userDrawn="1">
            <p:custDataLst>
              <p:tags r:id="rId134"/>
            </p:custDataLst>
          </p:nvPr>
        </p:nvSpPr>
        <p:spPr bwMode="auto">
          <a:xfrm>
            <a:off x="2424113" y="4083854"/>
            <a:ext cx="26988" cy="44054"/>
          </a:xfrm>
          <a:custGeom>
            <a:avLst/>
            <a:gdLst>
              <a:gd name="T0" fmla="*/ 6982532 w 55"/>
              <a:gd name="T1" fmla="*/ 23336041 h 62"/>
              <a:gd name="T2" fmla="*/ 1926452 w 55"/>
              <a:gd name="T3" fmla="*/ 0 h 62"/>
              <a:gd name="T4" fmla="*/ 963226 w 55"/>
              <a:gd name="T5" fmla="*/ 4487773 h 62"/>
              <a:gd name="T6" fmla="*/ 240929 w 55"/>
              <a:gd name="T7" fmla="*/ 9872722 h 62"/>
              <a:gd name="T8" fmla="*/ 0 w 55"/>
              <a:gd name="T9" fmla="*/ 14360494 h 62"/>
              <a:gd name="T10" fmla="*/ 0 w 55"/>
              <a:gd name="T11" fmla="*/ 18848269 h 62"/>
              <a:gd name="T12" fmla="*/ 481368 w 55"/>
              <a:gd name="T13" fmla="*/ 23336041 h 62"/>
              <a:gd name="T14" fmla="*/ 963226 w 55"/>
              <a:gd name="T15" fmla="*/ 27823812 h 62"/>
              <a:gd name="T16" fmla="*/ 1926452 w 55"/>
              <a:gd name="T17" fmla="*/ 32311591 h 62"/>
              <a:gd name="T18" fmla="*/ 2648750 w 55"/>
              <a:gd name="T19" fmla="*/ 36799363 h 62"/>
              <a:gd name="T20" fmla="*/ 3852414 w 55"/>
              <a:gd name="T21" fmla="*/ 40389012 h 62"/>
              <a:gd name="T22" fmla="*/ 5056570 w 55"/>
              <a:gd name="T23" fmla="*/ 43979608 h 62"/>
              <a:gd name="T24" fmla="*/ 6260235 w 55"/>
              <a:gd name="T25" fmla="*/ 47570204 h 62"/>
              <a:gd name="T26" fmla="*/ 7945758 w 55"/>
              <a:gd name="T27" fmla="*/ 50262677 h 62"/>
              <a:gd name="T28" fmla="*/ 9149424 w 55"/>
              <a:gd name="T29" fmla="*/ 52057028 h 62"/>
              <a:gd name="T30" fmla="*/ 10594018 w 55"/>
              <a:gd name="T31" fmla="*/ 53852326 h 62"/>
              <a:gd name="T32" fmla="*/ 11798173 w 55"/>
              <a:gd name="T33" fmla="*/ 54750449 h 62"/>
              <a:gd name="T34" fmla="*/ 13242766 w 55"/>
              <a:gd name="T35" fmla="*/ 55647624 h 62"/>
              <a:gd name="T36" fmla="*/ 13001837 w 55"/>
              <a:gd name="T37" fmla="*/ 47570204 h 62"/>
              <a:gd name="T38" fmla="*/ 12761399 w 55"/>
              <a:gd name="T39" fmla="*/ 41287134 h 62"/>
              <a:gd name="T40" fmla="*/ 11798173 w 55"/>
              <a:gd name="T41" fmla="*/ 35901240 h 62"/>
              <a:gd name="T42" fmla="*/ 11075876 w 55"/>
              <a:gd name="T43" fmla="*/ 31414416 h 62"/>
              <a:gd name="T44" fmla="*/ 10353579 w 55"/>
              <a:gd name="T45" fmla="*/ 27823812 h 62"/>
              <a:gd name="T46" fmla="*/ 9149424 w 55"/>
              <a:gd name="T47" fmla="*/ 25131339 h 62"/>
              <a:gd name="T48" fmla="*/ 7945758 w 55"/>
              <a:gd name="T49" fmla="*/ 23336041 h 62"/>
              <a:gd name="T50" fmla="*/ 6982532 w 55"/>
              <a:gd name="T51" fmla="*/ 23336041 h 62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55"/>
              <a:gd name="T79" fmla="*/ 0 h 62"/>
              <a:gd name="T80" fmla="*/ 55 w 55"/>
              <a:gd name="T81" fmla="*/ 62 h 62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55" h="62">
                <a:moveTo>
                  <a:pt x="29" y="26"/>
                </a:moveTo>
                <a:lnTo>
                  <a:pt x="8" y="0"/>
                </a:lnTo>
                <a:lnTo>
                  <a:pt x="4" y="5"/>
                </a:lnTo>
                <a:lnTo>
                  <a:pt x="1" y="11"/>
                </a:lnTo>
                <a:lnTo>
                  <a:pt x="0" y="16"/>
                </a:lnTo>
                <a:lnTo>
                  <a:pt x="0" y="21"/>
                </a:lnTo>
                <a:lnTo>
                  <a:pt x="2" y="26"/>
                </a:lnTo>
                <a:lnTo>
                  <a:pt x="4" y="31"/>
                </a:lnTo>
                <a:lnTo>
                  <a:pt x="8" y="36"/>
                </a:lnTo>
                <a:lnTo>
                  <a:pt x="11" y="41"/>
                </a:lnTo>
                <a:lnTo>
                  <a:pt x="16" y="45"/>
                </a:lnTo>
                <a:lnTo>
                  <a:pt x="21" y="49"/>
                </a:lnTo>
                <a:lnTo>
                  <a:pt x="26" y="53"/>
                </a:lnTo>
                <a:lnTo>
                  <a:pt x="33" y="56"/>
                </a:lnTo>
                <a:lnTo>
                  <a:pt x="38" y="58"/>
                </a:lnTo>
                <a:lnTo>
                  <a:pt x="44" y="60"/>
                </a:lnTo>
                <a:lnTo>
                  <a:pt x="49" y="61"/>
                </a:lnTo>
                <a:lnTo>
                  <a:pt x="55" y="62"/>
                </a:lnTo>
                <a:lnTo>
                  <a:pt x="54" y="53"/>
                </a:lnTo>
                <a:lnTo>
                  <a:pt x="53" y="46"/>
                </a:lnTo>
                <a:lnTo>
                  <a:pt x="49" y="40"/>
                </a:lnTo>
                <a:lnTo>
                  <a:pt x="46" y="35"/>
                </a:lnTo>
                <a:lnTo>
                  <a:pt x="43" y="31"/>
                </a:lnTo>
                <a:lnTo>
                  <a:pt x="38" y="28"/>
                </a:lnTo>
                <a:lnTo>
                  <a:pt x="33" y="26"/>
                </a:lnTo>
                <a:lnTo>
                  <a:pt x="29" y="26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11" name="Freeform 209"/>
          <p:cNvSpPr>
            <a:spLocks/>
          </p:cNvSpPr>
          <p:nvPr userDrawn="1">
            <p:custDataLst>
              <p:tags r:id="rId135"/>
            </p:custDataLst>
          </p:nvPr>
        </p:nvSpPr>
        <p:spPr bwMode="auto">
          <a:xfrm>
            <a:off x="2454276" y="4108860"/>
            <a:ext cx="11112" cy="44053"/>
          </a:xfrm>
          <a:custGeom>
            <a:avLst/>
            <a:gdLst>
              <a:gd name="T0" fmla="*/ 3326298 w 35"/>
              <a:gd name="T1" fmla="*/ 24257017 h 43"/>
              <a:gd name="T2" fmla="*/ 705453 w 35"/>
              <a:gd name="T3" fmla="*/ 0 h 43"/>
              <a:gd name="T4" fmla="*/ 403207 w 35"/>
              <a:gd name="T5" fmla="*/ 14927394 h 43"/>
              <a:gd name="T6" fmla="*/ 0 w 35"/>
              <a:gd name="T7" fmla="*/ 35452559 h 43"/>
              <a:gd name="T8" fmla="*/ 201603 w 35"/>
              <a:gd name="T9" fmla="*/ 52244515 h 43"/>
              <a:gd name="T10" fmla="*/ 503850 w 35"/>
              <a:gd name="T11" fmla="*/ 67171904 h 43"/>
              <a:gd name="T12" fmla="*/ 604810 w 35"/>
              <a:gd name="T13" fmla="*/ 72769675 h 43"/>
              <a:gd name="T14" fmla="*/ 806414 w 35"/>
              <a:gd name="T15" fmla="*/ 76501522 h 43"/>
              <a:gd name="T16" fmla="*/ 1108660 w 35"/>
              <a:gd name="T17" fmla="*/ 80233369 h 43"/>
              <a:gd name="T18" fmla="*/ 1411224 w 35"/>
              <a:gd name="T19" fmla="*/ 80233369 h 43"/>
              <a:gd name="T20" fmla="*/ 1814431 w 35"/>
              <a:gd name="T21" fmla="*/ 80233369 h 43"/>
              <a:gd name="T22" fmla="*/ 2217637 w 35"/>
              <a:gd name="T23" fmla="*/ 78367445 h 43"/>
              <a:gd name="T24" fmla="*/ 2620845 w 35"/>
              <a:gd name="T25" fmla="*/ 76501522 h 43"/>
              <a:gd name="T26" fmla="*/ 2822448 w 35"/>
              <a:gd name="T27" fmla="*/ 72769675 h 43"/>
              <a:gd name="T28" fmla="*/ 3124694 w 35"/>
              <a:gd name="T29" fmla="*/ 65305980 h 43"/>
              <a:gd name="T30" fmla="*/ 3326298 w 35"/>
              <a:gd name="T31" fmla="*/ 55976362 h 43"/>
              <a:gd name="T32" fmla="*/ 3527901 w 35"/>
              <a:gd name="T33" fmla="*/ 37318482 h 43"/>
              <a:gd name="T34" fmla="*/ 3326298 w 35"/>
              <a:gd name="T35" fmla="*/ 24257017 h 43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35"/>
              <a:gd name="T55" fmla="*/ 0 h 43"/>
              <a:gd name="T56" fmla="*/ 35 w 35"/>
              <a:gd name="T57" fmla="*/ 43 h 43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35" h="43">
                <a:moveTo>
                  <a:pt x="33" y="13"/>
                </a:moveTo>
                <a:lnTo>
                  <a:pt x="7" y="0"/>
                </a:lnTo>
                <a:lnTo>
                  <a:pt x="4" y="8"/>
                </a:lnTo>
                <a:lnTo>
                  <a:pt x="0" y="19"/>
                </a:lnTo>
                <a:lnTo>
                  <a:pt x="2" y="28"/>
                </a:lnTo>
                <a:lnTo>
                  <a:pt x="5" y="36"/>
                </a:lnTo>
                <a:lnTo>
                  <a:pt x="6" y="39"/>
                </a:lnTo>
                <a:lnTo>
                  <a:pt x="8" y="41"/>
                </a:lnTo>
                <a:lnTo>
                  <a:pt x="11" y="43"/>
                </a:lnTo>
                <a:lnTo>
                  <a:pt x="14" y="43"/>
                </a:lnTo>
                <a:lnTo>
                  <a:pt x="18" y="43"/>
                </a:lnTo>
                <a:lnTo>
                  <a:pt x="22" y="42"/>
                </a:lnTo>
                <a:lnTo>
                  <a:pt x="26" y="41"/>
                </a:lnTo>
                <a:lnTo>
                  <a:pt x="28" y="39"/>
                </a:lnTo>
                <a:lnTo>
                  <a:pt x="31" y="35"/>
                </a:lnTo>
                <a:lnTo>
                  <a:pt x="33" y="30"/>
                </a:lnTo>
                <a:lnTo>
                  <a:pt x="35" y="20"/>
                </a:lnTo>
                <a:lnTo>
                  <a:pt x="33" y="13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12" name="Freeform 210"/>
          <p:cNvSpPr>
            <a:spLocks/>
          </p:cNvSpPr>
          <p:nvPr userDrawn="1">
            <p:custDataLst>
              <p:tags r:id="rId136"/>
            </p:custDataLst>
          </p:nvPr>
        </p:nvSpPr>
        <p:spPr bwMode="auto">
          <a:xfrm>
            <a:off x="2451102" y="4133861"/>
            <a:ext cx="20637" cy="41672"/>
          </a:xfrm>
          <a:custGeom>
            <a:avLst/>
            <a:gdLst>
              <a:gd name="T0" fmla="*/ 8035581 w 53"/>
              <a:gd name="T1" fmla="*/ 0 h 21"/>
              <a:gd name="T2" fmla="*/ 6216020 w 53"/>
              <a:gd name="T3" fmla="*/ 7000938 h 21"/>
              <a:gd name="T4" fmla="*/ 4851642 w 53"/>
              <a:gd name="T5" fmla="*/ 14001876 h 21"/>
              <a:gd name="T6" fmla="*/ 3790200 w 53"/>
              <a:gd name="T7" fmla="*/ 35002042 h 21"/>
              <a:gd name="T8" fmla="*/ 3183939 w 53"/>
              <a:gd name="T9" fmla="*/ 49003923 h 21"/>
              <a:gd name="T10" fmla="*/ 2577289 w 53"/>
              <a:gd name="T11" fmla="*/ 70006729 h 21"/>
              <a:gd name="T12" fmla="*/ 1971028 w 53"/>
              <a:gd name="T13" fmla="*/ 91006911 h 21"/>
              <a:gd name="T14" fmla="*/ 1212911 w 53"/>
              <a:gd name="T15" fmla="*/ 112009717 h 21"/>
              <a:gd name="T16" fmla="*/ 0 w 53"/>
              <a:gd name="T17" fmla="*/ 126008942 h 21"/>
              <a:gd name="T18" fmla="*/ 758118 w 53"/>
              <a:gd name="T19" fmla="*/ 140010813 h 21"/>
              <a:gd name="T20" fmla="*/ 1667704 w 53"/>
              <a:gd name="T21" fmla="*/ 147011748 h 21"/>
              <a:gd name="T22" fmla="*/ 2577289 w 53"/>
              <a:gd name="T23" fmla="*/ 147011748 h 21"/>
              <a:gd name="T24" fmla="*/ 3638732 w 53"/>
              <a:gd name="T25" fmla="*/ 147011748 h 21"/>
              <a:gd name="T26" fmla="*/ 5761227 w 53"/>
              <a:gd name="T27" fmla="*/ 133009877 h 21"/>
              <a:gd name="T28" fmla="*/ 8035581 w 53"/>
              <a:gd name="T29" fmla="*/ 126008942 h 21"/>
              <a:gd name="T30" fmla="*/ 8035581 w 53"/>
              <a:gd name="T31" fmla="*/ 0 h 2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53"/>
              <a:gd name="T49" fmla="*/ 0 h 21"/>
              <a:gd name="T50" fmla="*/ 53 w 53"/>
              <a:gd name="T51" fmla="*/ 21 h 21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53" h="21">
                <a:moveTo>
                  <a:pt x="53" y="0"/>
                </a:moveTo>
                <a:lnTo>
                  <a:pt x="41" y="1"/>
                </a:lnTo>
                <a:lnTo>
                  <a:pt x="32" y="2"/>
                </a:lnTo>
                <a:lnTo>
                  <a:pt x="25" y="5"/>
                </a:lnTo>
                <a:lnTo>
                  <a:pt x="21" y="7"/>
                </a:lnTo>
                <a:lnTo>
                  <a:pt x="17" y="10"/>
                </a:lnTo>
                <a:lnTo>
                  <a:pt x="13" y="13"/>
                </a:lnTo>
                <a:lnTo>
                  <a:pt x="8" y="16"/>
                </a:lnTo>
                <a:lnTo>
                  <a:pt x="0" y="18"/>
                </a:lnTo>
                <a:lnTo>
                  <a:pt x="5" y="20"/>
                </a:lnTo>
                <a:lnTo>
                  <a:pt x="11" y="21"/>
                </a:lnTo>
                <a:lnTo>
                  <a:pt x="17" y="21"/>
                </a:lnTo>
                <a:lnTo>
                  <a:pt x="24" y="21"/>
                </a:lnTo>
                <a:lnTo>
                  <a:pt x="38" y="19"/>
                </a:lnTo>
                <a:lnTo>
                  <a:pt x="53" y="18"/>
                </a:lnTo>
                <a:lnTo>
                  <a:pt x="53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13" name="Freeform 211"/>
          <p:cNvSpPr>
            <a:spLocks/>
          </p:cNvSpPr>
          <p:nvPr userDrawn="1">
            <p:custDataLst>
              <p:tags r:id="rId137"/>
            </p:custDataLst>
          </p:nvPr>
        </p:nvSpPr>
        <p:spPr bwMode="auto">
          <a:xfrm>
            <a:off x="2474916" y="4144578"/>
            <a:ext cx="17463" cy="42863"/>
          </a:xfrm>
          <a:custGeom>
            <a:avLst/>
            <a:gdLst>
              <a:gd name="T0" fmla="*/ 3628649 w 43"/>
              <a:gd name="T1" fmla="*/ 0 h 38"/>
              <a:gd name="T2" fmla="*/ 1979005 w 43"/>
              <a:gd name="T3" fmla="*/ 0 h 38"/>
              <a:gd name="T4" fmla="*/ 329766 w 43"/>
              <a:gd name="T5" fmla="*/ 0 h 38"/>
              <a:gd name="T6" fmla="*/ 164883 w 43"/>
              <a:gd name="T7" fmla="*/ 0 h 38"/>
              <a:gd name="T8" fmla="*/ 0 w 43"/>
              <a:gd name="T9" fmla="*/ 2261937 h 38"/>
              <a:gd name="T10" fmla="*/ 0 w 43"/>
              <a:gd name="T11" fmla="*/ 6785811 h 38"/>
              <a:gd name="T12" fmla="*/ 0 w 43"/>
              <a:gd name="T13" fmla="*/ 13571621 h 38"/>
              <a:gd name="T14" fmla="*/ 164883 w 43"/>
              <a:gd name="T15" fmla="*/ 22617861 h 38"/>
              <a:gd name="T16" fmla="*/ 329766 w 43"/>
              <a:gd name="T17" fmla="*/ 27141739 h 38"/>
              <a:gd name="T18" fmla="*/ 494650 w 43"/>
              <a:gd name="T19" fmla="*/ 40713355 h 38"/>
              <a:gd name="T20" fmla="*/ 824822 w 43"/>
              <a:gd name="T21" fmla="*/ 56546918 h 38"/>
              <a:gd name="T22" fmla="*/ 1649238 w 43"/>
              <a:gd name="T23" fmla="*/ 67855094 h 38"/>
              <a:gd name="T24" fmla="*/ 2474060 w 43"/>
              <a:gd name="T25" fmla="*/ 76902837 h 38"/>
              <a:gd name="T26" fmla="*/ 3463360 w 43"/>
              <a:gd name="T27" fmla="*/ 83688645 h 38"/>
              <a:gd name="T28" fmla="*/ 4453065 w 43"/>
              <a:gd name="T29" fmla="*/ 85950581 h 38"/>
              <a:gd name="T30" fmla="*/ 5772536 w 43"/>
              <a:gd name="T31" fmla="*/ 85950581 h 38"/>
              <a:gd name="T32" fmla="*/ 7092009 w 43"/>
              <a:gd name="T33" fmla="*/ 83688645 h 38"/>
              <a:gd name="T34" fmla="*/ 6597358 w 43"/>
              <a:gd name="T35" fmla="*/ 65593158 h 38"/>
              <a:gd name="T36" fmla="*/ 5937419 w 43"/>
              <a:gd name="T37" fmla="*/ 52023046 h 38"/>
              <a:gd name="T38" fmla="*/ 5442770 w 43"/>
              <a:gd name="T39" fmla="*/ 38451419 h 38"/>
              <a:gd name="T40" fmla="*/ 4947714 w 43"/>
              <a:gd name="T41" fmla="*/ 29403675 h 38"/>
              <a:gd name="T42" fmla="*/ 4453065 w 43"/>
              <a:gd name="T43" fmla="*/ 22617861 h 38"/>
              <a:gd name="T44" fmla="*/ 3958416 w 43"/>
              <a:gd name="T45" fmla="*/ 15833557 h 38"/>
              <a:gd name="T46" fmla="*/ 3793532 w 43"/>
              <a:gd name="T47" fmla="*/ 9047747 h 38"/>
              <a:gd name="T48" fmla="*/ 3628649 w 43"/>
              <a:gd name="T49" fmla="*/ 0 h 38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43"/>
              <a:gd name="T76" fmla="*/ 0 h 38"/>
              <a:gd name="T77" fmla="*/ 43 w 43"/>
              <a:gd name="T78" fmla="*/ 38 h 38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43" h="38">
                <a:moveTo>
                  <a:pt x="22" y="0"/>
                </a:moveTo>
                <a:lnTo>
                  <a:pt x="12" y="0"/>
                </a:lnTo>
                <a:lnTo>
                  <a:pt x="2" y="0"/>
                </a:lnTo>
                <a:lnTo>
                  <a:pt x="1" y="0"/>
                </a:lnTo>
                <a:lnTo>
                  <a:pt x="0" y="1"/>
                </a:lnTo>
                <a:lnTo>
                  <a:pt x="0" y="3"/>
                </a:lnTo>
                <a:lnTo>
                  <a:pt x="0" y="6"/>
                </a:lnTo>
                <a:lnTo>
                  <a:pt x="1" y="10"/>
                </a:lnTo>
                <a:lnTo>
                  <a:pt x="2" y="12"/>
                </a:lnTo>
                <a:lnTo>
                  <a:pt x="3" y="18"/>
                </a:lnTo>
                <a:lnTo>
                  <a:pt x="5" y="25"/>
                </a:lnTo>
                <a:lnTo>
                  <a:pt x="10" y="30"/>
                </a:lnTo>
                <a:lnTo>
                  <a:pt x="15" y="34"/>
                </a:lnTo>
                <a:lnTo>
                  <a:pt x="21" y="37"/>
                </a:lnTo>
                <a:lnTo>
                  <a:pt x="27" y="38"/>
                </a:lnTo>
                <a:lnTo>
                  <a:pt x="35" y="38"/>
                </a:lnTo>
                <a:lnTo>
                  <a:pt x="43" y="37"/>
                </a:lnTo>
                <a:lnTo>
                  <a:pt x="40" y="29"/>
                </a:lnTo>
                <a:lnTo>
                  <a:pt x="36" y="23"/>
                </a:lnTo>
                <a:lnTo>
                  <a:pt x="33" y="17"/>
                </a:lnTo>
                <a:lnTo>
                  <a:pt x="30" y="13"/>
                </a:lnTo>
                <a:lnTo>
                  <a:pt x="27" y="10"/>
                </a:lnTo>
                <a:lnTo>
                  <a:pt x="24" y="7"/>
                </a:lnTo>
                <a:lnTo>
                  <a:pt x="23" y="4"/>
                </a:lnTo>
                <a:lnTo>
                  <a:pt x="22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14" name="Freeform 212"/>
          <p:cNvSpPr>
            <a:spLocks/>
          </p:cNvSpPr>
          <p:nvPr userDrawn="1">
            <p:custDataLst>
              <p:tags r:id="rId138"/>
            </p:custDataLst>
          </p:nvPr>
        </p:nvSpPr>
        <p:spPr bwMode="auto">
          <a:xfrm>
            <a:off x="2476501" y="4166009"/>
            <a:ext cx="6350" cy="42863"/>
          </a:xfrm>
          <a:custGeom>
            <a:avLst/>
            <a:gdLst>
              <a:gd name="T0" fmla="*/ 0 w 20"/>
              <a:gd name="T1" fmla="*/ 0 h 5"/>
              <a:gd name="T2" fmla="*/ 100965 w 20"/>
              <a:gd name="T3" fmla="*/ 261289790 h 5"/>
              <a:gd name="T4" fmla="*/ 201613 w 20"/>
              <a:gd name="T5" fmla="*/ 391934729 h 5"/>
              <a:gd name="T6" fmla="*/ 403225 w 20"/>
              <a:gd name="T7" fmla="*/ 522579579 h 5"/>
              <a:gd name="T8" fmla="*/ 705485 w 20"/>
              <a:gd name="T9" fmla="*/ 653224429 h 5"/>
              <a:gd name="T10" fmla="*/ 1108710 w 20"/>
              <a:gd name="T11" fmla="*/ 522579579 h 5"/>
              <a:gd name="T12" fmla="*/ 1411288 w 20"/>
              <a:gd name="T13" fmla="*/ 391934729 h 5"/>
              <a:gd name="T14" fmla="*/ 1713865 w 20"/>
              <a:gd name="T15" fmla="*/ 261289790 h 5"/>
              <a:gd name="T16" fmla="*/ 2016125 w 20"/>
              <a:gd name="T17" fmla="*/ 0 h 5"/>
              <a:gd name="T18" fmla="*/ 0 w 20"/>
              <a:gd name="T19" fmla="*/ 0 h 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0"/>
              <a:gd name="T31" fmla="*/ 0 h 5"/>
              <a:gd name="T32" fmla="*/ 20 w 20"/>
              <a:gd name="T33" fmla="*/ 5 h 5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0" h="5">
                <a:moveTo>
                  <a:pt x="0" y="0"/>
                </a:moveTo>
                <a:lnTo>
                  <a:pt x="1" y="2"/>
                </a:lnTo>
                <a:lnTo>
                  <a:pt x="2" y="3"/>
                </a:lnTo>
                <a:lnTo>
                  <a:pt x="4" y="4"/>
                </a:lnTo>
                <a:lnTo>
                  <a:pt x="7" y="5"/>
                </a:lnTo>
                <a:lnTo>
                  <a:pt x="11" y="4"/>
                </a:lnTo>
                <a:lnTo>
                  <a:pt x="14" y="3"/>
                </a:lnTo>
                <a:lnTo>
                  <a:pt x="17" y="2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15" name="Freeform 213"/>
          <p:cNvSpPr>
            <a:spLocks/>
          </p:cNvSpPr>
          <p:nvPr userDrawn="1">
            <p:custDataLst>
              <p:tags r:id="rId139"/>
            </p:custDataLst>
          </p:nvPr>
        </p:nvSpPr>
        <p:spPr bwMode="auto">
          <a:xfrm>
            <a:off x="2551121" y="4218397"/>
            <a:ext cx="34925" cy="42863"/>
          </a:xfrm>
          <a:custGeom>
            <a:avLst/>
            <a:gdLst>
              <a:gd name="T0" fmla="*/ 9155613 w 73"/>
              <a:gd name="T1" fmla="*/ 0 h 22"/>
              <a:gd name="T2" fmla="*/ 7324680 w 73"/>
              <a:gd name="T3" fmla="*/ 6748896 h 22"/>
              <a:gd name="T4" fmla="*/ 5951124 w 73"/>
              <a:gd name="T5" fmla="*/ 13495194 h 22"/>
              <a:gd name="T6" fmla="*/ 4577567 w 73"/>
              <a:gd name="T7" fmla="*/ 33741878 h 22"/>
              <a:gd name="T8" fmla="*/ 3433175 w 73"/>
              <a:gd name="T9" fmla="*/ 53985970 h 22"/>
              <a:gd name="T10" fmla="*/ 1373557 w 73"/>
              <a:gd name="T11" fmla="*/ 94474153 h 22"/>
              <a:gd name="T12" fmla="*/ 0 w 73"/>
              <a:gd name="T13" fmla="*/ 128216021 h 22"/>
              <a:gd name="T14" fmla="*/ 4577567 w 73"/>
              <a:gd name="T15" fmla="*/ 134964914 h 22"/>
              <a:gd name="T16" fmla="*/ 8926926 w 73"/>
              <a:gd name="T17" fmla="*/ 148460103 h 22"/>
              <a:gd name="T18" fmla="*/ 11215708 w 73"/>
              <a:gd name="T19" fmla="*/ 148460103 h 22"/>
              <a:gd name="T20" fmla="*/ 13046639 w 73"/>
              <a:gd name="T21" fmla="*/ 148460103 h 22"/>
              <a:gd name="T22" fmla="*/ 14878048 w 73"/>
              <a:gd name="T23" fmla="*/ 141711210 h 22"/>
              <a:gd name="T24" fmla="*/ 16708982 w 73"/>
              <a:gd name="T25" fmla="*/ 128216021 h 22"/>
              <a:gd name="T26" fmla="*/ 14648882 w 73"/>
              <a:gd name="T27" fmla="*/ 94474153 h 22"/>
              <a:gd name="T28" fmla="*/ 12817952 w 73"/>
              <a:gd name="T29" fmla="*/ 53985970 h 22"/>
              <a:gd name="T30" fmla="*/ 12131413 w 73"/>
              <a:gd name="T31" fmla="*/ 33741878 h 22"/>
              <a:gd name="T32" fmla="*/ 11215708 w 73"/>
              <a:gd name="T33" fmla="*/ 13495194 h 22"/>
              <a:gd name="T34" fmla="*/ 10071317 w 73"/>
              <a:gd name="T35" fmla="*/ 6748896 h 22"/>
              <a:gd name="T36" fmla="*/ 9155613 w 73"/>
              <a:gd name="T37" fmla="*/ 0 h 22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73"/>
              <a:gd name="T58" fmla="*/ 0 h 22"/>
              <a:gd name="T59" fmla="*/ 73 w 73"/>
              <a:gd name="T60" fmla="*/ 22 h 22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73" h="22">
                <a:moveTo>
                  <a:pt x="40" y="0"/>
                </a:moveTo>
                <a:lnTo>
                  <a:pt x="32" y="1"/>
                </a:lnTo>
                <a:lnTo>
                  <a:pt x="26" y="2"/>
                </a:lnTo>
                <a:lnTo>
                  <a:pt x="20" y="5"/>
                </a:lnTo>
                <a:lnTo>
                  <a:pt x="15" y="8"/>
                </a:lnTo>
                <a:lnTo>
                  <a:pt x="6" y="14"/>
                </a:lnTo>
                <a:lnTo>
                  <a:pt x="0" y="19"/>
                </a:lnTo>
                <a:lnTo>
                  <a:pt x="20" y="20"/>
                </a:lnTo>
                <a:lnTo>
                  <a:pt x="39" y="22"/>
                </a:lnTo>
                <a:lnTo>
                  <a:pt x="49" y="22"/>
                </a:lnTo>
                <a:lnTo>
                  <a:pt x="57" y="22"/>
                </a:lnTo>
                <a:lnTo>
                  <a:pt x="65" y="21"/>
                </a:lnTo>
                <a:lnTo>
                  <a:pt x="73" y="19"/>
                </a:lnTo>
                <a:lnTo>
                  <a:pt x="64" y="14"/>
                </a:lnTo>
                <a:lnTo>
                  <a:pt x="56" y="8"/>
                </a:lnTo>
                <a:lnTo>
                  <a:pt x="53" y="5"/>
                </a:lnTo>
                <a:lnTo>
                  <a:pt x="49" y="2"/>
                </a:lnTo>
                <a:lnTo>
                  <a:pt x="44" y="1"/>
                </a:lnTo>
                <a:lnTo>
                  <a:pt x="40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16" name="Freeform 214"/>
          <p:cNvSpPr>
            <a:spLocks/>
          </p:cNvSpPr>
          <p:nvPr userDrawn="1">
            <p:custDataLst>
              <p:tags r:id="rId140"/>
            </p:custDataLst>
          </p:nvPr>
        </p:nvSpPr>
        <p:spPr bwMode="auto">
          <a:xfrm>
            <a:off x="2589216" y="4174342"/>
            <a:ext cx="123825" cy="75010"/>
          </a:xfrm>
          <a:custGeom>
            <a:avLst/>
            <a:gdLst>
              <a:gd name="T0" fmla="*/ 45632371 w 281"/>
              <a:gd name="T1" fmla="*/ 45113638 h 193"/>
              <a:gd name="T2" fmla="*/ 36505899 w 281"/>
              <a:gd name="T3" fmla="*/ 45919442 h 193"/>
              <a:gd name="T4" fmla="*/ 32622379 w 281"/>
              <a:gd name="T5" fmla="*/ 45113638 h 193"/>
              <a:gd name="T6" fmla="*/ 30097848 w 281"/>
              <a:gd name="T7" fmla="*/ 44039405 h 193"/>
              <a:gd name="T8" fmla="*/ 25243551 w 281"/>
              <a:gd name="T9" fmla="*/ 36251867 h 193"/>
              <a:gd name="T10" fmla="*/ 20194490 w 281"/>
              <a:gd name="T11" fmla="*/ 25242141 h 193"/>
              <a:gd name="T12" fmla="*/ 18252950 w 281"/>
              <a:gd name="T13" fmla="*/ 19871497 h 193"/>
              <a:gd name="T14" fmla="*/ 16893519 w 281"/>
              <a:gd name="T15" fmla="*/ 13695044 h 193"/>
              <a:gd name="T16" fmla="*/ 16117080 w 281"/>
              <a:gd name="T17" fmla="*/ 7250165 h 193"/>
              <a:gd name="T18" fmla="*/ 8349594 w 281"/>
              <a:gd name="T19" fmla="*/ 0 h 193"/>
              <a:gd name="T20" fmla="*/ 5436842 w 281"/>
              <a:gd name="T21" fmla="*/ 13963991 h 193"/>
              <a:gd name="T22" fmla="*/ 3495301 w 281"/>
              <a:gd name="T23" fmla="*/ 16380366 h 193"/>
              <a:gd name="T24" fmla="*/ 1165101 w 281"/>
              <a:gd name="T25" fmla="*/ 18528836 h 193"/>
              <a:gd name="T26" fmla="*/ 0 w 281"/>
              <a:gd name="T27" fmla="*/ 19603068 h 193"/>
              <a:gd name="T28" fmla="*/ 194330 w 281"/>
              <a:gd name="T29" fmla="*/ 20139925 h 193"/>
              <a:gd name="T30" fmla="*/ 1747651 w 281"/>
              <a:gd name="T31" fmla="*/ 21751015 h 193"/>
              <a:gd name="T32" fmla="*/ 7184493 w 281"/>
              <a:gd name="T33" fmla="*/ 29806982 h 193"/>
              <a:gd name="T34" fmla="*/ 8738255 w 281"/>
              <a:gd name="T35" fmla="*/ 32761251 h 193"/>
              <a:gd name="T36" fmla="*/ 10291575 w 281"/>
              <a:gd name="T37" fmla="*/ 34640777 h 193"/>
              <a:gd name="T38" fmla="*/ 12039225 w 281"/>
              <a:gd name="T39" fmla="*/ 35983439 h 193"/>
              <a:gd name="T40" fmla="*/ 13786876 w 281"/>
              <a:gd name="T41" fmla="*/ 36520296 h 193"/>
              <a:gd name="T42" fmla="*/ 14757649 w 281"/>
              <a:gd name="T43" fmla="*/ 37863475 h 193"/>
              <a:gd name="T44" fmla="*/ 15340199 w 281"/>
              <a:gd name="T45" fmla="*/ 39742993 h 193"/>
              <a:gd name="T46" fmla="*/ 16699630 w 281"/>
              <a:gd name="T47" fmla="*/ 41085655 h 193"/>
              <a:gd name="T48" fmla="*/ 19223720 w 281"/>
              <a:gd name="T49" fmla="*/ 41354083 h 193"/>
              <a:gd name="T50" fmla="*/ 20583150 w 281"/>
              <a:gd name="T51" fmla="*/ 42159887 h 193"/>
              <a:gd name="T52" fmla="*/ 21165700 w 281"/>
              <a:gd name="T53" fmla="*/ 43770977 h 193"/>
              <a:gd name="T54" fmla="*/ 21165700 w 281"/>
              <a:gd name="T55" fmla="*/ 48067389 h 193"/>
              <a:gd name="T56" fmla="*/ 21553920 w 281"/>
              <a:gd name="T57" fmla="*/ 50752711 h 193"/>
              <a:gd name="T58" fmla="*/ 22330800 w 281"/>
              <a:gd name="T59" fmla="*/ 51826944 h 193"/>
              <a:gd name="T60" fmla="*/ 25049221 w 281"/>
              <a:gd name="T61" fmla="*/ 51826944 h 193"/>
              <a:gd name="T62" fmla="*/ 31845499 w 281"/>
              <a:gd name="T63" fmla="*/ 51290087 h 193"/>
              <a:gd name="T64" fmla="*/ 34952139 w 281"/>
              <a:gd name="T65" fmla="*/ 50752711 h 193"/>
              <a:gd name="T66" fmla="*/ 37282339 w 281"/>
              <a:gd name="T67" fmla="*/ 49947425 h 193"/>
              <a:gd name="T68" fmla="*/ 41166300 w 281"/>
              <a:gd name="T69" fmla="*/ 50484283 h 193"/>
              <a:gd name="T70" fmla="*/ 54564512 w 281"/>
              <a:gd name="T71" fmla="*/ 44845209 h 193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281"/>
              <a:gd name="T109" fmla="*/ 0 h 193"/>
              <a:gd name="T110" fmla="*/ 281 w 281"/>
              <a:gd name="T111" fmla="*/ 193 h 193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281" h="193">
                <a:moveTo>
                  <a:pt x="275" y="167"/>
                </a:moveTo>
                <a:lnTo>
                  <a:pt x="235" y="168"/>
                </a:lnTo>
                <a:lnTo>
                  <a:pt x="202" y="171"/>
                </a:lnTo>
                <a:lnTo>
                  <a:pt x="188" y="171"/>
                </a:lnTo>
                <a:lnTo>
                  <a:pt x="175" y="169"/>
                </a:lnTo>
                <a:lnTo>
                  <a:pt x="168" y="168"/>
                </a:lnTo>
                <a:lnTo>
                  <a:pt x="162" y="166"/>
                </a:lnTo>
                <a:lnTo>
                  <a:pt x="155" y="164"/>
                </a:lnTo>
                <a:lnTo>
                  <a:pt x="149" y="161"/>
                </a:lnTo>
                <a:lnTo>
                  <a:pt x="130" y="135"/>
                </a:lnTo>
                <a:lnTo>
                  <a:pt x="108" y="103"/>
                </a:lnTo>
                <a:lnTo>
                  <a:pt x="104" y="94"/>
                </a:lnTo>
                <a:lnTo>
                  <a:pt x="98" y="84"/>
                </a:lnTo>
                <a:lnTo>
                  <a:pt x="94" y="74"/>
                </a:lnTo>
                <a:lnTo>
                  <a:pt x="90" y="63"/>
                </a:lnTo>
                <a:lnTo>
                  <a:pt x="87" y="51"/>
                </a:lnTo>
                <a:lnTo>
                  <a:pt x="85" y="39"/>
                </a:lnTo>
                <a:lnTo>
                  <a:pt x="83" y="27"/>
                </a:lnTo>
                <a:lnTo>
                  <a:pt x="83" y="13"/>
                </a:lnTo>
                <a:lnTo>
                  <a:pt x="43" y="0"/>
                </a:lnTo>
                <a:lnTo>
                  <a:pt x="30" y="50"/>
                </a:lnTo>
                <a:lnTo>
                  <a:pt x="28" y="52"/>
                </a:lnTo>
                <a:lnTo>
                  <a:pt x="23" y="56"/>
                </a:lnTo>
                <a:lnTo>
                  <a:pt x="18" y="61"/>
                </a:lnTo>
                <a:lnTo>
                  <a:pt x="11" y="65"/>
                </a:lnTo>
                <a:lnTo>
                  <a:pt x="6" y="69"/>
                </a:lnTo>
                <a:lnTo>
                  <a:pt x="1" y="72"/>
                </a:lnTo>
                <a:lnTo>
                  <a:pt x="0" y="73"/>
                </a:lnTo>
                <a:lnTo>
                  <a:pt x="0" y="74"/>
                </a:lnTo>
                <a:lnTo>
                  <a:pt x="1" y="75"/>
                </a:lnTo>
                <a:lnTo>
                  <a:pt x="3" y="75"/>
                </a:lnTo>
                <a:lnTo>
                  <a:pt x="9" y="81"/>
                </a:lnTo>
                <a:lnTo>
                  <a:pt x="23" y="96"/>
                </a:lnTo>
                <a:lnTo>
                  <a:pt x="37" y="111"/>
                </a:lnTo>
                <a:lnTo>
                  <a:pt x="43" y="118"/>
                </a:lnTo>
                <a:lnTo>
                  <a:pt x="45" y="122"/>
                </a:lnTo>
                <a:lnTo>
                  <a:pt x="49" y="126"/>
                </a:lnTo>
                <a:lnTo>
                  <a:pt x="53" y="129"/>
                </a:lnTo>
                <a:lnTo>
                  <a:pt x="57" y="132"/>
                </a:lnTo>
                <a:lnTo>
                  <a:pt x="62" y="134"/>
                </a:lnTo>
                <a:lnTo>
                  <a:pt x="66" y="135"/>
                </a:lnTo>
                <a:lnTo>
                  <a:pt x="71" y="136"/>
                </a:lnTo>
                <a:lnTo>
                  <a:pt x="76" y="136"/>
                </a:lnTo>
                <a:lnTo>
                  <a:pt x="76" y="141"/>
                </a:lnTo>
                <a:lnTo>
                  <a:pt x="77" y="145"/>
                </a:lnTo>
                <a:lnTo>
                  <a:pt x="79" y="148"/>
                </a:lnTo>
                <a:lnTo>
                  <a:pt x="82" y="150"/>
                </a:lnTo>
                <a:lnTo>
                  <a:pt x="86" y="153"/>
                </a:lnTo>
                <a:lnTo>
                  <a:pt x="93" y="154"/>
                </a:lnTo>
                <a:lnTo>
                  <a:pt x="99" y="154"/>
                </a:lnTo>
                <a:lnTo>
                  <a:pt x="104" y="156"/>
                </a:lnTo>
                <a:lnTo>
                  <a:pt x="106" y="157"/>
                </a:lnTo>
                <a:lnTo>
                  <a:pt x="108" y="160"/>
                </a:lnTo>
                <a:lnTo>
                  <a:pt x="109" y="163"/>
                </a:lnTo>
                <a:lnTo>
                  <a:pt x="109" y="167"/>
                </a:lnTo>
                <a:lnTo>
                  <a:pt x="109" y="179"/>
                </a:lnTo>
                <a:lnTo>
                  <a:pt x="111" y="187"/>
                </a:lnTo>
                <a:lnTo>
                  <a:pt x="111" y="189"/>
                </a:lnTo>
                <a:lnTo>
                  <a:pt x="113" y="191"/>
                </a:lnTo>
                <a:lnTo>
                  <a:pt x="115" y="193"/>
                </a:lnTo>
                <a:lnTo>
                  <a:pt x="117" y="193"/>
                </a:lnTo>
                <a:lnTo>
                  <a:pt x="129" y="193"/>
                </a:lnTo>
                <a:lnTo>
                  <a:pt x="149" y="192"/>
                </a:lnTo>
                <a:lnTo>
                  <a:pt x="164" y="191"/>
                </a:lnTo>
                <a:lnTo>
                  <a:pt x="174" y="190"/>
                </a:lnTo>
                <a:lnTo>
                  <a:pt x="180" y="189"/>
                </a:lnTo>
                <a:lnTo>
                  <a:pt x="186" y="187"/>
                </a:lnTo>
                <a:lnTo>
                  <a:pt x="192" y="186"/>
                </a:lnTo>
                <a:lnTo>
                  <a:pt x="200" y="187"/>
                </a:lnTo>
                <a:lnTo>
                  <a:pt x="212" y="188"/>
                </a:lnTo>
                <a:lnTo>
                  <a:pt x="229" y="192"/>
                </a:lnTo>
                <a:lnTo>
                  <a:pt x="281" y="167"/>
                </a:lnTo>
                <a:lnTo>
                  <a:pt x="275" y="167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17" name="Freeform 215"/>
          <p:cNvSpPr>
            <a:spLocks/>
          </p:cNvSpPr>
          <p:nvPr userDrawn="1">
            <p:custDataLst>
              <p:tags r:id="rId141"/>
            </p:custDataLst>
          </p:nvPr>
        </p:nvSpPr>
        <p:spPr bwMode="auto">
          <a:xfrm>
            <a:off x="2141539" y="2499135"/>
            <a:ext cx="52388" cy="44053"/>
          </a:xfrm>
          <a:custGeom>
            <a:avLst/>
            <a:gdLst>
              <a:gd name="T0" fmla="*/ 0 w 120"/>
              <a:gd name="T1" fmla="*/ 19802763 h 56"/>
              <a:gd name="T2" fmla="*/ 762245 w 120"/>
              <a:gd name="T3" fmla="*/ 28603871 h 56"/>
              <a:gd name="T4" fmla="*/ 1906050 w 120"/>
              <a:gd name="T5" fmla="*/ 36304717 h 56"/>
              <a:gd name="T6" fmla="*/ 2859075 w 120"/>
              <a:gd name="T7" fmla="*/ 40704746 h 56"/>
              <a:gd name="T8" fmla="*/ 4002444 w 120"/>
              <a:gd name="T9" fmla="*/ 45105825 h 56"/>
              <a:gd name="T10" fmla="*/ 5145812 w 120"/>
              <a:gd name="T11" fmla="*/ 48406633 h 56"/>
              <a:gd name="T12" fmla="*/ 6670739 w 120"/>
              <a:gd name="T13" fmla="*/ 50606124 h 56"/>
              <a:gd name="T14" fmla="*/ 8195231 w 120"/>
              <a:gd name="T15" fmla="*/ 52806663 h 56"/>
              <a:gd name="T16" fmla="*/ 9720158 w 120"/>
              <a:gd name="T17" fmla="*/ 53906932 h 56"/>
              <a:gd name="T18" fmla="*/ 12769575 w 120"/>
              <a:gd name="T19" fmla="*/ 55007202 h 56"/>
              <a:gd name="T20" fmla="*/ 16200119 w 120"/>
              <a:gd name="T21" fmla="*/ 56107471 h 56"/>
              <a:gd name="T22" fmla="*/ 19440316 w 120"/>
              <a:gd name="T23" fmla="*/ 57207741 h 56"/>
              <a:gd name="T24" fmla="*/ 22870856 w 120"/>
              <a:gd name="T25" fmla="*/ 61607770 h 56"/>
              <a:gd name="T26" fmla="*/ 22870856 w 120"/>
              <a:gd name="T27" fmla="*/ 40704746 h 56"/>
              <a:gd name="T28" fmla="*/ 21155586 w 120"/>
              <a:gd name="T29" fmla="*/ 37404986 h 56"/>
              <a:gd name="T30" fmla="*/ 19440316 w 120"/>
              <a:gd name="T31" fmla="*/ 33003900 h 56"/>
              <a:gd name="T32" fmla="*/ 17915389 w 120"/>
              <a:gd name="T33" fmla="*/ 26403331 h 56"/>
              <a:gd name="T34" fmla="*/ 16772021 w 120"/>
              <a:gd name="T35" fmla="*/ 19802763 h 56"/>
              <a:gd name="T36" fmla="*/ 15437873 w 120"/>
              <a:gd name="T37" fmla="*/ 14301411 h 56"/>
              <a:gd name="T38" fmla="*/ 14294502 w 120"/>
              <a:gd name="T39" fmla="*/ 7700840 h 56"/>
              <a:gd name="T40" fmla="*/ 12769575 w 120"/>
              <a:gd name="T41" fmla="*/ 3300810 h 56"/>
              <a:gd name="T42" fmla="*/ 11435428 w 120"/>
              <a:gd name="T43" fmla="*/ 0 h 56"/>
              <a:gd name="T44" fmla="*/ 10482403 w 120"/>
              <a:gd name="T45" fmla="*/ 1100270 h 56"/>
              <a:gd name="T46" fmla="*/ 9148256 w 120"/>
              <a:gd name="T47" fmla="*/ 3300810 h 56"/>
              <a:gd name="T48" fmla="*/ 7814108 w 120"/>
              <a:gd name="T49" fmla="*/ 6600571 h 56"/>
              <a:gd name="T50" fmla="*/ 6289616 w 120"/>
              <a:gd name="T51" fmla="*/ 9901381 h 56"/>
              <a:gd name="T52" fmla="*/ 4574346 w 120"/>
              <a:gd name="T53" fmla="*/ 14301411 h 56"/>
              <a:gd name="T54" fmla="*/ 3049418 w 120"/>
              <a:gd name="T55" fmla="*/ 16501950 h 56"/>
              <a:gd name="T56" fmla="*/ 1524927 w 120"/>
              <a:gd name="T57" fmla="*/ 19802763 h 56"/>
              <a:gd name="T58" fmla="*/ 0 w 120"/>
              <a:gd name="T59" fmla="*/ 19802763 h 5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120"/>
              <a:gd name="T91" fmla="*/ 0 h 56"/>
              <a:gd name="T92" fmla="*/ 120 w 120"/>
              <a:gd name="T93" fmla="*/ 56 h 5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120" h="56">
                <a:moveTo>
                  <a:pt x="0" y="18"/>
                </a:moveTo>
                <a:lnTo>
                  <a:pt x="4" y="26"/>
                </a:lnTo>
                <a:lnTo>
                  <a:pt x="10" y="33"/>
                </a:lnTo>
                <a:lnTo>
                  <a:pt x="15" y="37"/>
                </a:lnTo>
                <a:lnTo>
                  <a:pt x="21" y="41"/>
                </a:lnTo>
                <a:lnTo>
                  <a:pt x="27" y="44"/>
                </a:lnTo>
                <a:lnTo>
                  <a:pt x="35" y="46"/>
                </a:lnTo>
                <a:lnTo>
                  <a:pt x="43" y="48"/>
                </a:lnTo>
                <a:lnTo>
                  <a:pt x="51" y="49"/>
                </a:lnTo>
                <a:lnTo>
                  <a:pt x="67" y="50"/>
                </a:lnTo>
                <a:lnTo>
                  <a:pt x="85" y="51"/>
                </a:lnTo>
                <a:lnTo>
                  <a:pt x="102" y="52"/>
                </a:lnTo>
                <a:lnTo>
                  <a:pt x="120" y="56"/>
                </a:lnTo>
                <a:lnTo>
                  <a:pt x="120" y="37"/>
                </a:lnTo>
                <a:lnTo>
                  <a:pt x="111" y="34"/>
                </a:lnTo>
                <a:lnTo>
                  <a:pt x="102" y="30"/>
                </a:lnTo>
                <a:lnTo>
                  <a:pt x="94" y="24"/>
                </a:lnTo>
                <a:lnTo>
                  <a:pt x="88" y="18"/>
                </a:lnTo>
                <a:lnTo>
                  <a:pt x="81" y="13"/>
                </a:lnTo>
                <a:lnTo>
                  <a:pt x="75" y="7"/>
                </a:lnTo>
                <a:lnTo>
                  <a:pt x="67" y="3"/>
                </a:lnTo>
                <a:lnTo>
                  <a:pt x="60" y="0"/>
                </a:lnTo>
                <a:lnTo>
                  <a:pt x="55" y="1"/>
                </a:lnTo>
                <a:lnTo>
                  <a:pt x="48" y="3"/>
                </a:lnTo>
                <a:lnTo>
                  <a:pt x="41" y="6"/>
                </a:lnTo>
                <a:lnTo>
                  <a:pt x="33" y="9"/>
                </a:lnTo>
                <a:lnTo>
                  <a:pt x="24" y="13"/>
                </a:lnTo>
                <a:lnTo>
                  <a:pt x="16" y="15"/>
                </a:lnTo>
                <a:lnTo>
                  <a:pt x="8" y="18"/>
                </a:lnTo>
                <a:lnTo>
                  <a:pt x="0" y="18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18" name="Freeform 216"/>
          <p:cNvSpPr>
            <a:spLocks/>
          </p:cNvSpPr>
          <p:nvPr userDrawn="1">
            <p:custDataLst>
              <p:tags r:id="rId142"/>
            </p:custDataLst>
          </p:nvPr>
        </p:nvSpPr>
        <p:spPr bwMode="auto">
          <a:xfrm>
            <a:off x="1998672" y="2395547"/>
            <a:ext cx="250825" cy="82154"/>
          </a:xfrm>
          <a:custGeom>
            <a:avLst/>
            <a:gdLst>
              <a:gd name="T0" fmla="*/ 24250492 w 574"/>
              <a:gd name="T1" fmla="*/ 288343 h 204"/>
              <a:gd name="T2" fmla="*/ 18140240 w 574"/>
              <a:gd name="T3" fmla="*/ 1730056 h 204"/>
              <a:gd name="T4" fmla="*/ 12602862 w 574"/>
              <a:gd name="T5" fmla="*/ 4612947 h 204"/>
              <a:gd name="T6" fmla="*/ 8210804 w 574"/>
              <a:gd name="T7" fmla="*/ 7496372 h 204"/>
              <a:gd name="T8" fmla="*/ 5728335 w 574"/>
              <a:gd name="T9" fmla="*/ 10090921 h 204"/>
              <a:gd name="T10" fmla="*/ 3055345 w 574"/>
              <a:gd name="T11" fmla="*/ 14704402 h 204"/>
              <a:gd name="T12" fmla="*/ 763836 w 574"/>
              <a:gd name="T13" fmla="*/ 20470721 h 204"/>
              <a:gd name="T14" fmla="*/ 0 w 574"/>
              <a:gd name="T15" fmla="*/ 23641953 h 204"/>
              <a:gd name="T16" fmla="*/ 190959 w 574"/>
              <a:gd name="T17" fmla="*/ 24795323 h 204"/>
              <a:gd name="T18" fmla="*/ 2482468 w 574"/>
              <a:gd name="T19" fmla="*/ 24795323 h 204"/>
              <a:gd name="T20" fmla="*/ 5537376 w 574"/>
              <a:gd name="T21" fmla="*/ 23930296 h 204"/>
              <a:gd name="T22" fmla="*/ 9929436 w 574"/>
              <a:gd name="T23" fmla="*/ 21623555 h 204"/>
              <a:gd name="T24" fmla="*/ 15275855 w 574"/>
              <a:gd name="T25" fmla="*/ 16722264 h 204"/>
              <a:gd name="T26" fmla="*/ 19476953 w 574"/>
              <a:gd name="T27" fmla="*/ 13262689 h 204"/>
              <a:gd name="T28" fmla="*/ 22722819 w 574"/>
              <a:gd name="T29" fmla="*/ 11532634 h 204"/>
              <a:gd name="T30" fmla="*/ 33416095 w 574"/>
              <a:gd name="T31" fmla="*/ 10667606 h 204"/>
              <a:gd name="T32" fmla="*/ 33607054 w 574"/>
              <a:gd name="T33" fmla="*/ 13839375 h 204"/>
              <a:gd name="T34" fmla="*/ 34370890 w 574"/>
              <a:gd name="T35" fmla="*/ 15857236 h 204"/>
              <a:gd name="T36" fmla="*/ 35134726 w 574"/>
              <a:gd name="T37" fmla="*/ 17010606 h 204"/>
              <a:gd name="T38" fmla="*/ 36280480 w 574"/>
              <a:gd name="T39" fmla="*/ 17587291 h 204"/>
              <a:gd name="T40" fmla="*/ 43727445 w 574"/>
              <a:gd name="T41" fmla="*/ 17587291 h 204"/>
              <a:gd name="T42" fmla="*/ 51365369 w 574"/>
              <a:gd name="T43" fmla="*/ 22488583 h 204"/>
              <a:gd name="T44" fmla="*/ 57666593 w 574"/>
              <a:gd name="T45" fmla="*/ 27389870 h 204"/>
              <a:gd name="T46" fmla="*/ 64158763 w 574"/>
              <a:gd name="T47" fmla="*/ 32003351 h 204"/>
              <a:gd name="T48" fmla="*/ 71605728 w 574"/>
              <a:gd name="T49" fmla="*/ 35462934 h 204"/>
              <a:gd name="T50" fmla="*/ 71796687 w 574"/>
              <a:gd name="T51" fmla="*/ 38634165 h 204"/>
              <a:gd name="T52" fmla="*/ 72942441 w 574"/>
              <a:gd name="T53" fmla="*/ 40940906 h 204"/>
              <a:gd name="T54" fmla="*/ 75615867 w 574"/>
              <a:gd name="T55" fmla="*/ 43824332 h 204"/>
              <a:gd name="T56" fmla="*/ 81726119 w 574"/>
              <a:gd name="T57" fmla="*/ 47860591 h 204"/>
              <a:gd name="T58" fmla="*/ 76761621 w 574"/>
              <a:gd name="T59" fmla="*/ 55068619 h 204"/>
              <a:gd name="T60" fmla="*/ 77716416 w 574"/>
              <a:gd name="T61" fmla="*/ 56798138 h 204"/>
              <a:gd name="T62" fmla="*/ 79053129 w 574"/>
              <a:gd name="T63" fmla="*/ 57951508 h 204"/>
              <a:gd name="T64" fmla="*/ 81917078 w 574"/>
              <a:gd name="T65" fmla="*/ 58816536 h 204"/>
              <a:gd name="T66" fmla="*/ 88027766 w 574"/>
              <a:gd name="T67" fmla="*/ 58816536 h 204"/>
              <a:gd name="T68" fmla="*/ 105976604 w 574"/>
              <a:gd name="T69" fmla="*/ 54491934 h 204"/>
              <a:gd name="T70" fmla="*/ 106740440 w 574"/>
              <a:gd name="T71" fmla="*/ 52761878 h 204"/>
              <a:gd name="T72" fmla="*/ 107886194 w 574"/>
              <a:gd name="T73" fmla="*/ 51031823 h 204"/>
              <a:gd name="T74" fmla="*/ 109222907 w 574"/>
              <a:gd name="T75" fmla="*/ 49878989 h 204"/>
              <a:gd name="T76" fmla="*/ 109604825 w 574"/>
              <a:gd name="T77" fmla="*/ 46418878 h 204"/>
              <a:gd name="T78" fmla="*/ 107122358 w 574"/>
              <a:gd name="T79" fmla="*/ 44112674 h 204"/>
              <a:gd name="T80" fmla="*/ 101584983 w 574"/>
              <a:gd name="T81" fmla="*/ 42670961 h 204"/>
              <a:gd name="T82" fmla="*/ 96238567 w 574"/>
              <a:gd name="T83" fmla="*/ 39787536 h 204"/>
              <a:gd name="T84" fmla="*/ 90700756 w 574"/>
              <a:gd name="T85" fmla="*/ 35751276 h 204"/>
              <a:gd name="T86" fmla="*/ 82680914 w 574"/>
              <a:gd name="T87" fmla="*/ 28831583 h 204"/>
              <a:gd name="T88" fmla="*/ 73133400 w 574"/>
              <a:gd name="T89" fmla="*/ 19605694 h 204"/>
              <a:gd name="T90" fmla="*/ 68359861 w 574"/>
              <a:gd name="T91" fmla="*/ 15568893 h 204"/>
              <a:gd name="T92" fmla="*/ 66450271 w 574"/>
              <a:gd name="T93" fmla="*/ 14992208 h 204"/>
              <a:gd name="T94" fmla="*/ 63013446 w 574"/>
              <a:gd name="T95" fmla="*/ 14992208 h 204"/>
              <a:gd name="T96" fmla="*/ 59576183 w 574"/>
              <a:gd name="T97" fmla="*/ 14704402 h 204"/>
              <a:gd name="T98" fmla="*/ 57666593 w 574"/>
              <a:gd name="T99" fmla="*/ 14127717 h 204"/>
              <a:gd name="T100" fmla="*/ 56138907 w 574"/>
              <a:gd name="T101" fmla="*/ 12397662 h 204"/>
              <a:gd name="T102" fmla="*/ 55375071 w 574"/>
              <a:gd name="T103" fmla="*/ 9225893 h 204"/>
              <a:gd name="T104" fmla="*/ 27114877 w 574"/>
              <a:gd name="T105" fmla="*/ 0 h 20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574"/>
              <a:gd name="T160" fmla="*/ 0 h 204"/>
              <a:gd name="T161" fmla="*/ 574 w 574"/>
              <a:gd name="T162" fmla="*/ 204 h 204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574" h="204">
                <a:moveTo>
                  <a:pt x="142" y="0"/>
                </a:moveTo>
                <a:lnTo>
                  <a:pt x="127" y="1"/>
                </a:lnTo>
                <a:lnTo>
                  <a:pt x="111" y="3"/>
                </a:lnTo>
                <a:lnTo>
                  <a:pt x="95" y="6"/>
                </a:lnTo>
                <a:lnTo>
                  <a:pt x="80" y="11"/>
                </a:lnTo>
                <a:lnTo>
                  <a:pt x="66" y="16"/>
                </a:lnTo>
                <a:lnTo>
                  <a:pt x="52" y="21"/>
                </a:lnTo>
                <a:lnTo>
                  <a:pt x="43" y="26"/>
                </a:lnTo>
                <a:lnTo>
                  <a:pt x="36" y="31"/>
                </a:lnTo>
                <a:lnTo>
                  <a:pt x="30" y="35"/>
                </a:lnTo>
                <a:lnTo>
                  <a:pt x="24" y="42"/>
                </a:lnTo>
                <a:lnTo>
                  <a:pt x="16" y="51"/>
                </a:lnTo>
                <a:lnTo>
                  <a:pt x="10" y="61"/>
                </a:lnTo>
                <a:lnTo>
                  <a:pt x="4" y="71"/>
                </a:lnTo>
                <a:lnTo>
                  <a:pt x="1" y="79"/>
                </a:lnTo>
                <a:lnTo>
                  <a:pt x="0" y="82"/>
                </a:lnTo>
                <a:lnTo>
                  <a:pt x="0" y="85"/>
                </a:lnTo>
                <a:lnTo>
                  <a:pt x="1" y="86"/>
                </a:lnTo>
                <a:lnTo>
                  <a:pt x="3" y="87"/>
                </a:lnTo>
                <a:lnTo>
                  <a:pt x="13" y="86"/>
                </a:lnTo>
                <a:lnTo>
                  <a:pt x="22" y="85"/>
                </a:lnTo>
                <a:lnTo>
                  <a:pt x="29" y="83"/>
                </a:lnTo>
                <a:lnTo>
                  <a:pt x="38" y="81"/>
                </a:lnTo>
                <a:lnTo>
                  <a:pt x="52" y="75"/>
                </a:lnTo>
                <a:lnTo>
                  <a:pt x="66" y="66"/>
                </a:lnTo>
                <a:lnTo>
                  <a:pt x="80" y="58"/>
                </a:lnTo>
                <a:lnTo>
                  <a:pt x="94" y="50"/>
                </a:lnTo>
                <a:lnTo>
                  <a:pt x="102" y="46"/>
                </a:lnTo>
                <a:lnTo>
                  <a:pt x="111" y="43"/>
                </a:lnTo>
                <a:lnTo>
                  <a:pt x="119" y="40"/>
                </a:lnTo>
                <a:lnTo>
                  <a:pt x="129" y="37"/>
                </a:lnTo>
                <a:lnTo>
                  <a:pt x="175" y="37"/>
                </a:lnTo>
                <a:lnTo>
                  <a:pt x="175" y="43"/>
                </a:lnTo>
                <a:lnTo>
                  <a:pt x="176" y="48"/>
                </a:lnTo>
                <a:lnTo>
                  <a:pt x="178" y="52"/>
                </a:lnTo>
                <a:lnTo>
                  <a:pt x="180" y="55"/>
                </a:lnTo>
                <a:lnTo>
                  <a:pt x="181" y="58"/>
                </a:lnTo>
                <a:lnTo>
                  <a:pt x="184" y="59"/>
                </a:lnTo>
                <a:lnTo>
                  <a:pt x="186" y="60"/>
                </a:lnTo>
                <a:lnTo>
                  <a:pt x="190" y="61"/>
                </a:lnTo>
                <a:lnTo>
                  <a:pt x="206" y="60"/>
                </a:lnTo>
                <a:lnTo>
                  <a:pt x="229" y="61"/>
                </a:lnTo>
                <a:lnTo>
                  <a:pt x="250" y="69"/>
                </a:lnTo>
                <a:lnTo>
                  <a:pt x="269" y="78"/>
                </a:lnTo>
                <a:lnTo>
                  <a:pt x="285" y="86"/>
                </a:lnTo>
                <a:lnTo>
                  <a:pt x="302" y="95"/>
                </a:lnTo>
                <a:lnTo>
                  <a:pt x="318" y="103"/>
                </a:lnTo>
                <a:lnTo>
                  <a:pt x="336" y="111"/>
                </a:lnTo>
                <a:lnTo>
                  <a:pt x="354" y="118"/>
                </a:lnTo>
                <a:lnTo>
                  <a:pt x="375" y="123"/>
                </a:lnTo>
                <a:lnTo>
                  <a:pt x="375" y="129"/>
                </a:lnTo>
                <a:lnTo>
                  <a:pt x="376" y="134"/>
                </a:lnTo>
                <a:lnTo>
                  <a:pt x="379" y="138"/>
                </a:lnTo>
                <a:lnTo>
                  <a:pt x="382" y="142"/>
                </a:lnTo>
                <a:lnTo>
                  <a:pt x="388" y="147"/>
                </a:lnTo>
                <a:lnTo>
                  <a:pt x="396" y="152"/>
                </a:lnTo>
                <a:lnTo>
                  <a:pt x="415" y="159"/>
                </a:lnTo>
                <a:lnTo>
                  <a:pt x="428" y="166"/>
                </a:lnTo>
                <a:lnTo>
                  <a:pt x="417" y="176"/>
                </a:lnTo>
                <a:lnTo>
                  <a:pt x="402" y="191"/>
                </a:lnTo>
                <a:lnTo>
                  <a:pt x="404" y="195"/>
                </a:lnTo>
                <a:lnTo>
                  <a:pt x="407" y="197"/>
                </a:lnTo>
                <a:lnTo>
                  <a:pt x="410" y="199"/>
                </a:lnTo>
                <a:lnTo>
                  <a:pt x="414" y="201"/>
                </a:lnTo>
                <a:lnTo>
                  <a:pt x="421" y="203"/>
                </a:lnTo>
                <a:lnTo>
                  <a:pt x="429" y="204"/>
                </a:lnTo>
                <a:lnTo>
                  <a:pt x="445" y="204"/>
                </a:lnTo>
                <a:lnTo>
                  <a:pt x="461" y="204"/>
                </a:lnTo>
                <a:lnTo>
                  <a:pt x="554" y="191"/>
                </a:lnTo>
                <a:lnTo>
                  <a:pt x="555" y="189"/>
                </a:lnTo>
                <a:lnTo>
                  <a:pt x="556" y="186"/>
                </a:lnTo>
                <a:lnTo>
                  <a:pt x="559" y="183"/>
                </a:lnTo>
                <a:lnTo>
                  <a:pt x="562" y="179"/>
                </a:lnTo>
                <a:lnTo>
                  <a:pt x="565" y="177"/>
                </a:lnTo>
                <a:lnTo>
                  <a:pt x="568" y="174"/>
                </a:lnTo>
                <a:lnTo>
                  <a:pt x="572" y="173"/>
                </a:lnTo>
                <a:lnTo>
                  <a:pt x="574" y="172"/>
                </a:lnTo>
                <a:lnTo>
                  <a:pt x="574" y="161"/>
                </a:lnTo>
                <a:lnTo>
                  <a:pt x="574" y="154"/>
                </a:lnTo>
                <a:lnTo>
                  <a:pt x="561" y="153"/>
                </a:lnTo>
                <a:lnTo>
                  <a:pt x="546" y="151"/>
                </a:lnTo>
                <a:lnTo>
                  <a:pt x="532" y="148"/>
                </a:lnTo>
                <a:lnTo>
                  <a:pt x="518" y="143"/>
                </a:lnTo>
                <a:lnTo>
                  <a:pt x="504" y="138"/>
                </a:lnTo>
                <a:lnTo>
                  <a:pt x="489" y="132"/>
                </a:lnTo>
                <a:lnTo>
                  <a:pt x="475" y="124"/>
                </a:lnTo>
                <a:lnTo>
                  <a:pt x="461" y="116"/>
                </a:lnTo>
                <a:lnTo>
                  <a:pt x="433" y="100"/>
                </a:lnTo>
                <a:lnTo>
                  <a:pt x="407" y="84"/>
                </a:lnTo>
                <a:lnTo>
                  <a:pt x="383" y="68"/>
                </a:lnTo>
                <a:lnTo>
                  <a:pt x="362" y="55"/>
                </a:lnTo>
                <a:lnTo>
                  <a:pt x="358" y="54"/>
                </a:lnTo>
                <a:lnTo>
                  <a:pt x="353" y="52"/>
                </a:lnTo>
                <a:lnTo>
                  <a:pt x="348" y="52"/>
                </a:lnTo>
                <a:lnTo>
                  <a:pt x="342" y="52"/>
                </a:lnTo>
                <a:lnTo>
                  <a:pt x="330" y="52"/>
                </a:lnTo>
                <a:lnTo>
                  <a:pt x="318" y="52"/>
                </a:lnTo>
                <a:lnTo>
                  <a:pt x="312" y="51"/>
                </a:lnTo>
                <a:lnTo>
                  <a:pt x="306" y="50"/>
                </a:lnTo>
                <a:lnTo>
                  <a:pt x="302" y="49"/>
                </a:lnTo>
                <a:lnTo>
                  <a:pt x="297" y="46"/>
                </a:lnTo>
                <a:lnTo>
                  <a:pt x="294" y="43"/>
                </a:lnTo>
                <a:lnTo>
                  <a:pt x="291" y="38"/>
                </a:lnTo>
                <a:lnTo>
                  <a:pt x="290" y="32"/>
                </a:lnTo>
                <a:lnTo>
                  <a:pt x="288" y="25"/>
                </a:lnTo>
                <a:lnTo>
                  <a:pt x="142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19" name="Freeform 217"/>
          <p:cNvSpPr>
            <a:spLocks/>
          </p:cNvSpPr>
          <p:nvPr userDrawn="1">
            <p:custDataLst>
              <p:tags r:id="rId143"/>
            </p:custDataLst>
          </p:nvPr>
        </p:nvSpPr>
        <p:spPr bwMode="auto">
          <a:xfrm>
            <a:off x="2303463" y="2472938"/>
            <a:ext cx="88900" cy="52388"/>
          </a:xfrm>
          <a:custGeom>
            <a:avLst/>
            <a:gdLst>
              <a:gd name="T0" fmla="*/ 7562084 w 207"/>
              <a:gd name="T1" fmla="*/ 37821879 h 129"/>
              <a:gd name="T2" fmla="*/ 9221980 w 207"/>
              <a:gd name="T3" fmla="*/ 35476211 h 129"/>
              <a:gd name="T4" fmla="*/ 11066547 w 207"/>
              <a:gd name="T5" fmla="*/ 33716967 h 129"/>
              <a:gd name="T6" fmla="*/ 12911114 w 207"/>
              <a:gd name="T7" fmla="*/ 32251200 h 129"/>
              <a:gd name="T8" fmla="*/ 14939926 w 207"/>
              <a:gd name="T9" fmla="*/ 30785434 h 129"/>
              <a:gd name="T10" fmla="*/ 19366458 w 207"/>
              <a:gd name="T11" fmla="*/ 29026189 h 129"/>
              <a:gd name="T12" fmla="*/ 23792990 w 207"/>
              <a:gd name="T13" fmla="*/ 26973467 h 129"/>
              <a:gd name="T14" fmla="*/ 28035279 w 207"/>
              <a:gd name="T15" fmla="*/ 25507700 h 129"/>
              <a:gd name="T16" fmla="*/ 31908662 w 207"/>
              <a:gd name="T17" fmla="*/ 23748456 h 129"/>
              <a:gd name="T18" fmla="*/ 33568558 w 207"/>
              <a:gd name="T19" fmla="*/ 22575626 h 129"/>
              <a:gd name="T20" fmla="*/ 35228883 w 207"/>
              <a:gd name="T21" fmla="*/ 21403338 h 129"/>
              <a:gd name="T22" fmla="*/ 36888778 w 207"/>
              <a:gd name="T23" fmla="*/ 19644093 h 129"/>
              <a:gd name="T24" fmla="*/ 38179761 w 207"/>
              <a:gd name="T25" fmla="*/ 17884849 h 129"/>
              <a:gd name="T26" fmla="*/ 36519865 w 207"/>
              <a:gd name="T27" fmla="*/ 15832663 h 129"/>
              <a:gd name="T28" fmla="*/ 34675298 w 207"/>
              <a:gd name="T29" fmla="*/ 13779941 h 129"/>
              <a:gd name="T30" fmla="*/ 33015402 w 207"/>
              <a:gd name="T31" fmla="*/ 12314174 h 129"/>
              <a:gd name="T32" fmla="*/ 31170835 w 207"/>
              <a:gd name="T33" fmla="*/ 10554930 h 129"/>
              <a:gd name="T34" fmla="*/ 27666366 w 207"/>
              <a:gd name="T35" fmla="*/ 8502747 h 129"/>
              <a:gd name="T36" fmla="*/ 23792990 w 207"/>
              <a:gd name="T37" fmla="*/ 6743502 h 129"/>
              <a:gd name="T38" fmla="*/ 19735371 w 207"/>
              <a:gd name="T39" fmla="*/ 5277736 h 129"/>
              <a:gd name="T40" fmla="*/ 15677753 w 207"/>
              <a:gd name="T41" fmla="*/ 3811427 h 129"/>
              <a:gd name="T42" fmla="*/ 11620132 w 207"/>
              <a:gd name="T43" fmla="*/ 2052182 h 129"/>
              <a:gd name="T44" fmla="*/ 7562084 w 207"/>
              <a:gd name="T45" fmla="*/ 0 h 129"/>
              <a:gd name="T46" fmla="*/ 0 w 207"/>
              <a:gd name="T47" fmla="*/ 0 h 129"/>
              <a:gd name="T48" fmla="*/ 184242 w 207"/>
              <a:gd name="T49" fmla="*/ 1759245 h 129"/>
              <a:gd name="T50" fmla="*/ 368914 w 207"/>
              <a:gd name="T51" fmla="*/ 3811427 h 129"/>
              <a:gd name="T52" fmla="*/ 737827 w 207"/>
              <a:gd name="T53" fmla="*/ 5570672 h 129"/>
              <a:gd name="T54" fmla="*/ 1106741 w 207"/>
              <a:gd name="T55" fmla="*/ 7329917 h 129"/>
              <a:gd name="T56" fmla="*/ 1844568 w 207"/>
              <a:gd name="T57" fmla="*/ 10261993 h 129"/>
              <a:gd name="T58" fmla="*/ 2397723 w 207"/>
              <a:gd name="T59" fmla="*/ 13487004 h 129"/>
              <a:gd name="T60" fmla="*/ 3135550 w 207"/>
              <a:gd name="T61" fmla="*/ 15832663 h 129"/>
              <a:gd name="T62" fmla="*/ 3319792 w 207"/>
              <a:gd name="T63" fmla="*/ 18177786 h 129"/>
              <a:gd name="T64" fmla="*/ 3135550 w 207"/>
              <a:gd name="T65" fmla="*/ 19057679 h 129"/>
              <a:gd name="T66" fmla="*/ 2582395 w 207"/>
              <a:gd name="T67" fmla="*/ 19937030 h 129"/>
              <a:gd name="T68" fmla="*/ 2028810 w 207"/>
              <a:gd name="T69" fmla="*/ 20816923 h 129"/>
              <a:gd name="T70" fmla="*/ 1290983 w 207"/>
              <a:gd name="T71" fmla="*/ 21403338 h 129"/>
              <a:gd name="T72" fmla="*/ 0 w 207"/>
              <a:gd name="T73" fmla="*/ 30491956 h 129"/>
              <a:gd name="T74" fmla="*/ 737827 w 207"/>
              <a:gd name="T75" fmla="*/ 31078371 h 129"/>
              <a:gd name="T76" fmla="*/ 2397723 w 207"/>
              <a:gd name="T77" fmla="*/ 32251200 h 129"/>
              <a:gd name="T78" fmla="*/ 3504464 w 207"/>
              <a:gd name="T79" fmla="*/ 33130552 h 129"/>
              <a:gd name="T80" fmla="*/ 4611205 w 207"/>
              <a:gd name="T81" fmla="*/ 34303381 h 129"/>
              <a:gd name="T82" fmla="*/ 6086429 w 207"/>
              <a:gd name="T83" fmla="*/ 35769698 h 129"/>
              <a:gd name="T84" fmla="*/ 7562084 w 207"/>
              <a:gd name="T85" fmla="*/ 37821879 h 129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07"/>
              <a:gd name="T130" fmla="*/ 0 h 129"/>
              <a:gd name="T131" fmla="*/ 207 w 207"/>
              <a:gd name="T132" fmla="*/ 129 h 129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07" h="129">
                <a:moveTo>
                  <a:pt x="41" y="129"/>
                </a:moveTo>
                <a:lnTo>
                  <a:pt x="50" y="121"/>
                </a:lnTo>
                <a:lnTo>
                  <a:pt x="60" y="115"/>
                </a:lnTo>
                <a:lnTo>
                  <a:pt x="70" y="110"/>
                </a:lnTo>
                <a:lnTo>
                  <a:pt x="81" y="105"/>
                </a:lnTo>
                <a:lnTo>
                  <a:pt x="105" y="99"/>
                </a:lnTo>
                <a:lnTo>
                  <a:pt x="129" y="92"/>
                </a:lnTo>
                <a:lnTo>
                  <a:pt x="152" y="87"/>
                </a:lnTo>
                <a:lnTo>
                  <a:pt x="173" y="81"/>
                </a:lnTo>
                <a:lnTo>
                  <a:pt x="182" y="77"/>
                </a:lnTo>
                <a:lnTo>
                  <a:pt x="191" y="73"/>
                </a:lnTo>
                <a:lnTo>
                  <a:pt x="200" y="67"/>
                </a:lnTo>
                <a:lnTo>
                  <a:pt x="207" y="61"/>
                </a:lnTo>
                <a:lnTo>
                  <a:pt x="198" y="54"/>
                </a:lnTo>
                <a:lnTo>
                  <a:pt x="188" y="47"/>
                </a:lnTo>
                <a:lnTo>
                  <a:pt x="179" y="42"/>
                </a:lnTo>
                <a:lnTo>
                  <a:pt x="169" y="36"/>
                </a:lnTo>
                <a:lnTo>
                  <a:pt x="150" y="29"/>
                </a:lnTo>
                <a:lnTo>
                  <a:pt x="129" y="23"/>
                </a:lnTo>
                <a:lnTo>
                  <a:pt x="107" y="18"/>
                </a:lnTo>
                <a:lnTo>
                  <a:pt x="85" y="13"/>
                </a:lnTo>
                <a:lnTo>
                  <a:pt x="63" y="7"/>
                </a:lnTo>
                <a:lnTo>
                  <a:pt x="41" y="0"/>
                </a:lnTo>
                <a:lnTo>
                  <a:pt x="0" y="0"/>
                </a:lnTo>
                <a:lnTo>
                  <a:pt x="1" y="6"/>
                </a:lnTo>
                <a:lnTo>
                  <a:pt x="2" y="13"/>
                </a:lnTo>
                <a:lnTo>
                  <a:pt x="4" y="19"/>
                </a:lnTo>
                <a:lnTo>
                  <a:pt x="6" y="25"/>
                </a:lnTo>
                <a:lnTo>
                  <a:pt x="10" y="35"/>
                </a:lnTo>
                <a:lnTo>
                  <a:pt x="13" y="46"/>
                </a:lnTo>
                <a:lnTo>
                  <a:pt x="17" y="54"/>
                </a:lnTo>
                <a:lnTo>
                  <a:pt x="18" y="62"/>
                </a:lnTo>
                <a:lnTo>
                  <a:pt x="17" y="65"/>
                </a:lnTo>
                <a:lnTo>
                  <a:pt x="14" y="68"/>
                </a:lnTo>
                <a:lnTo>
                  <a:pt x="11" y="71"/>
                </a:lnTo>
                <a:lnTo>
                  <a:pt x="7" y="73"/>
                </a:lnTo>
                <a:lnTo>
                  <a:pt x="0" y="104"/>
                </a:lnTo>
                <a:lnTo>
                  <a:pt x="4" y="106"/>
                </a:lnTo>
                <a:lnTo>
                  <a:pt x="13" y="110"/>
                </a:lnTo>
                <a:lnTo>
                  <a:pt x="19" y="113"/>
                </a:lnTo>
                <a:lnTo>
                  <a:pt x="25" y="117"/>
                </a:lnTo>
                <a:lnTo>
                  <a:pt x="33" y="122"/>
                </a:lnTo>
                <a:lnTo>
                  <a:pt x="41" y="129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20" name="Freeform 218"/>
          <p:cNvSpPr>
            <a:spLocks/>
          </p:cNvSpPr>
          <p:nvPr userDrawn="1">
            <p:custDataLst>
              <p:tags r:id="rId144"/>
            </p:custDataLst>
          </p:nvPr>
        </p:nvSpPr>
        <p:spPr bwMode="auto">
          <a:xfrm>
            <a:off x="1871665" y="2518185"/>
            <a:ext cx="33338" cy="63103"/>
          </a:xfrm>
          <a:custGeom>
            <a:avLst/>
            <a:gdLst>
              <a:gd name="T0" fmla="*/ 15436421 w 72"/>
              <a:gd name="T1" fmla="*/ 0 h 154"/>
              <a:gd name="T2" fmla="*/ 14793272 w 72"/>
              <a:gd name="T3" fmla="*/ 1193762 h 154"/>
              <a:gd name="T4" fmla="*/ 14364508 w 72"/>
              <a:gd name="T5" fmla="*/ 2686374 h 154"/>
              <a:gd name="T6" fmla="*/ 14150127 w 72"/>
              <a:gd name="T7" fmla="*/ 3880136 h 154"/>
              <a:gd name="T8" fmla="*/ 14150127 w 72"/>
              <a:gd name="T9" fmla="*/ 5372748 h 154"/>
              <a:gd name="T10" fmla="*/ 14150127 w 72"/>
              <a:gd name="T11" fmla="*/ 8059122 h 154"/>
              <a:gd name="T12" fmla="*/ 14150127 w 72"/>
              <a:gd name="T13" fmla="*/ 11044347 h 154"/>
              <a:gd name="T14" fmla="*/ 14793272 w 72"/>
              <a:gd name="T15" fmla="*/ 12835262 h 154"/>
              <a:gd name="T16" fmla="*/ 15222039 w 72"/>
              <a:gd name="T17" fmla="*/ 14924482 h 154"/>
              <a:gd name="T18" fmla="*/ 15222039 w 72"/>
              <a:gd name="T19" fmla="*/ 17014247 h 154"/>
              <a:gd name="T20" fmla="*/ 15222039 w 72"/>
              <a:gd name="T21" fmla="*/ 19401775 h 154"/>
              <a:gd name="T22" fmla="*/ 14793272 w 72"/>
              <a:gd name="T23" fmla="*/ 21789844 h 154"/>
              <a:gd name="T24" fmla="*/ 14364508 w 72"/>
              <a:gd name="T25" fmla="*/ 24476217 h 154"/>
              <a:gd name="T26" fmla="*/ 13935745 w 72"/>
              <a:gd name="T27" fmla="*/ 27162590 h 154"/>
              <a:gd name="T28" fmla="*/ 13078218 w 72"/>
              <a:gd name="T29" fmla="*/ 29848963 h 154"/>
              <a:gd name="T30" fmla="*/ 11362700 w 72"/>
              <a:gd name="T31" fmla="*/ 34625102 h 154"/>
              <a:gd name="T32" fmla="*/ 9433265 w 72"/>
              <a:gd name="T33" fmla="*/ 39102399 h 154"/>
              <a:gd name="T34" fmla="*/ 7289445 w 72"/>
              <a:gd name="T35" fmla="*/ 42983080 h 154"/>
              <a:gd name="T36" fmla="*/ 5574391 w 72"/>
              <a:gd name="T37" fmla="*/ 45967757 h 154"/>
              <a:gd name="T38" fmla="*/ 5574391 w 72"/>
              <a:gd name="T39" fmla="*/ 42087622 h 154"/>
              <a:gd name="T40" fmla="*/ 3215727 w 72"/>
              <a:gd name="T41" fmla="*/ 42983080 h 154"/>
              <a:gd name="T42" fmla="*/ 0 w 72"/>
              <a:gd name="T43" fmla="*/ 44176842 h 154"/>
              <a:gd name="T44" fmla="*/ 643146 w 72"/>
              <a:gd name="T45" fmla="*/ 38505245 h 154"/>
              <a:gd name="T46" fmla="*/ 1715055 w 72"/>
              <a:gd name="T47" fmla="*/ 31341575 h 154"/>
              <a:gd name="T48" fmla="*/ 1929437 w 72"/>
              <a:gd name="T49" fmla="*/ 27461440 h 154"/>
              <a:gd name="T50" fmla="*/ 2572582 w 72"/>
              <a:gd name="T51" fmla="*/ 22984152 h 154"/>
              <a:gd name="T52" fmla="*/ 3215727 w 72"/>
              <a:gd name="T53" fmla="*/ 18805167 h 154"/>
              <a:gd name="T54" fmla="*/ 4288100 w 72"/>
              <a:gd name="T55" fmla="*/ 14626178 h 154"/>
              <a:gd name="T56" fmla="*/ 4288100 w 72"/>
              <a:gd name="T57" fmla="*/ 0 h 154"/>
              <a:gd name="T58" fmla="*/ 5360009 w 72"/>
              <a:gd name="T59" fmla="*/ 0 h 154"/>
              <a:gd name="T60" fmla="*/ 8146974 w 72"/>
              <a:gd name="T61" fmla="*/ 0 h 154"/>
              <a:gd name="T62" fmla="*/ 12006309 w 72"/>
              <a:gd name="T63" fmla="*/ 0 h 154"/>
              <a:gd name="T64" fmla="*/ 15436421 w 72"/>
              <a:gd name="T65" fmla="*/ 0 h 15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72"/>
              <a:gd name="T100" fmla="*/ 0 h 154"/>
              <a:gd name="T101" fmla="*/ 72 w 72"/>
              <a:gd name="T102" fmla="*/ 154 h 154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72" h="154">
                <a:moveTo>
                  <a:pt x="72" y="0"/>
                </a:moveTo>
                <a:lnTo>
                  <a:pt x="69" y="4"/>
                </a:lnTo>
                <a:lnTo>
                  <a:pt x="67" y="9"/>
                </a:lnTo>
                <a:lnTo>
                  <a:pt x="66" y="13"/>
                </a:lnTo>
                <a:lnTo>
                  <a:pt x="66" y="18"/>
                </a:lnTo>
                <a:lnTo>
                  <a:pt x="66" y="27"/>
                </a:lnTo>
                <a:lnTo>
                  <a:pt x="66" y="37"/>
                </a:lnTo>
                <a:lnTo>
                  <a:pt x="69" y="43"/>
                </a:lnTo>
                <a:lnTo>
                  <a:pt x="71" y="50"/>
                </a:lnTo>
                <a:lnTo>
                  <a:pt x="71" y="57"/>
                </a:lnTo>
                <a:lnTo>
                  <a:pt x="71" y="65"/>
                </a:lnTo>
                <a:lnTo>
                  <a:pt x="69" y="73"/>
                </a:lnTo>
                <a:lnTo>
                  <a:pt x="67" y="82"/>
                </a:lnTo>
                <a:lnTo>
                  <a:pt x="65" y="91"/>
                </a:lnTo>
                <a:lnTo>
                  <a:pt x="61" y="100"/>
                </a:lnTo>
                <a:lnTo>
                  <a:pt x="53" y="116"/>
                </a:lnTo>
                <a:lnTo>
                  <a:pt x="44" y="131"/>
                </a:lnTo>
                <a:lnTo>
                  <a:pt x="34" y="144"/>
                </a:lnTo>
                <a:lnTo>
                  <a:pt x="26" y="154"/>
                </a:lnTo>
                <a:lnTo>
                  <a:pt x="26" y="141"/>
                </a:lnTo>
                <a:lnTo>
                  <a:pt x="15" y="144"/>
                </a:lnTo>
                <a:lnTo>
                  <a:pt x="0" y="148"/>
                </a:lnTo>
                <a:lnTo>
                  <a:pt x="3" y="129"/>
                </a:lnTo>
                <a:lnTo>
                  <a:pt x="8" y="105"/>
                </a:lnTo>
                <a:lnTo>
                  <a:pt x="9" y="92"/>
                </a:lnTo>
                <a:lnTo>
                  <a:pt x="12" y="77"/>
                </a:lnTo>
                <a:lnTo>
                  <a:pt x="15" y="63"/>
                </a:lnTo>
                <a:lnTo>
                  <a:pt x="20" y="49"/>
                </a:lnTo>
                <a:lnTo>
                  <a:pt x="20" y="0"/>
                </a:lnTo>
                <a:lnTo>
                  <a:pt x="25" y="0"/>
                </a:lnTo>
                <a:lnTo>
                  <a:pt x="38" y="0"/>
                </a:lnTo>
                <a:lnTo>
                  <a:pt x="56" y="0"/>
                </a:lnTo>
                <a:lnTo>
                  <a:pt x="72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21" name="Freeform 219"/>
          <p:cNvSpPr>
            <a:spLocks/>
          </p:cNvSpPr>
          <p:nvPr userDrawn="1">
            <p:custDataLst>
              <p:tags r:id="rId145"/>
            </p:custDataLst>
          </p:nvPr>
        </p:nvSpPr>
        <p:spPr bwMode="auto">
          <a:xfrm>
            <a:off x="1792290" y="2518172"/>
            <a:ext cx="93663" cy="109538"/>
          </a:xfrm>
          <a:custGeom>
            <a:avLst/>
            <a:gdLst>
              <a:gd name="T0" fmla="*/ 1532309 w 214"/>
              <a:gd name="T1" fmla="*/ 60121930 h 271"/>
              <a:gd name="T2" fmla="*/ 2298683 w 214"/>
              <a:gd name="T3" fmla="*/ 52570448 h 271"/>
              <a:gd name="T4" fmla="*/ 4597366 w 214"/>
              <a:gd name="T5" fmla="*/ 42986123 h 271"/>
              <a:gd name="T6" fmla="*/ 6704782 w 214"/>
              <a:gd name="T7" fmla="*/ 34272700 h 271"/>
              <a:gd name="T8" fmla="*/ 8428796 w 214"/>
              <a:gd name="T9" fmla="*/ 32529802 h 271"/>
              <a:gd name="T10" fmla="*/ 12451489 w 214"/>
              <a:gd name="T11" fmla="*/ 32239319 h 271"/>
              <a:gd name="T12" fmla="*/ 17048856 w 214"/>
              <a:gd name="T13" fmla="*/ 32239319 h 271"/>
              <a:gd name="T14" fmla="*/ 20305614 w 214"/>
              <a:gd name="T15" fmla="*/ 31948836 h 271"/>
              <a:gd name="T16" fmla="*/ 22987264 w 214"/>
              <a:gd name="T17" fmla="*/ 30496959 h 271"/>
              <a:gd name="T18" fmla="*/ 24902978 w 214"/>
              <a:gd name="T19" fmla="*/ 27301645 h 271"/>
              <a:gd name="T20" fmla="*/ 21646658 w 214"/>
              <a:gd name="T21" fmla="*/ 21202579 h 271"/>
              <a:gd name="T22" fmla="*/ 16474186 w 214"/>
              <a:gd name="T23" fmla="*/ 16845867 h 271"/>
              <a:gd name="T24" fmla="*/ 14750174 w 214"/>
              <a:gd name="T25" fmla="*/ 14232058 h 271"/>
              <a:gd name="T26" fmla="*/ 14175501 w 214"/>
              <a:gd name="T27" fmla="*/ 11908194 h 271"/>
              <a:gd name="T28" fmla="*/ 14367207 w 214"/>
              <a:gd name="T29" fmla="*/ 9875351 h 271"/>
              <a:gd name="T30" fmla="*/ 15708250 w 214"/>
              <a:gd name="T31" fmla="*/ 8132450 h 271"/>
              <a:gd name="T32" fmla="*/ 19347538 w 214"/>
              <a:gd name="T33" fmla="*/ 5518642 h 271"/>
              <a:gd name="T34" fmla="*/ 28734413 w 214"/>
              <a:gd name="T35" fmla="*/ 871450 h 271"/>
              <a:gd name="T36" fmla="*/ 34481118 w 214"/>
              <a:gd name="T37" fmla="*/ 0 h 271"/>
              <a:gd name="T38" fmla="*/ 37929141 w 214"/>
              <a:gd name="T39" fmla="*/ 0 h 271"/>
              <a:gd name="T40" fmla="*/ 39653153 w 214"/>
              <a:gd name="T41" fmla="*/ 14232058 h 271"/>
              <a:gd name="T42" fmla="*/ 38120844 w 214"/>
              <a:gd name="T43" fmla="*/ 22364511 h 271"/>
              <a:gd name="T44" fmla="*/ 37354471 w 214"/>
              <a:gd name="T45" fmla="*/ 30496959 h 271"/>
              <a:gd name="T46" fmla="*/ 35822162 w 214"/>
              <a:gd name="T47" fmla="*/ 42986123 h 271"/>
              <a:gd name="T48" fmla="*/ 40802494 w 214"/>
              <a:gd name="T49" fmla="*/ 44728483 h 271"/>
              <a:gd name="T50" fmla="*/ 40994196 w 214"/>
              <a:gd name="T51" fmla="*/ 48213741 h 271"/>
              <a:gd name="T52" fmla="*/ 40227823 w 214"/>
              <a:gd name="T53" fmla="*/ 50537606 h 271"/>
              <a:gd name="T54" fmla="*/ 39653153 w 214"/>
              <a:gd name="T55" fmla="*/ 51409055 h 271"/>
              <a:gd name="T56" fmla="*/ 38312547 w 214"/>
              <a:gd name="T57" fmla="*/ 51699538 h 271"/>
              <a:gd name="T58" fmla="*/ 36779800 w 214"/>
              <a:gd name="T59" fmla="*/ 56927155 h 271"/>
              <a:gd name="T60" fmla="*/ 34672821 w 214"/>
              <a:gd name="T61" fmla="*/ 62155312 h 271"/>
              <a:gd name="T62" fmla="*/ 29692052 w 214"/>
              <a:gd name="T63" fmla="*/ 70578243 h 271"/>
              <a:gd name="T64" fmla="*/ 22987264 w 214"/>
              <a:gd name="T65" fmla="*/ 78710709 h 271"/>
              <a:gd name="T66" fmla="*/ 16665889 w 214"/>
              <a:gd name="T67" fmla="*/ 75806417 h 271"/>
              <a:gd name="T68" fmla="*/ 10535775 w 214"/>
              <a:gd name="T69" fmla="*/ 72030676 h 271"/>
              <a:gd name="T70" fmla="*/ 0 w 214"/>
              <a:gd name="T71" fmla="*/ 64188155 h 271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214"/>
              <a:gd name="T109" fmla="*/ 0 h 271"/>
              <a:gd name="T110" fmla="*/ 214 w 214"/>
              <a:gd name="T111" fmla="*/ 271 h 271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214" h="271">
                <a:moveTo>
                  <a:pt x="7" y="221"/>
                </a:moveTo>
                <a:lnTo>
                  <a:pt x="8" y="207"/>
                </a:lnTo>
                <a:lnTo>
                  <a:pt x="9" y="192"/>
                </a:lnTo>
                <a:lnTo>
                  <a:pt x="12" y="181"/>
                </a:lnTo>
                <a:lnTo>
                  <a:pt x="16" y="170"/>
                </a:lnTo>
                <a:lnTo>
                  <a:pt x="24" y="148"/>
                </a:lnTo>
                <a:lnTo>
                  <a:pt x="34" y="123"/>
                </a:lnTo>
                <a:lnTo>
                  <a:pt x="35" y="118"/>
                </a:lnTo>
                <a:lnTo>
                  <a:pt x="40" y="114"/>
                </a:lnTo>
                <a:lnTo>
                  <a:pt x="44" y="112"/>
                </a:lnTo>
                <a:lnTo>
                  <a:pt x="51" y="111"/>
                </a:lnTo>
                <a:lnTo>
                  <a:pt x="65" y="111"/>
                </a:lnTo>
                <a:lnTo>
                  <a:pt x="82" y="111"/>
                </a:lnTo>
                <a:lnTo>
                  <a:pt x="89" y="111"/>
                </a:lnTo>
                <a:lnTo>
                  <a:pt x="98" y="111"/>
                </a:lnTo>
                <a:lnTo>
                  <a:pt x="106" y="110"/>
                </a:lnTo>
                <a:lnTo>
                  <a:pt x="113" y="108"/>
                </a:lnTo>
                <a:lnTo>
                  <a:pt x="120" y="105"/>
                </a:lnTo>
                <a:lnTo>
                  <a:pt x="125" y="100"/>
                </a:lnTo>
                <a:lnTo>
                  <a:pt x="130" y="94"/>
                </a:lnTo>
                <a:lnTo>
                  <a:pt x="133" y="85"/>
                </a:lnTo>
                <a:lnTo>
                  <a:pt x="113" y="73"/>
                </a:lnTo>
                <a:lnTo>
                  <a:pt x="94" y="63"/>
                </a:lnTo>
                <a:lnTo>
                  <a:pt x="86" y="58"/>
                </a:lnTo>
                <a:lnTo>
                  <a:pt x="79" y="52"/>
                </a:lnTo>
                <a:lnTo>
                  <a:pt x="77" y="49"/>
                </a:lnTo>
                <a:lnTo>
                  <a:pt x="75" y="45"/>
                </a:lnTo>
                <a:lnTo>
                  <a:pt x="74" y="41"/>
                </a:lnTo>
                <a:lnTo>
                  <a:pt x="74" y="37"/>
                </a:lnTo>
                <a:lnTo>
                  <a:pt x="75" y="34"/>
                </a:lnTo>
                <a:lnTo>
                  <a:pt x="77" y="31"/>
                </a:lnTo>
                <a:lnTo>
                  <a:pt x="82" y="28"/>
                </a:lnTo>
                <a:lnTo>
                  <a:pt x="87" y="25"/>
                </a:lnTo>
                <a:lnTo>
                  <a:pt x="101" y="19"/>
                </a:lnTo>
                <a:lnTo>
                  <a:pt x="118" y="13"/>
                </a:lnTo>
                <a:lnTo>
                  <a:pt x="150" y="3"/>
                </a:lnTo>
                <a:lnTo>
                  <a:pt x="167" y="0"/>
                </a:lnTo>
                <a:lnTo>
                  <a:pt x="180" y="0"/>
                </a:lnTo>
                <a:lnTo>
                  <a:pt x="190" y="0"/>
                </a:lnTo>
                <a:lnTo>
                  <a:pt x="198" y="0"/>
                </a:lnTo>
                <a:lnTo>
                  <a:pt x="200" y="0"/>
                </a:lnTo>
                <a:lnTo>
                  <a:pt x="207" y="49"/>
                </a:lnTo>
                <a:lnTo>
                  <a:pt x="202" y="63"/>
                </a:lnTo>
                <a:lnTo>
                  <a:pt x="199" y="77"/>
                </a:lnTo>
                <a:lnTo>
                  <a:pt x="196" y="92"/>
                </a:lnTo>
                <a:lnTo>
                  <a:pt x="195" y="105"/>
                </a:lnTo>
                <a:lnTo>
                  <a:pt x="190" y="129"/>
                </a:lnTo>
                <a:lnTo>
                  <a:pt x="187" y="148"/>
                </a:lnTo>
                <a:lnTo>
                  <a:pt x="202" y="151"/>
                </a:lnTo>
                <a:lnTo>
                  <a:pt x="213" y="154"/>
                </a:lnTo>
                <a:lnTo>
                  <a:pt x="214" y="158"/>
                </a:lnTo>
                <a:lnTo>
                  <a:pt x="214" y="166"/>
                </a:lnTo>
                <a:lnTo>
                  <a:pt x="213" y="170"/>
                </a:lnTo>
                <a:lnTo>
                  <a:pt x="210" y="174"/>
                </a:lnTo>
                <a:lnTo>
                  <a:pt x="209" y="176"/>
                </a:lnTo>
                <a:lnTo>
                  <a:pt x="207" y="177"/>
                </a:lnTo>
                <a:lnTo>
                  <a:pt x="203" y="178"/>
                </a:lnTo>
                <a:lnTo>
                  <a:pt x="200" y="178"/>
                </a:lnTo>
                <a:lnTo>
                  <a:pt x="197" y="187"/>
                </a:lnTo>
                <a:lnTo>
                  <a:pt x="192" y="196"/>
                </a:lnTo>
                <a:lnTo>
                  <a:pt x="188" y="205"/>
                </a:lnTo>
                <a:lnTo>
                  <a:pt x="181" y="214"/>
                </a:lnTo>
                <a:lnTo>
                  <a:pt x="169" y="229"/>
                </a:lnTo>
                <a:lnTo>
                  <a:pt x="155" y="243"/>
                </a:lnTo>
                <a:lnTo>
                  <a:pt x="131" y="263"/>
                </a:lnTo>
                <a:lnTo>
                  <a:pt x="120" y="271"/>
                </a:lnTo>
                <a:lnTo>
                  <a:pt x="103" y="266"/>
                </a:lnTo>
                <a:lnTo>
                  <a:pt x="87" y="261"/>
                </a:lnTo>
                <a:lnTo>
                  <a:pt x="71" y="254"/>
                </a:lnTo>
                <a:lnTo>
                  <a:pt x="55" y="248"/>
                </a:lnTo>
                <a:lnTo>
                  <a:pt x="27" y="235"/>
                </a:lnTo>
                <a:lnTo>
                  <a:pt x="0" y="221"/>
                </a:lnTo>
                <a:lnTo>
                  <a:pt x="7" y="221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22" name="Freeform 220"/>
          <p:cNvSpPr>
            <a:spLocks/>
          </p:cNvSpPr>
          <p:nvPr userDrawn="1">
            <p:custDataLst>
              <p:tags r:id="rId146"/>
            </p:custDataLst>
          </p:nvPr>
        </p:nvSpPr>
        <p:spPr bwMode="auto">
          <a:xfrm>
            <a:off x="1839913" y="2601520"/>
            <a:ext cx="71438" cy="42863"/>
          </a:xfrm>
          <a:custGeom>
            <a:avLst/>
            <a:gdLst>
              <a:gd name="T0" fmla="*/ 13080623 w 153"/>
              <a:gd name="T1" fmla="*/ 0 h 80"/>
              <a:gd name="T2" fmla="*/ 18094825 w 153"/>
              <a:gd name="T3" fmla="*/ 7144464 h 80"/>
              <a:gd name="T4" fmla="*/ 22672925 w 153"/>
              <a:gd name="T5" fmla="*/ 12247960 h 80"/>
              <a:gd name="T6" fmla="*/ 25071000 w 153"/>
              <a:gd name="T7" fmla="*/ 14288929 h 80"/>
              <a:gd name="T8" fmla="*/ 27469075 w 153"/>
              <a:gd name="T9" fmla="*/ 15820548 h 80"/>
              <a:gd name="T10" fmla="*/ 28995419 w 153"/>
              <a:gd name="T11" fmla="*/ 16330612 h 80"/>
              <a:gd name="T12" fmla="*/ 30303248 w 153"/>
              <a:gd name="T13" fmla="*/ 16330612 h 80"/>
              <a:gd name="T14" fmla="*/ 31829600 w 153"/>
              <a:gd name="T15" fmla="*/ 15820548 h 80"/>
              <a:gd name="T16" fmla="*/ 33355477 w 153"/>
              <a:gd name="T17" fmla="*/ 15309770 h 80"/>
              <a:gd name="T18" fmla="*/ 33355477 w 153"/>
              <a:gd name="T19" fmla="*/ 28578572 h 80"/>
              <a:gd name="T20" fmla="*/ 32483280 w 153"/>
              <a:gd name="T21" fmla="*/ 30619541 h 80"/>
              <a:gd name="T22" fmla="*/ 31611550 w 153"/>
              <a:gd name="T23" fmla="*/ 33171287 h 80"/>
              <a:gd name="T24" fmla="*/ 30085199 w 153"/>
              <a:gd name="T25" fmla="*/ 35212970 h 80"/>
              <a:gd name="T26" fmla="*/ 28777370 w 153"/>
              <a:gd name="T27" fmla="*/ 36743875 h 80"/>
              <a:gd name="T28" fmla="*/ 27251025 w 153"/>
              <a:gd name="T29" fmla="*/ 38274780 h 80"/>
              <a:gd name="T30" fmla="*/ 25943197 w 153"/>
              <a:gd name="T31" fmla="*/ 39805685 h 80"/>
              <a:gd name="T32" fmla="*/ 24416852 w 153"/>
              <a:gd name="T33" fmla="*/ 40316463 h 80"/>
              <a:gd name="T34" fmla="*/ 23109024 w 153"/>
              <a:gd name="T35" fmla="*/ 40826527 h 80"/>
              <a:gd name="T36" fmla="*/ 19620703 w 153"/>
              <a:gd name="T37" fmla="*/ 37764717 h 80"/>
              <a:gd name="T38" fmla="*/ 16568948 w 153"/>
              <a:gd name="T39" fmla="*/ 36233812 h 80"/>
              <a:gd name="T40" fmla="*/ 13734771 w 153"/>
              <a:gd name="T41" fmla="*/ 35212970 h 80"/>
              <a:gd name="T42" fmla="*/ 10900598 w 153"/>
              <a:gd name="T43" fmla="*/ 35212970 h 80"/>
              <a:gd name="T44" fmla="*/ 8502523 w 153"/>
              <a:gd name="T45" fmla="*/ 34702907 h 80"/>
              <a:gd name="T46" fmla="*/ 5886397 w 153"/>
              <a:gd name="T47" fmla="*/ 34192129 h 80"/>
              <a:gd name="T48" fmla="*/ 3052223 w 153"/>
              <a:gd name="T49" fmla="*/ 33171287 h 80"/>
              <a:gd name="T50" fmla="*/ 0 w 153"/>
              <a:gd name="T51" fmla="*/ 31640382 h 80"/>
              <a:gd name="T52" fmla="*/ 1525878 w 153"/>
              <a:gd name="T53" fmla="*/ 29599414 h 80"/>
              <a:gd name="T54" fmla="*/ 5014200 w 153"/>
              <a:gd name="T55" fmla="*/ 22965010 h 80"/>
              <a:gd name="T56" fmla="*/ 7412275 w 153"/>
              <a:gd name="T57" fmla="*/ 18882358 h 80"/>
              <a:gd name="T58" fmla="*/ 9810351 w 153"/>
              <a:gd name="T59" fmla="*/ 14288929 h 80"/>
              <a:gd name="T60" fmla="*/ 12208426 w 153"/>
              <a:gd name="T61" fmla="*/ 8675369 h 80"/>
              <a:gd name="T62" fmla="*/ 14606501 w 153"/>
              <a:gd name="T63" fmla="*/ 3061811 h 80"/>
              <a:gd name="T64" fmla="*/ 13080623 w 153"/>
              <a:gd name="T65" fmla="*/ 0 h 80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53"/>
              <a:gd name="T100" fmla="*/ 0 h 80"/>
              <a:gd name="T101" fmla="*/ 153 w 153"/>
              <a:gd name="T102" fmla="*/ 80 h 80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53" h="80">
                <a:moveTo>
                  <a:pt x="60" y="0"/>
                </a:moveTo>
                <a:lnTo>
                  <a:pt x="83" y="14"/>
                </a:lnTo>
                <a:lnTo>
                  <a:pt x="104" y="24"/>
                </a:lnTo>
                <a:lnTo>
                  <a:pt x="115" y="28"/>
                </a:lnTo>
                <a:lnTo>
                  <a:pt x="126" y="31"/>
                </a:lnTo>
                <a:lnTo>
                  <a:pt x="133" y="32"/>
                </a:lnTo>
                <a:lnTo>
                  <a:pt x="139" y="32"/>
                </a:lnTo>
                <a:lnTo>
                  <a:pt x="146" y="31"/>
                </a:lnTo>
                <a:lnTo>
                  <a:pt x="153" y="30"/>
                </a:lnTo>
                <a:lnTo>
                  <a:pt x="153" y="56"/>
                </a:lnTo>
                <a:lnTo>
                  <a:pt x="149" y="60"/>
                </a:lnTo>
                <a:lnTo>
                  <a:pt x="145" y="65"/>
                </a:lnTo>
                <a:lnTo>
                  <a:pt x="138" y="69"/>
                </a:lnTo>
                <a:lnTo>
                  <a:pt x="132" y="72"/>
                </a:lnTo>
                <a:lnTo>
                  <a:pt x="125" y="75"/>
                </a:lnTo>
                <a:lnTo>
                  <a:pt x="119" y="78"/>
                </a:lnTo>
                <a:lnTo>
                  <a:pt x="112" y="79"/>
                </a:lnTo>
                <a:lnTo>
                  <a:pt x="106" y="80"/>
                </a:lnTo>
                <a:lnTo>
                  <a:pt x="90" y="74"/>
                </a:lnTo>
                <a:lnTo>
                  <a:pt x="76" y="71"/>
                </a:lnTo>
                <a:lnTo>
                  <a:pt x="63" y="69"/>
                </a:lnTo>
                <a:lnTo>
                  <a:pt x="50" y="69"/>
                </a:lnTo>
                <a:lnTo>
                  <a:pt x="39" y="68"/>
                </a:lnTo>
                <a:lnTo>
                  <a:pt x="27" y="67"/>
                </a:lnTo>
                <a:lnTo>
                  <a:pt x="14" y="65"/>
                </a:lnTo>
                <a:lnTo>
                  <a:pt x="0" y="62"/>
                </a:lnTo>
                <a:lnTo>
                  <a:pt x="7" y="58"/>
                </a:lnTo>
                <a:lnTo>
                  <a:pt x="23" y="45"/>
                </a:lnTo>
                <a:lnTo>
                  <a:pt x="34" y="37"/>
                </a:lnTo>
                <a:lnTo>
                  <a:pt x="45" y="28"/>
                </a:lnTo>
                <a:lnTo>
                  <a:pt x="56" y="17"/>
                </a:lnTo>
                <a:lnTo>
                  <a:pt x="67" y="6"/>
                </a:lnTo>
                <a:lnTo>
                  <a:pt x="60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23" name="Freeform 221"/>
          <p:cNvSpPr>
            <a:spLocks/>
          </p:cNvSpPr>
          <p:nvPr userDrawn="1">
            <p:custDataLst>
              <p:tags r:id="rId147"/>
            </p:custDataLst>
          </p:nvPr>
        </p:nvSpPr>
        <p:spPr bwMode="auto">
          <a:xfrm>
            <a:off x="1871667" y="2572941"/>
            <a:ext cx="142875" cy="65484"/>
          </a:xfrm>
          <a:custGeom>
            <a:avLst/>
            <a:gdLst>
              <a:gd name="T0" fmla="*/ 0 w 332"/>
              <a:gd name="T1" fmla="*/ 20552419 h 169"/>
              <a:gd name="T2" fmla="*/ 8148609 w 332"/>
              <a:gd name="T3" fmla="*/ 26958741 h 169"/>
              <a:gd name="T4" fmla="*/ 12223127 w 332"/>
              <a:gd name="T5" fmla="*/ 28826907 h 169"/>
              <a:gd name="T6" fmla="*/ 14630487 w 332"/>
              <a:gd name="T7" fmla="*/ 29094009 h 169"/>
              <a:gd name="T8" fmla="*/ 17223323 w 332"/>
              <a:gd name="T9" fmla="*/ 28559805 h 169"/>
              <a:gd name="T10" fmla="*/ 16667746 w 332"/>
              <a:gd name="T11" fmla="*/ 38435881 h 169"/>
              <a:gd name="T12" fmla="*/ 17593852 w 332"/>
              <a:gd name="T13" fmla="*/ 41104838 h 169"/>
              <a:gd name="T14" fmla="*/ 18334477 w 332"/>
              <a:gd name="T15" fmla="*/ 43507208 h 169"/>
              <a:gd name="T16" fmla="*/ 19816159 w 332"/>
              <a:gd name="T17" fmla="*/ 44841687 h 169"/>
              <a:gd name="T18" fmla="*/ 21668370 w 332"/>
              <a:gd name="T19" fmla="*/ 45108789 h 169"/>
              <a:gd name="T20" fmla="*/ 22779524 w 332"/>
              <a:gd name="T21" fmla="*/ 44307999 h 169"/>
              <a:gd name="T22" fmla="*/ 24446255 w 332"/>
              <a:gd name="T23" fmla="*/ 41905628 h 169"/>
              <a:gd name="T24" fmla="*/ 27039091 w 332"/>
              <a:gd name="T25" fmla="*/ 36300613 h 169"/>
              <a:gd name="T26" fmla="*/ 32224339 w 332"/>
              <a:gd name="T27" fmla="*/ 30695073 h 169"/>
              <a:gd name="T28" fmla="*/ 39632319 w 332"/>
              <a:gd name="T29" fmla="*/ 25623746 h 169"/>
              <a:gd name="T30" fmla="*/ 47410827 w 332"/>
              <a:gd name="T31" fmla="*/ 21353209 h 169"/>
              <a:gd name="T32" fmla="*/ 56300059 w 332"/>
              <a:gd name="T33" fmla="*/ 17349774 h 169"/>
              <a:gd name="T34" fmla="*/ 61485744 w 332"/>
              <a:gd name="T35" fmla="*/ 12277927 h 169"/>
              <a:gd name="T36" fmla="*/ 61485744 w 332"/>
              <a:gd name="T37" fmla="*/ 5872119 h 169"/>
              <a:gd name="T38" fmla="*/ 59263436 w 332"/>
              <a:gd name="T39" fmla="*/ 533688 h 169"/>
              <a:gd name="T40" fmla="*/ 52411020 w 332"/>
              <a:gd name="T41" fmla="*/ 267102 h 169"/>
              <a:gd name="T42" fmla="*/ 43336309 w 332"/>
              <a:gd name="T43" fmla="*/ 0 h 169"/>
              <a:gd name="T44" fmla="*/ 33335493 w 332"/>
              <a:gd name="T45" fmla="*/ 267102 h 169"/>
              <a:gd name="T46" fmla="*/ 24260775 w 332"/>
              <a:gd name="T47" fmla="*/ 1067893 h 169"/>
              <a:gd name="T48" fmla="*/ 16667746 w 332"/>
              <a:gd name="T49" fmla="*/ 2668957 h 169"/>
              <a:gd name="T50" fmla="*/ 10926494 w 332"/>
              <a:gd name="T51" fmla="*/ 5071329 h 169"/>
              <a:gd name="T52" fmla="*/ 7778511 w 332"/>
              <a:gd name="T53" fmla="*/ 5872119 h 169"/>
              <a:gd name="T54" fmla="*/ 6481877 w 332"/>
              <a:gd name="T55" fmla="*/ 6139222 h 169"/>
              <a:gd name="T56" fmla="*/ 6296828 w 332"/>
              <a:gd name="T57" fmla="*/ 6940012 h 169"/>
              <a:gd name="T58" fmla="*/ 6111348 w 332"/>
              <a:gd name="T59" fmla="*/ 10142658 h 169"/>
              <a:gd name="T60" fmla="*/ 5370723 w 332"/>
              <a:gd name="T61" fmla="*/ 11744239 h 169"/>
              <a:gd name="T62" fmla="*/ 4259569 w 332"/>
              <a:gd name="T63" fmla="*/ 12277927 h 169"/>
              <a:gd name="T64" fmla="*/ 3518942 w 332"/>
              <a:gd name="T65" fmla="*/ 14680297 h 169"/>
              <a:gd name="T66" fmla="*/ 2037260 w 332"/>
              <a:gd name="T67" fmla="*/ 19217941 h 169"/>
              <a:gd name="T68" fmla="*/ 1296203 w 332"/>
              <a:gd name="T69" fmla="*/ 22153999 h 169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332"/>
              <a:gd name="T106" fmla="*/ 0 h 169"/>
              <a:gd name="T107" fmla="*/ 332 w 332"/>
              <a:gd name="T108" fmla="*/ 169 h 169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332" h="169">
                <a:moveTo>
                  <a:pt x="7" y="83"/>
                </a:moveTo>
                <a:lnTo>
                  <a:pt x="0" y="77"/>
                </a:lnTo>
                <a:lnTo>
                  <a:pt x="23" y="91"/>
                </a:lnTo>
                <a:lnTo>
                  <a:pt x="44" y="101"/>
                </a:lnTo>
                <a:lnTo>
                  <a:pt x="55" y="105"/>
                </a:lnTo>
                <a:lnTo>
                  <a:pt x="66" y="108"/>
                </a:lnTo>
                <a:lnTo>
                  <a:pt x="73" y="109"/>
                </a:lnTo>
                <a:lnTo>
                  <a:pt x="79" y="109"/>
                </a:lnTo>
                <a:lnTo>
                  <a:pt x="86" y="108"/>
                </a:lnTo>
                <a:lnTo>
                  <a:pt x="93" y="107"/>
                </a:lnTo>
                <a:lnTo>
                  <a:pt x="86" y="139"/>
                </a:lnTo>
                <a:lnTo>
                  <a:pt x="90" y="144"/>
                </a:lnTo>
                <a:lnTo>
                  <a:pt x="94" y="149"/>
                </a:lnTo>
                <a:lnTo>
                  <a:pt x="95" y="154"/>
                </a:lnTo>
                <a:lnTo>
                  <a:pt x="97" y="158"/>
                </a:lnTo>
                <a:lnTo>
                  <a:pt x="99" y="163"/>
                </a:lnTo>
                <a:lnTo>
                  <a:pt x="102" y="166"/>
                </a:lnTo>
                <a:lnTo>
                  <a:pt x="107" y="168"/>
                </a:lnTo>
                <a:lnTo>
                  <a:pt x="113" y="169"/>
                </a:lnTo>
                <a:lnTo>
                  <a:pt x="117" y="169"/>
                </a:lnTo>
                <a:lnTo>
                  <a:pt x="120" y="167"/>
                </a:lnTo>
                <a:lnTo>
                  <a:pt x="123" y="166"/>
                </a:lnTo>
                <a:lnTo>
                  <a:pt x="127" y="163"/>
                </a:lnTo>
                <a:lnTo>
                  <a:pt x="132" y="157"/>
                </a:lnTo>
                <a:lnTo>
                  <a:pt x="138" y="150"/>
                </a:lnTo>
                <a:lnTo>
                  <a:pt x="146" y="136"/>
                </a:lnTo>
                <a:lnTo>
                  <a:pt x="153" y="127"/>
                </a:lnTo>
                <a:lnTo>
                  <a:pt x="174" y="115"/>
                </a:lnTo>
                <a:lnTo>
                  <a:pt x="195" y="105"/>
                </a:lnTo>
                <a:lnTo>
                  <a:pt x="214" y="96"/>
                </a:lnTo>
                <a:lnTo>
                  <a:pt x="235" y="88"/>
                </a:lnTo>
                <a:lnTo>
                  <a:pt x="256" y="80"/>
                </a:lnTo>
                <a:lnTo>
                  <a:pt x="279" y="73"/>
                </a:lnTo>
                <a:lnTo>
                  <a:pt x="304" y="65"/>
                </a:lnTo>
                <a:lnTo>
                  <a:pt x="332" y="58"/>
                </a:lnTo>
                <a:lnTo>
                  <a:pt x="332" y="46"/>
                </a:lnTo>
                <a:lnTo>
                  <a:pt x="332" y="35"/>
                </a:lnTo>
                <a:lnTo>
                  <a:pt x="332" y="22"/>
                </a:lnTo>
                <a:lnTo>
                  <a:pt x="332" y="3"/>
                </a:lnTo>
                <a:lnTo>
                  <a:pt x="320" y="2"/>
                </a:lnTo>
                <a:lnTo>
                  <a:pt x="303" y="2"/>
                </a:lnTo>
                <a:lnTo>
                  <a:pt x="283" y="1"/>
                </a:lnTo>
                <a:lnTo>
                  <a:pt x="259" y="0"/>
                </a:lnTo>
                <a:lnTo>
                  <a:pt x="234" y="0"/>
                </a:lnTo>
                <a:lnTo>
                  <a:pt x="208" y="0"/>
                </a:lnTo>
                <a:lnTo>
                  <a:pt x="180" y="1"/>
                </a:lnTo>
                <a:lnTo>
                  <a:pt x="153" y="3"/>
                </a:lnTo>
                <a:lnTo>
                  <a:pt x="131" y="4"/>
                </a:lnTo>
                <a:lnTo>
                  <a:pt x="110" y="6"/>
                </a:lnTo>
                <a:lnTo>
                  <a:pt x="90" y="10"/>
                </a:lnTo>
                <a:lnTo>
                  <a:pt x="73" y="15"/>
                </a:lnTo>
                <a:lnTo>
                  <a:pt x="59" y="19"/>
                </a:lnTo>
                <a:lnTo>
                  <a:pt x="46" y="22"/>
                </a:lnTo>
                <a:lnTo>
                  <a:pt x="42" y="22"/>
                </a:lnTo>
                <a:lnTo>
                  <a:pt x="38" y="23"/>
                </a:lnTo>
                <a:lnTo>
                  <a:pt x="35" y="23"/>
                </a:lnTo>
                <a:lnTo>
                  <a:pt x="33" y="22"/>
                </a:lnTo>
                <a:lnTo>
                  <a:pt x="34" y="26"/>
                </a:lnTo>
                <a:lnTo>
                  <a:pt x="34" y="34"/>
                </a:lnTo>
                <a:lnTo>
                  <a:pt x="33" y="38"/>
                </a:lnTo>
                <a:lnTo>
                  <a:pt x="30" y="42"/>
                </a:lnTo>
                <a:lnTo>
                  <a:pt x="29" y="44"/>
                </a:lnTo>
                <a:lnTo>
                  <a:pt x="27" y="45"/>
                </a:lnTo>
                <a:lnTo>
                  <a:pt x="23" y="46"/>
                </a:lnTo>
                <a:lnTo>
                  <a:pt x="20" y="46"/>
                </a:lnTo>
                <a:lnTo>
                  <a:pt x="19" y="55"/>
                </a:lnTo>
                <a:lnTo>
                  <a:pt x="16" y="63"/>
                </a:lnTo>
                <a:lnTo>
                  <a:pt x="11" y="72"/>
                </a:lnTo>
                <a:lnTo>
                  <a:pt x="7" y="77"/>
                </a:lnTo>
                <a:lnTo>
                  <a:pt x="7" y="83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24" name="Freeform 222"/>
          <p:cNvSpPr>
            <a:spLocks/>
          </p:cNvSpPr>
          <p:nvPr userDrawn="1">
            <p:custDataLst>
              <p:tags r:id="rId148"/>
            </p:custDataLst>
          </p:nvPr>
        </p:nvSpPr>
        <p:spPr bwMode="auto">
          <a:xfrm>
            <a:off x="1889125" y="2595569"/>
            <a:ext cx="125412" cy="91679"/>
          </a:xfrm>
          <a:custGeom>
            <a:avLst/>
            <a:gdLst>
              <a:gd name="T0" fmla="*/ 8460486 w 286"/>
              <a:gd name="T1" fmla="*/ 23268916 h 235"/>
              <a:gd name="T2" fmla="*/ 9422124 w 286"/>
              <a:gd name="T3" fmla="*/ 25974796 h 235"/>
              <a:gd name="T4" fmla="*/ 10191259 w 286"/>
              <a:gd name="T5" fmla="*/ 28409672 h 235"/>
              <a:gd name="T6" fmla="*/ 11729528 w 286"/>
              <a:gd name="T7" fmla="*/ 29762613 h 235"/>
              <a:gd name="T8" fmla="*/ 13652365 w 286"/>
              <a:gd name="T9" fmla="*/ 30033097 h 235"/>
              <a:gd name="T10" fmla="*/ 14806071 w 286"/>
              <a:gd name="T11" fmla="*/ 29221124 h 235"/>
              <a:gd name="T12" fmla="*/ 16536405 w 286"/>
              <a:gd name="T13" fmla="*/ 26786248 h 235"/>
              <a:gd name="T14" fmla="*/ 19228377 w 286"/>
              <a:gd name="T15" fmla="*/ 21104523 h 235"/>
              <a:gd name="T16" fmla="*/ 24612321 w 286"/>
              <a:gd name="T17" fmla="*/ 15422274 h 235"/>
              <a:gd name="T18" fmla="*/ 32304114 w 286"/>
              <a:gd name="T19" fmla="*/ 10281518 h 235"/>
              <a:gd name="T20" fmla="*/ 40380029 w 286"/>
              <a:gd name="T21" fmla="*/ 5952731 h 235"/>
              <a:gd name="T22" fmla="*/ 49609647 w 286"/>
              <a:gd name="T23" fmla="*/ 1893909 h 235"/>
              <a:gd name="T24" fmla="*/ 54993591 w 286"/>
              <a:gd name="T25" fmla="*/ 2976366 h 235"/>
              <a:gd name="T26" fmla="*/ 54224456 w 286"/>
              <a:gd name="T27" fmla="*/ 8658093 h 235"/>
              <a:gd name="T28" fmla="*/ 52301619 w 286"/>
              <a:gd name="T29" fmla="*/ 18939611 h 235"/>
              <a:gd name="T30" fmla="*/ 48840512 w 286"/>
              <a:gd name="T31" fmla="*/ 34632894 h 235"/>
              <a:gd name="T32" fmla="*/ 46917675 w 286"/>
              <a:gd name="T33" fmla="*/ 47078799 h 235"/>
              <a:gd name="T34" fmla="*/ 46148540 w 286"/>
              <a:gd name="T35" fmla="*/ 55736889 h 235"/>
              <a:gd name="T36" fmla="*/ 28073866 w 286"/>
              <a:gd name="T37" fmla="*/ 58442769 h 235"/>
              <a:gd name="T38" fmla="*/ 26535158 w 286"/>
              <a:gd name="T39" fmla="*/ 58983737 h 235"/>
              <a:gd name="T40" fmla="*/ 25381455 w 286"/>
              <a:gd name="T41" fmla="*/ 60336677 h 235"/>
              <a:gd name="T42" fmla="*/ 24420256 w 286"/>
              <a:gd name="T43" fmla="*/ 63583526 h 235"/>
              <a:gd name="T44" fmla="*/ 20959150 w 286"/>
              <a:gd name="T45" fmla="*/ 58713253 h 235"/>
              <a:gd name="T46" fmla="*/ 18074675 w 286"/>
              <a:gd name="T47" fmla="*/ 53842980 h 235"/>
              <a:gd name="T48" fmla="*/ 13267798 w 286"/>
              <a:gd name="T49" fmla="*/ 43290983 h 235"/>
              <a:gd name="T50" fmla="*/ 10575826 w 286"/>
              <a:gd name="T51" fmla="*/ 38420710 h 235"/>
              <a:gd name="T52" fmla="*/ 7883854 w 286"/>
              <a:gd name="T53" fmla="*/ 33820913 h 235"/>
              <a:gd name="T54" fmla="*/ 4230243 w 286"/>
              <a:gd name="T55" fmla="*/ 29762613 h 235"/>
              <a:gd name="T56" fmla="*/ 0 w 286"/>
              <a:gd name="T57" fmla="*/ 26786248 h 235"/>
              <a:gd name="T58" fmla="*/ 2499908 w 286"/>
              <a:gd name="T59" fmla="*/ 26245280 h 235"/>
              <a:gd name="T60" fmla="*/ 4999378 w 286"/>
              <a:gd name="T61" fmla="*/ 24621856 h 235"/>
              <a:gd name="T62" fmla="*/ 7499287 w 286"/>
              <a:gd name="T63" fmla="*/ 22727948 h 235"/>
              <a:gd name="T64" fmla="*/ 9037557 w 286"/>
              <a:gd name="T65" fmla="*/ 20292551 h 235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286"/>
              <a:gd name="T100" fmla="*/ 0 h 235"/>
              <a:gd name="T101" fmla="*/ 286 w 286"/>
              <a:gd name="T102" fmla="*/ 235 h 235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286" h="235">
                <a:moveTo>
                  <a:pt x="40" y="81"/>
                </a:moveTo>
                <a:lnTo>
                  <a:pt x="44" y="86"/>
                </a:lnTo>
                <a:lnTo>
                  <a:pt x="48" y="91"/>
                </a:lnTo>
                <a:lnTo>
                  <a:pt x="49" y="96"/>
                </a:lnTo>
                <a:lnTo>
                  <a:pt x="51" y="100"/>
                </a:lnTo>
                <a:lnTo>
                  <a:pt x="53" y="105"/>
                </a:lnTo>
                <a:lnTo>
                  <a:pt x="56" y="108"/>
                </a:lnTo>
                <a:lnTo>
                  <a:pt x="61" y="110"/>
                </a:lnTo>
                <a:lnTo>
                  <a:pt x="67" y="111"/>
                </a:lnTo>
                <a:lnTo>
                  <a:pt x="71" y="111"/>
                </a:lnTo>
                <a:lnTo>
                  <a:pt x="74" y="109"/>
                </a:lnTo>
                <a:lnTo>
                  <a:pt x="77" y="108"/>
                </a:lnTo>
                <a:lnTo>
                  <a:pt x="81" y="105"/>
                </a:lnTo>
                <a:lnTo>
                  <a:pt x="86" y="99"/>
                </a:lnTo>
                <a:lnTo>
                  <a:pt x="92" y="92"/>
                </a:lnTo>
                <a:lnTo>
                  <a:pt x="100" y="78"/>
                </a:lnTo>
                <a:lnTo>
                  <a:pt x="107" y="69"/>
                </a:lnTo>
                <a:lnTo>
                  <a:pt x="128" y="57"/>
                </a:lnTo>
                <a:lnTo>
                  <a:pt x="149" y="47"/>
                </a:lnTo>
                <a:lnTo>
                  <a:pt x="168" y="38"/>
                </a:lnTo>
                <a:lnTo>
                  <a:pt x="189" y="30"/>
                </a:lnTo>
                <a:lnTo>
                  <a:pt x="210" y="22"/>
                </a:lnTo>
                <a:lnTo>
                  <a:pt x="233" y="15"/>
                </a:lnTo>
                <a:lnTo>
                  <a:pt x="258" y="7"/>
                </a:lnTo>
                <a:lnTo>
                  <a:pt x="286" y="0"/>
                </a:lnTo>
                <a:lnTo>
                  <a:pt x="286" y="11"/>
                </a:lnTo>
                <a:lnTo>
                  <a:pt x="284" y="21"/>
                </a:lnTo>
                <a:lnTo>
                  <a:pt x="282" y="32"/>
                </a:lnTo>
                <a:lnTo>
                  <a:pt x="279" y="44"/>
                </a:lnTo>
                <a:lnTo>
                  <a:pt x="272" y="70"/>
                </a:lnTo>
                <a:lnTo>
                  <a:pt x="263" y="97"/>
                </a:lnTo>
                <a:lnTo>
                  <a:pt x="254" y="128"/>
                </a:lnTo>
                <a:lnTo>
                  <a:pt x="246" y="158"/>
                </a:lnTo>
                <a:lnTo>
                  <a:pt x="244" y="174"/>
                </a:lnTo>
                <a:lnTo>
                  <a:pt x="242" y="190"/>
                </a:lnTo>
                <a:lnTo>
                  <a:pt x="240" y="206"/>
                </a:lnTo>
                <a:lnTo>
                  <a:pt x="240" y="222"/>
                </a:lnTo>
                <a:lnTo>
                  <a:pt x="146" y="216"/>
                </a:lnTo>
                <a:lnTo>
                  <a:pt x="142" y="216"/>
                </a:lnTo>
                <a:lnTo>
                  <a:pt x="138" y="218"/>
                </a:lnTo>
                <a:lnTo>
                  <a:pt x="134" y="220"/>
                </a:lnTo>
                <a:lnTo>
                  <a:pt x="132" y="223"/>
                </a:lnTo>
                <a:lnTo>
                  <a:pt x="128" y="229"/>
                </a:lnTo>
                <a:lnTo>
                  <a:pt x="127" y="235"/>
                </a:lnTo>
                <a:lnTo>
                  <a:pt x="117" y="226"/>
                </a:lnTo>
                <a:lnTo>
                  <a:pt x="109" y="217"/>
                </a:lnTo>
                <a:lnTo>
                  <a:pt x="101" y="208"/>
                </a:lnTo>
                <a:lnTo>
                  <a:pt x="94" y="199"/>
                </a:lnTo>
                <a:lnTo>
                  <a:pt x="81" y="180"/>
                </a:lnTo>
                <a:lnTo>
                  <a:pt x="69" y="160"/>
                </a:lnTo>
                <a:lnTo>
                  <a:pt x="62" y="150"/>
                </a:lnTo>
                <a:lnTo>
                  <a:pt x="55" y="142"/>
                </a:lnTo>
                <a:lnTo>
                  <a:pt x="49" y="133"/>
                </a:lnTo>
                <a:lnTo>
                  <a:pt x="41" y="125"/>
                </a:lnTo>
                <a:lnTo>
                  <a:pt x="32" y="117"/>
                </a:lnTo>
                <a:lnTo>
                  <a:pt x="22" y="110"/>
                </a:lnTo>
                <a:lnTo>
                  <a:pt x="13" y="104"/>
                </a:lnTo>
                <a:lnTo>
                  <a:pt x="0" y="99"/>
                </a:lnTo>
                <a:lnTo>
                  <a:pt x="6" y="98"/>
                </a:lnTo>
                <a:lnTo>
                  <a:pt x="13" y="97"/>
                </a:lnTo>
                <a:lnTo>
                  <a:pt x="19" y="94"/>
                </a:lnTo>
                <a:lnTo>
                  <a:pt x="26" y="91"/>
                </a:lnTo>
                <a:lnTo>
                  <a:pt x="32" y="88"/>
                </a:lnTo>
                <a:lnTo>
                  <a:pt x="39" y="84"/>
                </a:lnTo>
                <a:lnTo>
                  <a:pt x="43" y="79"/>
                </a:lnTo>
                <a:lnTo>
                  <a:pt x="47" y="75"/>
                </a:lnTo>
                <a:lnTo>
                  <a:pt x="40" y="81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25" name="Freeform 223"/>
          <p:cNvSpPr>
            <a:spLocks/>
          </p:cNvSpPr>
          <p:nvPr userDrawn="1">
            <p:custDataLst>
              <p:tags r:id="rId149"/>
            </p:custDataLst>
          </p:nvPr>
        </p:nvSpPr>
        <p:spPr bwMode="auto">
          <a:xfrm>
            <a:off x="1939935" y="2680097"/>
            <a:ext cx="84137" cy="75009"/>
          </a:xfrm>
          <a:custGeom>
            <a:avLst/>
            <a:gdLst>
              <a:gd name="T0" fmla="*/ 31668349 w 205"/>
              <a:gd name="T1" fmla="*/ 50723364 h 191"/>
              <a:gd name="T2" fmla="*/ 29478325 w 205"/>
              <a:gd name="T3" fmla="*/ 50723364 h 191"/>
              <a:gd name="T4" fmla="*/ 26614789 w 205"/>
              <a:gd name="T5" fmla="*/ 50723364 h 191"/>
              <a:gd name="T6" fmla="*/ 24256491 w 205"/>
              <a:gd name="T7" fmla="*/ 49352519 h 191"/>
              <a:gd name="T8" fmla="*/ 22909068 w 205"/>
              <a:gd name="T9" fmla="*/ 47433441 h 191"/>
              <a:gd name="T10" fmla="*/ 21729919 w 205"/>
              <a:gd name="T11" fmla="*/ 44691752 h 191"/>
              <a:gd name="T12" fmla="*/ 20213812 w 205"/>
              <a:gd name="T13" fmla="*/ 40304839 h 191"/>
              <a:gd name="T14" fmla="*/ 18529431 w 205"/>
              <a:gd name="T15" fmla="*/ 35917927 h 191"/>
              <a:gd name="T16" fmla="*/ 16676365 w 205"/>
              <a:gd name="T17" fmla="*/ 33175706 h 191"/>
              <a:gd name="T18" fmla="*/ 15665490 w 205"/>
              <a:gd name="T19" fmla="*/ 34546559 h 191"/>
              <a:gd name="T20" fmla="*/ 15160258 w 205"/>
              <a:gd name="T21" fmla="*/ 37014393 h 191"/>
              <a:gd name="T22" fmla="*/ 14149793 w 205"/>
              <a:gd name="T23" fmla="*/ 35643549 h 191"/>
              <a:gd name="T24" fmla="*/ 12128451 w 205"/>
              <a:gd name="T25" fmla="*/ 30982250 h 191"/>
              <a:gd name="T26" fmla="*/ 9433195 w 205"/>
              <a:gd name="T27" fmla="*/ 23853648 h 191"/>
              <a:gd name="T28" fmla="*/ 6906212 w 205"/>
              <a:gd name="T29" fmla="*/ 18370269 h 191"/>
              <a:gd name="T30" fmla="*/ 5221830 w 205"/>
              <a:gd name="T31" fmla="*/ 15902431 h 191"/>
              <a:gd name="T32" fmla="*/ 4379639 w 205"/>
              <a:gd name="T33" fmla="*/ 16450664 h 191"/>
              <a:gd name="T34" fmla="*/ 4884871 w 205"/>
              <a:gd name="T35" fmla="*/ 18918502 h 191"/>
              <a:gd name="T36" fmla="*/ 5727062 w 205"/>
              <a:gd name="T37" fmla="*/ 21386337 h 191"/>
              <a:gd name="T38" fmla="*/ 6906212 w 205"/>
              <a:gd name="T39" fmla="*/ 23031036 h 191"/>
              <a:gd name="T40" fmla="*/ 7748813 w 205"/>
              <a:gd name="T41" fmla="*/ 28788794 h 191"/>
              <a:gd name="T42" fmla="*/ 2190025 w 205"/>
              <a:gd name="T43" fmla="*/ 26869716 h 191"/>
              <a:gd name="T44" fmla="*/ 673917 w 205"/>
              <a:gd name="T45" fmla="*/ 23031036 h 191"/>
              <a:gd name="T46" fmla="*/ 0 w 205"/>
              <a:gd name="T47" fmla="*/ 16450664 h 191"/>
              <a:gd name="T48" fmla="*/ 0 w 205"/>
              <a:gd name="T49" fmla="*/ 10419052 h 191"/>
              <a:gd name="T50" fmla="*/ 505232 w 205"/>
              <a:gd name="T51" fmla="*/ 7676837 h 191"/>
              <a:gd name="T52" fmla="*/ 1347423 w 205"/>
              <a:gd name="T53" fmla="*/ 6032137 h 191"/>
              <a:gd name="T54" fmla="*/ 2358299 w 205"/>
              <a:gd name="T55" fmla="*/ 3564302 h 191"/>
              <a:gd name="T56" fmla="*/ 3368764 w 205"/>
              <a:gd name="T57" fmla="*/ 1096467 h 191"/>
              <a:gd name="T58" fmla="*/ 4716597 w 205"/>
              <a:gd name="T59" fmla="*/ 0 h 191"/>
              <a:gd name="T60" fmla="*/ 21224277 w 205"/>
              <a:gd name="T61" fmla="*/ 1645224 h 191"/>
              <a:gd name="T62" fmla="*/ 21392961 w 205"/>
              <a:gd name="T63" fmla="*/ 5757759 h 191"/>
              <a:gd name="T64" fmla="*/ 21898193 w 205"/>
              <a:gd name="T65" fmla="*/ 10144674 h 191"/>
              <a:gd name="T66" fmla="*/ 24088217 w 205"/>
              <a:gd name="T67" fmla="*/ 19192881 h 191"/>
              <a:gd name="T68" fmla="*/ 27793944 w 205"/>
              <a:gd name="T69" fmla="*/ 27966706 h 191"/>
              <a:gd name="T70" fmla="*/ 29815284 w 205"/>
              <a:gd name="T71" fmla="*/ 32079240 h 191"/>
              <a:gd name="T72" fmla="*/ 32341856 w 205"/>
              <a:gd name="T73" fmla="*/ 35643549 h 191"/>
              <a:gd name="T74" fmla="*/ 31836623 w 205"/>
              <a:gd name="T75" fmla="*/ 39207850 h 191"/>
              <a:gd name="T76" fmla="*/ 31836623 w 205"/>
              <a:gd name="T77" fmla="*/ 42772150 h 191"/>
              <a:gd name="T78" fmla="*/ 32341856 w 205"/>
              <a:gd name="T79" fmla="*/ 52368587 h 191"/>
              <a:gd name="T80" fmla="*/ 34531879 w 205"/>
              <a:gd name="T81" fmla="*/ 50723364 h 191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205"/>
              <a:gd name="T124" fmla="*/ 0 h 191"/>
              <a:gd name="T125" fmla="*/ 205 w 205"/>
              <a:gd name="T126" fmla="*/ 191 h 191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205" h="191">
                <a:moveTo>
                  <a:pt x="205" y="185"/>
                </a:moveTo>
                <a:lnTo>
                  <a:pt x="188" y="185"/>
                </a:lnTo>
                <a:lnTo>
                  <a:pt x="181" y="185"/>
                </a:lnTo>
                <a:lnTo>
                  <a:pt x="175" y="185"/>
                </a:lnTo>
                <a:lnTo>
                  <a:pt x="165" y="185"/>
                </a:lnTo>
                <a:lnTo>
                  <a:pt x="158" y="185"/>
                </a:lnTo>
                <a:lnTo>
                  <a:pt x="151" y="182"/>
                </a:lnTo>
                <a:lnTo>
                  <a:pt x="144" y="180"/>
                </a:lnTo>
                <a:lnTo>
                  <a:pt x="140" y="177"/>
                </a:lnTo>
                <a:lnTo>
                  <a:pt x="136" y="173"/>
                </a:lnTo>
                <a:lnTo>
                  <a:pt x="132" y="168"/>
                </a:lnTo>
                <a:lnTo>
                  <a:pt x="129" y="163"/>
                </a:lnTo>
                <a:lnTo>
                  <a:pt x="127" y="158"/>
                </a:lnTo>
                <a:lnTo>
                  <a:pt x="120" y="147"/>
                </a:lnTo>
                <a:lnTo>
                  <a:pt x="114" y="136"/>
                </a:lnTo>
                <a:lnTo>
                  <a:pt x="110" y="131"/>
                </a:lnTo>
                <a:lnTo>
                  <a:pt x="105" y="125"/>
                </a:lnTo>
                <a:lnTo>
                  <a:pt x="99" y="121"/>
                </a:lnTo>
                <a:lnTo>
                  <a:pt x="93" y="117"/>
                </a:lnTo>
                <a:lnTo>
                  <a:pt x="93" y="126"/>
                </a:lnTo>
                <a:lnTo>
                  <a:pt x="93" y="136"/>
                </a:lnTo>
                <a:lnTo>
                  <a:pt x="90" y="135"/>
                </a:lnTo>
                <a:lnTo>
                  <a:pt x="86" y="133"/>
                </a:lnTo>
                <a:lnTo>
                  <a:pt x="84" y="130"/>
                </a:lnTo>
                <a:lnTo>
                  <a:pt x="80" y="124"/>
                </a:lnTo>
                <a:lnTo>
                  <a:pt x="72" y="113"/>
                </a:lnTo>
                <a:lnTo>
                  <a:pt x="64" y="100"/>
                </a:lnTo>
                <a:lnTo>
                  <a:pt x="56" y="87"/>
                </a:lnTo>
                <a:lnTo>
                  <a:pt x="46" y="74"/>
                </a:lnTo>
                <a:lnTo>
                  <a:pt x="41" y="67"/>
                </a:lnTo>
                <a:lnTo>
                  <a:pt x="36" y="62"/>
                </a:lnTo>
                <a:lnTo>
                  <a:pt x="31" y="58"/>
                </a:lnTo>
                <a:lnTo>
                  <a:pt x="26" y="55"/>
                </a:lnTo>
                <a:lnTo>
                  <a:pt x="26" y="60"/>
                </a:lnTo>
                <a:lnTo>
                  <a:pt x="27" y="64"/>
                </a:lnTo>
                <a:lnTo>
                  <a:pt x="29" y="69"/>
                </a:lnTo>
                <a:lnTo>
                  <a:pt x="31" y="74"/>
                </a:lnTo>
                <a:lnTo>
                  <a:pt x="34" y="78"/>
                </a:lnTo>
                <a:lnTo>
                  <a:pt x="37" y="81"/>
                </a:lnTo>
                <a:lnTo>
                  <a:pt x="41" y="84"/>
                </a:lnTo>
                <a:lnTo>
                  <a:pt x="46" y="87"/>
                </a:lnTo>
                <a:lnTo>
                  <a:pt x="46" y="105"/>
                </a:lnTo>
                <a:lnTo>
                  <a:pt x="19" y="105"/>
                </a:lnTo>
                <a:lnTo>
                  <a:pt x="13" y="98"/>
                </a:lnTo>
                <a:lnTo>
                  <a:pt x="8" y="91"/>
                </a:lnTo>
                <a:lnTo>
                  <a:pt x="4" y="84"/>
                </a:lnTo>
                <a:lnTo>
                  <a:pt x="2" y="77"/>
                </a:lnTo>
                <a:lnTo>
                  <a:pt x="0" y="60"/>
                </a:lnTo>
                <a:lnTo>
                  <a:pt x="0" y="43"/>
                </a:lnTo>
                <a:lnTo>
                  <a:pt x="0" y="38"/>
                </a:lnTo>
                <a:lnTo>
                  <a:pt x="1" y="31"/>
                </a:lnTo>
                <a:lnTo>
                  <a:pt x="3" y="28"/>
                </a:lnTo>
                <a:lnTo>
                  <a:pt x="5" y="25"/>
                </a:lnTo>
                <a:lnTo>
                  <a:pt x="8" y="22"/>
                </a:lnTo>
                <a:lnTo>
                  <a:pt x="13" y="19"/>
                </a:lnTo>
                <a:lnTo>
                  <a:pt x="14" y="13"/>
                </a:lnTo>
                <a:lnTo>
                  <a:pt x="18" y="7"/>
                </a:lnTo>
                <a:lnTo>
                  <a:pt x="20" y="4"/>
                </a:lnTo>
                <a:lnTo>
                  <a:pt x="24" y="2"/>
                </a:lnTo>
                <a:lnTo>
                  <a:pt x="28" y="0"/>
                </a:lnTo>
                <a:lnTo>
                  <a:pt x="32" y="0"/>
                </a:lnTo>
                <a:lnTo>
                  <a:pt x="126" y="6"/>
                </a:lnTo>
                <a:lnTo>
                  <a:pt x="126" y="13"/>
                </a:lnTo>
                <a:lnTo>
                  <a:pt x="127" y="21"/>
                </a:lnTo>
                <a:lnTo>
                  <a:pt x="128" y="29"/>
                </a:lnTo>
                <a:lnTo>
                  <a:pt x="130" y="37"/>
                </a:lnTo>
                <a:lnTo>
                  <a:pt x="136" y="53"/>
                </a:lnTo>
                <a:lnTo>
                  <a:pt x="143" y="70"/>
                </a:lnTo>
                <a:lnTo>
                  <a:pt x="153" y="87"/>
                </a:lnTo>
                <a:lnTo>
                  <a:pt x="165" y="102"/>
                </a:lnTo>
                <a:lnTo>
                  <a:pt x="171" y="110"/>
                </a:lnTo>
                <a:lnTo>
                  <a:pt x="177" y="117"/>
                </a:lnTo>
                <a:lnTo>
                  <a:pt x="185" y="123"/>
                </a:lnTo>
                <a:lnTo>
                  <a:pt x="192" y="130"/>
                </a:lnTo>
                <a:lnTo>
                  <a:pt x="191" y="137"/>
                </a:lnTo>
                <a:lnTo>
                  <a:pt x="189" y="143"/>
                </a:lnTo>
                <a:lnTo>
                  <a:pt x="189" y="149"/>
                </a:lnTo>
                <a:lnTo>
                  <a:pt x="189" y="156"/>
                </a:lnTo>
                <a:lnTo>
                  <a:pt x="192" y="171"/>
                </a:lnTo>
                <a:lnTo>
                  <a:pt x="192" y="191"/>
                </a:lnTo>
                <a:lnTo>
                  <a:pt x="192" y="185"/>
                </a:lnTo>
                <a:lnTo>
                  <a:pt x="205" y="185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26" name="Freeform 224"/>
          <p:cNvSpPr>
            <a:spLocks/>
          </p:cNvSpPr>
          <p:nvPr userDrawn="1">
            <p:custDataLst>
              <p:tags r:id="rId150"/>
            </p:custDataLst>
          </p:nvPr>
        </p:nvSpPr>
        <p:spPr bwMode="auto">
          <a:xfrm>
            <a:off x="2020893" y="2720580"/>
            <a:ext cx="142875" cy="59531"/>
          </a:xfrm>
          <a:custGeom>
            <a:avLst/>
            <a:gdLst>
              <a:gd name="T0" fmla="*/ 565854 w 329"/>
              <a:gd name="T1" fmla="*/ 15408026 h 154"/>
              <a:gd name="T2" fmla="*/ 0 w 329"/>
              <a:gd name="T3" fmla="*/ 11157857 h 154"/>
              <a:gd name="T4" fmla="*/ 377381 w 329"/>
              <a:gd name="T5" fmla="*/ 8235413 h 154"/>
              <a:gd name="T6" fmla="*/ 3206219 w 329"/>
              <a:gd name="T7" fmla="*/ 8766815 h 154"/>
              <a:gd name="T8" fmla="*/ 6789384 w 329"/>
              <a:gd name="T9" fmla="*/ 10891899 h 154"/>
              <a:gd name="T10" fmla="*/ 9240842 w 329"/>
              <a:gd name="T11" fmla="*/ 11423299 h 154"/>
              <a:gd name="T12" fmla="*/ 12635534 w 329"/>
              <a:gd name="T13" fmla="*/ 11423299 h 154"/>
              <a:gd name="T14" fmla="*/ 16218702 w 329"/>
              <a:gd name="T15" fmla="*/ 10360499 h 154"/>
              <a:gd name="T16" fmla="*/ 20745102 w 329"/>
              <a:gd name="T17" fmla="*/ 7969970 h 154"/>
              <a:gd name="T18" fmla="*/ 26402776 w 329"/>
              <a:gd name="T19" fmla="*/ 3453328 h 154"/>
              <a:gd name="T20" fmla="*/ 30551802 w 329"/>
              <a:gd name="T21" fmla="*/ 1062800 h 154"/>
              <a:gd name="T22" fmla="*/ 33757585 w 329"/>
              <a:gd name="T23" fmla="*/ 0 h 154"/>
              <a:gd name="T24" fmla="*/ 38283985 w 329"/>
              <a:gd name="T25" fmla="*/ 0 h 154"/>
              <a:gd name="T26" fmla="*/ 42244531 w 329"/>
              <a:gd name="T27" fmla="*/ 1594200 h 154"/>
              <a:gd name="T28" fmla="*/ 45827696 w 329"/>
              <a:gd name="T29" fmla="*/ 3984728 h 154"/>
              <a:gd name="T30" fmla="*/ 48845006 w 329"/>
              <a:gd name="T31" fmla="*/ 7438570 h 154"/>
              <a:gd name="T32" fmla="*/ 52805552 w 329"/>
              <a:gd name="T33" fmla="*/ 12220141 h 154"/>
              <a:gd name="T34" fmla="*/ 56954584 w 329"/>
              <a:gd name="T35" fmla="*/ 16205383 h 154"/>
              <a:gd name="T36" fmla="*/ 60160368 w 329"/>
              <a:gd name="T37" fmla="*/ 17799072 h 154"/>
              <a:gd name="T38" fmla="*/ 59029094 w 329"/>
              <a:gd name="T39" fmla="*/ 21784314 h 154"/>
              <a:gd name="T40" fmla="*/ 55257008 w 329"/>
              <a:gd name="T41" fmla="*/ 28160082 h 154"/>
              <a:gd name="T42" fmla="*/ 52239697 w 329"/>
              <a:gd name="T43" fmla="*/ 36660943 h 154"/>
              <a:gd name="T44" fmla="*/ 49976715 w 329"/>
              <a:gd name="T45" fmla="*/ 40646185 h 154"/>
              <a:gd name="T46" fmla="*/ 47713298 w 329"/>
              <a:gd name="T47" fmla="*/ 38786543 h 154"/>
              <a:gd name="T48" fmla="*/ 45261841 w 329"/>
              <a:gd name="T49" fmla="*/ 36129543 h 154"/>
              <a:gd name="T50" fmla="*/ 43375805 w 329"/>
              <a:gd name="T51" fmla="*/ 33473051 h 154"/>
              <a:gd name="T52" fmla="*/ 43375805 w 329"/>
              <a:gd name="T53" fmla="*/ 30285167 h 154"/>
              <a:gd name="T54" fmla="*/ 44319040 w 329"/>
              <a:gd name="T55" fmla="*/ 26565882 h 154"/>
              <a:gd name="T56" fmla="*/ 46958970 w 329"/>
              <a:gd name="T57" fmla="*/ 22846598 h 154"/>
              <a:gd name="T58" fmla="*/ 43941660 w 329"/>
              <a:gd name="T59" fmla="*/ 18065029 h 154"/>
              <a:gd name="T60" fmla="*/ 39038313 w 329"/>
              <a:gd name="T61" fmla="*/ 14611183 h 154"/>
              <a:gd name="T62" fmla="*/ 36775330 w 329"/>
              <a:gd name="T63" fmla="*/ 10891899 h 154"/>
              <a:gd name="T64" fmla="*/ 33757585 w 329"/>
              <a:gd name="T65" fmla="*/ 9032257 h 154"/>
              <a:gd name="T66" fmla="*/ 30740275 w 329"/>
              <a:gd name="T67" fmla="*/ 10891899 h 154"/>
              <a:gd name="T68" fmla="*/ 28288812 w 329"/>
              <a:gd name="T69" fmla="*/ 13282941 h 154"/>
              <a:gd name="T70" fmla="*/ 26402776 w 329"/>
              <a:gd name="T71" fmla="*/ 16205383 h 154"/>
              <a:gd name="T72" fmla="*/ 24894121 w 329"/>
              <a:gd name="T73" fmla="*/ 19658714 h 154"/>
              <a:gd name="T74" fmla="*/ 24139793 w 329"/>
              <a:gd name="T75" fmla="*/ 23377998 h 154"/>
              <a:gd name="T76" fmla="*/ 23196558 w 329"/>
              <a:gd name="T77" fmla="*/ 28956924 h 154"/>
              <a:gd name="T78" fmla="*/ 23008084 w 329"/>
              <a:gd name="T79" fmla="*/ 33207609 h 154"/>
              <a:gd name="T80" fmla="*/ 22253757 w 329"/>
              <a:gd name="T81" fmla="*/ 34269901 h 154"/>
              <a:gd name="T82" fmla="*/ 20367721 w 329"/>
              <a:gd name="T83" fmla="*/ 35864101 h 154"/>
              <a:gd name="T84" fmla="*/ 18104738 w 329"/>
              <a:gd name="T85" fmla="*/ 35864101 h 154"/>
              <a:gd name="T86" fmla="*/ 15652847 w 329"/>
              <a:gd name="T87" fmla="*/ 34269901 h 154"/>
              <a:gd name="T88" fmla="*/ 12447060 w 329"/>
              <a:gd name="T89" fmla="*/ 30816566 h 154"/>
              <a:gd name="T90" fmla="*/ 9052369 w 329"/>
              <a:gd name="T91" fmla="*/ 24972198 h 154"/>
              <a:gd name="T92" fmla="*/ 6223530 w 329"/>
              <a:gd name="T93" fmla="*/ 21252914 h 154"/>
              <a:gd name="T94" fmla="*/ 4149021 w 329"/>
              <a:gd name="T95" fmla="*/ 19658714 h 154"/>
              <a:gd name="T96" fmla="*/ 565854 w 329"/>
              <a:gd name="T97" fmla="*/ 19393271 h 15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329"/>
              <a:gd name="T148" fmla="*/ 0 h 154"/>
              <a:gd name="T149" fmla="*/ 329 w 329"/>
              <a:gd name="T150" fmla="*/ 154 h 154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329" h="154">
                <a:moveTo>
                  <a:pt x="3" y="73"/>
                </a:moveTo>
                <a:lnTo>
                  <a:pt x="3" y="58"/>
                </a:lnTo>
                <a:lnTo>
                  <a:pt x="0" y="47"/>
                </a:lnTo>
                <a:lnTo>
                  <a:pt x="0" y="42"/>
                </a:lnTo>
                <a:lnTo>
                  <a:pt x="0" y="37"/>
                </a:lnTo>
                <a:lnTo>
                  <a:pt x="2" y="31"/>
                </a:lnTo>
                <a:lnTo>
                  <a:pt x="3" y="25"/>
                </a:lnTo>
                <a:lnTo>
                  <a:pt x="17" y="33"/>
                </a:lnTo>
                <a:lnTo>
                  <a:pt x="30" y="39"/>
                </a:lnTo>
                <a:lnTo>
                  <a:pt x="36" y="41"/>
                </a:lnTo>
                <a:lnTo>
                  <a:pt x="42" y="42"/>
                </a:lnTo>
                <a:lnTo>
                  <a:pt x="49" y="43"/>
                </a:lnTo>
                <a:lnTo>
                  <a:pt x="56" y="43"/>
                </a:lnTo>
                <a:lnTo>
                  <a:pt x="67" y="43"/>
                </a:lnTo>
                <a:lnTo>
                  <a:pt x="77" y="41"/>
                </a:lnTo>
                <a:lnTo>
                  <a:pt x="86" y="39"/>
                </a:lnTo>
                <a:lnTo>
                  <a:pt x="95" y="36"/>
                </a:lnTo>
                <a:lnTo>
                  <a:pt x="110" y="30"/>
                </a:lnTo>
                <a:lnTo>
                  <a:pt x="126" y="21"/>
                </a:lnTo>
                <a:lnTo>
                  <a:pt x="140" y="13"/>
                </a:lnTo>
                <a:lnTo>
                  <a:pt x="154" y="6"/>
                </a:lnTo>
                <a:lnTo>
                  <a:pt x="162" y="4"/>
                </a:lnTo>
                <a:lnTo>
                  <a:pt x="171" y="2"/>
                </a:lnTo>
                <a:lnTo>
                  <a:pt x="179" y="0"/>
                </a:lnTo>
                <a:lnTo>
                  <a:pt x="189" y="0"/>
                </a:lnTo>
                <a:lnTo>
                  <a:pt x="203" y="0"/>
                </a:lnTo>
                <a:lnTo>
                  <a:pt x="214" y="3"/>
                </a:lnTo>
                <a:lnTo>
                  <a:pt x="224" y="6"/>
                </a:lnTo>
                <a:lnTo>
                  <a:pt x="234" y="10"/>
                </a:lnTo>
                <a:lnTo>
                  <a:pt x="243" y="15"/>
                </a:lnTo>
                <a:lnTo>
                  <a:pt x="251" y="21"/>
                </a:lnTo>
                <a:lnTo>
                  <a:pt x="259" y="28"/>
                </a:lnTo>
                <a:lnTo>
                  <a:pt x="266" y="34"/>
                </a:lnTo>
                <a:lnTo>
                  <a:pt x="280" y="46"/>
                </a:lnTo>
                <a:lnTo>
                  <a:pt x="295" y="57"/>
                </a:lnTo>
                <a:lnTo>
                  <a:pt x="302" y="61"/>
                </a:lnTo>
                <a:lnTo>
                  <a:pt x="310" y="64"/>
                </a:lnTo>
                <a:lnTo>
                  <a:pt x="319" y="67"/>
                </a:lnTo>
                <a:lnTo>
                  <a:pt x="329" y="67"/>
                </a:lnTo>
                <a:lnTo>
                  <a:pt x="313" y="82"/>
                </a:lnTo>
                <a:lnTo>
                  <a:pt x="301" y="94"/>
                </a:lnTo>
                <a:lnTo>
                  <a:pt x="293" y="106"/>
                </a:lnTo>
                <a:lnTo>
                  <a:pt x="286" y="117"/>
                </a:lnTo>
                <a:lnTo>
                  <a:pt x="277" y="138"/>
                </a:lnTo>
                <a:lnTo>
                  <a:pt x="268" y="154"/>
                </a:lnTo>
                <a:lnTo>
                  <a:pt x="265" y="153"/>
                </a:lnTo>
                <a:lnTo>
                  <a:pt x="260" y="150"/>
                </a:lnTo>
                <a:lnTo>
                  <a:pt x="253" y="146"/>
                </a:lnTo>
                <a:lnTo>
                  <a:pt x="246" y="141"/>
                </a:lnTo>
                <a:lnTo>
                  <a:pt x="240" y="136"/>
                </a:lnTo>
                <a:lnTo>
                  <a:pt x="234" y="130"/>
                </a:lnTo>
                <a:lnTo>
                  <a:pt x="230" y="126"/>
                </a:lnTo>
                <a:lnTo>
                  <a:pt x="229" y="123"/>
                </a:lnTo>
                <a:lnTo>
                  <a:pt x="230" y="114"/>
                </a:lnTo>
                <a:lnTo>
                  <a:pt x="232" y="107"/>
                </a:lnTo>
                <a:lnTo>
                  <a:pt x="235" y="100"/>
                </a:lnTo>
                <a:lnTo>
                  <a:pt x="240" y="95"/>
                </a:lnTo>
                <a:lnTo>
                  <a:pt x="249" y="86"/>
                </a:lnTo>
                <a:lnTo>
                  <a:pt x="255" y="80"/>
                </a:lnTo>
                <a:lnTo>
                  <a:pt x="233" y="68"/>
                </a:lnTo>
                <a:lnTo>
                  <a:pt x="215" y="60"/>
                </a:lnTo>
                <a:lnTo>
                  <a:pt x="207" y="55"/>
                </a:lnTo>
                <a:lnTo>
                  <a:pt x="200" y="49"/>
                </a:lnTo>
                <a:lnTo>
                  <a:pt x="195" y="41"/>
                </a:lnTo>
                <a:lnTo>
                  <a:pt x="189" y="31"/>
                </a:lnTo>
                <a:lnTo>
                  <a:pt x="179" y="34"/>
                </a:lnTo>
                <a:lnTo>
                  <a:pt x="171" y="37"/>
                </a:lnTo>
                <a:lnTo>
                  <a:pt x="163" y="41"/>
                </a:lnTo>
                <a:lnTo>
                  <a:pt x="156" y="45"/>
                </a:lnTo>
                <a:lnTo>
                  <a:pt x="150" y="50"/>
                </a:lnTo>
                <a:lnTo>
                  <a:pt x="144" y="55"/>
                </a:lnTo>
                <a:lnTo>
                  <a:pt x="140" y="61"/>
                </a:lnTo>
                <a:lnTo>
                  <a:pt x="136" y="67"/>
                </a:lnTo>
                <a:lnTo>
                  <a:pt x="132" y="74"/>
                </a:lnTo>
                <a:lnTo>
                  <a:pt x="130" y="81"/>
                </a:lnTo>
                <a:lnTo>
                  <a:pt x="128" y="88"/>
                </a:lnTo>
                <a:lnTo>
                  <a:pt x="126" y="95"/>
                </a:lnTo>
                <a:lnTo>
                  <a:pt x="123" y="109"/>
                </a:lnTo>
                <a:lnTo>
                  <a:pt x="122" y="123"/>
                </a:lnTo>
                <a:lnTo>
                  <a:pt x="122" y="125"/>
                </a:lnTo>
                <a:lnTo>
                  <a:pt x="120" y="127"/>
                </a:lnTo>
                <a:lnTo>
                  <a:pt x="118" y="129"/>
                </a:lnTo>
                <a:lnTo>
                  <a:pt x="115" y="131"/>
                </a:lnTo>
                <a:lnTo>
                  <a:pt x="108" y="135"/>
                </a:lnTo>
                <a:lnTo>
                  <a:pt x="103" y="136"/>
                </a:lnTo>
                <a:lnTo>
                  <a:pt x="96" y="135"/>
                </a:lnTo>
                <a:lnTo>
                  <a:pt x="89" y="132"/>
                </a:lnTo>
                <a:lnTo>
                  <a:pt x="83" y="129"/>
                </a:lnTo>
                <a:lnTo>
                  <a:pt x="77" y="125"/>
                </a:lnTo>
                <a:lnTo>
                  <a:pt x="66" y="116"/>
                </a:lnTo>
                <a:lnTo>
                  <a:pt x="58" y="105"/>
                </a:lnTo>
                <a:lnTo>
                  <a:pt x="48" y="94"/>
                </a:lnTo>
                <a:lnTo>
                  <a:pt x="38" y="84"/>
                </a:lnTo>
                <a:lnTo>
                  <a:pt x="33" y="80"/>
                </a:lnTo>
                <a:lnTo>
                  <a:pt x="28" y="76"/>
                </a:lnTo>
                <a:lnTo>
                  <a:pt x="22" y="74"/>
                </a:lnTo>
                <a:lnTo>
                  <a:pt x="16" y="73"/>
                </a:lnTo>
                <a:lnTo>
                  <a:pt x="3" y="73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27" name="Freeform 225"/>
          <p:cNvSpPr>
            <a:spLocks/>
          </p:cNvSpPr>
          <p:nvPr userDrawn="1">
            <p:custDataLst>
              <p:tags r:id="rId151"/>
            </p:custDataLst>
          </p:nvPr>
        </p:nvSpPr>
        <p:spPr bwMode="auto">
          <a:xfrm>
            <a:off x="2701925" y="3661185"/>
            <a:ext cx="133350" cy="116681"/>
          </a:xfrm>
          <a:custGeom>
            <a:avLst/>
            <a:gdLst>
              <a:gd name="T0" fmla="*/ 56402683 w 306"/>
              <a:gd name="T1" fmla="*/ 51029657 h 293"/>
              <a:gd name="T2" fmla="*/ 56212681 w 306"/>
              <a:gd name="T3" fmla="*/ 52157443 h 293"/>
              <a:gd name="T4" fmla="*/ 55263108 w 306"/>
              <a:gd name="T5" fmla="*/ 54694960 h 293"/>
              <a:gd name="T6" fmla="*/ 53553962 w 306"/>
              <a:gd name="T7" fmla="*/ 56104692 h 293"/>
              <a:gd name="T8" fmla="*/ 51654815 w 306"/>
              <a:gd name="T9" fmla="*/ 56668054 h 293"/>
              <a:gd name="T10" fmla="*/ 49945670 w 306"/>
              <a:gd name="T11" fmla="*/ 58359732 h 293"/>
              <a:gd name="T12" fmla="*/ 48046522 w 306"/>
              <a:gd name="T13" fmla="*/ 64562553 h 293"/>
              <a:gd name="T14" fmla="*/ 45957809 w 306"/>
              <a:gd name="T15" fmla="*/ 71610698 h 293"/>
              <a:gd name="T16" fmla="*/ 43868660 w 306"/>
              <a:gd name="T17" fmla="*/ 75276001 h 293"/>
              <a:gd name="T18" fmla="*/ 41969513 w 306"/>
              <a:gd name="T19" fmla="*/ 76967679 h 293"/>
              <a:gd name="T20" fmla="*/ 37981652 w 306"/>
              <a:gd name="T21" fmla="*/ 79222719 h 293"/>
              <a:gd name="T22" fmla="*/ 31145070 w 306"/>
              <a:gd name="T23" fmla="*/ 81760237 h 293"/>
              <a:gd name="T24" fmla="*/ 26397195 w 306"/>
              <a:gd name="T25" fmla="*/ 82606076 h 293"/>
              <a:gd name="T26" fmla="*/ 23358472 w 306"/>
              <a:gd name="T27" fmla="*/ 82606076 h 293"/>
              <a:gd name="T28" fmla="*/ 20130184 w 306"/>
              <a:gd name="T29" fmla="*/ 81760237 h 293"/>
              <a:gd name="T30" fmla="*/ 17471465 w 306"/>
              <a:gd name="T31" fmla="*/ 80632451 h 293"/>
              <a:gd name="T32" fmla="*/ 15192749 w 306"/>
              <a:gd name="T33" fmla="*/ 78376880 h 293"/>
              <a:gd name="T34" fmla="*/ 13483600 w 306"/>
              <a:gd name="T35" fmla="*/ 75557947 h 293"/>
              <a:gd name="T36" fmla="*/ 190002 w 306"/>
              <a:gd name="T37" fmla="*/ 66536177 h 293"/>
              <a:gd name="T38" fmla="*/ 0 w 306"/>
              <a:gd name="T39" fmla="*/ 24810228 h 293"/>
              <a:gd name="T40" fmla="*/ 190002 w 306"/>
              <a:gd name="T41" fmla="*/ 13814846 h 293"/>
              <a:gd name="T42" fmla="*/ 759572 w 306"/>
              <a:gd name="T43" fmla="*/ 9867597 h 293"/>
              <a:gd name="T44" fmla="*/ 2089150 w 306"/>
              <a:gd name="T45" fmla="*/ 5920345 h 293"/>
              <a:gd name="T46" fmla="*/ 3798296 w 306"/>
              <a:gd name="T47" fmla="*/ 2255572 h 293"/>
              <a:gd name="T48" fmla="*/ 7786159 w 306"/>
              <a:gd name="T49" fmla="*/ 563893 h 293"/>
              <a:gd name="T50" fmla="*/ 10065310 w 306"/>
              <a:gd name="T51" fmla="*/ 0 h 293"/>
              <a:gd name="T52" fmla="*/ 13673167 w 306"/>
              <a:gd name="T53" fmla="*/ 1691679 h 293"/>
              <a:gd name="T54" fmla="*/ 15192749 w 306"/>
              <a:gd name="T55" fmla="*/ 1973625 h 293"/>
              <a:gd name="T56" fmla="*/ 15952321 w 306"/>
              <a:gd name="T57" fmla="*/ 1127786 h 293"/>
              <a:gd name="T58" fmla="*/ 16521891 w 306"/>
              <a:gd name="T59" fmla="*/ 1409732 h 293"/>
              <a:gd name="T60" fmla="*/ 17091897 w 306"/>
              <a:gd name="T61" fmla="*/ 3101411 h 293"/>
              <a:gd name="T62" fmla="*/ 18801042 w 306"/>
              <a:gd name="T63" fmla="*/ 5356452 h 293"/>
              <a:gd name="T64" fmla="*/ 22978905 w 306"/>
              <a:gd name="T65" fmla="*/ 8739811 h 293"/>
              <a:gd name="T66" fmla="*/ 28106341 w 306"/>
              <a:gd name="T67" fmla="*/ 11559275 h 293"/>
              <a:gd name="T68" fmla="*/ 34563361 w 306"/>
              <a:gd name="T69" fmla="*/ 16633779 h 293"/>
              <a:gd name="T70" fmla="*/ 39880799 w 306"/>
              <a:gd name="T71" fmla="*/ 22272711 h 293"/>
              <a:gd name="T72" fmla="*/ 45767807 w 306"/>
              <a:gd name="T73" fmla="*/ 28756947 h 293"/>
              <a:gd name="T74" fmla="*/ 49566102 w 306"/>
              <a:gd name="T75" fmla="*/ 32986142 h 293"/>
              <a:gd name="T76" fmla="*/ 50515675 w 306"/>
              <a:gd name="T77" fmla="*/ 34959775 h 293"/>
              <a:gd name="T78" fmla="*/ 53174394 w 306"/>
              <a:gd name="T79" fmla="*/ 38060655 h 293"/>
              <a:gd name="T80" fmla="*/ 56782687 w 306"/>
              <a:gd name="T81" fmla="*/ 42571797 h 293"/>
              <a:gd name="T82" fmla="*/ 58111842 w 306"/>
              <a:gd name="T83" fmla="*/ 45391261 h 293"/>
              <a:gd name="T84" fmla="*/ 57731839 w 306"/>
              <a:gd name="T85" fmla="*/ 46800462 h 29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06"/>
              <a:gd name="T130" fmla="*/ 0 h 293"/>
              <a:gd name="T131" fmla="*/ 306 w 306"/>
              <a:gd name="T132" fmla="*/ 293 h 293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06" h="293">
                <a:moveTo>
                  <a:pt x="300" y="169"/>
                </a:moveTo>
                <a:lnTo>
                  <a:pt x="297" y="181"/>
                </a:lnTo>
                <a:lnTo>
                  <a:pt x="297" y="185"/>
                </a:lnTo>
                <a:lnTo>
                  <a:pt x="296" y="185"/>
                </a:lnTo>
                <a:lnTo>
                  <a:pt x="294" y="187"/>
                </a:lnTo>
                <a:lnTo>
                  <a:pt x="291" y="194"/>
                </a:lnTo>
                <a:lnTo>
                  <a:pt x="286" y="197"/>
                </a:lnTo>
                <a:lnTo>
                  <a:pt x="282" y="199"/>
                </a:lnTo>
                <a:lnTo>
                  <a:pt x="276" y="200"/>
                </a:lnTo>
                <a:lnTo>
                  <a:pt x="272" y="201"/>
                </a:lnTo>
                <a:lnTo>
                  <a:pt x="267" y="203"/>
                </a:lnTo>
                <a:lnTo>
                  <a:pt x="263" y="207"/>
                </a:lnTo>
                <a:lnTo>
                  <a:pt x="260" y="212"/>
                </a:lnTo>
                <a:lnTo>
                  <a:pt x="253" y="229"/>
                </a:lnTo>
                <a:lnTo>
                  <a:pt x="248" y="242"/>
                </a:lnTo>
                <a:lnTo>
                  <a:pt x="242" y="254"/>
                </a:lnTo>
                <a:lnTo>
                  <a:pt x="236" y="263"/>
                </a:lnTo>
                <a:lnTo>
                  <a:pt x="231" y="267"/>
                </a:lnTo>
                <a:lnTo>
                  <a:pt x="227" y="270"/>
                </a:lnTo>
                <a:lnTo>
                  <a:pt x="221" y="273"/>
                </a:lnTo>
                <a:lnTo>
                  <a:pt x="215" y="276"/>
                </a:lnTo>
                <a:lnTo>
                  <a:pt x="200" y="281"/>
                </a:lnTo>
                <a:lnTo>
                  <a:pt x="181" y="286"/>
                </a:lnTo>
                <a:lnTo>
                  <a:pt x="164" y="290"/>
                </a:lnTo>
                <a:lnTo>
                  <a:pt x="148" y="292"/>
                </a:lnTo>
                <a:lnTo>
                  <a:pt x="139" y="293"/>
                </a:lnTo>
                <a:lnTo>
                  <a:pt x="130" y="293"/>
                </a:lnTo>
                <a:lnTo>
                  <a:pt x="123" y="293"/>
                </a:lnTo>
                <a:lnTo>
                  <a:pt x="114" y="292"/>
                </a:lnTo>
                <a:lnTo>
                  <a:pt x="106" y="290"/>
                </a:lnTo>
                <a:lnTo>
                  <a:pt x="98" y="288"/>
                </a:lnTo>
                <a:lnTo>
                  <a:pt x="92" y="286"/>
                </a:lnTo>
                <a:lnTo>
                  <a:pt x="85" y="282"/>
                </a:lnTo>
                <a:lnTo>
                  <a:pt x="80" y="278"/>
                </a:lnTo>
                <a:lnTo>
                  <a:pt x="74" y="274"/>
                </a:lnTo>
                <a:lnTo>
                  <a:pt x="71" y="268"/>
                </a:lnTo>
                <a:lnTo>
                  <a:pt x="68" y="262"/>
                </a:lnTo>
                <a:lnTo>
                  <a:pt x="1" y="236"/>
                </a:lnTo>
                <a:lnTo>
                  <a:pt x="1" y="119"/>
                </a:lnTo>
                <a:lnTo>
                  <a:pt x="0" y="88"/>
                </a:lnTo>
                <a:lnTo>
                  <a:pt x="0" y="56"/>
                </a:lnTo>
                <a:lnTo>
                  <a:pt x="1" y="49"/>
                </a:lnTo>
                <a:lnTo>
                  <a:pt x="2" y="42"/>
                </a:lnTo>
                <a:lnTo>
                  <a:pt x="4" y="35"/>
                </a:lnTo>
                <a:lnTo>
                  <a:pt x="6" y="28"/>
                </a:lnTo>
                <a:lnTo>
                  <a:pt x="11" y="21"/>
                </a:lnTo>
                <a:lnTo>
                  <a:pt x="15" y="14"/>
                </a:lnTo>
                <a:lnTo>
                  <a:pt x="20" y="8"/>
                </a:lnTo>
                <a:lnTo>
                  <a:pt x="28" y="2"/>
                </a:lnTo>
                <a:lnTo>
                  <a:pt x="41" y="2"/>
                </a:lnTo>
                <a:lnTo>
                  <a:pt x="48" y="0"/>
                </a:lnTo>
                <a:lnTo>
                  <a:pt x="53" y="0"/>
                </a:lnTo>
                <a:lnTo>
                  <a:pt x="68" y="2"/>
                </a:lnTo>
                <a:lnTo>
                  <a:pt x="72" y="6"/>
                </a:lnTo>
                <a:lnTo>
                  <a:pt x="76" y="7"/>
                </a:lnTo>
                <a:lnTo>
                  <a:pt x="80" y="7"/>
                </a:lnTo>
                <a:lnTo>
                  <a:pt x="82" y="6"/>
                </a:lnTo>
                <a:lnTo>
                  <a:pt x="84" y="4"/>
                </a:lnTo>
                <a:lnTo>
                  <a:pt x="86" y="4"/>
                </a:lnTo>
                <a:lnTo>
                  <a:pt x="87" y="5"/>
                </a:lnTo>
                <a:lnTo>
                  <a:pt x="87" y="9"/>
                </a:lnTo>
                <a:lnTo>
                  <a:pt x="90" y="11"/>
                </a:lnTo>
                <a:lnTo>
                  <a:pt x="94" y="15"/>
                </a:lnTo>
                <a:lnTo>
                  <a:pt x="99" y="19"/>
                </a:lnTo>
                <a:lnTo>
                  <a:pt x="107" y="23"/>
                </a:lnTo>
                <a:lnTo>
                  <a:pt x="121" y="31"/>
                </a:lnTo>
                <a:lnTo>
                  <a:pt x="127" y="34"/>
                </a:lnTo>
                <a:lnTo>
                  <a:pt x="148" y="41"/>
                </a:lnTo>
                <a:lnTo>
                  <a:pt x="165" y="49"/>
                </a:lnTo>
                <a:lnTo>
                  <a:pt x="182" y="59"/>
                </a:lnTo>
                <a:lnTo>
                  <a:pt x="196" y="69"/>
                </a:lnTo>
                <a:lnTo>
                  <a:pt x="210" y="79"/>
                </a:lnTo>
                <a:lnTo>
                  <a:pt x="226" y="91"/>
                </a:lnTo>
                <a:lnTo>
                  <a:pt x="241" y="102"/>
                </a:lnTo>
                <a:lnTo>
                  <a:pt x="260" y="113"/>
                </a:lnTo>
                <a:lnTo>
                  <a:pt x="261" y="117"/>
                </a:lnTo>
                <a:lnTo>
                  <a:pt x="263" y="120"/>
                </a:lnTo>
                <a:lnTo>
                  <a:pt x="266" y="124"/>
                </a:lnTo>
                <a:lnTo>
                  <a:pt x="270" y="128"/>
                </a:lnTo>
                <a:lnTo>
                  <a:pt x="280" y="135"/>
                </a:lnTo>
                <a:lnTo>
                  <a:pt x="291" y="144"/>
                </a:lnTo>
                <a:lnTo>
                  <a:pt x="299" y="151"/>
                </a:lnTo>
                <a:lnTo>
                  <a:pt x="305" y="158"/>
                </a:lnTo>
                <a:lnTo>
                  <a:pt x="306" y="161"/>
                </a:lnTo>
                <a:lnTo>
                  <a:pt x="306" y="164"/>
                </a:lnTo>
                <a:lnTo>
                  <a:pt x="304" y="166"/>
                </a:lnTo>
                <a:lnTo>
                  <a:pt x="300" y="169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28" name="Freeform 226"/>
          <p:cNvSpPr>
            <a:spLocks/>
          </p:cNvSpPr>
          <p:nvPr userDrawn="1">
            <p:custDataLst>
              <p:tags r:id="rId152"/>
            </p:custDataLst>
          </p:nvPr>
        </p:nvSpPr>
        <p:spPr bwMode="auto">
          <a:xfrm>
            <a:off x="4210059" y="1123961"/>
            <a:ext cx="236537" cy="69056"/>
          </a:xfrm>
          <a:custGeom>
            <a:avLst/>
            <a:gdLst>
              <a:gd name="T0" fmla="*/ 13888098 w 546"/>
              <a:gd name="T1" fmla="*/ 5381864 h 173"/>
              <a:gd name="T2" fmla="*/ 17641500 w 546"/>
              <a:gd name="T3" fmla="*/ 9631152 h 173"/>
              <a:gd name="T4" fmla="*/ 20644566 w 546"/>
              <a:gd name="T5" fmla="*/ 7648079 h 173"/>
              <a:gd name="T6" fmla="*/ 24773564 w 546"/>
              <a:gd name="T7" fmla="*/ 7648079 h 173"/>
              <a:gd name="T8" fmla="*/ 30216086 w 546"/>
              <a:gd name="T9" fmla="*/ 12463655 h 173"/>
              <a:gd name="T10" fmla="*/ 39224849 w 546"/>
              <a:gd name="T11" fmla="*/ 5381864 h 173"/>
              <a:gd name="T12" fmla="*/ 45605713 w 546"/>
              <a:gd name="T13" fmla="*/ 5381864 h 173"/>
              <a:gd name="T14" fmla="*/ 48796362 w 546"/>
              <a:gd name="T15" fmla="*/ 4532432 h 173"/>
              <a:gd name="T16" fmla="*/ 50485478 w 546"/>
              <a:gd name="T17" fmla="*/ 3965611 h 173"/>
              <a:gd name="T18" fmla="*/ 52362177 w 546"/>
              <a:gd name="T19" fmla="*/ 3115648 h 173"/>
              <a:gd name="T20" fmla="*/ 53675693 w 546"/>
              <a:gd name="T21" fmla="*/ 849964 h 173"/>
              <a:gd name="T22" fmla="*/ 60244588 w 546"/>
              <a:gd name="T23" fmla="*/ 1416252 h 173"/>
              <a:gd name="T24" fmla="*/ 62496887 w 546"/>
              <a:gd name="T25" fmla="*/ 3399324 h 173"/>
              <a:gd name="T26" fmla="*/ 65311936 w 546"/>
              <a:gd name="T27" fmla="*/ 1983072 h 173"/>
              <a:gd name="T28" fmla="*/ 66250285 w 546"/>
              <a:gd name="T29" fmla="*/ 0 h 173"/>
              <a:gd name="T30" fmla="*/ 68877751 w 546"/>
              <a:gd name="T31" fmla="*/ 1983072 h 173"/>
              <a:gd name="T32" fmla="*/ 73006750 w 546"/>
              <a:gd name="T33" fmla="*/ 1983072 h 173"/>
              <a:gd name="T34" fmla="*/ 81827496 w 546"/>
              <a:gd name="T35" fmla="*/ 283144 h 173"/>
              <a:gd name="T36" fmla="*/ 90460660 w 546"/>
              <a:gd name="T37" fmla="*/ 1699396 h 173"/>
              <a:gd name="T38" fmla="*/ 99093823 w 546"/>
              <a:gd name="T39" fmla="*/ 3399324 h 173"/>
              <a:gd name="T40" fmla="*/ 102284472 w 546"/>
              <a:gd name="T41" fmla="*/ 13879906 h 173"/>
              <a:gd name="T42" fmla="*/ 100782939 w 546"/>
              <a:gd name="T43" fmla="*/ 16996085 h 173"/>
              <a:gd name="T44" fmla="*/ 96278774 w 546"/>
              <a:gd name="T45" fmla="*/ 17562377 h 173"/>
              <a:gd name="T46" fmla="*/ 90648243 w 546"/>
              <a:gd name="T47" fmla="*/ 15296158 h 173"/>
              <a:gd name="T48" fmla="*/ 77510915 w 546"/>
              <a:gd name="T49" fmla="*/ 12463655 h 173"/>
              <a:gd name="T50" fmla="*/ 82202663 w 546"/>
              <a:gd name="T51" fmla="*/ 22944239 h 173"/>
              <a:gd name="T52" fmla="*/ 88396377 w 546"/>
              <a:gd name="T53" fmla="*/ 28892920 h 173"/>
              <a:gd name="T54" fmla="*/ 92524942 w 546"/>
              <a:gd name="T55" fmla="*/ 33708494 h 173"/>
              <a:gd name="T56" fmla="*/ 89146710 w 546"/>
              <a:gd name="T57" fmla="*/ 38524077 h 173"/>
              <a:gd name="T58" fmla="*/ 84267379 w 546"/>
              <a:gd name="T59" fmla="*/ 40223472 h 173"/>
              <a:gd name="T60" fmla="*/ 79950797 w 546"/>
              <a:gd name="T61" fmla="*/ 39940328 h 173"/>
              <a:gd name="T62" fmla="*/ 77323331 w 546"/>
              <a:gd name="T63" fmla="*/ 37957257 h 173"/>
              <a:gd name="T64" fmla="*/ 74883449 w 546"/>
              <a:gd name="T65" fmla="*/ 36824149 h 173"/>
              <a:gd name="T66" fmla="*/ 72255983 w 546"/>
              <a:gd name="T67" fmla="*/ 34274782 h 173"/>
              <a:gd name="T68" fmla="*/ 70379284 w 546"/>
              <a:gd name="T69" fmla="*/ 29459208 h 173"/>
              <a:gd name="T70" fmla="*/ 68502585 w 546"/>
              <a:gd name="T71" fmla="*/ 26060417 h 173"/>
              <a:gd name="T72" fmla="*/ 64561169 w 546"/>
              <a:gd name="T73" fmla="*/ 23794202 h 173"/>
              <a:gd name="T74" fmla="*/ 60995354 w 546"/>
              <a:gd name="T75" fmla="*/ 21527987 h 173"/>
              <a:gd name="T76" fmla="*/ 56866356 w 546"/>
              <a:gd name="T77" fmla="*/ 24644166 h 173"/>
              <a:gd name="T78" fmla="*/ 48420762 w 546"/>
              <a:gd name="T79" fmla="*/ 37957257 h 173"/>
              <a:gd name="T80" fmla="*/ 44291764 w 546"/>
              <a:gd name="T81" fmla="*/ 46172153 h 173"/>
              <a:gd name="T82" fmla="*/ 41289131 w 546"/>
              <a:gd name="T83" fmla="*/ 48721512 h 173"/>
              <a:gd name="T84" fmla="*/ 35283434 w 546"/>
              <a:gd name="T85" fmla="*/ 47305261 h 173"/>
              <a:gd name="T86" fmla="*/ 30966852 w 546"/>
              <a:gd name="T87" fmla="*/ 43905938 h 173"/>
              <a:gd name="T88" fmla="*/ 21207749 w 546"/>
              <a:gd name="T89" fmla="*/ 29742884 h 173"/>
              <a:gd name="T90" fmla="*/ 17829517 w 546"/>
              <a:gd name="T91" fmla="*/ 25777274 h 173"/>
              <a:gd name="T92" fmla="*/ 11260632 w 546"/>
              <a:gd name="T93" fmla="*/ 21527987 h 173"/>
              <a:gd name="T94" fmla="*/ 3002633 w 546"/>
              <a:gd name="T95" fmla="*/ 16429265 h 173"/>
              <a:gd name="T96" fmla="*/ 2064283 w 546"/>
              <a:gd name="T97" fmla="*/ 9631152 h 173"/>
              <a:gd name="T98" fmla="*/ 5254933 w 546"/>
              <a:gd name="T99" fmla="*/ 5381864 h 173"/>
              <a:gd name="T100" fmla="*/ 8820750 w 546"/>
              <a:gd name="T101" fmla="*/ 3399324 h 173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546"/>
              <a:gd name="T154" fmla="*/ 0 h 173"/>
              <a:gd name="T155" fmla="*/ 546 w 546"/>
              <a:gd name="T156" fmla="*/ 173 h 173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29" name="Freeform 227"/>
          <p:cNvSpPr>
            <a:spLocks/>
          </p:cNvSpPr>
          <p:nvPr userDrawn="1">
            <p:custDataLst>
              <p:tags r:id="rId153"/>
            </p:custDataLst>
          </p:nvPr>
        </p:nvSpPr>
        <p:spPr bwMode="auto">
          <a:xfrm>
            <a:off x="4137025" y="1296596"/>
            <a:ext cx="449262" cy="271463"/>
          </a:xfrm>
          <a:custGeom>
            <a:avLst/>
            <a:gdLst>
              <a:gd name="T0" fmla="*/ 45045764 w 1037"/>
              <a:gd name="T1" fmla="*/ 171155144 h 690"/>
              <a:gd name="T2" fmla="*/ 29091989 w 1037"/>
              <a:gd name="T3" fmla="*/ 187940176 h 690"/>
              <a:gd name="T4" fmla="*/ 6005900 w 1037"/>
              <a:gd name="T5" fmla="*/ 179960493 h 690"/>
              <a:gd name="T6" fmla="*/ 12575434 w 1037"/>
              <a:gd name="T7" fmla="*/ 174456756 h 690"/>
              <a:gd name="T8" fmla="*/ 3378346 w 1037"/>
              <a:gd name="T9" fmla="*/ 164000602 h 690"/>
              <a:gd name="T10" fmla="*/ 8258276 w 1037"/>
              <a:gd name="T11" fmla="*/ 163725205 h 690"/>
              <a:gd name="T12" fmla="*/ 12575434 w 1037"/>
              <a:gd name="T13" fmla="*/ 156020918 h 690"/>
              <a:gd name="T14" fmla="*/ 1501583 w 1037"/>
              <a:gd name="T15" fmla="*/ 150242310 h 690"/>
              <a:gd name="T16" fmla="*/ 13888994 w 1037"/>
              <a:gd name="T17" fmla="*/ 143913433 h 690"/>
              <a:gd name="T18" fmla="*/ 0 w 1037"/>
              <a:gd name="T19" fmla="*/ 137309126 h 690"/>
              <a:gd name="T20" fmla="*/ 3753959 w 1037"/>
              <a:gd name="T21" fmla="*/ 125477038 h 690"/>
              <a:gd name="T22" fmla="*/ 6944714 w 1037"/>
              <a:gd name="T23" fmla="*/ 126852972 h 690"/>
              <a:gd name="T24" fmla="*/ 14452200 w 1037"/>
              <a:gd name="T25" fmla="*/ 123550835 h 690"/>
              <a:gd name="T26" fmla="*/ 17267342 w 1037"/>
              <a:gd name="T27" fmla="*/ 116671689 h 690"/>
              <a:gd name="T28" fmla="*/ 24399644 w 1037"/>
              <a:gd name="T29" fmla="*/ 112543887 h 690"/>
              <a:gd name="T30" fmla="*/ 41291807 w 1037"/>
              <a:gd name="T31" fmla="*/ 105114472 h 690"/>
              <a:gd name="T32" fmla="*/ 42605801 w 1037"/>
              <a:gd name="T33" fmla="*/ 93282383 h 690"/>
              <a:gd name="T34" fmla="*/ 53116447 w 1037"/>
              <a:gd name="T35" fmla="*/ 89429978 h 690"/>
              <a:gd name="T36" fmla="*/ 52928858 w 1037"/>
              <a:gd name="T37" fmla="*/ 85302175 h 690"/>
              <a:gd name="T38" fmla="*/ 55931590 w 1037"/>
              <a:gd name="T39" fmla="*/ 78423030 h 690"/>
              <a:gd name="T40" fmla="*/ 62876316 w 1037"/>
              <a:gd name="T41" fmla="*/ 66865796 h 690"/>
              <a:gd name="T42" fmla="*/ 64377898 w 1037"/>
              <a:gd name="T43" fmla="*/ 62188250 h 690"/>
              <a:gd name="T44" fmla="*/ 73199372 w 1037"/>
              <a:gd name="T45" fmla="*/ 55033708 h 690"/>
              <a:gd name="T46" fmla="*/ 72636170 w 1037"/>
              <a:gd name="T47" fmla="*/ 43201619 h 690"/>
              <a:gd name="T48" fmla="*/ 70008617 w 1037"/>
              <a:gd name="T49" fmla="*/ 39073816 h 690"/>
              <a:gd name="T50" fmla="*/ 62688726 w 1037"/>
              <a:gd name="T51" fmla="*/ 42375953 h 690"/>
              <a:gd name="T52" fmla="*/ 73199372 w 1037"/>
              <a:gd name="T53" fmla="*/ 28342257 h 690"/>
              <a:gd name="T54" fmla="*/ 77140486 w 1037"/>
              <a:gd name="T55" fmla="*/ 26416054 h 690"/>
              <a:gd name="T56" fmla="*/ 86900774 w 1037"/>
              <a:gd name="T57" fmla="*/ 31368997 h 690"/>
              <a:gd name="T58" fmla="*/ 87463542 w 1037"/>
              <a:gd name="T59" fmla="*/ 25040120 h 690"/>
              <a:gd name="T60" fmla="*/ 104731311 w 1037"/>
              <a:gd name="T61" fmla="*/ 16785036 h 690"/>
              <a:gd name="T62" fmla="*/ 110924799 w 1037"/>
              <a:gd name="T63" fmla="*/ 17335833 h 690"/>
              <a:gd name="T64" fmla="*/ 121060293 w 1037"/>
              <a:gd name="T65" fmla="*/ 15134230 h 690"/>
              <a:gd name="T66" fmla="*/ 121060293 w 1037"/>
              <a:gd name="T67" fmla="*/ 9080749 h 690"/>
              <a:gd name="T68" fmla="*/ 131195327 w 1037"/>
              <a:gd name="T69" fmla="*/ 3577010 h 690"/>
              <a:gd name="T70" fmla="*/ 132321731 w 1037"/>
              <a:gd name="T71" fmla="*/ 7979685 h 690"/>
              <a:gd name="T72" fmla="*/ 133635291 w 1037"/>
              <a:gd name="T73" fmla="*/ 11006952 h 690"/>
              <a:gd name="T74" fmla="*/ 142269175 w 1037"/>
              <a:gd name="T75" fmla="*/ 3302138 h 690"/>
              <a:gd name="T76" fmla="*/ 153343024 w 1037"/>
              <a:gd name="T77" fmla="*/ 1650807 h 690"/>
              <a:gd name="T78" fmla="*/ 158410541 w 1037"/>
              <a:gd name="T79" fmla="*/ 2201600 h 690"/>
              <a:gd name="T80" fmla="*/ 161788885 w 1037"/>
              <a:gd name="T81" fmla="*/ 3026741 h 690"/>
              <a:gd name="T82" fmla="*/ 173425935 w 1037"/>
              <a:gd name="T83" fmla="*/ 1650807 h 690"/>
              <a:gd name="T84" fmla="*/ 194634818 w 1037"/>
              <a:gd name="T85" fmla="*/ 11832093 h 690"/>
              <a:gd name="T86" fmla="*/ 188628486 w 1037"/>
              <a:gd name="T87" fmla="*/ 21738508 h 690"/>
              <a:gd name="T88" fmla="*/ 174551906 w 1037"/>
              <a:gd name="T89" fmla="*/ 15134230 h 690"/>
              <a:gd name="T90" fmla="*/ 163853670 w 1037"/>
              <a:gd name="T91" fmla="*/ 20362574 h 690"/>
              <a:gd name="T92" fmla="*/ 159161332 w 1037"/>
              <a:gd name="T93" fmla="*/ 31919790 h 690"/>
              <a:gd name="T94" fmla="*/ 152216620 w 1037"/>
              <a:gd name="T95" fmla="*/ 30543856 h 690"/>
              <a:gd name="T96" fmla="*/ 139829212 w 1037"/>
              <a:gd name="T97" fmla="*/ 35221411 h 690"/>
              <a:gd name="T98" fmla="*/ 130256946 w 1037"/>
              <a:gd name="T99" fmla="*/ 25315517 h 690"/>
              <a:gd name="T100" fmla="*/ 116367955 w 1037"/>
              <a:gd name="T101" fmla="*/ 30818728 h 690"/>
              <a:gd name="T102" fmla="*/ 100226563 w 1037"/>
              <a:gd name="T103" fmla="*/ 36872742 h 690"/>
              <a:gd name="T104" fmla="*/ 91217499 w 1037"/>
              <a:gd name="T105" fmla="*/ 57785576 h 690"/>
              <a:gd name="T106" fmla="*/ 80706853 w 1037"/>
              <a:gd name="T107" fmla="*/ 76772223 h 690"/>
              <a:gd name="T108" fmla="*/ 74888545 w 1037"/>
              <a:gd name="T109" fmla="*/ 100161529 h 690"/>
              <a:gd name="T110" fmla="*/ 62500703 w 1037"/>
              <a:gd name="T111" fmla="*/ 116946561 h 690"/>
              <a:gd name="T112" fmla="*/ 66629839 w 1037"/>
              <a:gd name="T113" fmla="*/ 136758858 h 690"/>
              <a:gd name="T114" fmla="*/ 66442250 w 1037"/>
              <a:gd name="T115" fmla="*/ 153543922 h 690"/>
              <a:gd name="T116" fmla="*/ 62125524 w 1037"/>
              <a:gd name="T117" fmla="*/ 169228941 h 690"/>
              <a:gd name="T118" fmla="*/ 55368821 w 1037"/>
              <a:gd name="T119" fmla="*/ 177484021 h 69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037"/>
              <a:gd name="T181" fmla="*/ 0 h 690"/>
              <a:gd name="T182" fmla="*/ 1037 w 1037"/>
              <a:gd name="T183" fmla="*/ 690 h 690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037" h="690">
                <a:moveTo>
                  <a:pt x="286" y="647"/>
                </a:moveTo>
                <a:lnTo>
                  <a:pt x="273" y="631"/>
                </a:lnTo>
                <a:lnTo>
                  <a:pt x="262" y="621"/>
                </a:lnTo>
                <a:lnTo>
                  <a:pt x="253" y="612"/>
                </a:lnTo>
                <a:lnTo>
                  <a:pt x="246" y="604"/>
                </a:lnTo>
                <a:lnTo>
                  <a:pt x="243" y="613"/>
                </a:lnTo>
                <a:lnTo>
                  <a:pt x="240" y="622"/>
                </a:lnTo>
                <a:lnTo>
                  <a:pt x="239" y="627"/>
                </a:lnTo>
                <a:lnTo>
                  <a:pt x="235" y="632"/>
                </a:lnTo>
                <a:lnTo>
                  <a:pt x="231" y="638"/>
                </a:lnTo>
                <a:lnTo>
                  <a:pt x="224" y="644"/>
                </a:lnTo>
                <a:lnTo>
                  <a:pt x="208" y="655"/>
                </a:lnTo>
                <a:lnTo>
                  <a:pt x="190" y="665"/>
                </a:lnTo>
                <a:lnTo>
                  <a:pt x="155" y="683"/>
                </a:lnTo>
                <a:lnTo>
                  <a:pt x="140" y="690"/>
                </a:lnTo>
                <a:lnTo>
                  <a:pt x="107" y="690"/>
                </a:lnTo>
                <a:lnTo>
                  <a:pt x="86" y="683"/>
                </a:lnTo>
                <a:lnTo>
                  <a:pt x="60" y="672"/>
                </a:lnTo>
                <a:lnTo>
                  <a:pt x="48" y="666"/>
                </a:lnTo>
                <a:lnTo>
                  <a:pt x="37" y="658"/>
                </a:lnTo>
                <a:lnTo>
                  <a:pt x="32" y="654"/>
                </a:lnTo>
                <a:lnTo>
                  <a:pt x="30" y="650"/>
                </a:lnTo>
                <a:lnTo>
                  <a:pt x="28" y="646"/>
                </a:lnTo>
                <a:lnTo>
                  <a:pt x="27" y="641"/>
                </a:lnTo>
                <a:lnTo>
                  <a:pt x="40" y="641"/>
                </a:lnTo>
                <a:lnTo>
                  <a:pt x="50" y="640"/>
                </a:lnTo>
                <a:lnTo>
                  <a:pt x="58" y="639"/>
                </a:lnTo>
                <a:lnTo>
                  <a:pt x="67" y="634"/>
                </a:lnTo>
                <a:lnTo>
                  <a:pt x="59" y="627"/>
                </a:lnTo>
                <a:lnTo>
                  <a:pt x="49" y="620"/>
                </a:lnTo>
                <a:lnTo>
                  <a:pt x="38" y="613"/>
                </a:lnTo>
                <a:lnTo>
                  <a:pt x="27" y="606"/>
                </a:lnTo>
                <a:lnTo>
                  <a:pt x="8" y="596"/>
                </a:lnTo>
                <a:lnTo>
                  <a:pt x="0" y="592"/>
                </a:lnTo>
                <a:lnTo>
                  <a:pt x="18" y="596"/>
                </a:lnTo>
                <a:lnTo>
                  <a:pt x="32" y="599"/>
                </a:lnTo>
                <a:lnTo>
                  <a:pt x="38" y="600"/>
                </a:lnTo>
                <a:lnTo>
                  <a:pt x="43" y="600"/>
                </a:lnTo>
                <a:lnTo>
                  <a:pt x="49" y="600"/>
                </a:lnTo>
                <a:lnTo>
                  <a:pt x="54" y="598"/>
                </a:lnTo>
                <a:lnTo>
                  <a:pt x="49" y="597"/>
                </a:lnTo>
                <a:lnTo>
                  <a:pt x="44" y="595"/>
                </a:lnTo>
                <a:lnTo>
                  <a:pt x="40" y="591"/>
                </a:lnTo>
                <a:lnTo>
                  <a:pt x="36" y="587"/>
                </a:lnTo>
                <a:lnTo>
                  <a:pt x="32" y="583"/>
                </a:lnTo>
                <a:lnTo>
                  <a:pt x="29" y="576"/>
                </a:lnTo>
                <a:lnTo>
                  <a:pt x="28" y="571"/>
                </a:lnTo>
                <a:lnTo>
                  <a:pt x="27" y="567"/>
                </a:lnTo>
                <a:lnTo>
                  <a:pt x="67" y="567"/>
                </a:lnTo>
                <a:lnTo>
                  <a:pt x="56" y="566"/>
                </a:lnTo>
                <a:lnTo>
                  <a:pt x="45" y="564"/>
                </a:lnTo>
                <a:lnTo>
                  <a:pt x="35" y="562"/>
                </a:lnTo>
                <a:lnTo>
                  <a:pt x="25" y="558"/>
                </a:lnTo>
                <a:lnTo>
                  <a:pt x="16" y="554"/>
                </a:lnTo>
                <a:lnTo>
                  <a:pt x="10" y="549"/>
                </a:lnTo>
                <a:lnTo>
                  <a:pt x="8" y="546"/>
                </a:lnTo>
                <a:lnTo>
                  <a:pt x="7" y="543"/>
                </a:lnTo>
                <a:lnTo>
                  <a:pt x="7" y="540"/>
                </a:lnTo>
                <a:lnTo>
                  <a:pt x="7" y="536"/>
                </a:lnTo>
                <a:lnTo>
                  <a:pt x="0" y="523"/>
                </a:lnTo>
                <a:lnTo>
                  <a:pt x="29" y="523"/>
                </a:lnTo>
                <a:lnTo>
                  <a:pt x="54" y="523"/>
                </a:lnTo>
                <a:lnTo>
                  <a:pt x="74" y="523"/>
                </a:lnTo>
                <a:lnTo>
                  <a:pt x="87" y="523"/>
                </a:lnTo>
                <a:lnTo>
                  <a:pt x="72" y="519"/>
                </a:lnTo>
                <a:lnTo>
                  <a:pt x="39" y="511"/>
                </a:lnTo>
                <a:lnTo>
                  <a:pt x="22" y="507"/>
                </a:lnTo>
                <a:lnTo>
                  <a:pt x="8" y="503"/>
                </a:lnTo>
                <a:lnTo>
                  <a:pt x="0" y="500"/>
                </a:lnTo>
                <a:lnTo>
                  <a:pt x="0" y="499"/>
                </a:lnTo>
                <a:lnTo>
                  <a:pt x="2" y="485"/>
                </a:lnTo>
                <a:lnTo>
                  <a:pt x="3" y="476"/>
                </a:lnTo>
                <a:lnTo>
                  <a:pt x="4" y="472"/>
                </a:lnTo>
                <a:lnTo>
                  <a:pt x="4" y="467"/>
                </a:lnTo>
                <a:lnTo>
                  <a:pt x="3" y="462"/>
                </a:lnTo>
                <a:lnTo>
                  <a:pt x="0" y="456"/>
                </a:lnTo>
                <a:lnTo>
                  <a:pt x="20" y="456"/>
                </a:lnTo>
                <a:lnTo>
                  <a:pt x="21" y="460"/>
                </a:lnTo>
                <a:lnTo>
                  <a:pt x="24" y="463"/>
                </a:lnTo>
                <a:lnTo>
                  <a:pt x="25" y="464"/>
                </a:lnTo>
                <a:lnTo>
                  <a:pt x="26" y="464"/>
                </a:lnTo>
                <a:lnTo>
                  <a:pt x="27" y="463"/>
                </a:lnTo>
                <a:lnTo>
                  <a:pt x="27" y="462"/>
                </a:lnTo>
                <a:lnTo>
                  <a:pt x="37" y="461"/>
                </a:lnTo>
                <a:lnTo>
                  <a:pt x="51" y="459"/>
                </a:lnTo>
                <a:lnTo>
                  <a:pt x="67" y="457"/>
                </a:lnTo>
                <a:lnTo>
                  <a:pt x="81" y="456"/>
                </a:lnTo>
                <a:lnTo>
                  <a:pt x="78" y="455"/>
                </a:lnTo>
                <a:lnTo>
                  <a:pt x="77" y="454"/>
                </a:lnTo>
                <a:lnTo>
                  <a:pt x="77" y="452"/>
                </a:lnTo>
                <a:lnTo>
                  <a:pt x="77" y="449"/>
                </a:lnTo>
                <a:lnTo>
                  <a:pt x="80" y="443"/>
                </a:lnTo>
                <a:lnTo>
                  <a:pt x="81" y="437"/>
                </a:lnTo>
                <a:lnTo>
                  <a:pt x="91" y="437"/>
                </a:lnTo>
                <a:lnTo>
                  <a:pt x="100" y="437"/>
                </a:lnTo>
                <a:lnTo>
                  <a:pt x="99" y="433"/>
                </a:lnTo>
                <a:lnTo>
                  <a:pt x="96" y="428"/>
                </a:lnTo>
                <a:lnTo>
                  <a:pt x="92" y="424"/>
                </a:lnTo>
                <a:lnTo>
                  <a:pt x="87" y="419"/>
                </a:lnTo>
                <a:lnTo>
                  <a:pt x="97" y="416"/>
                </a:lnTo>
                <a:lnTo>
                  <a:pt x="107" y="413"/>
                </a:lnTo>
                <a:lnTo>
                  <a:pt x="117" y="412"/>
                </a:lnTo>
                <a:lnTo>
                  <a:pt x="127" y="412"/>
                </a:lnTo>
                <a:lnTo>
                  <a:pt x="129" y="412"/>
                </a:lnTo>
                <a:lnTo>
                  <a:pt x="130" y="409"/>
                </a:lnTo>
                <a:lnTo>
                  <a:pt x="130" y="406"/>
                </a:lnTo>
                <a:lnTo>
                  <a:pt x="129" y="402"/>
                </a:lnTo>
                <a:lnTo>
                  <a:pt x="128" y="394"/>
                </a:lnTo>
                <a:lnTo>
                  <a:pt x="127" y="388"/>
                </a:lnTo>
                <a:lnTo>
                  <a:pt x="147" y="388"/>
                </a:lnTo>
                <a:lnTo>
                  <a:pt x="133" y="382"/>
                </a:lnTo>
                <a:lnTo>
                  <a:pt x="220" y="382"/>
                </a:lnTo>
                <a:lnTo>
                  <a:pt x="207" y="376"/>
                </a:lnTo>
                <a:lnTo>
                  <a:pt x="213" y="373"/>
                </a:lnTo>
                <a:lnTo>
                  <a:pt x="218" y="370"/>
                </a:lnTo>
                <a:lnTo>
                  <a:pt x="221" y="367"/>
                </a:lnTo>
                <a:lnTo>
                  <a:pt x="224" y="362"/>
                </a:lnTo>
                <a:lnTo>
                  <a:pt x="227" y="351"/>
                </a:lnTo>
                <a:lnTo>
                  <a:pt x="227" y="339"/>
                </a:lnTo>
                <a:lnTo>
                  <a:pt x="243" y="339"/>
                </a:lnTo>
                <a:lnTo>
                  <a:pt x="255" y="339"/>
                </a:lnTo>
                <a:lnTo>
                  <a:pt x="266" y="339"/>
                </a:lnTo>
                <a:lnTo>
                  <a:pt x="279" y="339"/>
                </a:lnTo>
                <a:lnTo>
                  <a:pt x="279" y="333"/>
                </a:lnTo>
                <a:lnTo>
                  <a:pt x="282" y="327"/>
                </a:lnTo>
                <a:lnTo>
                  <a:pt x="283" y="325"/>
                </a:lnTo>
                <a:lnTo>
                  <a:pt x="285" y="323"/>
                </a:lnTo>
                <a:lnTo>
                  <a:pt x="288" y="321"/>
                </a:lnTo>
                <a:lnTo>
                  <a:pt x="293" y="321"/>
                </a:lnTo>
                <a:lnTo>
                  <a:pt x="286" y="318"/>
                </a:lnTo>
                <a:lnTo>
                  <a:pt x="279" y="314"/>
                </a:lnTo>
                <a:lnTo>
                  <a:pt x="280" y="312"/>
                </a:lnTo>
                <a:lnTo>
                  <a:pt x="282" y="310"/>
                </a:lnTo>
                <a:lnTo>
                  <a:pt x="284" y="308"/>
                </a:lnTo>
                <a:lnTo>
                  <a:pt x="287" y="305"/>
                </a:lnTo>
                <a:lnTo>
                  <a:pt x="294" y="300"/>
                </a:lnTo>
                <a:lnTo>
                  <a:pt x="299" y="295"/>
                </a:lnTo>
                <a:lnTo>
                  <a:pt x="298" y="292"/>
                </a:lnTo>
                <a:lnTo>
                  <a:pt x="297" y="288"/>
                </a:lnTo>
                <a:lnTo>
                  <a:pt x="298" y="285"/>
                </a:lnTo>
                <a:lnTo>
                  <a:pt x="299" y="281"/>
                </a:lnTo>
                <a:lnTo>
                  <a:pt x="305" y="274"/>
                </a:lnTo>
                <a:lnTo>
                  <a:pt x="311" y="267"/>
                </a:lnTo>
                <a:lnTo>
                  <a:pt x="325" y="254"/>
                </a:lnTo>
                <a:lnTo>
                  <a:pt x="333" y="246"/>
                </a:lnTo>
                <a:lnTo>
                  <a:pt x="333" y="244"/>
                </a:lnTo>
                <a:lnTo>
                  <a:pt x="335" y="243"/>
                </a:lnTo>
                <a:lnTo>
                  <a:pt x="338" y="243"/>
                </a:lnTo>
                <a:lnTo>
                  <a:pt x="340" y="244"/>
                </a:lnTo>
                <a:lnTo>
                  <a:pt x="344" y="245"/>
                </a:lnTo>
                <a:lnTo>
                  <a:pt x="346" y="246"/>
                </a:lnTo>
                <a:lnTo>
                  <a:pt x="344" y="239"/>
                </a:lnTo>
                <a:lnTo>
                  <a:pt x="343" y="233"/>
                </a:lnTo>
                <a:lnTo>
                  <a:pt x="343" y="226"/>
                </a:lnTo>
                <a:lnTo>
                  <a:pt x="344" y="220"/>
                </a:lnTo>
                <a:lnTo>
                  <a:pt x="345" y="210"/>
                </a:lnTo>
                <a:lnTo>
                  <a:pt x="346" y="204"/>
                </a:lnTo>
                <a:lnTo>
                  <a:pt x="370" y="204"/>
                </a:lnTo>
                <a:lnTo>
                  <a:pt x="385" y="203"/>
                </a:lnTo>
                <a:lnTo>
                  <a:pt x="388" y="202"/>
                </a:lnTo>
                <a:lnTo>
                  <a:pt x="390" y="200"/>
                </a:lnTo>
                <a:lnTo>
                  <a:pt x="392" y="198"/>
                </a:lnTo>
                <a:lnTo>
                  <a:pt x="394" y="196"/>
                </a:lnTo>
                <a:lnTo>
                  <a:pt x="397" y="188"/>
                </a:lnTo>
                <a:lnTo>
                  <a:pt x="399" y="178"/>
                </a:lnTo>
                <a:lnTo>
                  <a:pt x="395" y="173"/>
                </a:lnTo>
                <a:lnTo>
                  <a:pt x="390" y="166"/>
                </a:lnTo>
                <a:lnTo>
                  <a:pt x="387" y="157"/>
                </a:lnTo>
                <a:lnTo>
                  <a:pt x="386" y="148"/>
                </a:lnTo>
                <a:lnTo>
                  <a:pt x="384" y="148"/>
                </a:lnTo>
                <a:lnTo>
                  <a:pt x="379" y="147"/>
                </a:lnTo>
                <a:lnTo>
                  <a:pt x="377" y="147"/>
                </a:lnTo>
                <a:lnTo>
                  <a:pt x="375" y="146"/>
                </a:lnTo>
                <a:lnTo>
                  <a:pt x="373" y="144"/>
                </a:lnTo>
                <a:lnTo>
                  <a:pt x="373" y="142"/>
                </a:lnTo>
                <a:lnTo>
                  <a:pt x="363" y="150"/>
                </a:lnTo>
                <a:lnTo>
                  <a:pt x="353" y="156"/>
                </a:lnTo>
                <a:lnTo>
                  <a:pt x="347" y="158"/>
                </a:lnTo>
                <a:lnTo>
                  <a:pt x="343" y="159"/>
                </a:lnTo>
                <a:lnTo>
                  <a:pt x="338" y="160"/>
                </a:lnTo>
                <a:lnTo>
                  <a:pt x="333" y="160"/>
                </a:lnTo>
                <a:lnTo>
                  <a:pt x="334" y="154"/>
                </a:lnTo>
                <a:lnTo>
                  <a:pt x="338" y="148"/>
                </a:lnTo>
                <a:lnTo>
                  <a:pt x="341" y="143"/>
                </a:lnTo>
                <a:lnTo>
                  <a:pt x="345" y="138"/>
                </a:lnTo>
                <a:lnTo>
                  <a:pt x="355" y="128"/>
                </a:lnTo>
                <a:lnTo>
                  <a:pt x="367" y="120"/>
                </a:lnTo>
                <a:lnTo>
                  <a:pt x="378" y="112"/>
                </a:lnTo>
                <a:lnTo>
                  <a:pt x="390" y="103"/>
                </a:lnTo>
                <a:lnTo>
                  <a:pt x="395" y="98"/>
                </a:lnTo>
                <a:lnTo>
                  <a:pt x="399" y="93"/>
                </a:lnTo>
                <a:lnTo>
                  <a:pt x="403" y="87"/>
                </a:lnTo>
                <a:lnTo>
                  <a:pt x="406" y="80"/>
                </a:lnTo>
                <a:lnTo>
                  <a:pt x="407" y="83"/>
                </a:lnTo>
                <a:lnTo>
                  <a:pt x="409" y="88"/>
                </a:lnTo>
                <a:lnTo>
                  <a:pt x="411" y="96"/>
                </a:lnTo>
                <a:lnTo>
                  <a:pt x="412" y="105"/>
                </a:lnTo>
                <a:lnTo>
                  <a:pt x="414" y="107"/>
                </a:lnTo>
                <a:lnTo>
                  <a:pt x="420" y="111"/>
                </a:lnTo>
                <a:lnTo>
                  <a:pt x="426" y="115"/>
                </a:lnTo>
                <a:lnTo>
                  <a:pt x="432" y="117"/>
                </a:lnTo>
                <a:lnTo>
                  <a:pt x="450" y="116"/>
                </a:lnTo>
                <a:lnTo>
                  <a:pt x="463" y="114"/>
                </a:lnTo>
                <a:lnTo>
                  <a:pt x="473" y="112"/>
                </a:lnTo>
                <a:lnTo>
                  <a:pt x="479" y="111"/>
                </a:lnTo>
                <a:lnTo>
                  <a:pt x="474" y="106"/>
                </a:lnTo>
                <a:lnTo>
                  <a:pt x="469" y="101"/>
                </a:lnTo>
                <a:lnTo>
                  <a:pt x="468" y="98"/>
                </a:lnTo>
                <a:lnTo>
                  <a:pt x="467" y="95"/>
                </a:lnTo>
                <a:lnTo>
                  <a:pt x="466" y="91"/>
                </a:lnTo>
                <a:lnTo>
                  <a:pt x="466" y="87"/>
                </a:lnTo>
                <a:lnTo>
                  <a:pt x="485" y="83"/>
                </a:lnTo>
                <a:lnTo>
                  <a:pt x="510" y="78"/>
                </a:lnTo>
                <a:lnTo>
                  <a:pt x="523" y="75"/>
                </a:lnTo>
                <a:lnTo>
                  <a:pt x="536" y="72"/>
                </a:lnTo>
                <a:lnTo>
                  <a:pt x="548" y="67"/>
                </a:lnTo>
                <a:lnTo>
                  <a:pt x="558" y="61"/>
                </a:lnTo>
                <a:lnTo>
                  <a:pt x="565" y="57"/>
                </a:lnTo>
                <a:lnTo>
                  <a:pt x="573" y="53"/>
                </a:lnTo>
                <a:lnTo>
                  <a:pt x="579" y="50"/>
                </a:lnTo>
                <a:lnTo>
                  <a:pt x="586" y="49"/>
                </a:lnTo>
                <a:lnTo>
                  <a:pt x="587" y="55"/>
                </a:lnTo>
                <a:lnTo>
                  <a:pt x="589" y="61"/>
                </a:lnTo>
                <a:lnTo>
                  <a:pt x="591" y="63"/>
                </a:lnTo>
                <a:lnTo>
                  <a:pt x="593" y="65"/>
                </a:lnTo>
                <a:lnTo>
                  <a:pt x="596" y="67"/>
                </a:lnTo>
                <a:lnTo>
                  <a:pt x="599" y="67"/>
                </a:lnTo>
                <a:lnTo>
                  <a:pt x="609" y="66"/>
                </a:lnTo>
                <a:lnTo>
                  <a:pt x="624" y="61"/>
                </a:lnTo>
                <a:lnTo>
                  <a:pt x="638" y="57"/>
                </a:lnTo>
                <a:lnTo>
                  <a:pt x="645" y="55"/>
                </a:lnTo>
                <a:lnTo>
                  <a:pt x="643" y="53"/>
                </a:lnTo>
                <a:lnTo>
                  <a:pt x="641" y="51"/>
                </a:lnTo>
                <a:lnTo>
                  <a:pt x="638" y="48"/>
                </a:lnTo>
                <a:lnTo>
                  <a:pt x="638" y="46"/>
                </a:lnTo>
                <a:lnTo>
                  <a:pt x="638" y="42"/>
                </a:lnTo>
                <a:lnTo>
                  <a:pt x="641" y="37"/>
                </a:lnTo>
                <a:lnTo>
                  <a:pt x="645" y="33"/>
                </a:lnTo>
                <a:lnTo>
                  <a:pt x="650" y="28"/>
                </a:lnTo>
                <a:lnTo>
                  <a:pt x="657" y="24"/>
                </a:lnTo>
                <a:lnTo>
                  <a:pt x="665" y="20"/>
                </a:lnTo>
                <a:lnTo>
                  <a:pt x="674" y="17"/>
                </a:lnTo>
                <a:lnTo>
                  <a:pt x="682" y="15"/>
                </a:lnTo>
                <a:lnTo>
                  <a:pt x="691" y="14"/>
                </a:lnTo>
                <a:lnTo>
                  <a:pt x="699" y="13"/>
                </a:lnTo>
                <a:lnTo>
                  <a:pt x="708" y="13"/>
                </a:lnTo>
                <a:lnTo>
                  <a:pt x="714" y="13"/>
                </a:lnTo>
                <a:lnTo>
                  <a:pt x="721" y="15"/>
                </a:lnTo>
                <a:lnTo>
                  <a:pt x="725" y="18"/>
                </a:lnTo>
                <a:lnTo>
                  <a:pt x="717" y="20"/>
                </a:lnTo>
                <a:lnTo>
                  <a:pt x="709" y="26"/>
                </a:lnTo>
                <a:lnTo>
                  <a:pt x="705" y="29"/>
                </a:lnTo>
                <a:lnTo>
                  <a:pt x="701" y="32"/>
                </a:lnTo>
                <a:lnTo>
                  <a:pt x="699" y="35"/>
                </a:lnTo>
                <a:lnTo>
                  <a:pt x="699" y="37"/>
                </a:lnTo>
                <a:lnTo>
                  <a:pt x="702" y="39"/>
                </a:lnTo>
                <a:lnTo>
                  <a:pt x="705" y="40"/>
                </a:lnTo>
                <a:lnTo>
                  <a:pt x="709" y="41"/>
                </a:lnTo>
                <a:lnTo>
                  <a:pt x="712" y="40"/>
                </a:lnTo>
                <a:lnTo>
                  <a:pt x="719" y="39"/>
                </a:lnTo>
                <a:lnTo>
                  <a:pt x="725" y="36"/>
                </a:lnTo>
                <a:lnTo>
                  <a:pt x="733" y="32"/>
                </a:lnTo>
                <a:lnTo>
                  <a:pt x="741" y="29"/>
                </a:lnTo>
                <a:lnTo>
                  <a:pt x="748" y="26"/>
                </a:lnTo>
                <a:lnTo>
                  <a:pt x="758" y="24"/>
                </a:lnTo>
                <a:lnTo>
                  <a:pt x="758" y="12"/>
                </a:lnTo>
                <a:lnTo>
                  <a:pt x="758" y="0"/>
                </a:lnTo>
                <a:lnTo>
                  <a:pt x="777" y="0"/>
                </a:lnTo>
                <a:lnTo>
                  <a:pt x="793" y="1"/>
                </a:lnTo>
                <a:lnTo>
                  <a:pt x="800" y="1"/>
                </a:lnTo>
                <a:lnTo>
                  <a:pt x="806" y="2"/>
                </a:lnTo>
                <a:lnTo>
                  <a:pt x="813" y="4"/>
                </a:lnTo>
                <a:lnTo>
                  <a:pt x="817" y="6"/>
                </a:lnTo>
                <a:lnTo>
                  <a:pt x="812" y="11"/>
                </a:lnTo>
                <a:lnTo>
                  <a:pt x="805" y="18"/>
                </a:lnTo>
                <a:lnTo>
                  <a:pt x="800" y="26"/>
                </a:lnTo>
                <a:lnTo>
                  <a:pt x="798" y="31"/>
                </a:lnTo>
                <a:lnTo>
                  <a:pt x="815" y="22"/>
                </a:lnTo>
                <a:lnTo>
                  <a:pt x="828" y="15"/>
                </a:lnTo>
                <a:lnTo>
                  <a:pt x="844" y="8"/>
                </a:lnTo>
                <a:lnTo>
                  <a:pt x="865" y="0"/>
                </a:lnTo>
                <a:lnTo>
                  <a:pt x="865" y="4"/>
                </a:lnTo>
                <a:lnTo>
                  <a:pt x="864" y="9"/>
                </a:lnTo>
                <a:lnTo>
                  <a:pt x="861" y="14"/>
                </a:lnTo>
                <a:lnTo>
                  <a:pt x="858" y="18"/>
                </a:lnTo>
                <a:lnTo>
                  <a:pt x="860" y="14"/>
                </a:lnTo>
                <a:lnTo>
                  <a:pt x="862" y="11"/>
                </a:lnTo>
                <a:lnTo>
                  <a:pt x="866" y="9"/>
                </a:lnTo>
                <a:lnTo>
                  <a:pt x="869" y="7"/>
                </a:lnTo>
                <a:lnTo>
                  <a:pt x="876" y="6"/>
                </a:lnTo>
                <a:lnTo>
                  <a:pt x="884" y="6"/>
                </a:lnTo>
                <a:lnTo>
                  <a:pt x="892" y="6"/>
                </a:lnTo>
                <a:lnTo>
                  <a:pt x="907" y="6"/>
                </a:lnTo>
                <a:lnTo>
                  <a:pt x="924" y="6"/>
                </a:lnTo>
                <a:lnTo>
                  <a:pt x="930" y="6"/>
                </a:lnTo>
                <a:lnTo>
                  <a:pt x="947" y="12"/>
                </a:lnTo>
                <a:lnTo>
                  <a:pt x="979" y="22"/>
                </a:lnTo>
                <a:lnTo>
                  <a:pt x="996" y="28"/>
                </a:lnTo>
                <a:lnTo>
                  <a:pt x="1013" y="33"/>
                </a:lnTo>
                <a:lnTo>
                  <a:pt x="1027" y="38"/>
                </a:lnTo>
                <a:lnTo>
                  <a:pt x="1037" y="43"/>
                </a:lnTo>
                <a:lnTo>
                  <a:pt x="1031" y="52"/>
                </a:lnTo>
                <a:lnTo>
                  <a:pt x="1025" y="61"/>
                </a:lnTo>
                <a:lnTo>
                  <a:pt x="1022" y="66"/>
                </a:lnTo>
                <a:lnTo>
                  <a:pt x="1019" y="70"/>
                </a:lnTo>
                <a:lnTo>
                  <a:pt x="1017" y="75"/>
                </a:lnTo>
                <a:lnTo>
                  <a:pt x="1017" y="80"/>
                </a:lnTo>
                <a:lnTo>
                  <a:pt x="1005" y="79"/>
                </a:lnTo>
                <a:lnTo>
                  <a:pt x="993" y="76"/>
                </a:lnTo>
                <a:lnTo>
                  <a:pt x="982" y="72"/>
                </a:lnTo>
                <a:lnTo>
                  <a:pt x="971" y="67"/>
                </a:lnTo>
                <a:lnTo>
                  <a:pt x="961" y="63"/>
                </a:lnTo>
                <a:lnTo>
                  <a:pt x="951" y="59"/>
                </a:lnTo>
                <a:lnTo>
                  <a:pt x="940" y="56"/>
                </a:lnTo>
                <a:lnTo>
                  <a:pt x="930" y="55"/>
                </a:lnTo>
                <a:lnTo>
                  <a:pt x="919" y="55"/>
                </a:lnTo>
                <a:lnTo>
                  <a:pt x="906" y="55"/>
                </a:lnTo>
                <a:lnTo>
                  <a:pt x="892" y="55"/>
                </a:lnTo>
                <a:lnTo>
                  <a:pt x="878" y="55"/>
                </a:lnTo>
                <a:lnTo>
                  <a:pt x="877" y="62"/>
                </a:lnTo>
                <a:lnTo>
                  <a:pt x="876" y="68"/>
                </a:lnTo>
                <a:lnTo>
                  <a:pt x="873" y="74"/>
                </a:lnTo>
                <a:lnTo>
                  <a:pt x="871" y="80"/>
                </a:lnTo>
                <a:lnTo>
                  <a:pt x="869" y="88"/>
                </a:lnTo>
                <a:lnTo>
                  <a:pt x="867" y="95"/>
                </a:lnTo>
                <a:lnTo>
                  <a:pt x="865" y="102"/>
                </a:lnTo>
                <a:lnTo>
                  <a:pt x="865" y="111"/>
                </a:lnTo>
                <a:lnTo>
                  <a:pt x="854" y="114"/>
                </a:lnTo>
                <a:lnTo>
                  <a:pt x="848" y="116"/>
                </a:lnTo>
                <a:lnTo>
                  <a:pt x="844" y="116"/>
                </a:lnTo>
                <a:lnTo>
                  <a:pt x="842" y="115"/>
                </a:lnTo>
                <a:lnTo>
                  <a:pt x="838" y="114"/>
                </a:lnTo>
                <a:lnTo>
                  <a:pt x="835" y="113"/>
                </a:lnTo>
                <a:lnTo>
                  <a:pt x="828" y="111"/>
                </a:lnTo>
                <a:lnTo>
                  <a:pt x="817" y="111"/>
                </a:lnTo>
                <a:lnTo>
                  <a:pt x="811" y="111"/>
                </a:lnTo>
                <a:lnTo>
                  <a:pt x="804" y="112"/>
                </a:lnTo>
                <a:lnTo>
                  <a:pt x="798" y="113"/>
                </a:lnTo>
                <a:lnTo>
                  <a:pt x="790" y="115"/>
                </a:lnTo>
                <a:lnTo>
                  <a:pt x="776" y="121"/>
                </a:lnTo>
                <a:lnTo>
                  <a:pt x="758" y="129"/>
                </a:lnTo>
                <a:lnTo>
                  <a:pt x="750" y="129"/>
                </a:lnTo>
                <a:lnTo>
                  <a:pt x="745" y="128"/>
                </a:lnTo>
                <a:lnTo>
                  <a:pt x="738" y="126"/>
                </a:lnTo>
                <a:lnTo>
                  <a:pt x="734" y="124"/>
                </a:lnTo>
                <a:lnTo>
                  <a:pt x="724" y="119"/>
                </a:lnTo>
                <a:lnTo>
                  <a:pt x="716" y="112"/>
                </a:lnTo>
                <a:lnTo>
                  <a:pt x="709" y="105"/>
                </a:lnTo>
                <a:lnTo>
                  <a:pt x="702" y="98"/>
                </a:lnTo>
                <a:lnTo>
                  <a:pt x="694" y="92"/>
                </a:lnTo>
                <a:lnTo>
                  <a:pt x="685" y="87"/>
                </a:lnTo>
                <a:lnTo>
                  <a:pt x="677" y="92"/>
                </a:lnTo>
                <a:lnTo>
                  <a:pt x="669" y="96"/>
                </a:lnTo>
                <a:lnTo>
                  <a:pt x="661" y="100"/>
                </a:lnTo>
                <a:lnTo>
                  <a:pt x="654" y="103"/>
                </a:lnTo>
                <a:lnTo>
                  <a:pt x="637" y="109"/>
                </a:lnTo>
                <a:lnTo>
                  <a:pt x="620" y="112"/>
                </a:lnTo>
                <a:lnTo>
                  <a:pt x="602" y="116"/>
                </a:lnTo>
                <a:lnTo>
                  <a:pt x="584" y="119"/>
                </a:lnTo>
                <a:lnTo>
                  <a:pt x="565" y="123"/>
                </a:lnTo>
                <a:lnTo>
                  <a:pt x="545" y="129"/>
                </a:lnTo>
                <a:lnTo>
                  <a:pt x="542" y="130"/>
                </a:lnTo>
                <a:lnTo>
                  <a:pt x="537" y="131"/>
                </a:lnTo>
                <a:lnTo>
                  <a:pt x="534" y="134"/>
                </a:lnTo>
                <a:lnTo>
                  <a:pt x="530" y="138"/>
                </a:lnTo>
                <a:lnTo>
                  <a:pt x="521" y="147"/>
                </a:lnTo>
                <a:lnTo>
                  <a:pt x="513" y="158"/>
                </a:lnTo>
                <a:lnTo>
                  <a:pt x="506" y="170"/>
                </a:lnTo>
                <a:lnTo>
                  <a:pt x="498" y="184"/>
                </a:lnTo>
                <a:lnTo>
                  <a:pt x="491" y="198"/>
                </a:lnTo>
                <a:lnTo>
                  <a:pt x="486" y="210"/>
                </a:lnTo>
                <a:lnTo>
                  <a:pt x="482" y="217"/>
                </a:lnTo>
                <a:lnTo>
                  <a:pt x="478" y="225"/>
                </a:lnTo>
                <a:lnTo>
                  <a:pt x="473" y="232"/>
                </a:lnTo>
                <a:lnTo>
                  <a:pt x="466" y="239"/>
                </a:lnTo>
                <a:lnTo>
                  <a:pt x="453" y="255"/>
                </a:lnTo>
                <a:lnTo>
                  <a:pt x="437" y="270"/>
                </a:lnTo>
                <a:lnTo>
                  <a:pt x="430" y="279"/>
                </a:lnTo>
                <a:lnTo>
                  <a:pt x="423" y="288"/>
                </a:lnTo>
                <a:lnTo>
                  <a:pt x="417" y="298"/>
                </a:lnTo>
                <a:lnTo>
                  <a:pt x="411" y="309"/>
                </a:lnTo>
                <a:lnTo>
                  <a:pt x="406" y="321"/>
                </a:lnTo>
                <a:lnTo>
                  <a:pt x="402" y="334"/>
                </a:lnTo>
                <a:lnTo>
                  <a:pt x="400" y="348"/>
                </a:lnTo>
                <a:lnTo>
                  <a:pt x="399" y="364"/>
                </a:lnTo>
                <a:lnTo>
                  <a:pt x="396" y="362"/>
                </a:lnTo>
                <a:lnTo>
                  <a:pt x="392" y="361"/>
                </a:lnTo>
                <a:lnTo>
                  <a:pt x="387" y="361"/>
                </a:lnTo>
                <a:lnTo>
                  <a:pt x="381" y="362"/>
                </a:lnTo>
                <a:lnTo>
                  <a:pt x="367" y="363"/>
                </a:lnTo>
                <a:lnTo>
                  <a:pt x="353" y="364"/>
                </a:lnTo>
                <a:lnTo>
                  <a:pt x="333" y="425"/>
                </a:lnTo>
                <a:lnTo>
                  <a:pt x="333" y="441"/>
                </a:lnTo>
                <a:lnTo>
                  <a:pt x="336" y="464"/>
                </a:lnTo>
                <a:lnTo>
                  <a:pt x="340" y="477"/>
                </a:lnTo>
                <a:lnTo>
                  <a:pt x="344" y="487"/>
                </a:lnTo>
                <a:lnTo>
                  <a:pt x="347" y="491"/>
                </a:lnTo>
                <a:lnTo>
                  <a:pt x="351" y="495"/>
                </a:lnTo>
                <a:lnTo>
                  <a:pt x="355" y="497"/>
                </a:lnTo>
                <a:lnTo>
                  <a:pt x="360" y="499"/>
                </a:lnTo>
                <a:lnTo>
                  <a:pt x="358" y="515"/>
                </a:lnTo>
                <a:lnTo>
                  <a:pt x="357" y="528"/>
                </a:lnTo>
                <a:lnTo>
                  <a:pt x="356" y="537"/>
                </a:lnTo>
                <a:lnTo>
                  <a:pt x="354" y="544"/>
                </a:lnTo>
                <a:lnTo>
                  <a:pt x="354" y="551"/>
                </a:lnTo>
                <a:lnTo>
                  <a:pt x="354" y="558"/>
                </a:lnTo>
                <a:lnTo>
                  <a:pt x="355" y="567"/>
                </a:lnTo>
                <a:lnTo>
                  <a:pt x="360" y="579"/>
                </a:lnTo>
                <a:lnTo>
                  <a:pt x="352" y="585"/>
                </a:lnTo>
                <a:lnTo>
                  <a:pt x="346" y="591"/>
                </a:lnTo>
                <a:lnTo>
                  <a:pt x="340" y="598"/>
                </a:lnTo>
                <a:lnTo>
                  <a:pt x="335" y="606"/>
                </a:lnTo>
                <a:lnTo>
                  <a:pt x="331" y="615"/>
                </a:lnTo>
                <a:lnTo>
                  <a:pt x="329" y="625"/>
                </a:lnTo>
                <a:lnTo>
                  <a:pt x="327" y="635"/>
                </a:lnTo>
                <a:lnTo>
                  <a:pt x="327" y="647"/>
                </a:lnTo>
                <a:lnTo>
                  <a:pt x="318" y="646"/>
                </a:lnTo>
                <a:lnTo>
                  <a:pt x="306" y="645"/>
                </a:lnTo>
                <a:lnTo>
                  <a:pt x="300" y="645"/>
                </a:lnTo>
                <a:lnTo>
                  <a:pt x="295" y="645"/>
                </a:lnTo>
                <a:lnTo>
                  <a:pt x="289" y="646"/>
                </a:lnTo>
                <a:lnTo>
                  <a:pt x="286" y="647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30" name="Freeform 228"/>
          <p:cNvSpPr>
            <a:spLocks/>
          </p:cNvSpPr>
          <p:nvPr userDrawn="1">
            <p:custDataLst>
              <p:tags r:id="rId154"/>
            </p:custDataLst>
          </p:nvPr>
        </p:nvSpPr>
        <p:spPr bwMode="auto">
          <a:xfrm>
            <a:off x="4476750" y="1927635"/>
            <a:ext cx="49212" cy="67865"/>
          </a:xfrm>
          <a:custGeom>
            <a:avLst/>
            <a:gdLst>
              <a:gd name="T0" fmla="*/ 20181842 w 120"/>
              <a:gd name="T1" fmla="*/ 27084379 h 173"/>
              <a:gd name="T2" fmla="*/ 15472665 w 120"/>
              <a:gd name="T3" fmla="*/ 16414759 h 173"/>
              <a:gd name="T4" fmla="*/ 11772741 w 120"/>
              <a:gd name="T5" fmla="*/ 7660012 h 173"/>
              <a:gd name="T6" fmla="*/ 10090921 w 120"/>
              <a:gd name="T7" fmla="*/ 4377375 h 173"/>
              <a:gd name="T8" fmla="*/ 8913524 w 120"/>
              <a:gd name="T9" fmla="*/ 2188426 h 173"/>
              <a:gd name="T10" fmla="*/ 8072820 w 120"/>
              <a:gd name="T11" fmla="*/ 1094213 h 173"/>
              <a:gd name="T12" fmla="*/ 7568397 w 120"/>
              <a:gd name="T13" fmla="*/ 547106 h 173"/>
              <a:gd name="T14" fmla="*/ 7231705 w 120"/>
              <a:gd name="T15" fmla="*/ 273553 h 173"/>
              <a:gd name="T16" fmla="*/ 6559139 w 120"/>
              <a:gd name="T17" fmla="*/ 0 h 173"/>
              <a:gd name="T18" fmla="*/ 5549883 w 120"/>
              <a:gd name="T19" fmla="*/ 0 h 173"/>
              <a:gd name="T20" fmla="*/ 4541038 w 120"/>
              <a:gd name="T21" fmla="*/ 273553 h 173"/>
              <a:gd name="T22" fmla="*/ 4036205 w 120"/>
              <a:gd name="T23" fmla="*/ 820660 h 173"/>
              <a:gd name="T24" fmla="*/ 3531782 w 120"/>
              <a:gd name="T25" fmla="*/ 1367766 h 173"/>
              <a:gd name="T26" fmla="*/ 3195499 w 120"/>
              <a:gd name="T27" fmla="*/ 2188426 h 173"/>
              <a:gd name="T28" fmla="*/ 2691076 w 120"/>
              <a:gd name="T29" fmla="*/ 3283161 h 173"/>
              <a:gd name="T30" fmla="*/ 2522935 w 120"/>
              <a:gd name="T31" fmla="*/ 4103820 h 173"/>
              <a:gd name="T32" fmla="*/ 2522935 w 120"/>
              <a:gd name="T33" fmla="*/ 5471587 h 173"/>
              <a:gd name="T34" fmla="*/ 2354384 w 120"/>
              <a:gd name="T35" fmla="*/ 8207118 h 173"/>
              <a:gd name="T36" fmla="*/ 2018102 w 120"/>
              <a:gd name="T37" fmla="*/ 11490280 h 173"/>
              <a:gd name="T38" fmla="*/ 1681820 w 120"/>
              <a:gd name="T39" fmla="*/ 13131598 h 173"/>
              <a:gd name="T40" fmla="*/ 1345538 w 120"/>
              <a:gd name="T41" fmla="*/ 14772917 h 173"/>
              <a:gd name="T42" fmla="*/ 672564 w 120"/>
              <a:gd name="T43" fmla="*/ 16688312 h 173"/>
              <a:gd name="T44" fmla="*/ 0 w 120"/>
              <a:gd name="T45" fmla="*/ 18603187 h 173"/>
              <a:gd name="T46" fmla="*/ 841115 w 120"/>
              <a:gd name="T47" fmla="*/ 22433454 h 173"/>
              <a:gd name="T48" fmla="*/ 1681820 w 120"/>
              <a:gd name="T49" fmla="*/ 27084379 h 173"/>
              <a:gd name="T50" fmla="*/ 2522935 w 120"/>
              <a:gd name="T51" fmla="*/ 31461229 h 173"/>
              <a:gd name="T52" fmla="*/ 3363641 w 120"/>
              <a:gd name="T53" fmla="*/ 35291503 h 173"/>
              <a:gd name="T54" fmla="*/ 4036205 w 120"/>
              <a:gd name="T55" fmla="*/ 36659268 h 173"/>
              <a:gd name="T56" fmla="*/ 5045461 w 120"/>
              <a:gd name="T57" fmla="*/ 38027034 h 173"/>
              <a:gd name="T58" fmla="*/ 6222857 w 120"/>
              <a:gd name="T59" fmla="*/ 39668875 h 173"/>
              <a:gd name="T60" fmla="*/ 7736538 w 120"/>
              <a:gd name="T61" fmla="*/ 41310194 h 173"/>
              <a:gd name="T62" fmla="*/ 9081665 w 120"/>
              <a:gd name="T63" fmla="*/ 42951513 h 173"/>
              <a:gd name="T64" fmla="*/ 10090921 w 120"/>
              <a:gd name="T65" fmla="*/ 44593354 h 173"/>
              <a:gd name="T66" fmla="*/ 10427203 w 120"/>
              <a:gd name="T67" fmla="*/ 45140460 h 173"/>
              <a:gd name="T68" fmla="*/ 10932036 w 120"/>
              <a:gd name="T69" fmla="*/ 45961120 h 173"/>
              <a:gd name="T70" fmla="*/ 11100177 w 120"/>
              <a:gd name="T71" fmla="*/ 46508226 h 173"/>
              <a:gd name="T72" fmla="*/ 11268318 w 120"/>
              <a:gd name="T73" fmla="*/ 47328885 h 173"/>
              <a:gd name="T74" fmla="*/ 12781997 w 120"/>
              <a:gd name="T75" fmla="*/ 45687566 h 173"/>
              <a:gd name="T76" fmla="*/ 14463820 w 120"/>
              <a:gd name="T77" fmla="*/ 43772172 h 173"/>
              <a:gd name="T78" fmla="*/ 15640806 w 120"/>
              <a:gd name="T79" fmla="*/ 41583747 h 173"/>
              <a:gd name="T80" fmla="*/ 16986344 w 120"/>
              <a:gd name="T81" fmla="*/ 38848216 h 173"/>
              <a:gd name="T82" fmla="*/ 17827459 w 120"/>
              <a:gd name="T83" fmla="*/ 36112162 h 173"/>
              <a:gd name="T84" fmla="*/ 18836305 w 120"/>
              <a:gd name="T85" fmla="*/ 33103070 h 173"/>
              <a:gd name="T86" fmla="*/ 19509279 w 120"/>
              <a:gd name="T87" fmla="*/ 30093463 h 173"/>
              <a:gd name="T88" fmla="*/ 20181842 w 120"/>
              <a:gd name="T89" fmla="*/ 27084379 h 173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20"/>
              <a:gd name="T136" fmla="*/ 0 h 173"/>
              <a:gd name="T137" fmla="*/ 120 w 120"/>
              <a:gd name="T138" fmla="*/ 173 h 173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20" h="173">
                <a:moveTo>
                  <a:pt x="120" y="99"/>
                </a:moveTo>
                <a:lnTo>
                  <a:pt x="92" y="60"/>
                </a:lnTo>
                <a:lnTo>
                  <a:pt x="70" y="28"/>
                </a:lnTo>
                <a:lnTo>
                  <a:pt x="60" y="16"/>
                </a:lnTo>
                <a:lnTo>
                  <a:pt x="53" y="8"/>
                </a:lnTo>
                <a:lnTo>
                  <a:pt x="48" y="4"/>
                </a:lnTo>
                <a:lnTo>
                  <a:pt x="45" y="2"/>
                </a:lnTo>
                <a:lnTo>
                  <a:pt x="43" y="1"/>
                </a:lnTo>
                <a:lnTo>
                  <a:pt x="39" y="0"/>
                </a:lnTo>
                <a:lnTo>
                  <a:pt x="33" y="0"/>
                </a:lnTo>
                <a:lnTo>
                  <a:pt x="27" y="1"/>
                </a:lnTo>
                <a:lnTo>
                  <a:pt x="24" y="3"/>
                </a:lnTo>
                <a:lnTo>
                  <a:pt x="21" y="5"/>
                </a:lnTo>
                <a:lnTo>
                  <a:pt x="19" y="8"/>
                </a:lnTo>
                <a:lnTo>
                  <a:pt x="16" y="12"/>
                </a:lnTo>
                <a:lnTo>
                  <a:pt x="15" y="15"/>
                </a:lnTo>
                <a:lnTo>
                  <a:pt x="15" y="20"/>
                </a:lnTo>
                <a:lnTo>
                  <a:pt x="14" y="30"/>
                </a:lnTo>
                <a:lnTo>
                  <a:pt x="12" y="42"/>
                </a:lnTo>
                <a:lnTo>
                  <a:pt x="10" y="48"/>
                </a:lnTo>
                <a:lnTo>
                  <a:pt x="8" y="54"/>
                </a:lnTo>
                <a:lnTo>
                  <a:pt x="4" y="61"/>
                </a:lnTo>
                <a:lnTo>
                  <a:pt x="0" y="68"/>
                </a:lnTo>
                <a:lnTo>
                  <a:pt x="5" y="82"/>
                </a:lnTo>
                <a:lnTo>
                  <a:pt x="10" y="99"/>
                </a:lnTo>
                <a:lnTo>
                  <a:pt x="15" y="115"/>
                </a:lnTo>
                <a:lnTo>
                  <a:pt x="20" y="129"/>
                </a:lnTo>
                <a:lnTo>
                  <a:pt x="24" y="134"/>
                </a:lnTo>
                <a:lnTo>
                  <a:pt x="30" y="139"/>
                </a:lnTo>
                <a:lnTo>
                  <a:pt x="37" y="145"/>
                </a:lnTo>
                <a:lnTo>
                  <a:pt x="46" y="151"/>
                </a:lnTo>
                <a:lnTo>
                  <a:pt x="54" y="157"/>
                </a:lnTo>
                <a:lnTo>
                  <a:pt x="60" y="163"/>
                </a:lnTo>
                <a:lnTo>
                  <a:pt x="62" y="165"/>
                </a:lnTo>
                <a:lnTo>
                  <a:pt x="65" y="168"/>
                </a:lnTo>
                <a:lnTo>
                  <a:pt x="66" y="170"/>
                </a:lnTo>
                <a:lnTo>
                  <a:pt x="67" y="173"/>
                </a:lnTo>
                <a:lnTo>
                  <a:pt x="76" y="167"/>
                </a:lnTo>
                <a:lnTo>
                  <a:pt x="86" y="160"/>
                </a:lnTo>
                <a:lnTo>
                  <a:pt x="93" y="152"/>
                </a:lnTo>
                <a:lnTo>
                  <a:pt x="101" y="142"/>
                </a:lnTo>
                <a:lnTo>
                  <a:pt x="106" y="132"/>
                </a:lnTo>
                <a:lnTo>
                  <a:pt x="112" y="121"/>
                </a:lnTo>
                <a:lnTo>
                  <a:pt x="116" y="110"/>
                </a:lnTo>
                <a:lnTo>
                  <a:pt x="120" y="99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31" name="Freeform 229"/>
          <p:cNvSpPr>
            <a:spLocks/>
          </p:cNvSpPr>
          <p:nvPr userDrawn="1">
            <p:custDataLst>
              <p:tags r:id="rId155"/>
            </p:custDataLst>
          </p:nvPr>
        </p:nvSpPr>
        <p:spPr bwMode="auto">
          <a:xfrm>
            <a:off x="4184660" y="1807379"/>
            <a:ext cx="84137" cy="44054"/>
          </a:xfrm>
          <a:custGeom>
            <a:avLst/>
            <a:gdLst>
              <a:gd name="T0" fmla="*/ 35395176 w 200"/>
              <a:gd name="T1" fmla="*/ 19758148 h 98"/>
              <a:gd name="T2" fmla="*/ 34510476 w 200"/>
              <a:gd name="T3" fmla="*/ 20117768 h 98"/>
              <a:gd name="T4" fmla="*/ 32917342 w 200"/>
              <a:gd name="T5" fmla="*/ 21554451 h 98"/>
              <a:gd name="T6" fmla="*/ 31324629 w 200"/>
              <a:gd name="T7" fmla="*/ 23350755 h 98"/>
              <a:gd name="T8" fmla="*/ 29378120 w 200"/>
              <a:gd name="T9" fmla="*/ 26224720 h 98"/>
              <a:gd name="T10" fmla="*/ 27431184 w 200"/>
              <a:gd name="T11" fmla="*/ 28739065 h 98"/>
              <a:gd name="T12" fmla="*/ 25661363 w 200"/>
              <a:gd name="T13" fmla="*/ 31254010 h 98"/>
              <a:gd name="T14" fmla="*/ 24245758 w 200"/>
              <a:gd name="T15" fmla="*/ 33409334 h 98"/>
              <a:gd name="T16" fmla="*/ 23537746 w 200"/>
              <a:gd name="T17" fmla="*/ 35205638 h 98"/>
              <a:gd name="T18" fmla="*/ 22475937 w 200"/>
              <a:gd name="T19" fmla="*/ 35205638 h 98"/>
              <a:gd name="T20" fmla="*/ 21591237 w 200"/>
              <a:gd name="T21" fmla="*/ 35205638 h 98"/>
              <a:gd name="T22" fmla="*/ 20529008 w 200"/>
              <a:gd name="T23" fmla="*/ 34846617 h 98"/>
              <a:gd name="T24" fmla="*/ 19644307 w 200"/>
              <a:gd name="T25" fmla="*/ 34127975 h 98"/>
              <a:gd name="T26" fmla="*/ 18759607 w 200"/>
              <a:gd name="T27" fmla="*/ 33409334 h 98"/>
              <a:gd name="T28" fmla="*/ 18228703 w 200"/>
              <a:gd name="T29" fmla="*/ 31613031 h 98"/>
              <a:gd name="T30" fmla="*/ 17874486 w 200"/>
              <a:gd name="T31" fmla="*/ 29457707 h 98"/>
              <a:gd name="T32" fmla="*/ 17697798 w 200"/>
              <a:gd name="T33" fmla="*/ 26583741 h 98"/>
              <a:gd name="T34" fmla="*/ 16104665 w 200"/>
              <a:gd name="T35" fmla="*/ 28739065 h 98"/>
              <a:gd name="T36" fmla="*/ 14511952 w 200"/>
              <a:gd name="T37" fmla="*/ 30894989 h 98"/>
              <a:gd name="T38" fmla="*/ 13803939 w 200"/>
              <a:gd name="T39" fmla="*/ 32331672 h 98"/>
              <a:gd name="T40" fmla="*/ 12742127 w 200"/>
              <a:gd name="T41" fmla="*/ 33409334 h 98"/>
              <a:gd name="T42" fmla="*/ 11857427 w 200"/>
              <a:gd name="T43" fmla="*/ 34486996 h 98"/>
              <a:gd name="T44" fmla="*/ 10618510 w 200"/>
              <a:gd name="T45" fmla="*/ 35205638 h 98"/>
              <a:gd name="T46" fmla="*/ 6902180 w 200"/>
              <a:gd name="T47" fmla="*/ 35205638 h 98"/>
              <a:gd name="T48" fmla="*/ 6017057 w 200"/>
              <a:gd name="T49" fmla="*/ 35205638 h 98"/>
              <a:gd name="T50" fmla="*/ 4955249 w 200"/>
              <a:gd name="T51" fmla="*/ 34127975 h 98"/>
              <a:gd name="T52" fmla="*/ 3893440 w 200"/>
              <a:gd name="T53" fmla="*/ 33050313 h 98"/>
              <a:gd name="T54" fmla="*/ 2654522 w 200"/>
              <a:gd name="T55" fmla="*/ 31972651 h 98"/>
              <a:gd name="T56" fmla="*/ 1592713 w 200"/>
              <a:gd name="T57" fmla="*/ 30535369 h 98"/>
              <a:gd name="T58" fmla="*/ 708013 w 200"/>
              <a:gd name="T59" fmla="*/ 29098686 h 98"/>
              <a:gd name="T60" fmla="*/ 177108 w 200"/>
              <a:gd name="T61" fmla="*/ 27661403 h 98"/>
              <a:gd name="T62" fmla="*/ 0 w 200"/>
              <a:gd name="T63" fmla="*/ 26583741 h 98"/>
              <a:gd name="T64" fmla="*/ 884701 w 200"/>
              <a:gd name="T65" fmla="*/ 25506079 h 98"/>
              <a:gd name="T66" fmla="*/ 1769822 w 200"/>
              <a:gd name="T67" fmla="*/ 24069396 h 98"/>
              <a:gd name="T68" fmla="*/ 2477835 w 200"/>
              <a:gd name="T69" fmla="*/ 21554451 h 98"/>
              <a:gd name="T70" fmla="*/ 3539644 w 200"/>
              <a:gd name="T71" fmla="*/ 19039502 h 98"/>
              <a:gd name="T72" fmla="*/ 4070548 w 200"/>
              <a:gd name="T73" fmla="*/ 16166136 h 98"/>
              <a:gd name="T74" fmla="*/ 4778140 w 200"/>
              <a:gd name="T75" fmla="*/ 13292170 h 98"/>
              <a:gd name="T76" fmla="*/ 5309465 w 200"/>
              <a:gd name="T77" fmla="*/ 10058584 h 98"/>
              <a:gd name="T78" fmla="*/ 5840370 w 200"/>
              <a:gd name="T79" fmla="*/ 6825596 h 98"/>
              <a:gd name="T80" fmla="*/ 11680319 w 200"/>
              <a:gd name="T81" fmla="*/ 5029292 h 98"/>
              <a:gd name="T82" fmla="*/ 18228703 w 200"/>
              <a:gd name="T83" fmla="*/ 3232988 h 98"/>
              <a:gd name="T84" fmla="*/ 25661363 w 200"/>
              <a:gd name="T85" fmla="*/ 1436684 h 98"/>
              <a:gd name="T86" fmla="*/ 34156259 w 200"/>
              <a:gd name="T87" fmla="*/ 0 h 98"/>
              <a:gd name="T88" fmla="*/ 29378120 w 200"/>
              <a:gd name="T89" fmla="*/ 11136247 h 98"/>
              <a:gd name="T90" fmla="*/ 29378120 w 200"/>
              <a:gd name="T91" fmla="*/ 12213909 h 98"/>
              <a:gd name="T92" fmla="*/ 29023904 w 200"/>
              <a:gd name="T93" fmla="*/ 13292170 h 98"/>
              <a:gd name="T94" fmla="*/ 28670108 w 200"/>
              <a:gd name="T95" fmla="*/ 14010212 h 98"/>
              <a:gd name="T96" fmla="*/ 28493000 w 200"/>
              <a:gd name="T97" fmla="*/ 14728853 h 98"/>
              <a:gd name="T98" fmla="*/ 27785408 w 200"/>
              <a:gd name="T99" fmla="*/ 16166136 h 98"/>
              <a:gd name="T100" fmla="*/ 27608299 w 200"/>
              <a:gd name="T101" fmla="*/ 16884178 h 98"/>
              <a:gd name="T102" fmla="*/ 27608299 w 200"/>
              <a:gd name="T103" fmla="*/ 17602819 h 98"/>
              <a:gd name="T104" fmla="*/ 27785408 w 200"/>
              <a:gd name="T105" fmla="*/ 17961840 h 98"/>
              <a:gd name="T106" fmla="*/ 28139204 w 200"/>
              <a:gd name="T107" fmla="*/ 17961840 h 98"/>
              <a:gd name="T108" fmla="*/ 28847216 w 200"/>
              <a:gd name="T109" fmla="*/ 18321460 h 98"/>
              <a:gd name="T110" fmla="*/ 31324629 w 200"/>
              <a:gd name="T111" fmla="*/ 19039502 h 98"/>
              <a:gd name="T112" fmla="*/ 35395176 w 200"/>
              <a:gd name="T113" fmla="*/ 19758148 h 98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200"/>
              <a:gd name="T172" fmla="*/ 0 h 98"/>
              <a:gd name="T173" fmla="*/ 200 w 200"/>
              <a:gd name="T174" fmla="*/ 98 h 98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200" h="98">
                <a:moveTo>
                  <a:pt x="200" y="55"/>
                </a:moveTo>
                <a:lnTo>
                  <a:pt x="195" y="56"/>
                </a:lnTo>
                <a:lnTo>
                  <a:pt x="186" y="60"/>
                </a:lnTo>
                <a:lnTo>
                  <a:pt x="177" y="65"/>
                </a:lnTo>
                <a:lnTo>
                  <a:pt x="166" y="73"/>
                </a:lnTo>
                <a:lnTo>
                  <a:pt x="155" y="80"/>
                </a:lnTo>
                <a:lnTo>
                  <a:pt x="145" y="87"/>
                </a:lnTo>
                <a:lnTo>
                  <a:pt x="137" y="93"/>
                </a:lnTo>
                <a:lnTo>
                  <a:pt x="133" y="98"/>
                </a:lnTo>
                <a:lnTo>
                  <a:pt x="127" y="98"/>
                </a:lnTo>
                <a:lnTo>
                  <a:pt x="122" y="98"/>
                </a:lnTo>
                <a:lnTo>
                  <a:pt x="116" y="97"/>
                </a:lnTo>
                <a:lnTo>
                  <a:pt x="111" y="95"/>
                </a:lnTo>
                <a:lnTo>
                  <a:pt x="106" y="93"/>
                </a:lnTo>
                <a:lnTo>
                  <a:pt x="103" y="88"/>
                </a:lnTo>
                <a:lnTo>
                  <a:pt x="101" y="82"/>
                </a:lnTo>
                <a:lnTo>
                  <a:pt x="100" y="74"/>
                </a:lnTo>
                <a:lnTo>
                  <a:pt x="91" y="80"/>
                </a:lnTo>
                <a:lnTo>
                  <a:pt x="82" y="86"/>
                </a:lnTo>
                <a:lnTo>
                  <a:pt x="78" y="90"/>
                </a:lnTo>
                <a:lnTo>
                  <a:pt x="72" y="93"/>
                </a:lnTo>
                <a:lnTo>
                  <a:pt x="67" y="96"/>
                </a:lnTo>
                <a:lnTo>
                  <a:pt x="60" y="98"/>
                </a:lnTo>
                <a:lnTo>
                  <a:pt x="39" y="98"/>
                </a:lnTo>
                <a:lnTo>
                  <a:pt x="34" y="98"/>
                </a:lnTo>
                <a:lnTo>
                  <a:pt x="28" y="95"/>
                </a:lnTo>
                <a:lnTo>
                  <a:pt x="22" y="92"/>
                </a:lnTo>
                <a:lnTo>
                  <a:pt x="15" y="89"/>
                </a:lnTo>
                <a:lnTo>
                  <a:pt x="9" y="85"/>
                </a:lnTo>
                <a:lnTo>
                  <a:pt x="4" y="81"/>
                </a:lnTo>
                <a:lnTo>
                  <a:pt x="1" y="77"/>
                </a:lnTo>
                <a:lnTo>
                  <a:pt x="0" y="74"/>
                </a:lnTo>
                <a:lnTo>
                  <a:pt x="5" y="71"/>
                </a:lnTo>
                <a:lnTo>
                  <a:pt x="10" y="67"/>
                </a:lnTo>
                <a:lnTo>
                  <a:pt x="14" y="60"/>
                </a:lnTo>
                <a:lnTo>
                  <a:pt x="20" y="53"/>
                </a:lnTo>
                <a:lnTo>
                  <a:pt x="23" y="45"/>
                </a:lnTo>
                <a:lnTo>
                  <a:pt x="27" y="37"/>
                </a:lnTo>
                <a:lnTo>
                  <a:pt x="30" y="28"/>
                </a:lnTo>
                <a:lnTo>
                  <a:pt x="33" y="19"/>
                </a:lnTo>
                <a:lnTo>
                  <a:pt x="66" y="14"/>
                </a:lnTo>
                <a:lnTo>
                  <a:pt x="103" y="9"/>
                </a:lnTo>
                <a:lnTo>
                  <a:pt x="145" y="4"/>
                </a:lnTo>
                <a:lnTo>
                  <a:pt x="193" y="0"/>
                </a:lnTo>
                <a:lnTo>
                  <a:pt x="166" y="31"/>
                </a:lnTo>
                <a:lnTo>
                  <a:pt x="166" y="34"/>
                </a:lnTo>
                <a:lnTo>
                  <a:pt x="164" y="37"/>
                </a:lnTo>
                <a:lnTo>
                  <a:pt x="162" y="39"/>
                </a:lnTo>
                <a:lnTo>
                  <a:pt x="161" y="41"/>
                </a:lnTo>
                <a:lnTo>
                  <a:pt x="157" y="45"/>
                </a:lnTo>
                <a:lnTo>
                  <a:pt x="156" y="47"/>
                </a:lnTo>
                <a:lnTo>
                  <a:pt x="156" y="49"/>
                </a:lnTo>
                <a:lnTo>
                  <a:pt x="157" y="50"/>
                </a:lnTo>
                <a:lnTo>
                  <a:pt x="159" y="50"/>
                </a:lnTo>
                <a:lnTo>
                  <a:pt x="163" y="51"/>
                </a:lnTo>
                <a:lnTo>
                  <a:pt x="177" y="53"/>
                </a:lnTo>
                <a:lnTo>
                  <a:pt x="200" y="55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32" name="Freeform 230"/>
          <p:cNvSpPr>
            <a:spLocks/>
          </p:cNvSpPr>
          <p:nvPr userDrawn="1">
            <p:custDataLst>
              <p:tags r:id="rId156"/>
            </p:custDataLst>
          </p:nvPr>
        </p:nvSpPr>
        <p:spPr bwMode="auto">
          <a:xfrm>
            <a:off x="4122737" y="1671650"/>
            <a:ext cx="84138" cy="54769"/>
          </a:xfrm>
          <a:custGeom>
            <a:avLst/>
            <a:gdLst>
              <a:gd name="T0" fmla="*/ 0 w 186"/>
              <a:gd name="T1" fmla="*/ 29619861 h 142"/>
              <a:gd name="T2" fmla="*/ 409381 w 186"/>
              <a:gd name="T3" fmla="*/ 30677694 h 142"/>
              <a:gd name="T4" fmla="*/ 613846 w 186"/>
              <a:gd name="T5" fmla="*/ 28297698 h 142"/>
              <a:gd name="T6" fmla="*/ 613846 w 186"/>
              <a:gd name="T7" fmla="*/ 24595023 h 142"/>
              <a:gd name="T8" fmla="*/ 1841536 w 186"/>
              <a:gd name="T9" fmla="*/ 21685852 h 142"/>
              <a:gd name="T10" fmla="*/ 3478608 w 186"/>
              <a:gd name="T11" fmla="*/ 18248022 h 142"/>
              <a:gd name="T12" fmla="*/ 4092455 w 186"/>
              <a:gd name="T13" fmla="*/ 14810188 h 142"/>
              <a:gd name="T14" fmla="*/ 4706300 w 186"/>
              <a:gd name="T15" fmla="*/ 12165347 h 142"/>
              <a:gd name="T16" fmla="*/ 5729526 w 186"/>
              <a:gd name="T17" fmla="*/ 9785350 h 142"/>
              <a:gd name="T18" fmla="*/ 7161681 w 186"/>
              <a:gd name="T19" fmla="*/ 8462672 h 142"/>
              <a:gd name="T20" fmla="*/ 8389826 w 186"/>
              <a:gd name="T21" fmla="*/ 10049680 h 142"/>
              <a:gd name="T22" fmla="*/ 8798755 w 186"/>
              <a:gd name="T23" fmla="*/ 12958850 h 142"/>
              <a:gd name="T24" fmla="*/ 9617517 w 186"/>
              <a:gd name="T25" fmla="*/ 15338847 h 142"/>
              <a:gd name="T26" fmla="*/ 11254588 w 186"/>
              <a:gd name="T27" fmla="*/ 17190188 h 142"/>
              <a:gd name="T28" fmla="*/ 17802426 w 186"/>
              <a:gd name="T29" fmla="*/ 17718848 h 142"/>
              <a:gd name="T30" fmla="*/ 16165354 w 186"/>
              <a:gd name="T31" fmla="*/ 10843183 h 142"/>
              <a:gd name="T32" fmla="*/ 14118898 w 186"/>
              <a:gd name="T33" fmla="*/ 9520506 h 142"/>
              <a:gd name="T34" fmla="*/ 12891207 w 186"/>
              <a:gd name="T35" fmla="*/ 7934011 h 142"/>
              <a:gd name="T36" fmla="*/ 12482279 w 186"/>
              <a:gd name="T37" fmla="*/ 6082673 h 142"/>
              <a:gd name="T38" fmla="*/ 14323815 w 186"/>
              <a:gd name="T39" fmla="*/ 4495666 h 142"/>
              <a:gd name="T40" fmla="*/ 17802426 w 186"/>
              <a:gd name="T41" fmla="*/ 3702675 h 142"/>
              <a:gd name="T42" fmla="*/ 20053343 w 186"/>
              <a:gd name="T43" fmla="*/ 2644842 h 142"/>
              <a:gd name="T44" fmla="*/ 22713188 w 186"/>
              <a:gd name="T45" fmla="*/ 1587008 h 142"/>
              <a:gd name="T46" fmla="*/ 26601177 w 186"/>
              <a:gd name="T47" fmla="*/ 793504 h 142"/>
              <a:gd name="T48" fmla="*/ 30079792 w 186"/>
              <a:gd name="T49" fmla="*/ 264330 h 142"/>
              <a:gd name="T50" fmla="*/ 32535173 w 186"/>
              <a:gd name="T51" fmla="*/ 529174 h 142"/>
              <a:gd name="T52" fmla="*/ 36013780 w 186"/>
              <a:gd name="T53" fmla="*/ 264330 h 142"/>
              <a:gd name="T54" fmla="*/ 37446388 w 186"/>
              <a:gd name="T55" fmla="*/ 2644842 h 142"/>
              <a:gd name="T56" fmla="*/ 36423161 w 186"/>
              <a:gd name="T57" fmla="*/ 6876177 h 142"/>
              <a:gd name="T58" fmla="*/ 34581625 w 186"/>
              <a:gd name="T59" fmla="*/ 10578339 h 142"/>
              <a:gd name="T60" fmla="*/ 32535173 w 186"/>
              <a:gd name="T61" fmla="*/ 13487510 h 142"/>
              <a:gd name="T62" fmla="*/ 31716863 w 186"/>
              <a:gd name="T63" fmla="*/ 16661011 h 142"/>
              <a:gd name="T64" fmla="*/ 31307482 w 186"/>
              <a:gd name="T65" fmla="*/ 20099359 h 142"/>
              <a:gd name="T66" fmla="*/ 24555177 w 186"/>
              <a:gd name="T67" fmla="*/ 37553878 h 142"/>
              <a:gd name="T68" fmla="*/ 16369819 w 186"/>
              <a:gd name="T69" fmla="*/ 32264702 h 142"/>
              <a:gd name="T70" fmla="*/ 7161681 w 186"/>
              <a:gd name="T71" fmla="*/ 30942024 h 142"/>
              <a:gd name="T72" fmla="*/ 1637072 w 186"/>
              <a:gd name="T73" fmla="*/ 29884191 h 14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186"/>
              <a:gd name="T112" fmla="*/ 0 h 142"/>
              <a:gd name="T113" fmla="*/ 186 w 186"/>
              <a:gd name="T114" fmla="*/ 142 h 142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186" h="142">
                <a:moveTo>
                  <a:pt x="0" y="111"/>
                </a:moveTo>
                <a:lnTo>
                  <a:pt x="0" y="112"/>
                </a:lnTo>
                <a:lnTo>
                  <a:pt x="1" y="114"/>
                </a:lnTo>
                <a:lnTo>
                  <a:pt x="2" y="116"/>
                </a:lnTo>
                <a:lnTo>
                  <a:pt x="7" y="117"/>
                </a:lnTo>
                <a:lnTo>
                  <a:pt x="3" y="107"/>
                </a:lnTo>
                <a:lnTo>
                  <a:pt x="2" y="99"/>
                </a:lnTo>
                <a:lnTo>
                  <a:pt x="3" y="93"/>
                </a:lnTo>
                <a:lnTo>
                  <a:pt x="6" y="87"/>
                </a:lnTo>
                <a:lnTo>
                  <a:pt x="9" y="82"/>
                </a:lnTo>
                <a:lnTo>
                  <a:pt x="13" y="76"/>
                </a:lnTo>
                <a:lnTo>
                  <a:pt x="17" y="69"/>
                </a:lnTo>
                <a:lnTo>
                  <a:pt x="20" y="61"/>
                </a:lnTo>
                <a:lnTo>
                  <a:pt x="20" y="56"/>
                </a:lnTo>
                <a:lnTo>
                  <a:pt x="21" y="51"/>
                </a:lnTo>
                <a:lnTo>
                  <a:pt x="23" y="46"/>
                </a:lnTo>
                <a:lnTo>
                  <a:pt x="25" y="42"/>
                </a:lnTo>
                <a:lnTo>
                  <a:pt x="28" y="37"/>
                </a:lnTo>
                <a:lnTo>
                  <a:pt x="31" y="34"/>
                </a:lnTo>
                <a:lnTo>
                  <a:pt x="35" y="32"/>
                </a:lnTo>
                <a:lnTo>
                  <a:pt x="40" y="31"/>
                </a:lnTo>
                <a:lnTo>
                  <a:pt x="41" y="38"/>
                </a:lnTo>
                <a:lnTo>
                  <a:pt x="41" y="43"/>
                </a:lnTo>
                <a:lnTo>
                  <a:pt x="43" y="49"/>
                </a:lnTo>
                <a:lnTo>
                  <a:pt x="45" y="54"/>
                </a:lnTo>
                <a:lnTo>
                  <a:pt x="47" y="58"/>
                </a:lnTo>
                <a:lnTo>
                  <a:pt x="51" y="62"/>
                </a:lnTo>
                <a:lnTo>
                  <a:pt x="55" y="65"/>
                </a:lnTo>
                <a:lnTo>
                  <a:pt x="59" y="67"/>
                </a:lnTo>
                <a:lnTo>
                  <a:pt x="87" y="67"/>
                </a:lnTo>
                <a:lnTo>
                  <a:pt x="87" y="43"/>
                </a:lnTo>
                <a:lnTo>
                  <a:pt x="79" y="41"/>
                </a:lnTo>
                <a:lnTo>
                  <a:pt x="74" y="38"/>
                </a:lnTo>
                <a:lnTo>
                  <a:pt x="69" y="36"/>
                </a:lnTo>
                <a:lnTo>
                  <a:pt x="66" y="33"/>
                </a:lnTo>
                <a:lnTo>
                  <a:pt x="63" y="30"/>
                </a:lnTo>
                <a:lnTo>
                  <a:pt x="62" y="27"/>
                </a:lnTo>
                <a:lnTo>
                  <a:pt x="61" y="23"/>
                </a:lnTo>
                <a:lnTo>
                  <a:pt x="59" y="18"/>
                </a:lnTo>
                <a:lnTo>
                  <a:pt x="70" y="17"/>
                </a:lnTo>
                <a:lnTo>
                  <a:pt x="79" y="16"/>
                </a:lnTo>
                <a:lnTo>
                  <a:pt x="87" y="14"/>
                </a:lnTo>
                <a:lnTo>
                  <a:pt x="92" y="12"/>
                </a:lnTo>
                <a:lnTo>
                  <a:pt x="98" y="10"/>
                </a:lnTo>
                <a:lnTo>
                  <a:pt x="103" y="8"/>
                </a:lnTo>
                <a:lnTo>
                  <a:pt x="111" y="6"/>
                </a:lnTo>
                <a:lnTo>
                  <a:pt x="120" y="6"/>
                </a:lnTo>
                <a:lnTo>
                  <a:pt x="130" y="3"/>
                </a:lnTo>
                <a:lnTo>
                  <a:pt x="140" y="0"/>
                </a:lnTo>
                <a:lnTo>
                  <a:pt x="147" y="1"/>
                </a:lnTo>
                <a:lnTo>
                  <a:pt x="154" y="2"/>
                </a:lnTo>
                <a:lnTo>
                  <a:pt x="159" y="2"/>
                </a:lnTo>
                <a:lnTo>
                  <a:pt x="165" y="2"/>
                </a:lnTo>
                <a:lnTo>
                  <a:pt x="176" y="1"/>
                </a:lnTo>
                <a:lnTo>
                  <a:pt x="186" y="0"/>
                </a:lnTo>
                <a:lnTo>
                  <a:pt x="183" y="10"/>
                </a:lnTo>
                <a:lnTo>
                  <a:pt x="181" y="19"/>
                </a:lnTo>
                <a:lnTo>
                  <a:pt x="178" y="26"/>
                </a:lnTo>
                <a:lnTo>
                  <a:pt x="176" y="32"/>
                </a:lnTo>
                <a:lnTo>
                  <a:pt x="169" y="40"/>
                </a:lnTo>
                <a:lnTo>
                  <a:pt x="165" y="45"/>
                </a:lnTo>
                <a:lnTo>
                  <a:pt x="159" y="51"/>
                </a:lnTo>
                <a:lnTo>
                  <a:pt x="156" y="58"/>
                </a:lnTo>
                <a:lnTo>
                  <a:pt x="155" y="63"/>
                </a:lnTo>
                <a:lnTo>
                  <a:pt x="154" y="69"/>
                </a:lnTo>
                <a:lnTo>
                  <a:pt x="153" y="76"/>
                </a:lnTo>
                <a:lnTo>
                  <a:pt x="153" y="86"/>
                </a:lnTo>
                <a:lnTo>
                  <a:pt x="120" y="142"/>
                </a:lnTo>
                <a:lnTo>
                  <a:pt x="93" y="123"/>
                </a:lnTo>
                <a:lnTo>
                  <a:pt x="80" y="122"/>
                </a:lnTo>
                <a:lnTo>
                  <a:pt x="52" y="119"/>
                </a:lnTo>
                <a:lnTo>
                  <a:pt x="35" y="117"/>
                </a:lnTo>
                <a:lnTo>
                  <a:pt x="20" y="115"/>
                </a:lnTo>
                <a:lnTo>
                  <a:pt x="8" y="113"/>
                </a:lnTo>
                <a:lnTo>
                  <a:pt x="0" y="111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33" name="Freeform 231"/>
          <p:cNvSpPr>
            <a:spLocks/>
          </p:cNvSpPr>
          <p:nvPr userDrawn="1">
            <p:custDataLst>
              <p:tags r:id="rId157"/>
            </p:custDataLst>
          </p:nvPr>
        </p:nvSpPr>
        <p:spPr bwMode="auto">
          <a:xfrm>
            <a:off x="4103687" y="1719274"/>
            <a:ext cx="84138" cy="42863"/>
          </a:xfrm>
          <a:custGeom>
            <a:avLst/>
            <a:gdLst>
              <a:gd name="T0" fmla="*/ 36870851 w 192"/>
              <a:gd name="T1" fmla="*/ 18070833 h 105"/>
              <a:gd name="T2" fmla="*/ 36294594 w 192"/>
              <a:gd name="T3" fmla="*/ 18367469 h 105"/>
              <a:gd name="T4" fmla="*/ 35334457 w 192"/>
              <a:gd name="T5" fmla="*/ 18663560 h 105"/>
              <a:gd name="T6" fmla="*/ 34566259 w 192"/>
              <a:gd name="T7" fmla="*/ 18959652 h 105"/>
              <a:gd name="T8" fmla="*/ 33990440 w 192"/>
              <a:gd name="T9" fmla="*/ 19848470 h 105"/>
              <a:gd name="T10" fmla="*/ 32262106 w 192"/>
              <a:gd name="T11" fmla="*/ 21330015 h 105"/>
              <a:gd name="T12" fmla="*/ 30725712 w 192"/>
              <a:gd name="T13" fmla="*/ 23403743 h 105"/>
              <a:gd name="T14" fmla="*/ 29573635 w 192"/>
              <a:gd name="T15" fmla="*/ 25477471 h 105"/>
              <a:gd name="T16" fmla="*/ 28229173 w 192"/>
              <a:gd name="T17" fmla="*/ 27551199 h 105"/>
              <a:gd name="T18" fmla="*/ 27460976 w 192"/>
              <a:gd name="T19" fmla="*/ 29328291 h 105"/>
              <a:gd name="T20" fmla="*/ 26692779 w 192"/>
              <a:gd name="T21" fmla="*/ 31105928 h 105"/>
              <a:gd name="T22" fmla="*/ 23044171 w 192"/>
              <a:gd name="T23" fmla="*/ 28736109 h 105"/>
              <a:gd name="T24" fmla="*/ 19587502 w 192"/>
              <a:gd name="T25" fmla="*/ 26365745 h 105"/>
              <a:gd name="T26" fmla="*/ 16515152 w 192"/>
              <a:gd name="T27" fmla="*/ 23699834 h 105"/>
              <a:gd name="T28" fmla="*/ 13250420 w 192"/>
              <a:gd name="T29" fmla="*/ 21033380 h 105"/>
              <a:gd name="T30" fmla="*/ 10178069 w 192"/>
              <a:gd name="T31" fmla="*/ 18070833 h 105"/>
              <a:gd name="T32" fmla="*/ 6913339 w 192"/>
              <a:gd name="T33" fmla="*/ 15701010 h 105"/>
              <a:gd name="T34" fmla="*/ 3648610 w 192"/>
              <a:gd name="T35" fmla="*/ 13035099 h 105"/>
              <a:gd name="T36" fmla="*/ 0 w 192"/>
              <a:gd name="T37" fmla="*/ 10961371 h 105"/>
              <a:gd name="T38" fmla="*/ 0 w 192"/>
              <a:gd name="T39" fmla="*/ 3851366 h 105"/>
              <a:gd name="T40" fmla="*/ 1344455 w 192"/>
              <a:gd name="T41" fmla="*/ 2073729 h 105"/>
              <a:gd name="T42" fmla="*/ 3072790 w 192"/>
              <a:gd name="T43" fmla="*/ 1184910 h 105"/>
              <a:gd name="T44" fmla="*/ 5568884 w 192"/>
              <a:gd name="T45" fmla="*/ 296091 h 105"/>
              <a:gd name="T46" fmla="*/ 7681537 w 192"/>
              <a:gd name="T47" fmla="*/ 0 h 105"/>
              <a:gd name="T48" fmla="*/ 11522085 w 192"/>
              <a:gd name="T49" fmla="*/ 592727 h 105"/>
              <a:gd name="T50" fmla="*/ 17859168 w 192"/>
              <a:gd name="T51" fmla="*/ 1481002 h 105"/>
              <a:gd name="T52" fmla="*/ 21315837 w 192"/>
              <a:gd name="T53" fmla="*/ 2073729 h 105"/>
              <a:gd name="T54" fmla="*/ 24580565 w 192"/>
              <a:gd name="T55" fmla="*/ 2073729 h 105"/>
              <a:gd name="T56" fmla="*/ 27460976 w 192"/>
              <a:gd name="T57" fmla="*/ 2073729 h 105"/>
              <a:gd name="T58" fmla="*/ 29381257 w 192"/>
              <a:gd name="T59" fmla="*/ 1777637 h 105"/>
              <a:gd name="T60" fmla="*/ 29765575 w 192"/>
              <a:gd name="T61" fmla="*/ 3258639 h 105"/>
              <a:gd name="T62" fmla="*/ 30533772 w 192"/>
              <a:gd name="T63" fmla="*/ 5036276 h 105"/>
              <a:gd name="T64" fmla="*/ 30917651 w 192"/>
              <a:gd name="T65" fmla="*/ 5925095 h 105"/>
              <a:gd name="T66" fmla="*/ 31493909 w 192"/>
              <a:gd name="T67" fmla="*/ 6813913 h 105"/>
              <a:gd name="T68" fmla="*/ 31685849 w 192"/>
              <a:gd name="T69" fmla="*/ 7998823 h 105"/>
              <a:gd name="T70" fmla="*/ 31877788 w 192"/>
              <a:gd name="T71" fmla="*/ 9183734 h 105"/>
              <a:gd name="T72" fmla="*/ 32645986 w 192"/>
              <a:gd name="T73" fmla="*/ 9479826 h 105"/>
              <a:gd name="T74" fmla="*/ 33990440 w 192"/>
              <a:gd name="T75" fmla="*/ 9775917 h 105"/>
              <a:gd name="T76" fmla="*/ 34566259 w 192"/>
              <a:gd name="T77" fmla="*/ 10072553 h 105"/>
              <a:gd name="T78" fmla="*/ 35142517 w 192"/>
              <a:gd name="T79" fmla="*/ 10072553 h 105"/>
              <a:gd name="T80" fmla="*/ 36102654 w 192"/>
              <a:gd name="T81" fmla="*/ 9775917 h 105"/>
              <a:gd name="T82" fmla="*/ 36870851 w 192"/>
              <a:gd name="T83" fmla="*/ 9183734 h 105"/>
              <a:gd name="T84" fmla="*/ 36870851 w 192"/>
              <a:gd name="T85" fmla="*/ 18070833 h 10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192"/>
              <a:gd name="T130" fmla="*/ 0 h 105"/>
              <a:gd name="T131" fmla="*/ 192 w 192"/>
              <a:gd name="T132" fmla="*/ 105 h 105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192" h="105">
                <a:moveTo>
                  <a:pt x="192" y="61"/>
                </a:moveTo>
                <a:lnTo>
                  <a:pt x="189" y="62"/>
                </a:lnTo>
                <a:lnTo>
                  <a:pt x="184" y="63"/>
                </a:lnTo>
                <a:lnTo>
                  <a:pt x="180" y="64"/>
                </a:lnTo>
                <a:lnTo>
                  <a:pt x="177" y="67"/>
                </a:lnTo>
                <a:lnTo>
                  <a:pt x="168" y="72"/>
                </a:lnTo>
                <a:lnTo>
                  <a:pt x="160" y="79"/>
                </a:lnTo>
                <a:lnTo>
                  <a:pt x="154" y="86"/>
                </a:lnTo>
                <a:lnTo>
                  <a:pt x="147" y="93"/>
                </a:lnTo>
                <a:lnTo>
                  <a:pt x="143" y="99"/>
                </a:lnTo>
                <a:lnTo>
                  <a:pt x="139" y="105"/>
                </a:lnTo>
                <a:lnTo>
                  <a:pt x="120" y="97"/>
                </a:lnTo>
                <a:lnTo>
                  <a:pt x="102" y="89"/>
                </a:lnTo>
                <a:lnTo>
                  <a:pt x="86" y="80"/>
                </a:lnTo>
                <a:lnTo>
                  <a:pt x="69" y="71"/>
                </a:lnTo>
                <a:lnTo>
                  <a:pt x="53" y="61"/>
                </a:lnTo>
                <a:lnTo>
                  <a:pt x="36" y="53"/>
                </a:lnTo>
                <a:lnTo>
                  <a:pt x="19" y="44"/>
                </a:lnTo>
                <a:lnTo>
                  <a:pt x="0" y="37"/>
                </a:lnTo>
                <a:lnTo>
                  <a:pt x="0" y="13"/>
                </a:lnTo>
                <a:lnTo>
                  <a:pt x="7" y="7"/>
                </a:lnTo>
                <a:lnTo>
                  <a:pt x="16" y="4"/>
                </a:lnTo>
                <a:lnTo>
                  <a:pt x="29" y="1"/>
                </a:lnTo>
                <a:lnTo>
                  <a:pt x="40" y="0"/>
                </a:lnTo>
                <a:lnTo>
                  <a:pt x="60" y="2"/>
                </a:lnTo>
                <a:lnTo>
                  <a:pt x="93" y="5"/>
                </a:lnTo>
                <a:lnTo>
                  <a:pt x="111" y="7"/>
                </a:lnTo>
                <a:lnTo>
                  <a:pt x="128" y="7"/>
                </a:lnTo>
                <a:lnTo>
                  <a:pt x="143" y="7"/>
                </a:lnTo>
                <a:lnTo>
                  <a:pt x="153" y="6"/>
                </a:lnTo>
                <a:lnTo>
                  <a:pt x="155" y="11"/>
                </a:lnTo>
                <a:lnTo>
                  <a:pt x="159" y="17"/>
                </a:lnTo>
                <a:lnTo>
                  <a:pt x="161" y="20"/>
                </a:lnTo>
                <a:lnTo>
                  <a:pt x="164" y="23"/>
                </a:lnTo>
                <a:lnTo>
                  <a:pt x="165" y="27"/>
                </a:lnTo>
                <a:lnTo>
                  <a:pt x="166" y="31"/>
                </a:lnTo>
                <a:lnTo>
                  <a:pt x="170" y="32"/>
                </a:lnTo>
                <a:lnTo>
                  <a:pt x="177" y="33"/>
                </a:lnTo>
                <a:lnTo>
                  <a:pt x="180" y="34"/>
                </a:lnTo>
                <a:lnTo>
                  <a:pt x="183" y="34"/>
                </a:lnTo>
                <a:lnTo>
                  <a:pt x="188" y="33"/>
                </a:lnTo>
                <a:lnTo>
                  <a:pt x="192" y="31"/>
                </a:lnTo>
                <a:lnTo>
                  <a:pt x="192" y="61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34" name="Freeform 232"/>
          <p:cNvSpPr>
            <a:spLocks/>
          </p:cNvSpPr>
          <p:nvPr userDrawn="1">
            <p:custDataLst>
              <p:tags r:id="rId158"/>
            </p:custDataLst>
          </p:nvPr>
        </p:nvSpPr>
        <p:spPr bwMode="auto">
          <a:xfrm>
            <a:off x="4902210" y="2134802"/>
            <a:ext cx="33337" cy="98822"/>
          </a:xfrm>
          <a:custGeom>
            <a:avLst/>
            <a:gdLst>
              <a:gd name="T0" fmla="*/ 5730630 w 80"/>
              <a:gd name="T1" fmla="*/ 0 h 254"/>
              <a:gd name="T2" fmla="*/ 6424873 w 80"/>
              <a:gd name="T3" fmla="*/ 537942 h 254"/>
              <a:gd name="T4" fmla="*/ 6946181 w 80"/>
              <a:gd name="T5" fmla="*/ 1076402 h 254"/>
              <a:gd name="T6" fmla="*/ 7467072 w 80"/>
              <a:gd name="T7" fmla="*/ 1883574 h 254"/>
              <a:gd name="T8" fmla="*/ 7987962 w 80"/>
              <a:gd name="T9" fmla="*/ 2690746 h 254"/>
              <a:gd name="T10" fmla="*/ 9029743 w 80"/>
              <a:gd name="T11" fmla="*/ 4843551 h 254"/>
              <a:gd name="T12" fmla="*/ 9724402 w 80"/>
              <a:gd name="T13" fmla="*/ 6727644 h 254"/>
              <a:gd name="T14" fmla="*/ 10766183 w 80"/>
              <a:gd name="T15" fmla="*/ 8611219 h 254"/>
              <a:gd name="T16" fmla="*/ 11634612 w 80"/>
              <a:gd name="T17" fmla="*/ 10225563 h 254"/>
              <a:gd name="T18" fmla="*/ 12155502 w 80"/>
              <a:gd name="T19" fmla="*/ 10764023 h 254"/>
              <a:gd name="T20" fmla="*/ 12676393 w 80"/>
              <a:gd name="T21" fmla="*/ 11301965 h 254"/>
              <a:gd name="T22" fmla="*/ 13197283 w 80"/>
              <a:gd name="T23" fmla="*/ 11571195 h 254"/>
              <a:gd name="T24" fmla="*/ 13891946 w 80"/>
              <a:gd name="T25" fmla="*/ 11840425 h 254"/>
              <a:gd name="T26" fmla="*/ 13891946 w 80"/>
              <a:gd name="T27" fmla="*/ 14262459 h 254"/>
              <a:gd name="T28" fmla="*/ 13891946 w 80"/>
              <a:gd name="T29" fmla="*/ 16683974 h 254"/>
              <a:gd name="T30" fmla="*/ 9203512 w 80"/>
              <a:gd name="T31" fmla="*/ 68351294 h 254"/>
              <a:gd name="T32" fmla="*/ 0 w 80"/>
              <a:gd name="T33" fmla="*/ 25026482 h 254"/>
              <a:gd name="T34" fmla="*/ 694660 w 80"/>
              <a:gd name="T35" fmla="*/ 23680850 h 254"/>
              <a:gd name="T36" fmla="*/ 1910210 w 80"/>
              <a:gd name="T37" fmla="*/ 19106012 h 254"/>
              <a:gd name="T38" fmla="*/ 2951991 w 80"/>
              <a:gd name="T39" fmla="*/ 15338861 h 254"/>
              <a:gd name="T40" fmla="*/ 3820420 w 80"/>
              <a:gd name="T41" fmla="*/ 11033253 h 254"/>
              <a:gd name="T42" fmla="*/ 4862201 w 80"/>
              <a:gd name="T43" fmla="*/ 6189183 h 254"/>
              <a:gd name="T44" fmla="*/ 5730630 w 80"/>
              <a:gd name="T45" fmla="*/ 0 h 25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80"/>
              <a:gd name="T70" fmla="*/ 0 h 254"/>
              <a:gd name="T71" fmla="*/ 80 w 80"/>
              <a:gd name="T72" fmla="*/ 254 h 254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80" h="254">
                <a:moveTo>
                  <a:pt x="33" y="0"/>
                </a:moveTo>
                <a:lnTo>
                  <a:pt x="37" y="2"/>
                </a:lnTo>
                <a:lnTo>
                  <a:pt x="40" y="4"/>
                </a:lnTo>
                <a:lnTo>
                  <a:pt x="43" y="7"/>
                </a:lnTo>
                <a:lnTo>
                  <a:pt x="46" y="10"/>
                </a:lnTo>
                <a:lnTo>
                  <a:pt x="52" y="18"/>
                </a:lnTo>
                <a:lnTo>
                  <a:pt x="56" y="25"/>
                </a:lnTo>
                <a:lnTo>
                  <a:pt x="62" y="32"/>
                </a:lnTo>
                <a:lnTo>
                  <a:pt x="67" y="38"/>
                </a:lnTo>
                <a:lnTo>
                  <a:pt x="70" y="40"/>
                </a:lnTo>
                <a:lnTo>
                  <a:pt x="73" y="42"/>
                </a:lnTo>
                <a:lnTo>
                  <a:pt x="76" y="43"/>
                </a:lnTo>
                <a:lnTo>
                  <a:pt x="80" y="44"/>
                </a:lnTo>
                <a:lnTo>
                  <a:pt x="80" y="53"/>
                </a:lnTo>
                <a:lnTo>
                  <a:pt x="80" y="62"/>
                </a:lnTo>
                <a:lnTo>
                  <a:pt x="53" y="254"/>
                </a:lnTo>
                <a:lnTo>
                  <a:pt x="0" y="93"/>
                </a:lnTo>
                <a:lnTo>
                  <a:pt x="4" y="88"/>
                </a:lnTo>
                <a:lnTo>
                  <a:pt x="11" y="71"/>
                </a:lnTo>
                <a:lnTo>
                  <a:pt x="17" y="57"/>
                </a:lnTo>
                <a:lnTo>
                  <a:pt x="22" y="41"/>
                </a:lnTo>
                <a:lnTo>
                  <a:pt x="28" y="23"/>
                </a:lnTo>
                <a:lnTo>
                  <a:pt x="33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35" name="Freeform 233"/>
          <p:cNvSpPr>
            <a:spLocks/>
          </p:cNvSpPr>
          <p:nvPr userDrawn="1">
            <p:custDataLst>
              <p:tags r:id="rId159"/>
            </p:custDataLst>
          </p:nvPr>
        </p:nvSpPr>
        <p:spPr bwMode="auto">
          <a:xfrm>
            <a:off x="4851402" y="2174094"/>
            <a:ext cx="69850" cy="97631"/>
          </a:xfrm>
          <a:custGeom>
            <a:avLst/>
            <a:gdLst>
              <a:gd name="T0" fmla="*/ 19943638 w 167"/>
              <a:gd name="T1" fmla="*/ 0 h 259"/>
              <a:gd name="T2" fmla="*/ 29215706 w 167"/>
              <a:gd name="T3" fmla="*/ 39155029 h 259"/>
              <a:gd name="T4" fmla="*/ 21168313 w 167"/>
              <a:gd name="T5" fmla="*/ 65426744 h 259"/>
              <a:gd name="T6" fmla="*/ 19768804 w 167"/>
              <a:gd name="T7" fmla="*/ 65426744 h 259"/>
              <a:gd name="T8" fmla="*/ 18718963 w 167"/>
              <a:gd name="T9" fmla="*/ 64921625 h 259"/>
              <a:gd name="T10" fmla="*/ 17494288 w 167"/>
              <a:gd name="T11" fmla="*/ 64163695 h 259"/>
              <a:gd name="T12" fmla="*/ 16619700 w 167"/>
              <a:gd name="T13" fmla="*/ 63405766 h 259"/>
              <a:gd name="T14" fmla="*/ 15569859 w 167"/>
              <a:gd name="T15" fmla="*/ 61889906 h 259"/>
              <a:gd name="T16" fmla="*/ 14870104 w 167"/>
              <a:gd name="T17" fmla="*/ 60626857 h 259"/>
              <a:gd name="T18" fmla="*/ 13995515 w 167"/>
              <a:gd name="T19" fmla="*/ 59363809 h 259"/>
              <a:gd name="T20" fmla="*/ 13295758 w 167"/>
              <a:gd name="T21" fmla="*/ 57848452 h 259"/>
              <a:gd name="T22" fmla="*/ 12071083 w 167"/>
              <a:gd name="T23" fmla="*/ 54817235 h 259"/>
              <a:gd name="T24" fmla="*/ 11371328 w 167"/>
              <a:gd name="T25" fmla="*/ 51785516 h 259"/>
              <a:gd name="T26" fmla="*/ 10846408 w 167"/>
              <a:gd name="T27" fmla="*/ 49007111 h 259"/>
              <a:gd name="T28" fmla="*/ 10846408 w 167"/>
              <a:gd name="T29" fmla="*/ 46733321 h 259"/>
              <a:gd name="T30" fmla="*/ 9621733 w 167"/>
              <a:gd name="T31" fmla="*/ 46481013 h 259"/>
              <a:gd name="T32" fmla="*/ 8921978 w 167"/>
              <a:gd name="T33" fmla="*/ 46228202 h 259"/>
              <a:gd name="T34" fmla="*/ 7872555 w 167"/>
              <a:gd name="T35" fmla="*/ 45975392 h 259"/>
              <a:gd name="T36" fmla="*/ 7347635 w 167"/>
              <a:gd name="T37" fmla="*/ 45470273 h 259"/>
              <a:gd name="T38" fmla="*/ 6822713 w 167"/>
              <a:gd name="T39" fmla="*/ 44712343 h 259"/>
              <a:gd name="T40" fmla="*/ 6297792 w 167"/>
              <a:gd name="T41" fmla="*/ 43954413 h 259"/>
              <a:gd name="T42" fmla="*/ 5948124 w 167"/>
              <a:gd name="T43" fmla="*/ 42944175 h 259"/>
              <a:gd name="T44" fmla="*/ 5598038 w 167"/>
              <a:gd name="T45" fmla="*/ 42186245 h 259"/>
              <a:gd name="T46" fmla="*/ 5248370 w 167"/>
              <a:gd name="T47" fmla="*/ 39912959 h 259"/>
              <a:gd name="T48" fmla="*/ 5073536 w 167"/>
              <a:gd name="T49" fmla="*/ 37639169 h 259"/>
              <a:gd name="T50" fmla="*/ 4898283 w 167"/>
              <a:gd name="T51" fmla="*/ 35365883 h 259"/>
              <a:gd name="T52" fmla="*/ 4898283 w 167"/>
              <a:gd name="T53" fmla="*/ 32586967 h 259"/>
              <a:gd name="T54" fmla="*/ 3674027 w 167"/>
              <a:gd name="T55" fmla="*/ 32586967 h 259"/>
              <a:gd name="T56" fmla="*/ 2799019 w 167"/>
              <a:gd name="T57" fmla="*/ 32081848 h 259"/>
              <a:gd name="T58" fmla="*/ 1924430 w 167"/>
              <a:gd name="T59" fmla="*/ 31576729 h 259"/>
              <a:gd name="T60" fmla="*/ 1224675 w 167"/>
              <a:gd name="T61" fmla="*/ 30565988 h 259"/>
              <a:gd name="T62" fmla="*/ 874589 w 167"/>
              <a:gd name="T63" fmla="*/ 29555750 h 259"/>
              <a:gd name="T64" fmla="*/ 350087 w 167"/>
              <a:gd name="T65" fmla="*/ 28292701 h 259"/>
              <a:gd name="T66" fmla="*/ 0 w 167"/>
              <a:gd name="T67" fmla="*/ 27029653 h 259"/>
              <a:gd name="T68" fmla="*/ 0 w 167"/>
              <a:gd name="T69" fmla="*/ 25513793 h 259"/>
              <a:gd name="T70" fmla="*/ 0 w 167"/>
              <a:gd name="T71" fmla="*/ 18945739 h 259"/>
              <a:gd name="T72" fmla="*/ 174834 w 167"/>
              <a:gd name="T73" fmla="*/ 12630491 h 259"/>
              <a:gd name="T74" fmla="*/ 2099264 w 167"/>
              <a:gd name="T75" fmla="*/ 13136113 h 259"/>
              <a:gd name="T76" fmla="*/ 3848861 w 167"/>
              <a:gd name="T77" fmla="*/ 13388421 h 259"/>
              <a:gd name="T78" fmla="*/ 5598038 w 167"/>
              <a:gd name="T79" fmla="*/ 13388421 h 259"/>
              <a:gd name="T80" fmla="*/ 7347635 w 167"/>
              <a:gd name="T81" fmla="*/ 13136113 h 259"/>
              <a:gd name="T82" fmla="*/ 8747144 w 167"/>
              <a:gd name="T83" fmla="*/ 12883302 h 259"/>
              <a:gd name="T84" fmla="*/ 10146653 w 167"/>
              <a:gd name="T85" fmla="*/ 12378183 h 259"/>
              <a:gd name="T86" fmla="*/ 11546162 w 167"/>
              <a:gd name="T87" fmla="*/ 11872561 h 259"/>
              <a:gd name="T88" fmla="*/ 12770837 w 167"/>
              <a:gd name="T89" fmla="*/ 11115134 h 259"/>
              <a:gd name="T90" fmla="*/ 13820681 w 167"/>
              <a:gd name="T91" fmla="*/ 10104394 h 259"/>
              <a:gd name="T92" fmla="*/ 15045356 w 167"/>
              <a:gd name="T93" fmla="*/ 9094156 h 259"/>
              <a:gd name="T94" fmla="*/ 15919945 w 167"/>
              <a:gd name="T95" fmla="*/ 7831105 h 259"/>
              <a:gd name="T96" fmla="*/ 16969786 w 167"/>
              <a:gd name="T97" fmla="*/ 6568056 h 259"/>
              <a:gd name="T98" fmla="*/ 18718963 w 167"/>
              <a:gd name="T99" fmla="*/ 3284028 h 259"/>
              <a:gd name="T100" fmla="*/ 19943638 w 167"/>
              <a:gd name="T101" fmla="*/ 0 h 25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167"/>
              <a:gd name="T154" fmla="*/ 0 h 259"/>
              <a:gd name="T155" fmla="*/ 167 w 167"/>
              <a:gd name="T156" fmla="*/ 259 h 259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167" h="259">
                <a:moveTo>
                  <a:pt x="114" y="0"/>
                </a:moveTo>
                <a:lnTo>
                  <a:pt x="167" y="155"/>
                </a:lnTo>
                <a:lnTo>
                  <a:pt x="121" y="259"/>
                </a:lnTo>
                <a:lnTo>
                  <a:pt x="113" y="259"/>
                </a:lnTo>
                <a:lnTo>
                  <a:pt x="107" y="257"/>
                </a:lnTo>
                <a:lnTo>
                  <a:pt x="100" y="254"/>
                </a:lnTo>
                <a:lnTo>
                  <a:pt x="95" y="251"/>
                </a:lnTo>
                <a:lnTo>
                  <a:pt x="89" y="245"/>
                </a:lnTo>
                <a:lnTo>
                  <a:pt x="85" y="240"/>
                </a:lnTo>
                <a:lnTo>
                  <a:pt x="80" y="235"/>
                </a:lnTo>
                <a:lnTo>
                  <a:pt x="76" y="229"/>
                </a:lnTo>
                <a:lnTo>
                  <a:pt x="69" y="217"/>
                </a:lnTo>
                <a:lnTo>
                  <a:pt x="65" y="205"/>
                </a:lnTo>
                <a:lnTo>
                  <a:pt x="62" y="194"/>
                </a:lnTo>
                <a:lnTo>
                  <a:pt x="62" y="185"/>
                </a:lnTo>
                <a:lnTo>
                  <a:pt x="55" y="184"/>
                </a:lnTo>
                <a:lnTo>
                  <a:pt x="51" y="183"/>
                </a:lnTo>
                <a:lnTo>
                  <a:pt x="45" y="182"/>
                </a:lnTo>
                <a:lnTo>
                  <a:pt x="42" y="180"/>
                </a:lnTo>
                <a:lnTo>
                  <a:pt x="39" y="177"/>
                </a:lnTo>
                <a:lnTo>
                  <a:pt x="36" y="174"/>
                </a:lnTo>
                <a:lnTo>
                  <a:pt x="34" y="170"/>
                </a:lnTo>
                <a:lnTo>
                  <a:pt x="32" y="167"/>
                </a:lnTo>
                <a:lnTo>
                  <a:pt x="30" y="158"/>
                </a:lnTo>
                <a:lnTo>
                  <a:pt x="29" y="149"/>
                </a:lnTo>
                <a:lnTo>
                  <a:pt x="28" y="140"/>
                </a:lnTo>
                <a:lnTo>
                  <a:pt x="28" y="129"/>
                </a:lnTo>
                <a:lnTo>
                  <a:pt x="21" y="129"/>
                </a:lnTo>
                <a:lnTo>
                  <a:pt x="16" y="127"/>
                </a:lnTo>
                <a:lnTo>
                  <a:pt x="11" y="125"/>
                </a:lnTo>
                <a:lnTo>
                  <a:pt x="7" y="121"/>
                </a:lnTo>
                <a:lnTo>
                  <a:pt x="5" y="117"/>
                </a:lnTo>
                <a:lnTo>
                  <a:pt x="2" y="112"/>
                </a:lnTo>
                <a:lnTo>
                  <a:pt x="0" y="107"/>
                </a:lnTo>
                <a:lnTo>
                  <a:pt x="0" y="101"/>
                </a:lnTo>
                <a:lnTo>
                  <a:pt x="0" y="75"/>
                </a:lnTo>
                <a:lnTo>
                  <a:pt x="1" y="50"/>
                </a:lnTo>
                <a:lnTo>
                  <a:pt x="12" y="52"/>
                </a:lnTo>
                <a:lnTo>
                  <a:pt x="22" y="53"/>
                </a:lnTo>
                <a:lnTo>
                  <a:pt x="32" y="53"/>
                </a:lnTo>
                <a:lnTo>
                  <a:pt x="42" y="52"/>
                </a:lnTo>
                <a:lnTo>
                  <a:pt x="50" y="51"/>
                </a:lnTo>
                <a:lnTo>
                  <a:pt x="58" y="49"/>
                </a:lnTo>
                <a:lnTo>
                  <a:pt x="66" y="47"/>
                </a:lnTo>
                <a:lnTo>
                  <a:pt x="73" y="44"/>
                </a:lnTo>
                <a:lnTo>
                  <a:pt x="79" y="40"/>
                </a:lnTo>
                <a:lnTo>
                  <a:pt x="86" y="36"/>
                </a:lnTo>
                <a:lnTo>
                  <a:pt x="91" y="31"/>
                </a:lnTo>
                <a:lnTo>
                  <a:pt x="97" y="26"/>
                </a:lnTo>
                <a:lnTo>
                  <a:pt x="107" y="13"/>
                </a:lnTo>
                <a:lnTo>
                  <a:pt x="114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36" name="Freeform 234"/>
          <p:cNvSpPr>
            <a:spLocks/>
          </p:cNvSpPr>
          <p:nvPr userDrawn="1">
            <p:custDataLst>
              <p:tags r:id="rId160"/>
            </p:custDataLst>
          </p:nvPr>
        </p:nvSpPr>
        <p:spPr bwMode="auto">
          <a:xfrm>
            <a:off x="3814764" y="1614500"/>
            <a:ext cx="96838" cy="108347"/>
          </a:xfrm>
          <a:custGeom>
            <a:avLst/>
            <a:gdLst>
              <a:gd name="T0" fmla="*/ 34268605 w 225"/>
              <a:gd name="T1" fmla="*/ 18761140 h 273"/>
              <a:gd name="T2" fmla="*/ 32046066 w 225"/>
              <a:gd name="T3" fmla="*/ 21841428 h 273"/>
              <a:gd name="T4" fmla="*/ 29452530 w 225"/>
              <a:gd name="T5" fmla="*/ 22961677 h 273"/>
              <a:gd name="T6" fmla="*/ 30193663 w 225"/>
              <a:gd name="T7" fmla="*/ 26041966 h 273"/>
              <a:gd name="T8" fmla="*/ 32231134 w 225"/>
              <a:gd name="T9" fmla="*/ 28281935 h 273"/>
              <a:gd name="T10" fmla="*/ 36121008 w 225"/>
              <a:gd name="T11" fmla="*/ 29402184 h 273"/>
              <a:gd name="T12" fmla="*/ 41678217 w 225"/>
              <a:gd name="T13" fmla="*/ 29682114 h 273"/>
              <a:gd name="T14" fmla="*/ 41678217 w 225"/>
              <a:gd name="T15" fmla="*/ 42563136 h 273"/>
              <a:gd name="T16" fmla="*/ 41493148 w 225"/>
              <a:gd name="T17" fmla="*/ 49283573 h 273"/>
              <a:gd name="T18" fmla="*/ 39825814 w 225"/>
              <a:gd name="T19" fmla="*/ 52363333 h 273"/>
              <a:gd name="T20" fmla="*/ 36491575 w 225"/>
              <a:gd name="T21" fmla="*/ 57404190 h 273"/>
              <a:gd name="T22" fmla="*/ 35565373 w 225"/>
              <a:gd name="T23" fmla="*/ 59924089 h 273"/>
              <a:gd name="T24" fmla="*/ 33157336 w 225"/>
              <a:gd name="T25" fmla="*/ 61044338 h 273"/>
              <a:gd name="T26" fmla="*/ 30378731 w 225"/>
              <a:gd name="T27" fmla="*/ 63004377 h 273"/>
              <a:gd name="T28" fmla="*/ 29452530 w 225"/>
              <a:gd name="T29" fmla="*/ 66084666 h 273"/>
              <a:gd name="T30" fmla="*/ 25933216 w 225"/>
              <a:gd name="T31" fmla="*/ 67764775 h 273"/>
              <a:gd name="T32" fmla="*/ 23710247 w 225"/>
              <a:gd name="T33" fmla="*/ 70564621 h 273"/>
              <a:gd name="T34" fmla="*/ 18709103 w 225"/>
              <a:gd name="T35" fmla="*/ 71404940 h 273"/>
              <a:gd name="T36" fmla="*/ 11113990 w 225"/>
              <a:gd name="T37" fmla="*/ 73085049 h 273"/>
              <a:gd name="T38" fmla="*/ 3519308 w 225"/>
              <a:gd name="T39" fmla="*/ 73085049 h 273"/>
              <a:gd name="T40" fmla="*/ 0 w 225"/>
              <a:gd name="T41" fmla="*/ 60764408 h 273"/>
              <a:gd name="T42" fmla="*/ 3889875 w 225"/>
              <a:gd name="T43" fmla="*/ 59364229 h 273"/>
              <a:gd name="T44" fmla="*/ 4816077 w 225"/>
              <a:gd name="T45" fmla="*/ 57404190 h 273"/>
              <a:gd name="T46" fmla="*/ 11113990 w 225"/>
              <a:gd name="T47" fmla="*/ 56563870 h 273"/>
              <a:gd name="T48" fmla="*/ 13336959 w 225"/>
              <a:gd name="T49" fmla="*/ 54043971 h 273"/>
              <a:gd name="T50" fmla="*/ 8891451 w 225"/>
              <a:gd name="T51" fmla="*/ 55443621 h 273"/>
              <a:gd name="T52" fmla="*/ 7409615 w 225"/>
              <a:gd name="T53" fmla="*/ 55163691 h 273"/>
              <a:gd name="T54" fmla="*/ 7224116 w 225"/>
              <a:gd name="T55" fmla="*/ 52643792 h 273"/>
              <a:gd name="T56" fmla="*/ 8520884 w 225"/>
              <a:gd name="T57" fmla="*/ 48443254 h 273"/>
              <a:gd name="T58" fmla="*/ 7224116 w 225"/>
              <a:gd name="T59" fmla="*/ 44803106 h 273"/>
              <a:gd name="T60" fmla="*/ 2593107 w 225"/>
              <a:gd name="T61" fmla="*/ 42002747 h 273"/>
              <a:gd name="T62" fmla="*/ 1111270 w 225"/>
              <a:gd name="T63" fmla="*/ 36402560 h 273"/>
              <a:gd name="T64" fmla="*/ 4075374 w 225"/>
              <a:gd name="T65" fmla="*/ 32202014 h 273"/>
              <a:gd name="T66" fmla="*/ 6483412 w 225"/>
              <a:gd name="T67" fmla="*/ 28561865 h 273"/>
              <a:gd name="T68" fmla="*/ 12596257 w 225"/>
              <a:gd name="T69" fmla="*/ 26321896 h 273"/>
              <a:gd name="T70" fmla="*/ 16671202 w 225"/>
              <a:gd name="T71" fmla="*/ 26321896 h 273"/>
              <a:gd name="T72" fmla="*/ 18523605 w 225"/>
              <a:gd name="T73" fmla="*/ 24641787 h 273"/>
              <a:gd name="T74" fmla="*/ 20005441 w 225"/>
              <a:gd name="T75" fmla="*/ 14561127 h 273"/>
              <a:gd name="T76" fmla="*/ 22228410 w 225"/>
              <a:gd name="T77" fmla="*/ 8680480 h 273"/>
              <a:gd name="T78" fmla="*/ 24080813 w 225"/>
              <a:gd name="T79" fmla="*/ 5600190 h 273"/>
              <a:gd name="T80" fmla="*/ 26118284 w 225"/>
              <a:gd name="T81" fmla="*/ 1960040 h 273"/>
              <a:gd name="T82" fmla="*/ 28711827 w 225"/>
              <a:gd name="T83" fmla="*/ 279930 h 273"/>
              <a:gd name="T84" fmla="*/ 33157336 w 225"/>
              <a:gd name="T85" fmla="*/ 840319 h 273"/>
              <a:gd name="T86" fmla="*/ 36121008 w 225"/>
              <a:gd name="T87" fmla="*/ 10640520 h 273"/>
              <a:gd name="T88" fmla="*/ 36306507 w 225"/>
              <a:gd name="T89" fmla="*/ 13160948 h 273"/>
              <a:gd name="T90" fmla="*/ 35194807 w 225"/>
              <a:gd name="T91" fmla="*/ 15680847 h 273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225"/>
              <a:gd name="T139" fmla="*/ 0 h 273"/>
              <a:gd name="T140" fmla="*/ 225 w 225"/>
              <a:gd name="T141" fmla="*/ 273 h 273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225" h="273">
                <a:moveTo>
                  <a:pt x="192" y="58"/>
                </a:moveTo>
                <a:lnTo>
                  <a:pt x="189" y="63"/>
                </a:lnTo>
                <a:lnTo>
                  <a:pt x="185" y="67"/>
                </a:lnTo>
                <a:lnTo>
                  <a:pt x="182" y="71"/>
                </a:lnTo>
                <a:lnTo>
                  <a:pt x="178" y="75"/>
                </a:lnTo>
                <a:lnTo>
                  <a:pt x="173" y="78"/>
                </a:lnTo>
                <a:lnTo>
                  <a:pt x="169" y="80"/>
                </a:lnTo>
                <a:lnTo>
                  <a:pt x="163" y="82"/>
                </a:lnTo>
                <a:lnTo>
                  <a:pt x="159" y="82"/>
                </a:lnTo>
                <a:lnTo>
                  <a:pt x="159" y="86"/>
                </a:lnTo>
                <a:lnTo>
                  <a:pt x="161" y="90"/>
                </a:lnTo>
                <a:lnTo>
                  <a:pt x="163" y="93"/>
                </a:lnTo>
                <a:lnTo>
                  <a:pt x="167" y="96"/>
                </a:lnTo>
                <a:lnTo>
                  <a:pt x="170" y="99"/>
                </a:lnTo>
                <a:lnTo>
                  <a:pt x="174" y="101"/>
                </a:lnTo>
                <a:lnTo>
                  <a:pt x="179" y="102"/>
                </a:lnTo>
                <a:lnTo>
                  <a:pt x="184" y="103"/>
                </a:lnTo>
                <a:lnTo>
                  <a:pt x="195" y="105"/>
                </a:lnTo>
                <a:lnTo>
                  <a:pt x="206" y="106"/>
                </a:lnTo>
                <a:lnTo>
                  <a:pt x="216" y="106"/>
                </a:lnTo>
                <a:lnTo>
                  <a:pt x="225" y="106"/>
                </a:lnTo>
                <a:lnTo>
                  <a:pt x="225" y="124"/>
                </a:lnTo>
                <a:lnTo>
                  <a:pt x="225" y="138"/>
                </a:lnTo>
                <a:lnTo>
                  <a:pt x="225" y="152"/>
                </a:lnTo>
                <a:lnTo>
                  <a:pt x="225" y="169"/>
                </a:lnTo>
                <a:lnTo>
                  <a:pt x="225" y="172"/>
                </a:lnTo>
                <a:lnTo>
                  <a:pt x="224" y="176"/>
                </a:lnTo>
                <a:lnTo>
                  <a:pt x="222" y="179"/>
                </a:lnTo>
                <a:lnTo>
                  <a:pt x="220" y="182"/>
                </a:lnTo>
                <a:lnTo>
                  <a:pt x="215" y="187"/>
                </a:lnTo>
                <a:lnTo>
                  <a:pt x="208" y="193"/>
                </a:lnTo>
                <a:lnTo>
                  <a:pt x="203" y="199"/>
                </a:lnTo>
                <a:lnTo>
                  <a:pt x="197" y="205"/>
                </a:lnTo>
                <a:lnTo>
                  <a:pt x="195" y="208"/>
                </a:lnTo>
                <a:lnTo>
                  <a:pt x="193" y="211"/>
                </a:lnTo>
                <a:lnTo>
                  <a:pt x="192" y="214"/>
                </a:lnTo>
                <a:lnTo>
                  <a:pt x="192" y="217"/>
                </a:lnTo>
                <a:lnTo>
                  <a:pt x="184" y="218"/>
                </a:lnTo>
                <a:lnTo>
                  <a:pt x="179" y="218"/>
                </a:lnTo>
                <a:lnTo>
                  <a:pt x="172" y="220"/>
                </a:lnTo>
                <a:lnTo>
                  <a:pt x="168" y="223"/>
                </a:lnTo>
                <a:lnTo>
                  <a:pt x="164" y="225"/>
                </a:lnTo>
                <a:lnTo>
                  <a:pt x="161" y="229"/>
                </a:lnTo>
                <a:lnTo>
                  <a:pt x="159" y="232"/>
                </a:lnTo>
                <a:lnTo>
                  <a:pt x="159" y="236"/>
                </a:lnTo>
                <a:lnTo>
                  <a:pt x="151" y="237"/>
                </a:lnTo>
                <a:lnTo>
                  <a:pt x="146" y="239"/>
                </a:lnTo>
                <a:lnTo>
                  <a:pt x="140" y="242"/>
                </a:lnTo>
                <a:lnTo>
                  <a:pt x="136" y="246"/>
                </a:lnTo>
                <a:lnTo>
                  <a:pt x="131" y="249"/>
                </a:lnTo>
                <a:lnTo>
                  <a:pt x="128" y="252"/>
                </a:lnTo>
                <a:lnTo>
                  <a:pt x="124" y="254"/>
                </a:lnTo>
                <a:lnTo>
                  <a:pt x="118" y="255"/>
                </a:lnTo>
                <a:lnTo>
                  <a:pt x="101" y="255"/>
                </a:lnTo>
                <a:lnTo>
                  <a:pt x="85" y="257"/>
                </a:lnTo>
                <a:lnTo>
                  <a:pt x="72" y="259"/>
                </a:lnTo>
                <a:lnTo>
                  <a:pt x="60" y="261"/>
                </a:lnTo>
                <a:lnTo>
                  <a:pt x="38" y="267"/>
                </a:lnTo>
                <a:lnTo>
                  <a:pt x="13" y="273"/>
                </a:lnTo>
                <a:lnTo>
                  <a:pt x="19" y="261"/>
                </a:lnTo>
                <a:lnTo>
                  <a:pt x="10" y="261"/>
                </a:lnTo>
                <a:lnTo>
                  <a:pt x="0" y="261"/>
                </a:lnTo>
                <a:lnTo>
                  <a:pt x="0" y="217"/>
                </a:lnTo>
                <a:lnTo>
                  <a:pt x="8" y="216"/>
                </a:lnTo>
                <a:lnTo>
                  <a:pt x="17" y="214"/>
                </a:lnTo>
                <a:lnTo>
                  <a:pt x="21" y="212"/>
                </a:lnTo>
                <a:lnTo>
                  <a:pt x="24" y="210"/>
                </a:lnTo>
                <a:lnTo>
                  <a:pt x="25" y="208"/>
                </a:lnTo>
                <a:lnTo>
                  <a:pt x="26" y="205"/>
                </a:lnTo>
                <a:lnTo>
                  <a:pt x="40" y="205"/>
                </a:lnTo>
                <a:lnTo>
                  <a:pt x="54" y="204"/>
                </a:lnTo>
                <a:lnTo>
                  <a:pt x="60" y="202"/>
                </a:lnTo>
                <a:lnTo>
                  <a:pt x="64" y="200"/>
                </a:lnTo>
                <a:lnTo>
                  <a:pt x="69" y="197"/>
                </a:lnTo>
                <a:lnTo>
                  <a:pt x="72" y="193"/>
                </a:lnTo>
                <a:lnTo>
                  <a:pt x="64" y="195"/>
                </a:lnTo>
                <a:lnTo>
                  <a:pt x="54" y="198"/>
                </a:lnTo>
                <a:lnTo>
                  <a:pt x="48" y="198"/>
                </a:lnTo>
                <a:lnTo>
                  <a:pt x="44" y="198"/>
                </a:lnTo>
                <a:lnTo>
                  <a:pt x="41" y="198"/>
                </a:lnTo>
                <a:lnTo>
                  <a:pt x="40" y="197"/>
                </a:lnTo>
                <a:lnTo>
                  <a:pt x="39" y="195"/>
                </a:lnTo>
                <a:lnTo>
                  <a:pt x="39" y="193"/>
                </a:lnTo>
                <a:lnTo>
                  <a:pt x="39" y="188"/>
                </a:lnTo>
                <a:lnTo>
                  <a:pt x="41" y="183"/>
                </a:lnTo>
                <a:lnTo>
                  <a:pt x="44" y="178"/>
                </a:lnTo>
                <a:lnTo>
                  <a:pt x="46" y="173"/>
                </a:lnTo>
                <a:lnTo>
                  <a:pt x="50" y="166"/>
                </a:lnTo>
                <a:lnTo>
                  <a:pt x="52" y="162"/>
                </a:lnTo>
                <a:lnTo>
                  <a:pt x="39" y="160"/>
                </a:lnTo>
                <a:lnTo>
                  <a:pt x="28" y="157"/>
                </a:lnTo>
                <a:lnTo>
                  <a:pt x="21" y="154"/>
                </a:lnTo>
                <a:lnTo>
                  <a:pt x="14" y="150"/>
                </a:lnTo>
                <a:lnTo>
                  <a:pt x="10" y="145"/>
                </a:lnTo>
                <a:lnTo>
                  <a:pt x="7" y="138"/>
                </a:lnTo>
                <a:lnTo>
                  <a:pt x="6" y="130"/>
                </a:lnTo>
                <a:lnTo>
                  <a:pt x="6" y="120"/>
                </a:lnTo>
                <a:lnTo>
                  <a:pt x="15" y="117"/>
                </a:lnTo>
                <a:lnTo>
                  <a:pt x="22" y="115"/>
                </a:lnTo>
                <a:lnTo>
                  <a:pt x="26" y="112"/>
                </a:lnTo>
                <a:lnTo>
                  <a:pt x="30" y="109"/>
                </a:lnTo>
                <a:lnTo>
                  <a:pt x="35" y="102"/>
                </a:lnTo>
                <a:lnTo>
                  <a:pt x="39" y="94"/>
                </a:lnTo>
                <a:lnTo>
                  <a:pt x="56" y="94"/>
                </a:lnTo>
                <a:lnTo>
                  <a:pt x="68" y="94"/>
                </a:lnTo>
                <a:lnTo>
                  <a:pt x="77" y="94"/>
                </a:lnTo>
                <a:lnTo>
                  <a:pt x="85" y="94"/>
                </a:lnTo>
                <a:lnTo>
                  <a:pt x="90" y="94"/>
                </a:lnTo>
                <a:lnTo>
                  <a:pt x="94" y="93"/>
                </a:lnTo>
                <a:lnTo>
                  <a:pt x="97" y="91"/>
                </a:lnTo>
                <a:lnTo>
                  <a:pt x="100" y="88"/>
                </a:lnTo>
                <a:lnTo>
                  <a:pt x="104" y="82"/>
                </a:lnTo>
                <a:lnTo>
                  <a:pt x="106" y="73"/>
                </a:lnTo>
                <a:lnTo>
                  <a:pt x="108" y="52"/>
                </a:lnTo>
                <a:lnTo>
                  <a:pt x="112" y="33"/>
                </a:lnTo>
                <a:lnTo>
                  <a:pt x="117" y="32"/>
                </a:lnTo>
                <a:lnTo>
                  <a:pt x="120" y="31"/>
                </a:lnTo>
                <a:lnTo>
                  <a:pt x="124" y="29"/>
                </a:lnTo>
                <a:lnTo>
                  <a:pt x="126" y="26"/>
                </a:lnTo>
                <a:lnTo>
                  <a:pt x="130" y="20"/>
                </a:lnTo>
                <a:lnTo>
                  <a:pt x="136" y="13"/>
                </a:lnTo>
                <a:lnTo>
                  <a:pt x="138" y="10"/>
                </a:lnTo>
                <a:lnTo>
                  <a:pt x="141" y="7"/>
                </a:lnTo>
                <a:lnTo>
                  <a:pt x="145" y="4"/>
                </a:lnTo>
                <a:lnTo>
                  <a:pt x="149" y="2"/>
                </a:lnTo>
                <a:lnTo>
                  <a:pt x="155" y="1"/>
                </a:lnTo>
                <a:lnTo>
                  <a:pt x="161" y="0"/>
                </a:lnTo>
                <a:lnTo>
                  <a:pt x="169" y="1"/>
                </a:lnTo>
                <a:lnTo>
                  <a:pt x="179" y="3"/>
                </a:lnTo>
                <a:lnTo>
                  <a:pt x="186" y="20"/>
                </a:lnTo>
                <a:lnTo>
                  <a:pt x="194" y="34"/>
                </a:lnTo>
                <a:lnTo>
                  <a:pt x="195" y="38"/>
                </a:lnTo>
                <a:lnTo>
                  <a:pt x="196" y="41"/>
                </a:lnTo>
                <a:lnTo>
                  <a:pt x="196" y="44"/>
                </a:lnTo>
                <a:lnTo>
                  <a:pt x="196" y="47"/>
                </a:lnTo>
                <a:lnTo>
                  <a:pt x="195" y="50"/>
                </a:lnTo>
                <a:lnTo>
                  <a:pt x="193" y="52"/>
                </a:lnTo>
                <a:lnTo>
                  <a:pt x="190" y="56"/>
                </a:lnTo>
                <a:lnTo>
                  <a:pt x="185" y="58"/>
                </a:lnTo>
                <a:lnTo>
                  <a:pt x="192" y="58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37" name="Freeform 235"/>
          <p:cNvSpPr>
            <a:spLocks/>
          </p:cNvSpPr>
          <p:nvPr userDrawn="1">
            <p:custDataLst>
              <p:tags r:id="rId161"/>
            </p:custDataLst>
          </p:nvPr>
        </p:nvSpPr>
        <p:spPr bwMode="auto">
          <a:xfrm>
            <a:off x="3665541" y="2297917"/>
            <a:ext cx="306388" cy="292894"/>
          </a:xfrm>
          <a:custGeom>
            <a:avLst/>
            <a:gdLst>
              <a:gd name="T0" fmla="*/ 163943991 w 232"/>
              <a:gd name="T1" fmla="*/ 610000097 h 248"/>
              <a:gd name="T2" fmla="*/ 167431795 w 232"/>
              <a:gd name="T3" fmla="*/ 602561227 h 248"/>
              <a:gd name="T4" fmla="*/ 170920919 w 232"/>
              <a:gd name="T5" fmla="*/ 590162061 h 248"/>
              <a:gd name="T6" fmla="*/ 174408764 w 232"/>
              <a:gd name="T7" fmla="*/ 575284322 h 248"/>
              <a:gd name="T8" fmla="*/ 179641130 w 232"/>
              <a:gd name="T9" fmla="*/ 572804174 h 248"/>
              <a:gd name="T10" fmla="*/ 181384372 w 232"/>
              <a:gd name="T11" fmla="*/ 590162061 h 248"/>
              <a:gd name="T12" fmla="*/ 184873497 w 232"/>
              <a:gd name="T13" fmla="*/ 597600931 h 248"/>
              <a:gd name="T14" fmla="*/ 188361300 w 232"/>
              <a:gd name="T15" fmla="*/ 600081079 h 248"/>
              <a:gd name="T16" fmla="*/ 191849104 w 232"/>
              <a:gd name="T17" fmla="*/ 600081079 h 248"/>
              <a:gd name="T18" fmla="*/ 197081470 w 232"/>
              <a:gd name="T19" fmla="*/ 597600931 h 248"/>
              <a:gd name="T20" fmla="*/ 202313837 w 232"/>
              <a:gd name="T21" fmla="*/ 590162061 h 248"/>
              <a:gd name="T22" fmla="*/ 376722601 w 232"/>
              <a:gd name="T23" fmla="*/ 580243044 h 248"/>
              <a:gd name="T24" fmla="*/ 371490235 w 232"/>
              <a:gd name="T25" fmla="*/ 505852774 h 248"/>
              <a:gd name="T26" fmla="*/ 361025503 w 232"/>
              <a:gd name="T27" fmla="*/ 342194396 h 248"/>
              <a:gd name="T28" fmla="*/ 350560770 w 232"/>
              <a:gd name="T29" fmla="*/ 181016216 h 248"/>
              <a:gd name="T30" fmla="*/ 345328322 w 232"/>
              <a:gd name="T31" fmla="*/ 106625946 h 248"/>
              <a:gd name="T32" fmla="*/ 374978039 w 232"/>
              <a:gd name="T33" fmla="*/ 109106094 h 248"/>
              <a:gd name="T34" fmla="*/ 404627673 w 232"/>
              <a:gd name="T35" fmla="*/ 114064815 h 248"/>
              <a:gd name="T36" fmla="*/ 280798007 w 232"/>
              <a:gd name="T37" fmla="*/ 4958723 h 248"/>
              <a:gd name="T38" fmla="*/ 279053445 w 232"/>
              <a:gd name="T39" fmla="*/ 19838041 h 248"/>
              <a:gd name="T40" fmla="*/ 280798007 w 232"/>
              <a:gd name="T41" fmla="*/ 44634804 h 248"/>
              <a:gd name="T42" fmla="*/ 170920919 w 232"/>
              <a:gd name="T43" fmla="*/ 59512556 h 248"/>
              <a:gd name="T44" fmla="*/ 170920919 w 232"/>
              <a:gd name="T45" fmla="*/ 183496364 h 248"/>
              <a:gd name="T46" fmla="*/ 165688553 w 232"/>
              <a:gd name="T47" fmla="*/ 188455085 h 248"/>
              <a:gd name="T48" fmla="*/ 151736017 w 232"/>
              <a:gd name="T49" fmla="*/ 193413807 h 248"/>
              <a:gd name="T50" fmla="*/ 125574187 w 232"/>
              <a:gd name="T51" fmla="*/ 203332824 h 248"/>
              <a:gd name="T52" fmla="*/ 129061990 w 232"/>
              <a:gd name="T53" fmla="*/ 218210613 h 248"/>
              <a:gd name="T54" fmla="*/ 136038919 w 232"/>
              <a:gd name="T55" fmla="*/ 238048648 h 248"/>
              <a:gd name="T56" fmla="*/ 139526723 w 232"/>
              <a:gd name="T57" fmla="*/ 260365256 h 248"/>
              <a:gd name="T58" fmla="*/ 141271285 w 232"/>
              <a:gd name="T59" fmla="*/ 285162013 h 248"/>
              <a:gd name="T60" fmla="*/ 15697103 w 232"/>
              <a:gd name="T61" fmla="*/ 295081031 h 248"/>
              <a:gd name="T62" fmla="*/ 8720173 w 232"/>
              <a:gd name="T63" fmla="*/ 322357936 h 248"/>
              <a:gd name="T64" fmla="*/ 10464735 w 232"/>
              <a:gd name="T65" fmla="*/ 354593562 h 248"/>
              <a:gd name="T66" fmla="*/ 13952541 w 232"/>
              <a:gd name="T67" fmla="*/ 384349040 h 248"/>
              <a:gd name="T68" fmla="*/ 15697103 w 232"/>
              <a:gd name="T69" fmla="*/ 416584765 h 248"/>
              <a:gd name="T70" fmla="*/ 15697103 w 232"/>
              <a:gd name="T71" fmla="*/ 451300539 h 248"/>
              <a:gd name="T72" fmla="*/ 13952541 w 232"/>
              <a:gd name="T73" fmla="*/ 481056017 h 248"/>
              <a:gd name="T74" fmla="*/ 10464735 w 232"/>
              <a:gd name="T75" fmla="*/ 510813070 h 248"/>
              <a:gd name="T76" fmla="*/ 3487805 w 232"/>
              <a:gd name="T77" fmla="*/ 535609827 h 248"/>
              <a:gd name="T78" fmla="*/ 3487805 w 232"/>
              <a:gd name="T79" fmla="*/ 543048696 h 248"/>
              <a:gd name="T80" fmla="*/ 5232367 w 232"/>
              <a:gd name="T81" fmla="*/ 545527270 h 248"/>
              <a:gd name="T82" fmla="*/ 5232367 w 232"/>
              <a:gd name="T83" fmla="*/ 550487566 h 248"/>
              <a:gd name="T84" fmla="*/ 12207979 w 232"/>
              <a:gd name="T85" fmla="*/ 538088400 h 248"/>
              <a:gd name="T86" fmla="*/ 31392886 w 232"/>
              <a:gd name="T87" fmla="*/ 528170957 h 248"/>
              <a:gd name="T88" fmla="*/ 62787093 w 232"/>
              <a:gd name="T89" fmla="*/ 513291643 h 248"/>
              <a:gd name="T90" fmla="*/ 78484192 w 232"/>
              <a:gd name="T91" fmla="*/ 515771791 h 248"/>
              <a:gd name="T92" fmla="*/ 88948944 w 232"/>
              <a:gd name="T93" fmla="*/ 525690809 h 248"/>
              <a:gd name="T94" fmla="*/ 97669114 w 232"/>
              <a:gd name="T95" fmla="*/ 530649530 h 248"/>
              <a:gd name="T96" fmla="*/ 108133847 w 232"/>
              <a:gd name="T97" fmla="*/ 533129679 h 248"/>
              <a:gd name="T98" fmla="*/ 115109454 w 232"/>
              <a:gd name="T99" fmla="*/ 543048696 h 248"/>
              <a:gd name="T100" fmla="*/ 116854017 w 232"/>
              <a:gd name="T101" fmla="*/ 557926435 h 248"/>
              <a:gd name="T102" fmla="*/ 122086383 w 232"/>
              <a:gd name="T103" fmla="*/ 572804174 h 248"/>
              <a:gd name="T104" fmla="*/ 129061990 w 232"/>
              <a:gd name="T105" fmla="*/ 582723192 h 248"/>
              <a:gd name="T106" fmla="*/ 148246893 w 232"/>
              <a:gd name="T107" fmla="*/ 602561227 h 248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232"/>
              <a:gd name="T163" fmla="*/ 0 h 248"/>
              <a:gd name="T164" fmla="*/ 232 w 232"/>
              <a:gd name="T165" fmla="*/ 248 h 248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232" h="248">
                <a:moveTo>
                  <a:pt x="91" y="248"/>
                </a:moveTo>
                <a:lnTo>
                  <a:pt x="94" y="246"/>
                </a:lnTo>
                <a:lnTo>
                  <a:pt x="95" y="245"/>
                </a:lnTo>
                <a:lnTo>
                  <a:pt x="96" y="243"/>
                </a:lnTo>
                <a:lnTo>
                  <a:pt x="97" y="240"/>
                </a:lnTo>
                <a:lnTo>
                  <a:pt x="98" y="238"/>
                </a:lnTo>
                <a:lnTo>
                  <a:pt x="99" y="235"/>
                </a:lnTo>
                <a:lnTo>
                  <a:pt x="100" y="232"/>
                </a:lnTo>
                <a:lnTo>
                  <a:pt x="103" y="230"/>
                </a:lnTo>
                <a:lnTo>
                  <a:pt x="103" y="231"/>
                </a:lnTo>
                <a:lnTo>
                  <a:pt x="103" y="236"/>
                </a:lnTo>
                <a:lnTo>
                  <a:pt x="104" y="238"/>
                </a:lnTo>
                <a:lnTo>
                  <a:pt x="105" y="240"/>
                </a:lnTo>
                <a:lnTo>
                  <a:pt x="106" y="241"/>
                </a:lnTo>
                <a:lnTo>
                  <a:pt x="107" y="241"/>
                </a:lnTo>
                <a:lnTo>
                  <a:pt x="108" y="242"/>
                </a:lnTo>
                <a:lnTo>
                  <a:pt x="109" y="242"/>
                </a:lnTo>
                <a:lnTo>
                  <a:pt x="110" y="242"/>
                </a:lnTo>
                <a:lnTo>
                  <a:pt x="112" y="241"/>
                </a:lnTo>
                <a:lnTo>
                  <a:pt x="113" y="241"/>
                </a:lnTo>
                <a:lnTo>
                  <a:pt x="114" y="240"/>
                </a:lnTo>
                <a:lnTo>
                  <a:pt x="116" y="238"/>
                </a:lnTo>
                <a:lnTo>
                  <a:pt x="118" y="236"/>
                </a:lnTo>
                <a:lnTo>
                  <a:pt x="216" y="234"/>
                </a:lnTo>
                <a:lnTo>
                  <a:pt x="215" y="225"/>
                </a:lnTo>
                <a:lnTo>
                  <a:pt x="213" y="204"/>
                </a:lnTo>
                <a:lnTo>
                  <a:pt x="210" y="173"/>
                </a:lnTo>
                <a:lnTo>
                  <a:pt x="207" y="138"/>
                </a:lnTo>
                <a:lnTo>
                  <a:pt x="204" y="103"/>
                </a:lnTo>
                <a:lnTo>
                  <a:pt x="201" y="73"/>
                </a:lnTo>
                <a:lnTo>
                  <a:pt x="199" y="51"/>
                </a:lnTo>
                <a:lnTo>
                  <a:pt x="198" y="43"/>
                </a:lnTo>
                <a:lnTo>
                  <a:pt x="203" y="43"/>
                </a:lnTo>
                <a:lnTo>
                  <a:pt x="215" y="44"/>
                </a:lnTo>
                <a:lnTo>
                  <a:pt x="226" y="45"/>
                </a:lnTo>
                <a:lnTo>
                  <a:pt x="232" y="46"/>
                </a:lnTo>
                <a:lnTo>
                  <a:pt x="161" y="0"/>
                </a:lnTo>
                <a:lnTo>
                  <a:pt x="161" y="2"/>
                </a:lnTo>
                <a:lnTo>
                  <a:pt x="160" y="5"/>
                </a:lnTo>
                <a:lnTo>
                  <a:pt x="160" y="8"/>
                </a:lnTo>
                <a:lnTo>
                  <a:pt x="161" y="11"/>
                </a:lnTo>
                <a:lnTo>
                  <a:pt x="161" y="18"/>
                </a:lnTo>
                <a:lnTo>
                  <a:pt x="161" y="24"/>
                </a:lnTo>
                <a:lnTo>
                  <a:pt x="98" y="24"/>
                </a:lnTo>
                <a:lnTo>
                  <a:pt x="94" y="22"/>
                </a:lnTo>
                <a:lnTo>
                  <a:pt x="98" y="74"/>
                </a:lnTo>
                <a:lnTo>
                  <a:pt x="97" y="75"/>
                </a:lnTo>
                <a:lnTo>
                  <a:pt x="95" y="76"/>
                </a:lnTo>
                <a:lnTo>
                  <a:pt x="91" y="77"/>
                </a:lnTo>
                <a:lnTo>
                  <a:pt x="87" y="78"/>
                </a:lnTo>
                <a:lnTo>
                  <a:pt x="78" y="80"/>
                </a:lnTo>
                <a:lnTo>
                  <a:pt x="72" y="82"/>
                </a:lnTo>
                <a:lnTo>
                  <a:pt x="73" y="85"/>
                </a:lnTo>
                <a:lnTo>
                  <a:pt x="74" y="88"/>
                </a:lnTo>
                <a:lnTo>
                  <a:pt x="76" y="92"/>
                </a:lnTo>
                <a:lnTo>
                  <a:pt x="78" y="96"/>
                </a:lnTo>
                <a:lnTo>
                  <a:pt x="79" y="99"/>
                </a:lnTo>
                <a:lnTo>
                  <a:pt x="80" y="105"/>
                </a:lnTo>
                <a:lnTo>
                  <a:pt x="80" y="112"/>
                </a:lnTo>
                <a:lnTo>
                  <a:pt x="81" y="115"/>
                </a:lnTo>
                <a:lnTo>
                  <a:pt x="13" y="115"/>
                </a:lnTo>
                <a:lnTo>
                  <a:pt x="9" y="119"/>
                </a:lnTo>
                <a:lnTo>
                  <a:pt x="4" y="123"/>
                </a:lnTo>
                <a:lnTo>
                  <a:pt x="5" y="130"/>
                </a:lnTo>
                <a:lnTo>
                  <a:pt x="5" y="137"/>
                </a:lnTo>
                <a:lnTo>
                  <a:pt x="6" y="143"/>
                </a:lnTo>
                <a:lnTo>
                  <a:pt x="7" y="149"/>
                </a:lnTo>
                <a:lnTo>
                  <a:pt x="8" y="155"/>
                </a:lnTo>
                <a:lnTo>
                  <a:pt x="8" y="161"/>
                </a:lnTo>
                <a:lnTo>
                  <a:pt x="9" y="168"/>
                </a:lnTo>
                <a:lnTo>
                  <a:pt x="9" y="176"/>
                </a:lnTo>
                <a:lnTo>
                  <a:pt x="9" y="182"/>
                </a:lnTo>
                <a:lnTo>
                  <a:pt x="8" y="188"/>
                </a:lnTo>
                <a:lnTo>
                  <a:pt x="8" y="194"/>
                </a:lnTo>
                <a:lnTo>
                  <a:pt x="7" y="200"/>
                </a:lnTo>
                <a:lnTo>
                  <a:pt x="6" y="206"/>
                </a:lnTo>
                <a:lnTo>
                  <a:pt x="4" y="211"/>
                </a:lnTo>
                <a:lnTo>
                  <a:pt x="2" y="216"/>
                </a:lnTo>
                <a:lnTo>
                  <a:pt x="0" y="221"/>
                </a:lnTo>
                <a:lnTo>
                  <a:pt x="2" y="219"/>
                </a:lnTo>
                <a:lnTo>
                  <a:pt x="3" y="219"/>
                </a:lnTo>
                <a:lnTo>
                  <a:pt x="3" y="220"/>
                </a:lnTo>
                <a:lnTo>
                  <a:pt x="3" y="221"/>
                </a:lnTo>
                <a:lnTo>
                  <a:pt x="3" y="222"/>
                </a:lnTo>
                <a:lnTo>
                  <a:pt x="4" y="217"/>
                </a:lnTo>
                <a:lnTo>
                  <a:pt x="7" y="217"/>
                </a:lnTo>
                <a:lnTo>
                  <a:pt x="12" y="215"/>
                </a:lnTo>
                <a:lnTo>
                  <a:pt x="18" y="213"/>
                </a:lnTo>
                <a:lnTo>
                  <a:pt x="25" y="211"/>
                </a:lnTo>
                <a:lnTo>
                  <a:pt x="36" y="207"/>
                </a:lnTo>
                <a:lnTo>
                  <a:pt x="41" y="205"/>
                </a:lnTo>
                <a:lnTo>
                  <a:pt x="45" y="208"/>
                </a:lnTo>
                <a:lnTo>
                  <a:pt x="48" y="210"/>
                </a:lnTo>
                <a:lnTo>
                  <a:pt x="51" y="212"/>
                </a:lnTo>
                <a:lnTo>
                  <a:pt x="53" y="213"/>
                </a:lnTo>
                <a:lnTo>
                  <a:pt x="56" y="214"/>
                </a:lnTo>
                <a:lnTo>
                  <a:pt x="59" y="215"/>
                </a:lnTo>
                <a:lnTo>
                  <a:pt x="62" y="215"/>
                </a:lnTo>
                <a:lnTo>
                  <a:pt x="66" y="215"/>
                </a:lnTo>
                <a:lnTo>
                  <a:pt x="66" y="219"/>
                </a:lnTo>
                <a:lnTo>
                  <a:pt x="66" y="222"/>
                </a:lnTo>
                <a:lnTo>
                  <a:pt x="67" y="225"/>
                </a:lnTo>
                <a:lnTo>
                  <a:pt x="69" y="228"/>
                </a:lnTo>
                <a:lnTo>
                  <a:pt x="70" y="231"/>
                </a:lnTo>
                <a:lnTo>
                  <a:pt x="72" y="233"/>
                </a:lnTo>
                <a:lnTo>
                  <a:pt x="74" y="235"/>
                </a:lnTo>
                <a:lnTo>
                  <a:pt x="76" y="237"/>
                </a:lnTo>
                <a:lnTo>
                  <a:pt x="85" y="243"/>
                </a:lnTo>
                <a:lnTo>
                  <a:pt x="91" y="248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38" name="Freeform 236"/>
          <p:cNvSpPr>
            <a:spLocks/>
          </p:cNvSpPr>
          <p:nvPr userDrawn="1">
            <p:custDataLst>
              <p:tags r:id="rId162"/>
            </p:custDataLst>
          </p:nvPr>
        </p:nvSpPr>
        <p:spPr bwMode="auto">
          <a:xfrm>
            <a:off x="3781434" y="2343162"/>
            <a:ext cx="414337" cy="351235"/>
          </a:xfrm>
          <a:custGeom>
            <a:avLst/>
            <a:gdLst>
              <a:gd name="T0" fmla="*/ 17192366 w 948"/>
              <a:gd name="T1" fmla="*/ 216718271 h 893"/>
              <a:gd name="T2" fmla="*/ 23114149 w 948"/>
              <a:gd name="T3" fmla="*/ 216718271 h 893"/>
              <a:gd name="T4" fmla="*/ 27889513 w 948"/>
              <a:gd name="T5" fmla="*/ 215343225 h 893"/>
              <a:gd name="T6" fmla="*/ 35530713 w 948"/>
              <a:gd name="T7" fmla="*/ 213418055 h 893"/>
              <a:gd name="T8" fmla="*/ 37632118 w 948"/>
              <a:gd name="T9" fmla="*/ 223594027 h 893"/>
              <a:gd name="T10" fmla="*/ 40497511 w 948"/>
              <a:gd name="T11" fmla="*/ 229644336 h 893"/>
              <a:gd name="T12" fmla="*/ 43171907 w 948"/>
              <a:gd name="T13" fmla="*/ 232669752 h 893"/>
              <a:gd name="T14" fmla="*/ 46992286 w 948"/>
              <a:gd name="T15" fmla="*/ 233769999 h 893"/>
              <a:gd name="T16" fmla="*/ 46992286 w 948"/>
              <a:gd name="T17" fmla="*/ 242295601 h 893"/>
              <a:gd name="T18" fmla="*/ 62274250 w 948"/>
              <a:gd name="T19" fmla="*/ 244495570 h 893"/>
              <a:gd name="T20" fmla="*/ 63802664 w 948"/>
              <a:gd name="T21" fmla="*/ 240920555 h 893"/>
              <a:gd name="T22" fmla="*/ 66285626 w 948"/>
              <a:gd name="T23" fmla="*/ 239545508 h 893"/>
              <a:gd name="T24" fmla="*/ 66476623 w 948"/>
              <a:gd name="T25" fmla="*/ 244220771 h 893"/>
              <a:gd name="T26" fmla="*/ 68387031 w 948"/>
              <a:gd name="T27" fmla="*/ 245595817 h 893"/>
              <a:gd name="T28" fmla="*/ 73544826 w 948"/>
              <a:gd name="T29" fmla="*/ 245595817 h 893"/>
              <a:gd name="T30" fmla="*/ 76601216 w 948"/>
              <a:gd name="T31" fmla="*/ 234869722 h 893"/>
              <a:gd name="T32" fmla="*/ 78702621 w 948"/>
              <a:gd name="T33" fmla="*/ 216718271 h 893"/>
              <a:gd name="T34" fmla="*/ 80994586 w 948"/>
              <a:gd name="T35" fmla="*/ 212043009 h 893"/>
              <a:gd name="T36" fmla="*/ 86343378 w 948"/>
              <a:gd name="T37" fmla="*/ 207367747 h 893"/>
              <a:gd name="T38" fmla="*/ 92647155 w 948"/>
              <a:gd name="T39" fmla="*/ 204342330 h 893"/>
              <a:gd name="T40" fmla="*/ 95703545 w 948"/>
              <a:gd name="T41" fmla="*/ 200491991 h 893"/>
              <a:gd name="T42" fmla="*/ 98377941 w 948"/>
              <a:gd name="T43" fmla="*/ 193066636 h 893"/>
              <a:gd name="T44" fmla="*/ 102198320 w 948"/>
              <a:gd name="T45" fmla="*/ 183715587 h 893"/>
              <a:gd name="T46" fmla="*/ 104490722 w 948"/>
              <a:gd name="T47" fmla="*/ 181515617 h 893"/>
              <a:gd name="T48" fmla="*/ 109266523 w 948"/>
              <a:gd name="T49" fmla="*/ 181240294 h 893"/>
              <a:gd name="T50" fmla="*/ 115570327 w 948"/>
              <a:gd name="T51" fmla="*/ 177115155 h 893"/>
              <a:gd name="T52" fmla="*/ 122065102 w 948"/>
              <a:gd name="T53" fmla="*/ 171614445 h 893"/>
              <a:gd name="T54" fmla="*/ 128750874 w 948"/>
              <a:gd name="T55" fmla="*/ 168589553 h 893"/>
              <a:gd name="T56" fmla="*/ 138302475 w 948"/>
              <a:gd name="T57" fmla="*/ 167764106 h 893"/>
              <a:gd name="T58" fmla="*/ 150528036 w 948"/>
              <a:gd name="T59" fmla="*/ 165564136 h 893"/>
              <a:gd name="T60" fmla="*/ 155685394 w 948"/>
              <a:gd name="T61" fmla="*/ 163363643 h 893"/>
              <a:gd name="T62" fmla="*/ 164855002 w 948"/>
              <a:gd name="T63" fmla="*/ 162263920 h 893"/>
              <a:gd name="T64" fmla="*/ 172113764 w 948"/>
              <a:gd name="T65" fmla="*/ 160338751 h 893"/>
              <a:gd name="T66" fmla="*/ 174406166 w 948"/>
              <a:gd name="T67" fmla="*/ 157863458 h 893"/>
              <a:gd name="T68" fmla="*/ 177844551 w 948"/>
              <a:gd name="T69" fmla="*/ 149612655 h 893"/>
              <a:gd name="T70" fmla="*/ 180136953 w 948"/>
              <a:gd name="T71" fmla="*/ 138611760 h 893"/>
              <a:gd name="T72" fmla="*/ 181091938 w 948"/>
              <a:gd name="T73" fmla="*/ 126785910 h 893"/>
              <a:gd name="T74" fmla="*/ 180900941 w 948"/>
              <a:gd name="T75" fmla="*/ 115785015 h 893"/>
              <a:gd name="T76" fmla="*/ 180136953 w 948"/>
              <a:gd name="T77" fmla="*/ 99833534 h 893"/>
              <a:gd name="T78" fmla="*/ 176125140 w 948"/>
              <a:gd name="T79" fmla="*/ 97908364 h 893"/>
              <a:gd name="T80" fmla="*/ 164663568 w 948"/>
              <a:gd name="T81" fmla="*/ 88557315 h 893"/>
              <a:gd name="T82" fmla="*/ 151674018 w 948"/>
              <a:gd name="T83" fmla="*/ 76456698 h 893"/>
              <a:gd name="T84" fmla="*/ 140976871 w 948"/>
              <a:gd name="T85" fmla="*/ 59404954 h 893"/>
              <a:gd name="T86" fmla="*/ 78702621 w 948"/>
              <a:gd name="T87" fmla="*/ 3300217 h 893"/>
              <a:gd name="T88" fmla="*/ 66476623 w 948"/>
              <a:gd name="T89" fmla="*/ 28052631 h 893"/>
              <a:gd name="T90" fmla="*/ 72398406 w 948"/>
              <a:gd name="T91" fmla="*/ 111384552 h 893"/>
              <a:gd name="T92" fmla="*/ 74881805 w 948"/>
              <a:gd name="T93" fmla="*/ 155388164 h 893"/>
              <a:gd name="T94" fmla="*/ 17765357 w 948"/>
              <a:gd name="T95" fmla="*/ 162538720 h 893"/>
              <a:gd name="T96" fmla="*/ 15090961 w 948"/>
              <a:gd name="T97" fmla="*/ 166664383 h 893"/>
              <a:gd name="T98" fmla="*/ 12798555 w 948"/>
              <a:gd name="T99" fmla="*/ 167764106 h 893"/>
              <a:gd name="T100" fmla="*/ 10888585 w 948"/>
              <a:gd name="T101" fmla="*/ 166939183 h 893"/>
              <a:gd name="T102" fmla="*/ 9360171 w 948"/>
              <a:gd name="T103" fmla="*/ 162538720 h 893"/>
              <a:gd name="T104" fmla="*/ 7641197 w 948"/>
              <a:gd name="T105" fmla="*/ 159788627 h 893"/>
              <a:gd name="T106" fmla="*/ 5539791 w 948"/>
              <a:gd name="T107" fmla="*/ 166389059 h 893"/>
              <a:gd name="T108" fmla="*/ 2865394 w 948"/>
              <a:gd name="T109" fmla="*/ 171339646 h 893"/>
              <a:gd name="T110" fmla="*/ 12798555 w 948"/>
              <a:gd name="T111" fmla="*/ 201592237 h 893"/>
              <a:gd name="T112" fmla="*/ 11652573 w 948"/>
              <a:gd name="T113" fmla="*/ 205717376 h 893"/>
              <a:gd name="T114" fmla="*/ 11843570 w 948"/>
              <a:gd name="T115" fmla="*/ 209017592 h 893"/>
              <a:gd name="T116" fmla="*/ 10315156 w 948"/>
              <a:gd name="T117" fmla="*/ 216718271 h 893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948"/>
              <a:gd name="T178" fmla="*/ 0 h 893"/>
              <a:gd name="T179" fmla="*/ 948 w 948"/>
              <a:gd name="T180" fmla="*/ 893 h 893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948" h="893">
                <a:moveTo>
                  <a:pt x="54" y="788"/>
                </a:moveTo>
                <a:lnTo>
                  <a:pt x="74" y="788"/>
                </a:lnTo>
                <a:lnTo>
                  <a:pt x="90" y="788"/>
                </a:lnTo>
                <a:lnTo>
                  <a:pt x="100" y="788"/>
                </a:lnTo>
                <a:lnTo>
                  <a:pt x="106" y="788"/>
                </a:lnTo>
                <a:lnTo>
                  <a:pt x="121" y="788"/>
                </a:lnTo>
                <a:lnTo>
                  <a:pt x="135" y="787"/>
                </a:lnTo>
                <a:lnTo>
                  <a:pt x="140" y="785"/>
                </a:lnTo>
                <a:lnTo>
                  <a:pt x="146" y="783"/>
                </a:lnTo>
                <a:lnTo>
                  <a:pt x="150" y="780"/>
                </a:lnTo>
                <a:lnTo>
                  <a:pt x="152" y="776"/>
                </a:lnTo>
                <a:lnTo>
                  <a:pt x="186" y="776"/>
                </a:lnTo>
                <a:lnTo>
                  <a:pt x="189" y="788"/>
                </a:lnTo>
                <a:lnTo>
                  <a:pt x="193" y="800"/>
                </a:lnTo>
                <a:lnTo>
                  <a:pt x="197" y="813"/>
                </a:lnTo>
                <a:lnTo>
                  <a:pt x="204" y="825"/>
                </a:lnTo>
                <a:lnTo>
                  <a:pt x="207" y="830"/>
                </a:lnTo>
                <a:lnTo>
                  <a:pt x="212" y="835"/>
                </a:lnTo>
                <a:lnTo>
                  <a:pt x="216" y="839"/>
                </a:lnTo>
                <a:lnTo>
                  <a:pt x="221" y="843"/>
                </a:lnTo>
                <a:lnTo>
                  <a:pt x="226" y="846"/>
                </a:lnTo>
                <a:lnTo>
                  <a:pt x="233" y="848"/>
                </a:lnTo>
                <a:lnTo>
                  <a:pt x="239" y="849"/>
                </a:lnTo>
                <a:lnTo>
                  <a:pt x="246" y="850"/>
                </a:lnTo>
                <a:lnTo>
                  <a:pt x="246" y="862"/>
                </a:lnTo>
                <a:lnTo>
                  <a:pt x="246" y="871"/>
                </a:lnTo>
                <a:lnTo>
                  <a:pt x="246" y="881"/>
                </a:lnTo>
                <a:lnTo>
                  <a:pt x="246" y="893"/>
                </a:lnTo>
                <a:lnTo>
                  <a:pt x="326" y="893"/>
                </a:lnTo>
                <a:lnTo>
                  <a:pt x="326" y="889"/>
                </a:lnTo>
                <a:lnTo>
                  <a:pt x="328" y="884"/>
                </a:lnTo>
                <a:lnTo>
                  <a:pt x="330" y="880"/>
                </a:lnTo>
                <a:lnTo>
                  <a:pt x="334" y="876"/>
                </a:lnTo>
                <a:lnTo>
                  <a:pt x="339" y="868"/>
                </a:lnTo>
                <a:lnTo>
                  <a:pt x="346" y="862"/>
                </a:lnTo>
                <a:lnTo>
                  <a:pt x="347" y="871"/>
                </a:lnTo>
                <a:lnTo>
                  <a:pt x="348" y="880"/>
                </a:lnTo>
                <a:lnTo>
                  <a:pt x="349" y="884"/>
                </a:lnTo>
                <a:lnTo>
                  <a:pt x="348" y="888"/>
                </a:lnTo>
                <a:lnTo>
                  <a:pt x="348" y="891"/>
                </a:lnTo>
                <a:lnTo>
                  <a:pt x="346" y="893"/>
                </a:lnTo>
                <a:lnTo>
                  <a:pt x="358" y="893"/>
                </a:lnTo>
                <a:lnTo>
                  <a:pt x="371" y="893"/>
                </a:lnTo>
                <a:lnTo>
                  <a:pt x="381" y="893"/>
                </a:lnTo>
                <a:lnTo>
                  <a:pt x="385" y="893"/>
                </a:lnTo>
                <a:lnTo>
                  <a:pt x="392" y="881"/>
                </a:lnTo>
                <a:lnTo>
                  <a:pt x="397" y="868"/>
                </a:lnTo>
                <a:lnTo>
                  <a:pt x="401" y="854"/>
                </a:lnTo>
                <a:lnTo>
                  <a:pt x="404" y="841"/>
                </a:lnTo>
                <a:lnTo>
                  <a:pt x="408" y="813"/>
                </a:lnTo>
                <a:lnTo>
                  <a:pt x="412" y="788"/>
                </a:lnTo>
                <a:lnTo>
                  <a:pt x="415" y="782"/>
                </a:lnTo>
                <a:lnTo>
                  <a:pt x="418" y="776"/>
                </a:lnTo>
                <a:lnTo>
                  <a:pt x="424" y="771"/>
                </a:lnTo>
                <a:lnTo>
                  <a:pt x="428" y="767"/>
                </a:lnTo>
                <a:lnTo>
                  <a:pt x="440" y="759"/>
                </a:lnTo>
                <a:lnTo>
                  <a:pt x="452" y="754"/>
                </a:lnTo>
                <a:lnTo>
                  <a:pt x="464" y="750"/>
                </a:lnTo>
                <a:lnTo>
                  <a:pt x="475" y="746"/>
                </a:lnTo>
                <a:lnTo>
                  <a:pt x="485" y="743"/>
                </a:lnTo>
                <a:lnTo>
                  <a:pt x="492" y="739"/>
                </a:lnTo>
                <a:lnTo>
                  <a:pt x="496" y="734"/>
                </a:lnTo>
                <a:lnTo>
                  <a:pt x="501" y="729"/>
                </a:lnTo>
                <a:lnTo>
                  <a:pt x="505" y="723"/>
                </a:lnTo>
                <a:lnTo>
                  <a:pt x="508" y="716"/>
                </a:lnTo>
                <a:lnTo>
                  <a:pt x="515" y="702"/>
                </a:lnTo>
                <a:lnTo>
                  <a:pt x="521" y="690"/>
                </a:lnTo>
                <a:lnTo>
                  <a:pt x="528" y="678"/>
                </a:lnTo>
                <a:lnTo>
                  <a:pt x="535" y="668"/>
                </a:lnTo>
                <a:lnTo>
                  <a:pt x="539" y="664"/>
                </a:lnTo>
                <a:lnTo>
                  <a:pt x="542" y="662"/>
                </a:lnTo>
                <a:lnTo>
                  <a:pt x="547" y="660"/>
                </a:lnTo>
                <a:lnTo>
                  <a:pt x="551" y="659"/>
                </a:lnTo>
                <a:lnTo>
                  <a:pt x="562" y="660"/>
                </a:lnTo>
                <a:lnTo>
                  <a:pt x="572" y="659"/>
                </a:lnTo>
                <a:lnTo>
                  <a:pt x="581" y="657"/>
                </a:lnTo>
                <a:lnTo>
                  <a:pt x="588" y="653"/>
                </a:lnTo>
                <a:lnTo>
                  <a:pt x="605" y="644"/>
                </a:lnTo>
                <a:lnTo>
                  <a:pt x="620" y="634"/>
                </a:lnTo>
                <a:lnTo>
                  <a:pt x="629" y="629"/>
                </a:lnTo>
                <a:lnTo>
                  <a:pt x="639" y="624"/>
                </a:lnTo>
                <a:lnTo>
                  <a:pt x="649" y="620"/>
                </a:lnTo>
                <a:lnTo>
                  <a:pt x="661" y="616"/>
                </a:lnTo>
                <a:lnTo>
                  <a:pt x="674" y="613"/>
                </a:lnTo>
                <a:lnTo>
                  <a:pt x="688" y="610"/>
                </a:lnTo>
                <a:lnTo>
                  <a:pt x="706" y="609"/>
                </a:lnTo>
                <a:lnTo>
                  <a:pt x="724" y="610"/>
                </a:lnTo>
                <a:lnTo>
                  <a:pt x="777" y="610"/>
                </a:lnTo>
                <a:lnTo>
                  <a:pt x="783" y="606"/>
                </a:lnTo>
                <a:lnTo>
                  <a:pt x="788" y="602"/>
                </a:lnTo>
                <a:lnTo>
                  <a:pt x="795" y="600"/>
                </a:lnTo>
                <a:lnTo>
                  <a:pt x="800" y="598"/>
                </a:lnTo>
                <a:lnTo>
                  <a:pt x="815" y="594"/>
                </a:lnTo>
                <a:lnTo>
                  <a:pt x="830" y="592"/>
                </a:lnTo>
                <a:lnTo>
                  <a:pt x="845" y="591"/>
                </a:lnTo>
                <a:lnTo>
                  <a:pt x="863" y="590"/>
                </a:lnTo>
                <a:lnTo>
                  <a:pt x="879" y="588"/>
                </a:lnTo>
                <a:lnTo>
                  <a:pt x="897" y="585"/>
                </a:lnTo>
                <a:lnTo>
                  <a:pt x="901" y="583"/>
                </a:lnTo>
                <a:lnTo>
                  <a:pt x="906" y="580"/>
                </a:lnTo>
                <a:lnTo>
                  <a:pt x="909" y="577"/>
                </a:lnTo>
                <a:lnTo>
                  <a:pt x="913" y="574"/>
                </a:lnTo>
                <a:lnTo>
                  <a:pt x="920" y="565"/>
                </a:lnTo>
                <a:lnTo>
                  <a:pt x="925" y="555"/>
                </a:lnTo>
                <a:lnTo>
                  <a:pt x="931" y="544"/>
                </a:lnTo>
                <a:lnTo>
                  <a:pt x="935" y="531"/>
                </a:lnTo>
                <a:lnTo>
                  <a:pt x="940" y="518"/>
                </a:lnTo>
                <a:lnTo>
                  <a:pt x="943" y="504"/>
                </a:lnTo>
                <a:lnTo>
                  <a:pt x="945" y="490"/>
                </a:lnTo>
                <a:lnTo>
                  <a:pt x="947" y="475"/>
                </a:lnTo>
                <a:lnTo>
                  <a:pt x="948" y="461"/>
                </a:lnTo>
                <a:lnTo>
                  <a:pt x="948" y="447"/>
                </a:lnTo>
                <a:lnTo>
                  <a:pt x="948" y="434"/>
                </a:lnTo>
                <a:lnTo>
                  <a:pt x="947" y="421"/>
                </a:lnTo>
                <a:lnTo>
                  <a:pt x="945" y="410"/>
                </a:lnTo>
                <a:lnTo>
                  <a:pt x="943" y="400"/>
                </a:lnTo>
                <a:lnTo>
                  <a:pt x="943" y="363"/>
                </a:lnTo>
                <a:lnTo>
                  <a:pt x="939" y="362"/>
                </a:lnTo>
                <a:lnTo>
                  <a:pt x="931" y="359"/>
                </a:lnTo>
                <a:lnTo>
                  <a:pt x="922" y="356"/>
                </a:lnTo>
                <a:lnTo>
                  <a:pt x="912" y="350"/>
                </a:lnTo>
                <a:lnTo>
                  <a:pt x="888" y="337"/>
                </a:lnTo>
                <a:lnTo>
                  <a:pt x="862" y="322"/>
                </a:lnTo>
                <a:lnTo>
                  <a:pt x="835" y="305"/>
                </a:lnTo>
                <a:lnTo>
                  <a:pt x="811" y="290"/>
                </a:lnTo>
                <a:lnTo>
                  <a:pt x="794" y="278"/>
                </a:lnTo>
                <a:lnTo>
                  <a:pt x="784" y="271"/>
                </a:lnTo>
                <a:lnTo>
                  <a:pt x="764" y="240"/>
                </a:lnTo>
                <a:lnTo>
                  <a:pt x="738" y="216"/>
                </a:lnTo>
                <a:lnTo>
                  <a:pt x="405" y="0"/>
                </a:lnTo>
                <a:lnTo>
                  <a:pt x="408" y="6"/>
                </a:lnTo>
                <a:lnTo>
                  <a:pt x="412" y="12"/>
                </a:lnTo>
                <a:lnTo>
                  <a:pt x="339" y="12"/>
                </a:lnTo>
                <a:lnTo>
                  <a:pt x="341" y="36"/>
                </a:lnTo>
                <a:lnTo>
                  <a:pt x="348" y="102"/>
                </a:lnTo>
                <a:lnTo>
                  <a:pt x="358" y="193"/>
                </a:lnTo>
                <a:lnTo>
                  <a:pt x="368" y="299"/>
                </a:lnTo>
                <a:lnTo>
                  <a:pt x="379" y="405"/>
                </a:lnTo>
                <a:lnTo>
                  <a:pt x="386" y="498"/>
                </a:lnTo>
                <a:lnTo>
                  <a:pt x="390" y="535"/>
                </a:lnTo>
                <a:lnTo>
                  <a:pt x="392" y="565"/>
                </a:lnTo>
                <a:lnTo>
                  <a:pt x="393" y="583"/>
                </a:lnTo>
                <a:lnTo>
                  <a:pt x="392" y="591"/>
                </a:lnTo>
                <a:lnTo>
                  <a:pt x="93" y="591"/>
                </a:lnTo>
                <a:lnTo>
                  <a:pt x="88" y="597"/>
                </a:lnTo>
                <a:lnTo>
                  <a:pt x="82" y="603"/>
                </a:lnTo>
                <a:lnTo>
                  <a:pt x="79" y="606"/>
                </a:lnTo>
                <a:lnTo>
                  <a:pt x="76" y="608"/>
                </a:lnTo>
                <a:lnTo>
                  <a:pt x="71" y="609"/>
                </a:lnTo>
                <a:lnTo>
                  <a:pt x="67" y="610"/>
                </a:lnTo>
                <a:lnTo>
                  <a:pt x="64" y="609"/>
                </a:lnTo>
                <a:lnTo>
                  <a:pt x="60" y="608"/>
                </a:lnTo>
                <a:lnTo>
                  <a:pt x="57" y="607"/>
                </a:lnTo>
                <a:lnTo>
                  <a:pt x="55" y="604"/>
                </a:lnTo>
                <a:lnTo>
                  <a:pt x="51" y="598"/>
                </a:lnTo>
                <a:lnTo>
                  <a:pt x="49" y="591"/>
                </a:lnTo>
                <a:lnTo>
                  <a:pt x="47" y="578"/>
                </a:lnTo>
                <a:lnTo>
                  <a:pt x="47" y="573"/>
                </a:lnTo>
                <a:lnTo>
                  <a:pt x="40" y="581"/>
                </a:lnTo>
                <a:lnTo>
                  <a:pt x="36" y="590"/>
                </a:lnTo>
                <a:lnTo>
                  <a:pt x="33" y="598"/>
                </a:lnTo>
                <a:lnTo>
                  <a:pt x="29" y="605"/>
                </a:lnTo>
                <a:lnTo>
                  <a:pt x="26" y="612"/>
                </a:lnTo>
                <a:lnTo>
                  <a:pt x="22" y="618"/>
                </a:lnTo>
                <a:lnTo>
                  <a:pt x="15" y="623"/>
                </a:lnTo>
                <a:lnTo>
                  <a:pt x="6" y="628"/>
                </a:lnTo>
                <a:lnTo>
                  <a:pt x="0" y="709"/>
                </a:lnTo>
                <a:lnTo>
                  <a:pt x="67" y="733"/>
                </a:lnTo>
                <a:lnTo>
                  <a:pt x="65" y="738"/>
                </a:lnTo>
                <a:lnTo>
                  <a:pt x="62" y="743"/>
                </a:lnTo>
                <a:lnTo>
                  <a:pt x="61" y="748"/>
                </a:lnTo>
                <a:lnTo>
                  <a:pt x="61" y="753"/>
                </a:lnTo>
                <a:lnTo>
                  <a:pt x="61" y="757"/>
                </a:lnTo>
                <a:lnTo>
                  <a:pt x="62" y="760"/>
                </a:lnTo>
                <a:lnTo>
                  <a:pt x="65" y="763"/>
                </a:lnTo>
                <a:lnTo>
                  <a:pt x="67" y="764"/>
                </a:lnTo>
                <a:lnTo>
                  <a:pt x="54" y="788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39" name="Freeform 237"/>
          <p:cNvSpPr>
            <a:spLocks/>
          </p:cNvSpPr>
          <p:nvPr userDrawn="1">
            <p:custDataLst>
              <p:tags r:id="rId163"/>
            </p:custDataLst>
          </p:nvPr>
        </p:nvSpPr>
        <p:spPr bwMode="auto">
          <a:xfrm>
            <a:off x="3879853" y="2047887"/>
            <a:ext cx="493712" cy="434579"/>
          </a:xfrm>
          <a:custGeom>
            <a:avLst/>
            <a:gdLst>
              <a:gd name="T0" fmla="*/ 416972242 w 373"/>
              <a:gd name="T1" fmla="*/ 900070895 h 370"/>
              <a:gd name="T2" fmla="*/ 427483142 w 373"/>
              <a:gd name="T3" fmla="*/ 895166032 h 370"/>
              <a:gd name="T4" fmla="*/ 446755111 w 373"/>
              <a:gd name="T5" fmla="*/ 902523326 h 370"/>
              <a:gd name="T6" fmla="*/ 651736854 w 373"/>
              <a:gd name="T7" fmla="*/ 679345611 h 370"/>
              <a:gd name="T8" fmla="*/ 646482065 w 373"/>
              <a:gd name="T9" fmla="*/ 662177026 h 370"/>
              <a:gd name="T10" fmla="*/ 632466208 w 373"/>
              <a:gd name="T11" fmla="*/ 647462437 h 370"/>
              <a:gd name="T12" fmla="*/ 607938128 w 373"/>
              <a:gd name="T13" fmla="*/ 635200280 h 370"/>
              <a:gd name="T14" fmla="*/ 593922271 w 373"/>
              <a:gd name="T15" fmla="*/ 622936558 h 370"/>
              <a:gd name="T16" fmla="*/ 588666159 w 373"/>
              <a:gd name="T17" fmla="*/ 605769538 h 370"/>
              <a:gd name="T18" fmla="*/ 590418637 w 373"/>
              <a:gd name="T19" fmla="*/ 559171776 h 370"/>
              <a:gd name="T20" fmla="*/ 590418637 w 373"/>
              <a:gd name="T21" fmla="*/ 480692406 h 370"/>
              <a:gd name="T22" fmla="*/ 585162526 w 373"/>
              <a:gd name="T23" fmla="*/ 412021195 h 370"/>
              <a:gd name="T24" fmla="*/ 576402781 w 373"/>
              <a:gd name="T25" fmla="*/ 380139489 h 370"/>
              <a:gd name="T26" fmla="*/ 565890557 w 373"/>
              <a:gd name="T27" fmla="*/ 348256315 h 370"/>
              <a:gd name="T28" fmla="*/ 551874700 w 373"/>
              <a:gd name="T29" fmla="*/ 267322948 h 370"/>
              <a:gd name="T30" fmla="*/ 536106364 w 373"/>
              <a:gd name="T31" fmla="*/ 220725186 h 370"/>
              <a:gd name="T32" fmla="*/ 520339353 w 373"/>
              <a:gd name="T33" fmla="*/ 191295960 h 370"/>
              <a:gd name="T34" fmla="*/ 525594141 w 373"/>
              <a:gd name="T35" fmla="*/ 154507924 h 370"/>
              <a:gd name="T36" fmla="*/ 527346619 w 373"/>
              <a:gd name="T37" fmla="*/ 105457730 h 370"/>
              <a:gd name="T38" fmla="*/ 529099098 w 373"/>
              <a:gd name="T39" fmla="*/ 56407512 h 370"/>
              <a:gd name="T40" fmla="*/ 543114955 w 373"/>
              <a:gd name="T41" fmla="*/ 17167026 h 370"/>
              <a:gd name="T42" fmla="*/ 529099098 w 373"/>
              <a:gd name="T43" fmla="*/ 14714594 h 370"/>
              <a:gd name="T44" fmla="*/ 487051527 w 373"/>
              <a:gd name="T45" fmla="*/ 29430755 h 370"/>
              <a:gd name="T46" fmla="*/ 429235620 w 373"/>
              <a:gd name="T47" fmla="*/ 29430755 h 370"/>
              <a:gd name="T48" fmla="*/ 360908814 w 373"/>
              <a:gd name="T49" fmla="*/ 34335618 h 370"/>
              <a:gd name="T50" fmla="*/ 294333080 w 373"/>
              <a:gd name="T51" fmla="*/ 58859944 h 370"/>
              <a:gd name="T52" fmla="*/ 254037987 w 373"/>
              <a:gd name="T53" fmla="*/ 78480961 h 370"/>
              <a:gd name="T54" fmla="*/ 217245204 w 373"/>
              <a:gd name="T55" fmla="*/ 107910162 h 370"/>
              <a:gd name="T56" fmla="*/ 215494049 w 373"/>
              <a:gd name="T57" fmla="*/ 127531179 h 370"/>
              <a:gd name="T58" fmla="*/ 229509906 w 373"/>
              <a:gd name="T59" fmla="*/ 218272754 h 370"/>
              <a:gd name="T60" fmla="*/ 234766018 w 373"/>
              <a:gd name="T61" fmla="*/ 228084046 h 370"/>
              <a:gd name="T62" fmla="*/ 247029397 w 373"/>
              <a:gd name="T63" fmla="*/ 240346203 h 370"/>
              <a:gd name="T64" fmla="*/ 248781875 w 373"/>
              <a:gd name="T65" fmla="*/ 250155928 h 370"/>
              <a:gd name="T66" fmla="*/ 243525763 w 373"/>
              <a:gd name="T67" fmla="*/ 262418085 h 370"/>
              <a:gd name="T68" fmla="*/ 224253795 w 373"/>
              <a:gd name="T69" fmla="*/ 262418085 h 370"/>
              <a:gd name="T70" fmla="*/ 185709857 w 373"/>
              <a:gd name="T71" fmla="*/ 277132673 h 370"/>
              <a:gd name="T72" fmla="*/ 166437847 w 373"/>
              <a:gd name="T73" fmla="*/ 299206122 h 370"/>
              <a:gd name="T74" fmla="*/ 157678102 w 373"/>
              <a:gd name="T75" fmla="*/ 321278004 h 370"/>
              <a:gd name="T76" fmla="*/ 143662245 w 373"/>
              <a:gd name="T77" fmla="*/ 335994159 h 370"/>
              <a:gd name="T78" fmla="*/ 115630531 w 373"/>
              <a:gd name="T79" fmla="*/ 367875766 h 370"/>
              <a:gd name="T80" fmla="*/ 89351295 w 373"/>
              <a:gd name="T81" fmla="*/ 387496783 h 370"/>
              <a:gd name="T82" fmla="*/ 54310970 w 373"/>
              <a:gd name="T83" fmla="*/ 392401646 h 370"/>
              <a:gd name="T84" fmla="*/ 35038991 w 373"/>
              <a:gd name="T85" fmla="*/ 402211372 h 370"/>
              <a:gd name="T86" fmla="*/ 14015862 w 373"/>
              <a:gd name="T87" fmla="*/ 426735783 h 370"/>
              <a:gd name="T88" fmla="*/ 0 w 373"/>
              <a:gd name="T89" fmla="*/ 490502131 h 370"/>
              <a:gd name="T90" fmla="*/ 313605048 w 373"/>
              <a:gd name="T91" fmla="*/ 811780038 h 370"/>
              <a:gd name="T92" fmla="*/ 352149069 w 373"/>
              <a:gd name="T93" fmla="*/ 863282858 h 370"/>
              <a:gd name="T94" fmla="*/ 401203906 w 373"/>
              <a:gd name="T95" fmla="*/ 902523326 h 370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373"/>
              <a:gd name="T145" fmla="*/ 0 h 370"/>
              <a:gd name="T146" fmla="*/ 373 w 373"/>
              <a:gd name="T147" fmla="*/ 370 h 370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373" h="370">
                <a:moveTo>
                  <a:pt x="235" y="370"/>
                </a:moveTo>
                <a:lnTo>
                  <a:pt x="237" y="369"/>
                </a:lnTo>
                <a:lnTo>
                  <a:pt x="238" y="367"/>
                </a:lnTo>
                <a:lnTo>
                  <a:pt x="240" y="366"/>
                </a:lnTo>
                <a:lnTo>
                  <a:pt x="241" y="366"/>
                </a:lnTo>
                <a:lnTo>
                  <a:pt x="242" y="365"/>
                </a:lnTo>
                <a:lnTo>
                  <a:pt x="244" y="365"/>
                </a:lnTo>
                <a:lnTo>
                  <a:pt x="245" y="365"/>
                </a:lnTo>
                <a:lnTo>
                  <a:pt x="249" y="366"/>
                </a:lnTo>
                <a:lnTo>
                  <a:pt x="252" y="367"/>
                </a:lnTo>
                <a:lnTo>
                  <a:pt x="255" y="368"/>
                </a:lnTo>
                <a:lnTo>
                  <a:pt x="257" y="370"/>
                </a:lnTo>
                <a:lnTo>
                  <a:pt x="373" y="282"/>
                </a:lnTo>
                <a:lnTo>
                  <a:pt x="373" y="279"/>
                </a:lnTo>
                <a:lnTo>
                  <a:pt x="372" y="277"/>
                </a:lnTo>
                <a:lnTo>
                  <a:pt x="372" y="275"/>
                </a:lnTo>
                <a:lnTo>
                  <a:pt x="371" y="273"/>
                </a:lnTo>
                <a:lnTo>
                  <a:pt x="370" y="271"/>
                </a:lnTo>
                <a:lnTo>
                  <a:pt x="369" y="270"/>
                </a:lnTo>
                <a:lnTo>
                  <a:pt x="368" y="268"/>
                </a:lnTo>
                <a:lnTo>
                  <a:pt x="367" y="267"/>
                </a:lnTo>
                <a:lnTo>
                  <a:pt x="364" y="265"/>
                </a:lnTo>
                <a:lnTo>
                  <a:pt x="361" y="264"/>
                </a:lnTo>
                <a:lnTo>
                  <a:pt x="358" y="262"/>
                </a:lnTo>
                <a:lnTo>
                  <a:pt x="354" y="261"/>
                </a:lnTo>
                <a:lnTo>
                  <a:pt x="351" y="260"/>
                </a:lnTo>
                <a:lnTo>
                  <a:pt x="347" y="259"/>
                </a:lnTo>
                <a:lnTo>
                  <a:pt x="344" y="258"/>
                </a:lnTo>
                <a:lnTo>
                  <a:pt x="342" y="256"/>
                </a:lnTo>
                <a:lnTo>
                  <a:pt x="340" y="255"/>
                </a:lnTo>
                <a:lnTo>
                  <a:pt x="339" y="254"/>
                </a:lnTo>
                <a:lnTo>
                  <a:pt x="338" y="252"/>
                </a:lnTo>
                <a:lnTo>
                  <a:pt x="337" y="251"/>
                </a:lnTo>
                <a:lnTo>
                  <a:pt x="337" y="249"/>
                </a:lnTo>
                <a:lnTo>
                  <a:pt x="336" y="247"/>
                </a:lnTo>
                <a:lnTo>
                  <a:pt x="336" y="245"/>
                </a:lnTo>
                <a:lnTo>
                  <a:pt x="336" y="243"/>
                </a:lnTo>
                <a:lnTo>
                  <a:pt x="336" y="235"/>
                </a:lnTo>
                <a:lnTo>
                  <a:pt x="337" y="228"/>
                </a:lnTo>
                <a:lnTo>
                  <a:pt x="338" y="220"/>
                </a:lnTo>
                <a:lnTo>
                  <a:pt x="338" y="214"/>
                </a:lnTo>
                <a:lnTo>
                  <a:pt x="338" y="205"/>
                </a:lnTo>
                <a:lnTo>
                  <a:pt x="337" y="196"/>
                </a:lnTo>
                <a:lnTo>
                  <a:pt x="337" y="186"/>
                </a:lnTo>
                <a:lnTo>
                  <a:pt x="336" y="177"/>
                </a:lnTo>
                <a:lnTo>
                  <a:pt x="335" y="172"/>
                </a:lnTo>
                <a:lnTo>
                  <a:pt x="334" y="168"/>
                </a:lnTo>
                <a:lnTo>
                  <a:pt x="333" y="164"/>
                </a:lnTo>
                <a:lnTo>
                  <a:pt x="332" y="160"/>
                </a:lnTo>
                <a:lnTo>
                  <a:pt x="330" y="157"/>
                </a:lnTo>
                <a:lnTo>
                  <a:pt x="329" y="155"/>
                </a:lnTo>
                <a:lnTo>
                  <a:pt x="327" y="153"/>
                </a:lnTo>
                <a:lnTo>
                  <a:pt x="325" y="152"/>
                </a:lnTo>
                <a:lnTo>
                  <a:pt x="324" y="147"/>
                </a:lnTo>
                <a:lnTo>
                  <a:pt x="323" y="142"/>
                </a:lnTo>
                <a:lnTo>
                  <a:pt x="322" y="136"/>
                </a:lnTo>
                <a:lnTo>
                  <a:pt x="321" y="130"/>
                </a:lnTo>
                <a:lnTo>
                  <a:pt x="319" y="120"/>
                </a:lnTo>
                <a:lnTo>
                  <a:pt x="315" y="109"/>
                </a:lnTo>
                <a:lnTo>
                  <a:pt x="313" y="104"/>
                </a:lnTo>
                <a:lnTo>
                  <a:pt x="311" y="99"/>
                </a:lnTo>
                <a:lnTo>
                  <a:pt x="308" y="94"/>
                </a:lnTo>
                <a:lnTo>
                  <a:pt x="306" y="90"/>
                </a:lnTo>
                <a:lnTo>
                  <a:pt x="304" y="86"/>
                </a:lnTo>
                <a:lnTo>
                  <a:pt x="301" y="83"/>
                </a:lnTo>
                <a:lnTo>
                  <a:pt x="299" y="80"/>
                </a:lnTo>
                <a:lnTo>
                  <a:pt x="297" y="78"/>
                </a:lnTo>
                <a:lnTo>
                  <a:pt x="298" y="74"/>
                </a:lnTo>
                <a:lnTo>
                  <a:pt x="299" y="69"/>
                </a:lnTo>
                <a:lnTo>
                  <a:pt x="300" y="66"/>
                </a:lnTo>
                <a:lnTo>
                  <a:pt x="300" y="63"/>
                </a:lnTo>
                <a:lnTo>
                  <a:pt x="301" y="60"/>
                </a:lnTo>
                <a:lnTo>
                  <a:pt x="303" y="57"/>
                </a:lnTo>
                <a:lnTo>
                  <a:pt x="302" y="50"/>
                </a:lnTo>
                <a:lnTo>
                  <a:pt x="301" y="43"/>
                </a:lnTo>
                <a:lnTo>
                  <a:pt x="301" y="37"/>
                </a:lnTo>
                <a:lnTo>
                  <a:pt x="301" y="32"/>
                </a:lnTo>
                <a:lnTo>
                  <a:pt x="301" y="27"/>
                </a:lnTo>
                <a:lnTo>
                  <a:pt x="302" y="23"/>
                </a:lnTo>
                <a:lnTo>
                  <a:pt x="303" y="19"/>
                </a:lnTo>
                <a:lnTo>
                  <a:pt x="304" y="16"/>
                </a:lnTo>
                <a:lnTo>
                  <a:pt x="307" y="11"/>
                </a:lnTo>
                <a:lnTo>
                  <a:pt x="310" y="7"/>
                </a:lnTo>
                <a:lnTo>
                  <a:pt x="312" y="3"/>
                </a:lnTo>
                <a:lnTo>
                  <a:pt x="314" y="0"/>
                </a:lnTo>
                <a:lnTo>
                  <a:pt x="308" y="3"/>
                </a:lnTo>
                <a:lnTo>
                  <a:pt x="302" y="6"/>
                </a:lnTo>
                <a:lnTo>
                  <a:pt x="297" y="8"/>
                </a:lnTo>
                <a:lnTo>
                  <a:pt x="290" y="9"/>
                </a:lnTo>
                <a:lnTo>
                  <a:pt x="284" y="11"/>
                </a:lnTo>
                <a:lnTo>
                  <a:pt x="278" y="12"/>
                </a:lnTo>
                <a:lnTo>
                  <a:pt x="271" y="12"/>
                </a:lnTo>
                <a:lnTo>
                  <a:pt x="264" y="12"/>
                </a:lnTo>
                <a:lnTo>
                  <a:pt x="256" y="12"/>
                </a:lnTo>
                <a:lnTo>
                  <a:pt x="245" y="12"/>
                </a:lnTo>
                <a:lnTo>
                  <a:pt x="233" y="12"/>
                </a:lnTo>
                <a:lnTo>
                  <a:pt x="222" y="12"/>
                </a:lnTo>
                <a:lnTo>
                  <a:pt x="215" y="13"/>
                </a:lnTo>
                <a:lnTo>
                  <a:pt x="206" y="14"/>
                </a:lnTo>
                <a:lnTo>
                  <a:pt x="197" y="16"/>
                </a:lnTo>
                <a:lnTo>
                  <a:pt x="187" y="18"/>
                </a:lnTo>
                <a:lnTo>
                  <a:pt x="177" y="21"/>
                </a:lnTo>
                <a:lnTo>
                  <a:pt x="168" y="24"/>
                </a:lnTo>
                <a:lnTo>
                  <a:pt x="159" y="26"/>
                </a:lnTo>
                <a:lnTo>
                  <a:pt x="153" y="29"/>
                </a:lnTo>
                <a:lnTo>
                  <a:pt x="150" y="30"/>
                </a:lnTo>
                <a:lnTo>
                  <a:pt x="145" y="32"/>
                </a:lnTo>
                <a:lnTo>
                  <a:pt x="140" y="34"/>
                </a:lnTo>
                <a:lnTo>
                  <a:pt x="135" y="37"/>
                </a:lnTo>
                <a:lnTo>
                  <a:pt x="130" y="40"/>
                </a:lnTo>
                <a:lnTo>
                  <a:pt x="124" y="44"/>
                </a:lnTo>
                <a:lnTo>
                  <a:pt x="119" y="48"/>
                </a:lnTo>
                <a:lnTo>
                  <a:pt x="116" y="51"/>
                </a:lnTo>
                <a:lnTo>
                  <a:pt x="118" y="52"/>
                </a:lnTo>
                <a:lnTo>
                  <a:pt x="123" y="52"/>
                </a:lnTo>
                <a:lnTo>
                  <a:pt x="128" y="53"/>
                </a:lnTo>
                <a:lnTo>
                  <a:pt x="131" y="53"/>
                </a:lnTo>
                <a:lnTo>
                  <a:pt x="131" y="88"/>
                </a:lnTo>
                <a:lnTo>
                  <a:pt x="131" y="89"/>
                </a:lnTo>
                <a:lnTo>
                  <a:pt x="131" y="90"/>
                </a:lnTo>
                <a:lnTo>
                  <a:pt x="132" y="91"/>
                </a:lnTo>
                <a:lnTo>
                  <a:pt x="133" y="92"/>
                </a:lnTo>
                <a:lnTo>
                  <a:pt x="134" y="93"/>
                </a:lnTo>
                <a:lnTo>
                  <a:pt x="136" y="94"/>
                </a:lnTo>
                <a:lnTo>
                  <a:pt x="138" y="95"/>
                </a:lnTo>
                <a:lnTo>
                  <a:pt x="140" y="97"/>
                </a:lnTo>
                <a:lnTo>
                  <a:pt x="141" y="98"/>
                </a:lnTo>
                <a:lnTo>
                  <a:pt x="141" y="99"/>
                </a:lnTo>
                <a:lnTo>
                  <a:pt x="142" y="100"/>
                </a:lnTo>
                <a:lnTo>
                  <a:pt x="142" y="101"/>
                </a:lnTo>
                <a:lnTo>
                  <a:pt x="142" y="102"/>
                </a:lnTo>
                <a:lnTo>
                  <a:pt x="141" y="104"/>
                </a:lnTo>
                <a:lnTo>
                  <a:pt x="141" y="105"/>
                </a:lnTo>
                <a:lnTo>
                  <a:pt x="140" y="106"/>
                </a:lnTo>
                <a:lnTo>
                  <a:pt x="139" y="107"/>
                </a:lnTo>
                <a:lnTo>
                  <a:pt x="138" y="107"/>
                </a:lnTo>
                <a:lnTo>
                  <a:pt x="136" y="107"/>
                </a:lnTo>
                <a:lnTo>
                  <a:pt x="135" y="108"/>
                </a:lnTo>
                <a:lnTo>
                  <a:pt x="128" y="107"/>
                </a:lnTo>
                <a:lnTo>
                  <a:pt x="120" y="107"/>
                </a:lnTo>
                <a:lnTo>
                  <a:pt x="116" y="108"/>
                </a:lnTo>
                <a:lnTo>
                  <a:pt x="112" y="111"/>
                </a:lnTo>
                <a:lnTo>
                  <a:pt x="106" y="113"/>
                </a:lnTo>
                <a:lnTo>
                  <a:pt x="101" y="116"/>
                </a:lnTo>
                <a:lnTo>
                  <a:pt x="99" y="118"/>
                </a:lnTo>
                <a:lnTo>
                  <a:pt x="97" y="120"/>
                </a:lnTo>
                <a:lnTo>
                  <a:pt x="95" y="122"/>
                </a:lnTo>
                <a:lnTo>
                  <a:pt x="93" y="124"/>
                </a:lnTo>
                <a:lnTo>
                  <a:pt x="92" y="126"/>
                </a:lnTo>
                <a:lnTo>
                  <a:pt x="91" y="128"/>
                </a:lnTo>
                <a:lnTo>
                  <a:pt x="90" y="131"/>
                </a:lnTo>
                <a:lnTo>
                  <a:pt x="90" y="133"/>
                </a:lnTo>
                <a:lnTo>
                  <a:pt x="87" y="134"/>
                </a:lnTo>
                <a:lnTo>
                  <a:pt x="84" y="135"/>
                </a:lnTo>
                <a:lnTo>
                  <a:pt x="82" y="137"/>
                </a:lnTo>
                <a:lnTo>
                  <a:pt x="79" y="139"/>
                </a:lnTo>
                <a:lnTo>
                  <a:pt x="74" y="143"/>
                </a:lnTo>
                <a:lnTo>
                  <a:pt x="69" y="148"/>
                </a:lnTo>
                <a:lnTo>
                  <a:pt x="66" y="150"/>
                </a:lnTo>
                <a:lnTo>
                  <a:pt x="62" y="152"/>
                </a:lnTo>
                <a:lnTo>
                  <a:pt x="59" y="155"/>
                </a:lnTo>
                <a:lnTo>
                  <a:pt x="55" y="156"/>
                </a:lnTo>
                <a:lnTo>
                  <a:pt x="51" y="158"/>
                </a:lnTo>
                <a:lnTo>
                  <a:pt x="46" y="159"/>
                </a:lnTo>
                <a:lnTo>
                  <a:pt x="41" y="160"/>
                </a:lnTo>
                <a:lnTo>
                  <a:pt x="35" y="160"/>
                </a:lnTo>
                <a:lnTo>
                  <a:pt x="31" y="160"/>
                </a:lnTo>
                <a:lnTo>
                  <a:pt x="29" y="161"/>
                </a:lnTo>
                <a:lnTo>
                  <a:pt x="26" y="161"/>
                </a:lnTo>
                <a:lnTo>
                  <a:pt x="24" y="162"/>
                </a:lnTo>
                <a:lnTo>
                  <a:pt x="20" y="164"/>
                </a:lnTo>
                <a:lnTo>
                  <a:pt x="17" y="167"/>
                </a:lnTo>
                <a:lnTo>
                  <a:pt x="13" y="169"/>
                </a:lnTo>
                <a:lnTo>
                  <a:pt x="10" y="172"/>
                </a:lnTo>
                <a:lnTo>
                  <a:pt x="8" y="174"/>
                </a:lnTo>
                <a:lnTo>
                  <a:pt x="6" y="175"/>
                </a:lnTo>
                <a:lnTo>
                  <a:pt x="3" y="176"/>
                </a:lnTo>
                <a:lnTo>
                  <a:pt x="0" y="177"/>
                </a:lnTo>
                <a:lnTo>
                  <a:pt x="0" y="200"/>
                </a:lnTo>
                <a:lnTo>
                  <a:pt x="0" y="208"/>
                </a:lnTo>
                <a:lnTo>
                  <a:pt x="69" y="253"/>
                </a:lnTo>
                <a:lnTo>
                  <a:pt x="170" y="323"/>
                </a:lnTo>
                <a:lnTo>
                  <a:pt x="179" y="331"/>
                </a:lnTo>
                <a:lnTo>
                  <a:pt x="185" y="341"/>
                </a:lnTo>
                <a:lnTo>
                  <a:pt x="189" y="344"/>
                </a:lnTo>
                <a:lnTo>
                  <a:pt x="194" y="347"/>
                </a:lnTo>
                <a:lnTo>
                  <a:pt x="201" y="352"/>
                </a:lnTo>
                <a:lnTo>
                  <a:pt x="210" y="357"/>
                </a:lnTo>
                <a:lnTo>
                  <a:pt x="218" y="362"/>
                </a:lnTo>
                <a:lnTo>
                  <a:pt x="226" y="366"/>
                </a:lnTo>
                <a:lnTo>
                  <a:pt x="229" y="368"/>
                </a:lnTo>
                <a:lnTo>
                  <a:pt x="232" y="369"/>
                </a:lnTo>
                <a:lnTo>
                  <a:pt x="234" y="370"/>
                </a:lnTo>
                <a:lnTo>
                  <a:pt x="235" y="37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40" name="Freeform 238"/>
          <p:cNvSpPr>
            <a:spLocks/>
          </p:cNvSpPr>
          <p:nvPr userDrawn="1">
            <p:custDataLst>
              <p:tags r:id="rId164"/>
            </p:custDataLst>
          </p:nvPr>
        </p:nvSpPr>
        <p:spPr bwMode="auto">
          <a:xfrm>
            <a:off x="4316420" y="2149088"/>
            <a:ext cx="384175" cy="327422"/>
          </a:xfrm>
          <a:custGeom>
            <a:avLst/>
            <a:gdLst>
              <a:gd name="T0" fmla="*/ 6908141 w 877"/>
              <a:gd name="T1" fmla="*/ 39386777 h 826"/>
              <a:gd name="T2" fmla="*/ 8827265 w 877"/>
              <a:gd name="T3" fmla="*/ 30447820 h 826"/>
              <a:gd name="T4" fmla="*/ 8827265 w 877"/>
              <a:gd name="T5" fmla="*/ 19553858 h 826"/>
              <a:gd name="T6" fmla="*/ 11705291 w 877"/>
              <a:gd name="T7" fmla="*/ 17877904 h 826"/>
              <a:gd name="T8" fmla="*/ 17078486 w 877"/>
              <a:gd name="T9" fmla="*/ 15363705 h 826"/>
              <a:gd name="T10" fmla="*/ 18997609 w 877"/>
              <a:gd name="T11" fmla="*/ 5587043 h 826"/>
              <a:gd name="T12" fmla="*/ 32237851 w 877"/>
              <a:gd name="T13" fmla="*/ 1675954 h 826"/>
              <a:gd name="T14" fmla="*/ 46438304 w 877"/>
              <a:gd name="T15" fmla="*/ 6704345 h 826"/>
              <a:gd name="T16" fmla="*/ 52386663 w 877"/>
              <a:gd name="T17" fmla="*/ 12011798 h 826"/>
              <a:gd name="T18" fmla="*/ 54689522 w 877"/>
              <a:gd name="T19" fmla="*/ 21788462 h 826"/>
              <a:gd name="T20" fmla="*/ 56608206 w 877"/>
              <a:gd name="T21" fmla="*/ 28213216 h 826"/>
              <a:gd name="T22" fmla="*/ 62365148 w 877"/>
              <a:gd name="T23" fmla="*/ 30727410 h 826"/>
              <a:gd name="T24" fmla="*/ 69657024 w 877"/>
              <a:gd name="T25" fmla="*/ 30447820 h 826"/>
              <a:gd name="T26" fmla="*/ 80787145 w 877"/>
              <a:gd name="T27" fmla="*/ 37152172 h 826"/>
              <a:gd name="T28" fmla="*/ 91724959 w 877"/>
              <a:gd name="T29" fmla="*/ 45252878 h 826"/>
              <a:gd name="T30" fmla="*/ 98441230 w 877"/>
              <a:gd name="T31" fmla="*/ 46370181 h 826"/>
              <a:gd name="T32" fmla="*/ 103238378 w 877"/>
              <a:gd name="T33" fmla="*/ 44135576 h 826"/>
              <a:gd name="T34" fmla="*/ 105349369 w 877"/>
              <a:gd name="T35" fmla="*/ 35196628 h 826"/>
              <a:gd name="T36" fmla="*/ 104389589 w 877"/>
              <a:gd name="T37" fmla="*/ 28771867 h 826"/>
              <a:gd name="T38" fmla="*/ 101895299 w 877"/>
              <a:gd name="T39" fmla="*/ 22626703 h 826"/>
              <a:gd name="T40" fmla="*/ 103430247 w 877"/>
              <a:gd name="T41" fmla="*/ 13687752 h 826"/>
              <a:gd name="T42" fmla="*/ 110146517 w 877"/>
              <a:gd name="T43" fmla="*/ 9497603 h 826"/>
              <a:gd name="T44" fmla="*/ 118398201 w 877"/>
              <a:gd name="T45" fmla="*/ 1117303 h 826"/>
              <a:gd name="T46" fmla="*/ 124730297 w 877"/>
              <a:gd name="T47" fmla="*/ 0 h 826"/>
              <a:gd name="T48" fmla="*/ 130679094 w 877"/>
              <a:gd name="T49" fmla="*/ 1675954 h 826"/>
              <a:gd name="T50" fmla="*/ 133365690 w 877"/>
              <a:gd name="T51" fmla="*/ 6704345 h 826"/>
              <a:gd name="T52" fmla="*/ 135476242 w 877"/>
              <a:gd name="T53" fmla="*/ 13966813 h 826"/>
              <a:gd name="T54" fmla="*/ 139698224 w 877"/>
              <a:gd name="T55" fmla="*/ 17598314 h 826"/>
              <a:gd name="T56" fmla="*/ 153130765 w 877"/>
              <a:gd name="T57" fmla="*/ 19832919 h 826"/>
              <a:gd name="T58" fmla="*/ 159270993 w 877"/>
              <a:gd name="T59" fmla="*/ 27095913 h 826"/>
              <a:gd name="T60" fmla="*/ 160038905 w 877"/>
              <a:gd name="T61" fmla="*/ 32682425 h 826"/>
              <a:gd name="T62" fmla="*/ 161765720 w 877"/>
              <a:gd name="T63" fmla="*/ 39107715 h 826"/>
              <a:gd name="T64" fmla="*/ 160422641 w 877"/>
              <a:gd name="T65" fmla="*/ 44415166 h 826"/>
              <a:gd name="T66" fmla="*/ 158119782 w 877"/>
              <a:gd name="T67" fmla="*/ 47487483 h 826"/>
              <a:gd name="T68" fmla="*/ 159079124 w 877"/>
              <a:gd name="T69" fmla="*/ 57823323 h 826"/>
              <a:gd name="T70" fmla="*/ 164644185 w 877"/>
              <a:gd name="T71" fmla="*/ 68438225 h 826"/>
              <a:gd name="T72" fmla="*/ 168098254 w 877"/>
              <a:gd name="T73" fmla="*/ 191906005 h 826"/>
              <a:gd name="T74" fmla="*/ 168290123 w 877"/>
              <a:gd name="T75" fmla="*/ 206990116 h 826"/>
              <a:gd name="T76" fmla="*/ 166947044 w 877"/>
              <a:gd name="T77" fmla="*/ 216487715 h 826"/>
              <a:gd name="T78" fmla="*/ 162725062 w 877"/>
              <a:gd name="T79" fmla="*/ 218722320 h 826"/>
              <a:gd name="T80" fmla="*/ 159270993 w 877"/>
              <a:gd name="T81" fmla="*/ 224588422 h 826"/>
              <a:gd name="T82" fmla="*/ 70232630 w 877"/>
              <a:gd name="T83" fmla="*/ 165648341 h 826"/>
              <a:gd name="T84" fmla="*/ 63516797 w 877"/>
              <a:gd name="T85" fmla="*/ 169558900 h 826"/>
              <a:gd name="T86" fmla="*/ 56032601 w 877"/>
              <a:gd name="T87" fmla="*/ 174866350 h 826"/>
              <a:gd name="T88" fmla="*/ 50467979 w 877"/>
              <a:gd name="T89" fmla="*/ 175145412 h 826"/>
              <a:gd name="T90" fmla="*/ 44135445 w 877"/>
              <a:gd name="T91" fmla="*/ 170117551 h 826"/>
              <a:gd name="T92" fmla="*/ 37035437 w 877"/>
              <a:gd name="T93" fmla="*/ 163692798 h 826"/>
              <a:gd name="T94" fmla="*/ 29167956 w 877"/>
              <a:gd name="T95" fmla="*/ 161458193 h 826"/>
              <a:gd name="T96" fmla="*/ 26481353 w 877"/>
              <a:gd name="T97" fmla="*/ 161178603 h 826"/>
              <a:gd name="T98" fmla="*/ 24945968 w 877"/>
              <a:gd name="T99" fmla="*/ 154474789 h 826"/>
              <a:gd name="T100" fmla="*/ 20916293 w 877"/>
              <a:gd name="T101" fmla="*/ 149446399 h 826"/>
              <a:gd name="T102" fmla="*/ 12089466 w 877"/>
              <a:gd name="T103" fmla="*/ 144418538 h 826"/>
              <a:gd name="T104" fmla="*/ 5373194 w 877"/>
              <a:gd name="T105" fmla="*/ 139390149 h 826"/>
              <a:gd name="T106" fmla="*/ 3070334 w 877"/>
              <a:gd name="T107" fmla="*/ 134641316 h 826"/>
              <a:gd name="T108" fmla="*/ 2686597 w 877"/>
              <a:gd name="T109" fmla="*/ 122630051 h 826"/>
              <a:gd name="T110" fmla="*/ 3645940 w 877"/>
              <a:gd name="T111" fmla="*/ 98327402 h 826"/>
              <a:gd name="T112" fmla="*/ 3262202 w 877"/>
              <a:gd name="T113" fmla="*/ 72069739 h 826"/>
              <a:gd name="T114" fmla="*/ 767474 w 877"/>
              <a:gd name="T115" fmla="*/ 56426431 h 8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877"/>
              <a:gd name="T175" fmla="*/ 0 h 826"/>
              <a:gd name="T176" fmla="*/ 877 w 877"/>
              <a:gd name="T177" fmla="*/ 826 h 82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877" h="826">
                <a:moveTo>
                  <a:pt x="0" y="190"/>
                </a:moveTo>
                <a:lnTo>
                  <a:pt x="16" y="167"/>
                </a:lnTo>
                <a:lnTo>
                  <a:pt x="33" y="147"/>
                </a:lnTo>
                <a:lnTo>
                  <a:pt x="36" y="141"/>
                </a:lnTo>
                <a:lnTo>
                  <a:pt x="39" y="133"/>
                </a:lnTo>
                <a:lnTo>
                  <a:pt x="41" y="126"/>
                </a:lnTo>
                <a:lnTo>
                  <a:pt x="43" y="118"/>
                </a:lnTo>
                <a:lnTo>
                  <a:pt x="46" y="109"/>
                </a:lnTo>
                <a:lnTo>
                  <a:pt x="47" y="99"/>
                </a:lnTo>
                <a:lnTo>
                  <a:pt x="47" y="87"/>
                </a:lnTo>
                <a:lnTo>
                  <a:pt x="46" y="73"/>
                </a:lnTo>
                <a:lnTo>
                  <a:pt x="46" y="70"/>
                </a:lnTo>
                <a:lnTo>
                  <a:pt x="47" y="67"/>
                </a:lnTo>
                <a:lnTo>
                  <a:pt x="49" y="66"/>
                </a:lnTo>
                <a:lnTo>
                  <a:pt x="52" y="65"/>
                </a:lnTo>
                <a:lnTo>
                  <a:pt x="61" y="64"/>
                </a:lnTo>
                <a:lnTo>
                  <a:pt x="72" y="63"/>
                </a:lnTo>
                <a:lnTo>
                  <a:pt x="78" y="61"/>
                </a:lnTo>
                <a:lnTo>
                  <a:pt x="83" y="59"/>
                </a:lnTo>
                <a:lnTo>
                  <a:pt x="89" y="55"/>
                </a:lnTo>
                <a:lnTo>
                  <a:pt x="93" y="50"/>
                </a:lnTo>
                <a:lnTo>
                  <a:pt x="96" y="42"/>
                </a:lnTo>
                <a:lnTo>
                  <a:pt x="98" y="33"/>
                </a:lnTo>
                <a:lnTo>
                  <a:pt x="99" y="20"/>
                </a:lnTo>
                <a:lnTo>
                  <a:pt x="98" y="6"/>
                </a:lnTo>
                <a:lnTo>
                  <a:pt x="124" y="4"/>
                </a:lnTo>
                <a:lnTo>
                  <a:pt x="147" y="5"/>
                </a:lnTo>
                <a:lnTo>
                  <a:pt x="168" y="6"/>
                </a:lnTo>
                <a:lnTo>
                  <a:pt x="188" y="9"/>
                </a:lnTo>
                <a:lnTo>
                  <a:pt x="208" y="13"/>
                </a:lnTo>
                <a:lnTo>
                  <a:pt x="226" y="18"/>
                </a:lnTo>
                <a:lnTo>
                  <a:pt x="242" y="24"/>
                </a:lnTo>
                <a:lnTo>
                  <a:pt x="259" y="31"/>
                </a:lnTo>
                <a:lnTo>
                  <a:pt x="264" y="35"/>
                </a:lnTo>
                <a:lnTo>
                  <a:pt x="269" y="39"/>
                </a:lnTo>
                <a:lnTo>
                  <a:pt x="273" y="43"/>
                </a:lnTo>
                <a:lnTo>
                  <a:pt x="276" y="47"/>
                </a:lnTo>
                <a:lnTo>
                  <a:pt x="281" y="57"/>
                </a:lnTo>
                <a:lnTo>
                  <a:pt x="283" y="67"/>
                </a:lnTo>
                <a:lnTo>
                  <a:pt x="285" y="78"/>
                </a:lnTo>
                <a:lnTo>
                  <a:pt x="288" y="88"/>
                </a:lnTo>
                <a:lnTo>
                  <a:pt x="289" y="93"/>
                </a:lnTo>
                <a:lnTo>
                  <a:pt x="292" y="97"/>
                </a:lnTo>
                <a:lnTo>
                  <a:pt x="295" y="101"/>
                </a:lnTo>
                <a:lnTo>
                  <a:pt x="298" y="105"/>
                </a:lnTo>
                <a:lnTo>
                  <a:pt x="306" y="108"/>
                </a:lnTo>
                <a:lnTo>
                  <a:pt x="315" y="110"/>
                </a:lnTo>
                <a:lnTo>
                  <a:pt x="325" y="110"/>
                </a:lnTo>
                <a:lnTo>
                  <a:pt x="334" y="110"/>
                </a:lnTo>
                <a:lnTo>
                  <a:pt x="344" y="109"/>
                </a:lnTo>
                <a:lnTo>
                  <a:pt x="354" y="109"/>
                </a:lnTo>
                <a:lnTo>
                  <a:pt x="363" y="109"/>
                </a:lnTo>
                <a:lnTo>
                  <a:pt x="372" y="111"/>
                </a:lnTo>
                <a:lnTo>
                  <a:pt x="388" y="117"/>
                </a:lnTo>
                <a:lnTo>
                  <a:pt x="405" y="124"/>
                </a:lnTo>
                <a:lnTo>
                  <a:pt x="421" y="133"/>
                </a:lnTo>
                <a:lnTo>
                  <a:pt x="438" y="143"/>
                </a:lnTo>
                <a:lnTo>
                  <a:pt x="454" y="152"/>
                </a:lnTo>
                <a:lnTo>
                  <a:pt x="471" y="159"/>
                </a:lnTo>
                <a:lnTo>
                  <a:pt x="478" y="162"/>
                </a:lnTo>
                <a:lnTo>
                  <a:pt x="487" y="164"/>
                </a:lnTo>
                <a:lnTo>
                  <a:pt x="496" y="166"/>
                </a:lnTo>
                <a:lnTo>
                  <a:pt x="505" y="166"/>
                </a:lnTo>
                <a:lnTo>
                  <a:pt x="513" y="166"/>
                </a:lnTo>
                <a:lnTo>
                  <a:pt x="521" y="166"/>
                </a:lnTo>
                <a:lnTo>
                  <a:pt x="529" y="166"/>
                </a:lnTo>
                <a:lnTo>
                  <a:pt x="538" y="166"/>
                </a:lnTo>
                <a:lnTo>
                  <a:pt x="538" y="158"/>
                </a:lnTo>
                <a:lnTo>
                  <a:pt x="540" y="150"/>
                </a:lnTo>
                <a:lnTo>
                  <a:pt x="542" y="143"/>
                </a:lnTo>
                <a:lnTo>
                  <a:pt x="544" y="137"/>
                </a:lnTo>
                <a:lnTo>
                  <a:pt x="549" y="126"/>
                </a:lnTo>
                <a:lnTo>
                  <a:pt x="551" y="117"/>
                </a:lnTo>
                <a:lnTo>
                  <a:pt x="550" y="112"/>
                </a:lnTo>
                <a:lnTo>
                  <a:pt x="547" y="108"/>
                </a:lnTo>
                <a:lnTo>
                  <a:pt x="544" y="103"/>
                </a:lnTo>
                <a:lnTo>
                  <a:pt x="541" y="98"/>
                </a:lnTo>
                <a:lnTo>
                  <a:pt x="537" y="93"/>
                </a:lnTo>
                <a:lnTo>
                  <a:pt x="534" y="87"/>
                </a:lnTo>
                <a:lnTo>
                  <a:pt x="531" y="81"/>
                </a:lnTo>
                <a:lnTo>
                  <a:pt x="531" y="73"/>
                </a:lnTo>
                <a:lnTo>
                  <a:pt x="531" y="61"/>
                </a:lnTo>
                <a:lnTo>
                  <a:pt x="531" y="49"/>
                </a:lnTo>
                <a:lnTo>
                  <a:pt x="539" y="49"/>
                </a:lnTo>
                <a:lnTo>
                  <a:pt x="547" y="47"/>
                </a:lnTo>
                <a:lnTo>
                  <a:pt x="554" y="45"/>
                </a:lnTo>
                <a:lnTo>
                  <a:pt x="562" y="42"/>
                </a:lnTo>
                <a:lnTo>
                  <a:pt x="574" y="34"/>
                </a:lnTo>
                <a:lnTo>
                  <a:pt x="586" y="24"/>
                </a:lnTo>
                <a:lnTo>
                  <a:pt x="598" y="15"/>
                </a:lnTo>
                <a:lnTo>
                  <a:pt x="610" y="7"/>
                </a:lnTo>
                <a:lnTo>
                  <a:pt x="617" y="4"/>
                </a:lnTo>
                <a:lnTo>
                  <a:pt x="623" y="2"/>
                </a:lnTo>
                <a:lnTo>
                  <a:pt x="630" y="0"/>
                </a:lnTo>
                <a:lnTo>
                  <a:pt x="638" y="0"/>
                </a:lnTo>
                <a:lnTo>
                  <a:pt x="650" y="0"/>
                </a:lnTo>
                <a:lnTo>
                  <a:pt x="659" y="1"/>
                </a:lnTo>
                <a:lnTo>
                  <a:pt x="668" y="2"/>
                </a:lnTo>
                <a:lnTo>
                  <a:pt x="676" y="4"/>
                </a:lnTo>
                <a:lnTo>
                  <a:pt x="681" y="6"/>
                </a:lnTo>
                <a:lnTo>
                  <a:pt x="685" y="9"/>
                </a:lnTo>
                <a:lnTo>
                  <a:pt x="688" y="12"/>
                </a:lnTo>
                <a:lnTo>
                  <a:pt x="691" y="16"/>
                </a:lnTo>
                <a:lnTo>
                  <a:pt x="695" y="24"/>
                </a:lnTo>
                <a:lnTo>
                  <a:pt x="698" y="34"/>
                </a:lnTo>
                <a:lnTo>
                  <a:pt x="700" y="39"/>
                </a:lnTo>
                <a:lnTo>
                  <a:pt x="702" y="44"/>
                </a:lnTo>
                <a:lnTo>
                  <a:pt x="706" y="50"/>
                </a:lnTo>
                <a:lnTo>
                  <a:pt x="710" y="55"/>
                </a:lnTo>
                <a:lnTo>
                  <a:pt x="715" y="58"/>
                </a:lnTo>
                <a:lnTo>
                  <a:pt x="721" y="61"/>
                </a:lnTo>
                <a:lnTo>
                  <a:pt x="728" y="63"/>
                </a:lnTo>
                <a:lnTo>
                  <a:pt x="734" y="65"/>
                </a:lnTo>
                <a:lnTo>
                  <a:pt x="750" y="67"/>
                </a:lnTo>
                <a:lnTo>
                  <a:pt x="765" y="69"/>
                </a:lnTo>
                <a:lnTo>
                  <a:pt x="798" y="71"/>
                </a:lnTo>
                <a:lnTo>
                  <a:pt x="830" y="73"/>
                </a:lnTo>
                <a:lnTo>
                  <a:pt x="830" y="83"/>
                </a:lnTo>
                <a:lnTo>
                  <a:pt x="830" y="90"/>
                </a:lnTo>
                <a:lnTo>
                  <a:pt x="830" y="97"/>
                </a:lnTo>
                <a:lnTo>
                  <a:pt x="830" y="105"/>
                </a:lnTo>
                <a:lnTo>
                  <a:pt x="830" y="109"/>
                </a:lnTo>
                <a:lnTo>
                  <a:pt x="832" y="113"/>
                </a:lnTo>
                <a:lnTo>
                  <a:pt x="834" y="117"/>
                </a:lnTo>
                <a:lnTo>
                  <a:pt x="836" y="121"/>
                </a:lnTo>
                <a:lnTo>
                  <a:pt x="838" y="126"/>
                </a:lnTo>
                <a:lnTo>
                  <a:pt x="841" y="132"/>
                </a:lnTo>
                <a:lnTo>
                  <a:pt x="843" y="140"/>
                </a:lnTo>
                <a:lnTo>
                  <a:pt x="843" y="148"/>
                </a:lnTo>
                <a:lnTo>
                  <a:pt x="842" y="152"/>
                </a:lnTo>
                <a:lnTo>
                  <a:pt x="840" y="156"/>
                </a:lnTo>
                <a:lnTo>
                  <a:pt x="836" y="159"/>
                </a:lnTo>
                <a:lnTo>
                  <a:pt x="833" y="162"/>
                </a:lnTo>
                <a:lnTo>
                  <a:pt x="830" y="165"/>
                </a:lnTo>
                <a:lnTo>
                  <a:pt x="826" y="168"/>
                </a:lnTo>
                <a:lnTo>
                  <a:pt x="824" y="170"/>
                </a:lnTo>
                <a:lnTo>
                  <a:pt x="823" y="172"/>
                </a:lnTo>
                <a:lnTo>
                  <a:pt x="824" y="184"/>
                </a:lnTo>
                <a:lnTo>
                  <a:pt x="825" y="196"/>
                </a:lnTo>
                <a:lnTo>
                  <a:pt x="829" y="207"/>
                </a:lnTo>
                <a:lnTo>
                  <a:pt x="834" y="217"/>
                </a:lnTo>
                <a:lnTo>
                  <a:pt x="841" y="227"/>
                </a:lnTo>
                <a:lnTo>
                  <a:pt x="848" y="236"/>
                </a:lnTo>
                <a:lnTo>
                  <a:pt x="858" y="245"/>
                </a:lnTo>
                <a:lnTo>
                  <a:pt x="869" y="253"/>
                </a:lnTo>
                <a:lnTo>
                  <a:pt x="876" y="671"/>
                </a:lnTo>
                <a:lnTo>
                  <a:pt x="876" y="680"/>
                </a:lnTo>
                <a:lnTo>
                  <a:pt x="876" y="687"/>
                </a:lnTo>
                <a:lnTo>
                  <a:pt x="876" y="697"/>
                </a:lnTo>
                <a:lnTo>
                  <a:pt x="876" y="709"/>
                </a:lnTo>
                <a:lnTo>
                  <a:pt x="877" y="726"/>
                </a:lnTo>
                <a:lnTo>
                  <a:pt x="877" y="741"/>
                </a:lnTo>
                <a:lnTo>
                  <a:pt x="877" y="756"/>
                </a:lnTo>
                <a:lnTo>
                  <a:pt x="876" y="766"/>
                </a:lnTo>
                <a:lnTo>
                  <a:pt x="874" y="771"/>
                </a:lnTo>
                <a:lnTo>
                  <a:pt x="870" y="775"/>
                </a:lnTo>
                <a:lnTo>
                  <a:pt x="867" y="778"/>
                </a:lnTo>
                <a:lnTo>
                  <a:pt x="863" y="780"/>
                </a:lnTo>
                <a:lnTo>
                  <a:pt x="856" y="782"/>
                </a:lnTo>
                <a:lnTo>
                  <a:pt x="848" y="783"/>
                </a:lnTo>
                <a:lnTo>
                  <a:pt x="840" y="783"/>
                </a:lnTo>
                <a:lnTo>
                  <a:pt x="830" y="782"/>
                </a:lnTo>
                <a:lnTo>
                  <a:pt x="830" y="792"/>
                </a:lnTo>
                <a:lnTo>
                  <a:pt x="830" y="804"/>
                </a:lnTo>
                <a:lnTo>
                  <a:pt x="830" y="816"/>
                </a:lnTo>
                <a:lnTo>
                  <a:pt x="830" y="826"/>
                </a:lnTo>
                <a:lnTo>
                  <a:pt x="378" y="592"/>
                </a:lnTo>
                <a:lnTo>
                  <a:pt x="366" y="593"/>
                </a:lnTo>
                <a:lnTo>
                  <a:pt x="359" y="595"/>
                </a:lnTo>
                <a:lnTo>
                  <a:pt x="353" y="597"/>
                </a:lnTo>
                <a:lnTo>
                  <a:pt x="344" y="598"/>
                </a:lnTo>
                <a:lnTo>
                  <a:pt x="331" y="607"/>
                </a:lnTo>
                <a:lnTo>
                  <a:pt x="318" y="616"/>
                </a:lnTo>
                <a:lnTo>
                  <a:pt x="308" y="620"/>
                </a:lnTo>
                <a:lnTo>
                  <a:pt x="297" y="624"/>
                </a:lnTo>
                <a:lnTo>
                  <a:pt x="292" y="626"/>
                </a:lnTo>
                <a:lnTo>
                  <a:pt x="285" y="627"/>
                </a:lnTo>
                <a:lnTo>
                  <a:pt x="278" y="628"/>
                </a:lnTo>
                <a:lnTo>
                  <a:pt x="272" y="628"/>
                </a:lnTo>
                <a:lnTo>
                  <a:pt x="263" y="627"/>
                </a:lnTo>
                <a:lnTo>
                  <a:pt x="254" y="624"/>
                </a:lnTo>
                <a:lnTo>
                  <a:pt x="246" y="620"/>
                </a:lnTo>
                <a:lnTo>
                  <a:pt x="238" y="614"/>
                </a:lnTo>
                <a:lnTo>
                  <a:pt x="230" y="609"/>
                </a:lnTo>
                <a:lnTo>
                  <a:pt x="224" y="602"/>
                </a:lnTo>
                <a:lnTo>
                  <a:pt x="220" y="597"/>
                </a:lnTo>
                <a:lnTo>
                  <a:pt x="218" y="592"/>
                </a:lnTo>
                <a:lnTo>
                  <a:pt x="193" y="586"/>
                </a:lnTo>
                <a:lnTo>
                  <a:pt x="173" y="579"/>
                </a:lnTo>
                <a:lnTo>
                  <a:pt x="165" y="577"/>
                </a:lnTo>
                <a:lnTo>
                  <a:pt x="157" y="577"/>
                </a:lnTo>
                <a:lnTo>
                  <a:pt x="152" y="578"/>
                </a:lnTo>
                <a:lnTo>
                  <a:pt x="148" y="579"/>
                </a:lnTo>
                <a:lnTo>
                  <a:pt x="143" y="583"/>
                </a:lnTo>
                <a:lnTo>
                  <a:pt x="139" y="586"/>
                </a:lnTo>
                <a:lnTo>
                  <a:pt x="138" y="577"/>
                </a:lnTo>
                <a:lnTo>
                  <a:pt x="137" y="570"/>
                </a:lnTo>
                <a:lnTo>
                  <a:pt x="136" y="564"/>
                </a:lnTo>
                <a:lnTo>
                  <a:pt x="134" y="558"/>
                </a:lnTo>
                <a:lnTo>
                  <a:pt x="130" y="553"/>
                </a:lnTo>
                <a:lnTo>
                  <a:pt x="127" y="549"/>
                </a:lnTo>
                <a:lnTo>
                  <a:pt x="124" y="545"/>
                </a:lnTo>
                <a:lnTo>
                  <a:pt x="119" y="541"/>
                </a:lnTo>
                <a:lnTo>
                  <a:pt x="109" y="535"/>
                </a:lnTo>
                <a:lnTo>
                  <a:pt x="98" y="530"/>
                </a:lnTo>
                <a:lnTo>
                  <a:pt x="87" y="526"/>
                </a:lnTo>
                <a:lnTo>
                  <a:pt x="75" y="521"/>
                </a:lnTo>
                <a:lnTo>
                  <a:pt x="63" y="517"/>
                </a:lnTo>
                <a:lnTo>
                  <a:pt x="52" y="513"/>
                </a:lnTo>
                <a:lnTo>
                  <a:pt x="41" y="509"/>
                </a:lnTo>
                <a:lnTo>
                  <a:pt x="33" y="503"/>
                </a:lnTo>
                <a:lnTo>
                  <a:pt x="28" y="499"/>
                </a:lnTo>
                <a:lnTo>
                  <a:pt x="24" y="496"/>
                </a:lnTo>
                <a:lnTo>
                  <a:pt x="20" y="492"/>
                </a:lnTo>
                <a:lnTo>
                  <a:pt x="18" y="487"/>
                </a:lnTo>
                <a:lnTo>
                  <a:pt x="16" y="482"/>
                </a:lnTo>
                <a:lnTo>
                  <a:pt x="14" y="476"/>
                </a:lnTo>
                <a:lnTo>
                  <a:pt x="13" y="469"/>
                </a:lnTo>
                <a:lnTo>
                  <a:pt x="13" y="462"/>
                </a:lnTo>
                <a:lnTo>
                  <a:pt x="14" y="439"/>
                </a:lnTo>
                <a:lnTo>
                  <a:pt x="16" y="417"/>
                </a:lnTo>
                <a:lnTo>
                  <a:pt x="18" y="395"/>
                </a:lnTo>
                <a:lnTo>
                  <a:pt x="19" y="376"/>
                </a:lnTo>
                <a:lnTo>
                  <a:pt x="19" y="352"/>
                </a:lnTo>
                <a:lnTo>
                  <a:pt x="19" y="329"/>
                </a:lnTo>
                <a:lnTo>
                  <a:pt x="19" y="305"/>
                </a:lnTo>
                <a:lnTo>
                  <a:pt x="19" y="281"/>
                </a:lnTo>
                <a:lnTo>
                  <a:pt x="17" y="258"/>
                </a:lnTo>
                <a:lnTo>
                  <a:pt x="14" y="234"/>
                </a:lnTo>
                <a:lnTo>
                  <a:pt x="11" y="223"/>
                </a:lnTo>
                <a:lnTo>
                  <a:pt x="7" y="212"/>
                </a:lnTo>
                <a:lnTo>
                  <a:pt x="4" y="202"/>
                </a:lnTo>
                <a:lnTo>
                  <a:pt x="0" y="19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41" name="Freeform 239"/>
          <p:cNvSpPr>
            <a:spLocks/>
          </p:cNvSpPr>
          <p:nvPr userDrawn="1">
            <p:custDataLst>
              <p:tags r:id="rId165"/>
            </p:custDataLst>
          </p:nvPr>
        </p:nvSpPr>
        <p:spPr bwMode="auto">
          <a:xfrm>
            <a:off x="4268790" y="2047886"/>
            <a:ext cx="93663" cy="177404"/>
          </a:xfrm>
          <a:custGeom>
            <a:avLst/>
            <a:gdLst>
              <a:gd name="T0" fmla="*/ 21293329 w 206"/>
              <a:gd name="T1" fmla="*/ 119183961 h 455"/>
              <a:gd name="T2" fmla="*/ 25840985 w 206"/>
              <a:gd name="T3" fmla="*/ 113508610 h 455"/>
              <a:gd name="T4" fmla="*/ 28941866 w 206"/>
              <a:gd name="T5" fmla="*/ 109184384 h 455"/>
              <a:gd name="T6" fmla="*/ 30389102 w 206"/>
              <a:gd name="T7" fmla="*/ 105400817 h 455"/>
              <a:gd name="T8" fmla="*/ 31423032 w 206"/>
              <a:gd name="T9" fmla="*/ 100806263 h 455"/>
              <a:gd name="T10" fmla="*/ 31836331 w 206"/>
              <a:gd name="T11" fmla="*/ 95130912 h 455"/>
              <a:gd name="T12" fmla="*/ 31629454 w 206"/>
              <a:gd name="T13" fmla="*/ 90536357 h 455"/>
              <a:gd name="T14" fmla="*/ 32249631 w 206"/>
              <a:gd name="T15" fmla="*/ 89455561 h 455"/>
              <a:gd name="T16" fmla="*/ 34730335 w 206"/>
              <a:gd name="T17" fmla="*/ 88914903 h 455"/>
              <a:gd name="T18" fmla="*/ 38244970 w 206"/>
              <a:gd name="T19" fmla="*/ 87834106 h 455"/>
              <a:gd name="T20" fmla="*/ 40518798 w 206"/>
              <a:gd name="T21" fmla="*/ 85942323 h 455"/>
              <a:gd name="T22" fmla="*/ 41966027 w 206"/>
              <a:gd name="T23" fmla="*/ 82158755 h 455"/>
              <a:gd name="T24" fmla="*/ 42586203 w 206"/>
              <a:gd name="T25" fmla="*/ 75672417 h 455"/>
              <a:gd name="T26" fmla="*/ 41759150 w 206"/>
              <a:gd name="T27" fmla="*/ 71618521 h 455"/>
              <a:gd name="T28" fmla="*/ 39898622 w 206"/>
              <a:gd name="T29" fmla="*/ 71348192 h 455"/>
              <a:gd name="T30" fmla="*/ 36590864 w 206"/>
              <a:gd name="T31" fmla="*/ 69186079 h 455"/>
              <a:gd name="T32" fmla="*/ 32043208 w 206"/>
              <a:gd name="T33" fmla="*/ 65402496 h 455"/>
              <a:gd name="T34" fmla="*/ 28941866 w 206"/>
              <a:gd name="T35" fmla="*/ 62429916 h 455"/>
              <a:gd name="T36" fmla="*/ 26874915 w 206"/>
              <a:gd name="T37" fmla="*/ 61618929 h 455"/>
              <a:gd name="T38" fmla="*/ 24600632 w 206"/>
              <a:gd name="T39" fmla="*/ 59997474 h 455"/>
              <a:gd name="T40" fmla="*/ 20879575 w 206"/>
              <a:gd name="T41" fmla="*/ 57294703 h 455"/>
              <a:gd name="T42" fmla="*/ 19639223 w 206"/>
              <a:gd name="T43" fmla="*/ 55673249 h 455"/>
              <a:gd name="T44" fmla="*/ 19639223 w 206"/>
              <a:gd name="T45" fmla="*/ 53781465 h 455"/>
              <a:gd name="T46" fmla="*/ 21499751 w 206"/>
              <a:gd name="T47" fmla="*/ 48916581 h 455"/>
              <a:gd name="T48" fmla="*/ 24600632 w 206"/>
              <a:gd name="T49" fmla="*/ 42700572 h 455"/>
              <a:gd name="T50" fmla="*/ 27701513 w 206"/>
              <a:gd name="T51" fmla="*/ 37836209 h 455"/>
              <a:gd name="T52" fmla="*/ 28115267 w 206"/>
              <a:gd name="T53" fmla="*/ 34863109 h 455"/>
              <a:gd name="T54" fmla="*/ 26047862 w 206"/>
              <a:gd name="T55" fmla="*/ 31349862 h 455"/>
              <a:gd name="T56" fmla="*/ 23774034 w 206"/>
              <a:gd name="T57" fmla="*/ 28377282 h 455"/>
              <a:gd name="T58" fmla="*/ 22326804 w 206"/>
              <a:gd name="T59" fmla="*/ 25133853 h 455"/>
              <a:gd name="T60" fmla="*/ 22119927 w 206"/>
              <a:gd name="T61" fmla="*/ 22701932 h 455"/>
              <a:gd name="T62" fmla="*/ 22946981 w 206"/>
              <a:gd name="T63" fmla="*/ 21079957 h 455"/>
              <a:gd name="T64" fmla="*/ 23980456 w 206"/>
              <a:gd name="T65" fmla="*/ 19458503 h 455"/>
              <a:gd name="T66" fmla="*/ 25427685 w 206"/>
              <a:gd name="T67" fmla="*/ 18648035 h 455"/>
              <a:gd name="T68" fmla="*/ 26047862 w 206"/>
              <a:gd name="T69" fmla="*/ 9999580 h 455"/>
              <a:gd name="T70" fmla="*/ 22740104 w 206"/>
              <a:gd name="T71" fmla="*/ 8648455 h 455"/>
              <a:gd name="T72" fmla="*/ 17985571 w 206"/>
              <a:gd name="T73" fmla="*/ 5675353 h 455"/>
              <a:gd name="T74" fmla="*/ 10956753 w 206"/>
              <a:gd name="T75" fmla="*/ 0 h 455"/>
              <a:gd name="T76" fmla="*/ 9716400 w 206"/>
              <a:gd name="T77" fmla="*/ 2973101 h 455"/>
              <a:gd name="T78" fmla="*/ 7028817 w 206"/>
              <a:gd name="T79" fmla="*/ 11891364 h 455"/>
              <a:gd name="T80" fmla="*/ 5788464 w 206"/>
              <a:gd name="T81" fmla="*/ 18917844 h 455"/>
              <a:gd name="T82" fmla="*/ 4548112 w 206"/>
              <a:gd name="T83" fmla="*/ 26755828 h 455"/>
              <a:gd name="T84" fmla="*/ 4134358 w 206"/>
              <a:gd name="T85" fmla="*/ 35944425 h 455"/>
              <a:gd name="T86" fmla="*/ 4134358 w 206"/>
              <a:gd name="T87" fmla="*/ 46484659 h 455"/>
              <a:gd name="T88" fmla="*/ 2480706 w 206"/>
              <a:gd name="T89" fmla="*/ 50808365 h 455"/>
              <a:gd name="T90" fmla="*/ 1653652 w 206"/>
              <a:gd name="T91" fmla="*/ 55673249 h 455"/>
              <a:gd name="T92" fmla="*/ 0 w 206"/>
              <a:gd name="T93" fmla="*/ 63510712 h 455"/>
              <a:gd name="T94" fmla="*/ 4548112 w 206"/>
              <a:gd name="T95" fmla="*/ 69997066 h 455"/>
              <a:gd name="T96" fmla="*/ 8476048 w 206"/>
              <a:gd name="T97" fmla="*/ 75942746 h 455"/>
              <a:gd name="T98" fmla="*/ 11370052 w 206"/>
              <a:gd name="T99" fmla="*/ 82428565 h 455"/>
              <a:gd name="T100" fmla="*/ 13644334 w 206"/>
              <a:gd name="T101" fmla="*/ 88914903 h 455"/>
              <a:gd name="T102" fmla="*/ 15504866 w 206"/>
              <a:gd name="T103" fmla="*/ 95941899 h 455"/>
              <a:gd name="T104" fmla="*/ 16951641 w 206"/>
              <a:gd name="T105" fmla="*/ 103779363 h 455"/>
              <a:gd name="T106" fmla="*/ 19225924 w 206"/>
              <a:gd name="T107" fmla="*/ 122967528 h 455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206"/>
              <a:gd name="T163" fmla="*/ 0 h 455"/>
              <a:gd name="T164" fmla="*/ 206 w 206"/>
              <a:gd name="T165" fmla="*/ 455 h 455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206" h="455">
                <a:moveTo>
                  <a:pt x="93" y="455"/>
                </a:moveTo>
                <a:lnTo>
                  <a:pt x="103" y="441"/>
                </a:lnTo>
                <a:lnTo>
                  <a:pt x="114" y="430"/>
                </a:lnTo>
                <a:lnTo>
                  <a:pt x="125" y="420"/>
                </a:lnTo>
                <a:lnTo>
                  <a:pt x="135" y="409"/>
                </a:lnTo>
                <a:lnTo>
                  <a:pt x="140" y="404"/>
                </a:lnTo>
                <a:lnTo>
                  <a:pt x="144" y="397"/>
                </a:lnTo>
                <a:lnTo>
                  <a:pt x="147" y="390"/>
                </a:lnTo>
                <a:lnTo>
                  <a:pt x="149" y="382"/>
                </a:lnTo>
                <a:lnTo>
                  <a:pt x="152" y="373"/>
                </a:lnTo>
                <a:lnTo>
                  <a:pt x="153" y="363"/>
                </a:lnTo>
                <a:lnTo>
                  <a:pt x="154" y="352"/>
                </a:lnTo>
                <a:lnTo>
                  <a:pt x="153" y="338"/>
                </a:lnTo>
                <a:lnTo>
                  <a:pt x="153" y="335"/>
                </a:lnTo>
                <a:lnTo>
                  <a:pt x="154" y="332"/>
                </a:lnTo>
                <a:lnTo>
                  <a:pt x="156" y="331"/>
                </a:lnTo>
                <a:lnTo>
                  <a:pt x="159" y="330"/>
                </a:lnTo>
                <a:lnTo>
                  <a:pt x="168" y="329"/>
                </a:lnTo>
                <a:lnTo>
                  <a:pt x="179" y="327"/>
                </a:lnTo>
                <a:lnTo>
                  <a:pt x="185" y="325"/>
                </a:lnTo>
                <a:lnTo>
                  <a:pt x="190" y="322"/>
                </a:lnTo>
                <a:lnTo>
                  <a:pt x="196" y="318"/>
                </a:lnTo>
                <a:lnTo>
                  <a:pt x="200" y="312"/>
                </a:lnTo>
                <a:lnTo>
                  <a:pt x="203" y="304"/>
                </a:lnTo>
                <a:lnTo>
                  <a:pt x="205" y="294"/>
                </a:lnTo>
                <a:lnTo>
                  <a:pt x="206" y="280"/>
                </a:lnTo>
                <a:lnTo>
                  <a:pt x="205" y="265"/>
                </a:lnTo>
                <a:lnTo>
                  <a:pt x="202" y="265"/>
                </a:lnTo>
                <a:lnTo>
                  <a:pt x="198" y="265"/>
                </a:lnTo>
                <a:lnTo>
                  <a:pt x="193" y="264"/>
                </a:lnTo>
                <a:lnTo>
                  <a:pt x="188" y="262"/>
                </a:lnTo>
                <a:lnTo>
                  <a:pt x="177" y="256"/>
                </a:lnTo>
                <a:lnTo>
                  <a:pt x="166" y="249"/>
                </a:lnTo>
                <a:lnTo>
                  <a:pt x="155" y="242"/>
                </a:lnTo>
                <a:lnTo>
                  <a:pt x="144" y="235"/>
                </a:lnTo>
                <a:lnTo>
                  <a:pt x="140" y="231"/>
                </a:lnTo>
                <a:lnTo>
                  <a:pt x="134" y="229"/>
                </a:lnTo>
                <a:lnTo>
                  <a:pt x="130" y="228"/>
                </a:lnTo>
                <a:lnTo>
                  <a:pt x="126" y="227"/>
                </a:lnTo>
                <a:lnTo>
                  <a:pt x="119" y="222"/>
                </a:lnTo>
                <a:lnTo>
                  <a:pt x="107" y="215"/>
                </a:lnTo>
                <a:lnTo>
                  <a:pt x="101" y="212"/>
                </a:lnTo>
                <a:lnTo>
                  <a:pt x="97" y="209"/>
                </a:lnTo>
                <a:lnTo>
                  <a:pt x="95" y="206"/>
                </a:lnTo>
                <a:lnTo>
                  <a:pt x="93" y="203"/>
                </a:lnTo>
                <a:lnTo>
                  <a:pt x="95" y="199"/>
                </a:lnTo>
                <a:lnTo>
                  <a:pt x="98" y="191"/>
                </a:lnTo>
                <a:lnTo>
                  <a:pt x="104" y="181"/>
                </a:lnTo>
                <a:lnTo>
                  <a:pt x="111" y="169"/>
                </a:lnTo>
                <a:lnTo>
                  <a:pt x="119" y="158"/>
                </a:lnTo>
                <a:lnTo>
                  <a:pt x="126" y="148"/>
                </a:lnTo>
                <a:lnTo>
                  <a:pt x="134" y="140"/>
                </a:lnTo>
                <a:lnTo>
                  <a:pt x="140" y="136"/>
                </a:lnTo>
                <a:lnTo>
                  <a:pt x="136" y="129"/>
                </a:lnTo>
                <a:lnTo>
                  <a:pt x="132" y="122"/>
                </a:lnTo>
                <a:lnTo>
                  <a:pt x="126" y="116"/>
                </a:lnTo>
                <a:lnTo>
                  <a:pt x="121" y="111"/>
                </a:lnTo>
                <a:lnTo>
                  <a:pt x="115" y="105"/>
                </a:lnTo>
                <a:lnTo>
                  <a:pt x="111" y="99"/>
                </a:lnTo>
                <a:lnTo>
                  <a:pt x="108" y="93"/>
                </a:lnTo>
                <a:lnTo>
                  <a:pt x="107" y="86"/>
                </a:lnTo>
                <a:lnTo>
                  <a:pt x="107" y="84"/>
                </a:lnTo>
                <a:lnTo>
                  <a:pt x="109" y="81"/>
                </a:lnTo>
                <a:lnTo>
                  <a:pt x="111" y="78"/>
                </a:lnTo>
                <a:lnTo>
                  <a:pt x="113" y="75"/>
                </a:lnTo>
                <a:lnTo>
                  <a:pt x="116" y="72"/>
                </a:lnTo>
                <a:lnTo>
                  <a:pt x="120" y="70"/>
                </a:lnTo>
                <a:lnTo>
                  <a:pt x="123" y="69"/>
                </a:lnTo>
                <a:lnTo>
                  <a:pt x="126" y="68"/>
                </a:lnTo>
                <a:lnTo>
                  <a:pt x="126" y="37"/>
                </a:lnTo>
                <a:lnTo>
                  <a:pt x="120" y="36"/>
                </a:lnTo>
                <a:lnTo>
                  <a:pt x="110" y="32"/>
                </a:lnTo>
                <a:lnTo>
                  <a:pt x="99" y="27"/>
                </a:lnTo>
                <a:lnTo>
                  <a:pt x="87" y="21"/>
                </a:lnTo>
                <a:lnTo>
                  <a:pt x="65" y="8"/>
                </a:lnTo>
                <a:lnTo>
                  <a:pt x="53" y="0"/>
                </a:lnTo>
                <a:lnTo>
                  <a:pt x="52" y="2"/>
                </a:lnTo>
                <a:lnTo>
                  <a:pt x="47" y="11"/>
                </a:lnTo>
                <a:lnTo>
                  <a:pt x="41" y="26"/>
                </a:lnTo>
                <a:lnTo>
                  <a:pt x="34" y="44"/>
                </a:lnTo>
                <a:lnTo>
                  <a:pt x="31" y="56"/>
                </a:lnTo>
                <a:lnTo>
                  <a:pt x="28" y="70"/>
                </a:lnTo>
                <a:lnTo>
                  <a:pt x="24" y="83"/>
                </a:lnTo>
                <a:lnTo>
                  <a:pt x="22" y="99"/>
                </a:lnTo>
                <a:lnTo>
                  <a:pt x="20" y="115"/>
                </a:lnTo>
                <a:lnTo>
                  <a:pt x="20" y="133"/>
                </a:lnTo>
                <a:lnTo>
                  <a:pt x="19" y="152"/>
                </a:lnTo>
                <a:lnTo>
                  <a:pt x="20" y="172"/>
                </a:lnTo>
                <a:lnTo>
                  <a:pt x="15" y="180"/>
                </a:lnTo>
                <a:lnTo>
                  <a:pt x="12" y="188"/>
                </a:lnTo>
                <a:lnTo>
                  <a:pt x="9" y="197"/>
                </a:lnTo>
                <a:lnTo>
                  <a:pt x="8" y="206"/>
                </a:lnTo>
                <a:lnTo>
                  <a:pt x="3" y="222"/>
                </a:lnTo>
                <a:lnTo>
                  <a:pt x="0" y="235"/>
                </a:lnTo>
                <a:lnTo>
                  <a:pt x="12" y="247"/>
                </a:lnTo>
                <a:lnTo>
                  <a:pt x="22" y="259"/>
                </a:lnTo>
                <a:lnTo>
                  <a:pt x="32" y="270"/>
                </a:lnTo>
                <a:lnTo>
                  <a:pt x="41" y="281"/>
                </a:lnTo>
                <a:lnTo>
                  <a:pt x="48" y="294"/>
                </a:lnTo>
                <a:lnTo>
                  <a:pt x="55" y="305"/>
                </a:lnTo>
                <a:lnTo>
                  <a:pt x="60" y="317"/>
                </a:lnTo>
                <a:lnTo>
                  <a:pt x="66" y="329"/>
                </a:lnTo>
                <a:lnTo>
                  <a:pt x="71" y="341"/>
                </a:lnTo>
                <a:lnTo>
                  <a:pt x="75" y="355"/>
                </a:lnTo>
                <a:lnTo>
                  <a:pt x="79" y="369"/>
                </a:lnTo>
                <a:lnTo>
                  <a:pt x="82" y="384"/>
                </a:lnTo>
                <a:lnTo>
                  <a:pt x="88" y="417"/>
                </a:lnTo>
                <a:lnTo>
                  <a:pt x="93" y="455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42" name="Freeform 240"/>
          <p:cNvSpPr>
            <a:spLocks/>
          </p:cNvSpPr>
          <p:nvPr userDrawn="1">
            <p:custDataLst>
              <p:tags r:id="rId166"/>
            </p:custDataLst>
          </p:nvPr>
        </p:nvSpPr>
        <p:spPr bwMode="auto">
          <a:xfrm>
            <a:off x="3651260" y="2281238"/>
            <a:ext cx="231775" cy="161925"/>
          </a:xfrm>
          <a:custGeom>
            <a:avLst/>
            <a:gdLst>
              <a:gd name="T0" fmla="*/ 65266584 w 518"/>
              <a:gd name="T1" fmla="*/ 31106084 h 406"/>
              <a:gd name="T2" fmla="*/ 65266584 w 518"/>
              <a:gd name="T3" fmla="*/ 73240630 h 406"/>
              <a:gd name="T4" fmla="*/ 63064275 w 518"/>
              <a:gd name="T5" fmla="*/ 74654615 h 406"/>
              <a:gd name="T6" fmla="*/ 58259631 w 518"/>
              <a:gd name="T7" fmla="*/ 76634406 h 406"/>
              <a:gd name="T8" fmla="*/ 49250389 w 518"/>
              <a:gd name="T9" fmla="*/ 80027652 h 406"/>
              <a:gd name="T10" fmla="*/ 50651776 w 518"/>
              <a:gd name="T11" fmla="*/ 85400688 h 406"/>
              <a:gd name="T12" fmla="*/ 53054092 w 518"/>
              <a:gd name="T13" fmla="*/ 92187178 h 406"/>
              <a:gd name="T14" fmla="*/ 53855013 w 518"/>
              <a:gd name="T15" fmla="*/ 99822379 h 406"/>
              <a:gd name="T16" fmla="*/ 54455480 w 518"/>
              <a:gd name="T17" fmla="*/ 108022854 h 406"/>
              <a:gd name="T18" fmla="*/ 10410634 w 518"/>
              <a:gd name="T19" fmla="*/ 111416631 h 406"/>
              <a:gd name="T20" fmla="*/ 4404620 w 518"/>
              <a:gd name="T21" fmla="*/ 114809876 h 406"/>
              <a:gd name="T22" fmla="*/ 1000928 w 518"/>
              <a:gd name="T23" fmla="*/ 113961697 h 406"/>
              <a:gd name="T24" fmla="*/ 200007 w 518"/>
              <a:gd name="T25" fmla="*/ 112547712 h 406"/>
              <a:gd name="T26" fmla="*/ 200007 w 518"/>
              <a:gd name="T27" fmla="*/ 108871564 h 406"/>
              <a:gd name="T28" fmla="*/ 800921 w 518"/>
              <a:gd name="T29" fmla="*/ 104912512 h 406"/>
              <a:gd name="T30" fmla="*/ 2202310 w 518"/>
              <a:gd name="T31" fmla="*/ 100105282 h 406"/>
              <a:gd name="T32" fmla="*/ 4004159 w 518"/>
              <a:gd name="T33" fmla="*/ 96429134 h 406"/>
              <a:gd name="T34" fmla="*/ 6006014 w 518"/>
              <a:gd name="T35" fmla="*/ 94449342 h 406"/>
              <a:gd name="T36" fmla="*/ 7607858 w 518"/>
              <a:gd name="T37" fmla="*/ 92187178 h 406"/>
              <a:gd name="T38" fmla="*/ 8808792 w 518"/>
              <a:gd name="T39" fmla="*/ 89642112 h 406"/>
              <a:gd name="T40" fmla="*/ 9810167 w 518"/>
              <a:gd name="T41" fmla="*/ 82572718 h 406"/>
              <a:gd name="T42" fmla="*/ 11211555 w 518"/>
              <a:gd name="T43" fmla="*/ 74937518 h 406"/>
              <a:gd name="T44" fmla="*/ 12412489 w 518"/>
              <a:gd name="T45" fmla="*/ 72675355 h 406"/>
              <a:gd name="T46" fmla="*/ 14815255 w 518"/>
              <a:gd name="T47" fmla="*/ 69564465 h 406"/>
              <a:gd name="T48" fmla="*/ 18418952 w 518"/>
              <a:gd name="T49" fmla="*/ 67302301 h 406"/>
              <a:gd name="T50" fmla="*/ 21421734 w 518"/>
              <a:gd name="T51" fmla="*/ 65323041 h 406"/>
              <a:gd name="T52" fmla="*/ 24424964 w 518"/>
              <a:gd name="T53" fmla="*/ 61646893 h 406"/>
              <a:gd name="T54" fmla="*/ 27227740 w 518"/>
              <a:gd name="T55" fmla="*/ 55142774 h 406"/>
              <a:gd name="T56" fmla="*/ 30030523 w 518"/>
              <a:gd name="T57" fmla="*/ 44114329 h 406"/>
              <a:gd name="T58" fmla="*/ 32433286 w 518"/>
              <a:gd name="T59" fmla="*/ 33085344 h 406"/>
              <a:gd name="T60" fmla="*/ 34435141 w 518"/>
              <a:gd name="T61" fmla="*/ 26581757 h 406"/>
              <a:gd name="T62" fmla="*/ 37237917 w 518"/>
              <a:gd name="T63" fmla="*/ 20642914 h 406"/>
              <a:gd name="T64" fmla="*/ 40241146 w 518"/>
              <a:gd name="T65" fmla="*/ 17532572 h 406"/>
              <a:gd name="T66" fmla="*/ 42643462 w 518"/>
              <a:gd name="T67" fmla="*/ 16118583 h 406"/>
              <a:gd name="T68" fmla="*/ 43844843 w 518"/>
              <a:gd name="T69" fmla="*/ 12442434 h 406"/>
              <a:gd name="T70" fmla="*/ 44645764 w 518"/>
              <a:gd name="T71" fmla="*/ 7918106 h 406"/>
              <a:gd name="T72" fmla="*/ 45646692 w 518"/>
              <a:gd name="T73" fmla="*/ 4524329 h 406"/>
              <a:gd name="T74" fmla="*/ 47849001 w 518"/>
              <a:gd name="T75" fmla="*/ 2262164 h 406"/>
              <a:gd name="T76" fmla="*/ 102304480 w 518"/>
              <a:gd name="T77" fmla="*/ 0 h 406"/>
              <a:gd name="T78" fmla="*/ 103105401 w 518"/>
              <a:gd name="T79" fmla="*/ 13008241 h 406"/>
              <a:gd name="T80" fmla="*/ 103705868 w 518"/>
              <a:gd name="T81" fmla="*/ 31106084 h 40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518"/>
              <a:gd name="T124" fmla="*/ 0 h 406"/>
              <a:gd name="T125" fmla="*/ 518 w 518"/>
              <a:gd name="T126" fmla="*/ 406 h 40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518" h="406">
                <a:moveTo>
                  <a:pt x="518" y="110"/>
                </a:moveTo>
                <a:lnTo>
                  <a:pt x="326" y="110"/>
                </a:lnTo>
                <a:lnTo>
                  <a:pt x="312" y="104"/>
                </a:lnTo>
                <a:lnTo>
                  <a:pt x="326" y="259"/>
                </a:lnTo>
                <a:lnTo>
                  <a:pt x="323" y="261"/>
                </a:lnTo>
                <a:lnTo>
                  <a:pt x="315" y="264"/>
                </a:lnTo>
                <a:lnTo>
                  <a:pt x="304" y="267"/>
                </a:lnTo>
                <a:lnTo>
                  <a:pt x="291" y="271"/>
                </a:lnTo>
                <a:lnTo>
                  <a:pt x="263" y="277"/>
                </a:lnTo>
                <a:lnTo>
                  <a:pt x="246" y="283"/>
                </a:lnTo>
                <a:lnTo>
                  <a:pt x="250" y="292"/>
                </a:lnTo>
                <a:lnTo>
                  <a:pt x="253" y="302"/>
                </a:lnTo>
                <a:lnTo>
                  <a:pt x="258" y="314"/>
                </a:lnTo>
                <a:lnTo>
                  <a:pt x="265" y="326"/>
                </a:lnTo>
                <a:lnTo>
                  <a:pt x="267" y="335"/>
                </a:lnTo>
                <a:lnTo>
                  <a:pt x="269" y="353"/>
                </a:lnTo>
                <a:lnTo>
                  <a:pt x="271" y="373"/>
                </a:lnTo>
                <a:lnTo>
                  <a:pt x="272" y="382"/>
                </a:lnTo>
                <a:lnTo>
                  <a:pt x="67" y="382"/>
                </a:lnTo>
                <a:lnTo>
                  <a:pt x="52" y="394"/>
                </a:lnTo>
                <a:lnTo>
                  <a:pt x="39" y="406"/>
                </a:lnTo>
                <a:lnTo>
                  <a:pt x="22" y="406"/>
                </a:lnTo>
                <a:lnTo>
                  <a:pt x="10" y="404"/>
                </a:lnTo>
                <a:lnTo>
                  <a:pt x="5" y="403"/>
                </a:lnTo>
                <a:lnTo>
                  <a:pt x="2" y="401"/>
                </a:lnTo>
                <a:lnTo>
                  <a:pt x="1" y="398"/>
                </a:lnTo>
                <a:lnTo>
                  <a:pt x="0" y="394"/>
                </a:lnTo>
                <a:lnTo>
                  <a:pt x="1" y="385"/>
                </a:lnTo>
                <a:lnTo>
                  <a:pt x="2" y="378"/>
                </a:lnTo>
                <a:lnTo>
                  <a:pt x="4" y="371"/>
                </a:lnTo>
                <a:lnTo>
                  <a:pt x="6" y="365"/>
                </a:lnTo>
                <a:lnTo>
                  <a:pt x="11" y="354"/>
                </a:lnTo>
                <a:lnTo>
                  <a:pt x="13" y="344"/>
                </a:lnTo>
                <a:lnTo>
                  <a:pt x="20" y="341"/>
                </a:lnTo>
                <a:lnTo>
                  <a:pt x="26" y="337"/>
                </a:lnTo>
                <a:lnTo>
                  <a:pt x="30" y="334"/>
                </a:lnTo>
                <a:lnTo>
                  <a:pt x="35" y="330"/>
                </a:lnTo>
                <a:lnTo>
                  <a:pt x="38" y="326"/>
                </a:lnTo>
                <a:lnTo>
                  <a:pt x="41" y="321"/>
                </a:lnTo>
                <a:lnTo>
                  <a:pt x="44" y="317"/>
                </a:lnTo>
                <a:lnTo>
                  <a:pt x="46" y="313"/>
                </a:lnTo>
                <a:lnTo>
                  <a:pt x="49" y="292"/>
                </a:lnTo>
                <a:lnTo>
                  <a:pt x="52" y="271"/>
                </a:lnTo>
                <a:lnTo>
                  <a:pt x="56" y="265"/>
                </a:lnTo>
                <a:lnTo>
                  <a:pt x="59" y="261"/>
                </a:lnTo>
                <a:lnTo>
                  <a:pt x="62" y="257"/>
                </a:lnTo>
                <a:lnTo>
                  <a:pt x="66" y="253"/>
                </a:lnTo>
                <a:lnTo>
                  <a:pt x="74" y="246"/>
                </a:lnTo>
                <a:lnTo>
                  <a:pt x="83" y="242"/>
                </a:lnTo>
                <a:lnTo>
                  <a:pt x="92" y="238"/>
                </a:lnTo>
                <a:lnTo>
                  <a:pt x="100" y="235"/>
                </a:lnTo>
                <a:lnTo>
                  <a:pt x="107" y="231"/>
                </a:lnTo>
                <a:lnTo>
                  <a:pt x="113" y="227"/>
                </a:lnTo>
                <a:lnTo>
                  <a:pt x="122" y="218"/>
                </a:lnTo>
                <a:lnTo>
                  <a:pt x="129" y="207"/>
                </a:lnTo>
                <a:lnTo>
                  <a:pt x="136" y="195"/>
                </a:lnTo>
                <a:lnTo>
                  <a:pt x="141" y="182"/>
                </a:lnTo>
                <a:lnTo>
                  <a:pt x="150" y="156"/>
                </a:lnTo>
                <a:lnTo>
                  <a:pt x="158" y="129"/>
                </a:lnTo>
                <a:lnTo>
                  <a:pt x="162" y="117"/>
                </a:lnTo>
                <a:lnTo>
                  <a:pt x="168" y="105"/>
                </a:lnTo>
                <a:lnTo>
                  <a:pt x="172" y="94"/>
                </a:lnTo>
                <a:lnTo>
                  <a:pt x="179" y="83"/>
                </a:lnTo>
                <a:lnTo>
                  <a:pt x="186" y="73"/>
                </a:lnTo>
                <a:lnTo>
                  <a:pt x="195" y="66"/>
                </a:lnTo>
                <a:lnTo>
                  <a:pt x="201" y="62"/>
                </a:lnTo>
                <a:lnTo>
                  <a:pt x="206" y="59"/>
                </a:lnTo>
                <a:lnTo>
                  <a:pt x="213" y="57"/>
                </a:lnTo>
                <a:lnTo>
                  <a:pt x="219" y="55"/>
                </a:lnTo>
                <a:lnTo>
                  <a:pt x="219" y="44"/>
                </a:lnTo>
                <a:lnTo>
                  <a:pt x="220" y="36"/>
                </a:lnTo>
                <a:lnTo>
                  <a:pt x="223" y="28"/>
                </a:lnTo>
                <a:lnTo>
                  <a:pt x="225" y="21"/>
                </a:lnTo>
                <a:lnTo>
                  <a:pt x="228" y="16"/>
                </a:lnTo>
                <a:lnTo>
                  <a:pt x="233" y="11"/>
                </a:lnTo>
                <a:lnTo>
                  <a:pt x="239" y="8"/>
                </a:lnTo>
                <a:lnTo>
                  <a:pt x="246" y="6"/>
                </a:lnTo>
                <a:lnTo>
                  <a:pt x="511" y="0"/>
                </a:lnTo>
                <a:lnTo>
                  <a:pt x="513" y="13"/>
                </a:lnTo>
                <a:lnTo>
                  <a:pt x="515" y="46"/>
                </a:lnTo>
                <a:lnTo>
                  <a:pt x="517" y="83"/>
                </a:lnTo>
                <a:lnTo>
                  <a:pt x="518" y="11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43" name="Freeform 241"/>
          <p:cNvSpPr>
            <a:spLocks/>
          </p:cNvSpPr>
          <p:nvPr userDrawn="1">
            <p:custDataLst>
              <p:tags r:id="rId167"/>
            </p:custDataLst>
          </p:nvPr>
        </p:nvSpPr>
        <p:spPr bwMode="auto">
          <a:xfrm>
            <a:off x="3581400" y="1387080"/>
            <a:ext cx="190500" cy="70247"/>
          </a:xfrm>
          <a:custGeom>
            <a:avLst/>
            <a:gdLst>
              <a:gd name="T0" fmla="*/ 6202782 w 446"/>
              <a:gd name="T1" fmla="*/ 16889677 h 178"/>
              <a:gd name="T2" fmla="*/ 7479903 w 446"/>
              <a:gd name="T3" fmla="*/ 11628821 h 178"/>
              <a:gd name="T4" fmla="*/ 12405992 w 446"/>
              <a:gd name="T5" fmla="*/ 10244413 h 178"/>
              <a:gd name="T6" fmla="*/ 14595036 w 446"/>
              <a:gd name="T7" fmla="*/ 4983555 h 178"/>
              <a:gd name="T8" fmla="*/ 13135530 w 446"/>
              <a:gd name="T9" fmla="*/ 3876449 h 178"/>
              <a:gd name="T10" fmla="*/ 10946489 w 446"/>
              <a:gd name="T11" fmla="*/ 0 h 178"/>
              <a:gd name="T12" fmla="*/ 15507386 w 446"/>
              <a:gd name="T13" fmla="*/ 2768817 h 178"/>
              <a:gd name="T14" fmla="*/ 19703510 w 446"/>
              <a:gd name="T15" fmla="*/ 10797966 h 178"/>
              <a:gd name="T16" fmla="*/ 22804901 w 446"/>
              <a:gd name="T17" fmla="*/ 17166454 h 178"/>
              <a:gd name="T18" fmla="*/ 25359138 w 446"/>
              <a:gd name="T19" fmla="*/ 18550866 h 178"/>
              <a:gd name="T20" fmla="*/ 28642919 w 446"/>
              <a:gd name="T21" fmla="*/ 17443234 h 178"/>
              <a:gd name="T22" fmla="*/ 33021855 w 446"/>
              <a:gd name="T23" fmla="*/ 12459677 h 178"/>
              <a:gd name="T24" fmla="*/ 37400364 w 446"/>
              <a:gd name="T25" fmla="*/ 6367963 h 178"/>
              <a:gd name="T26" fmla="*/ 40136986 w 446"/>
              <a:gd name="T27" fmla="*/ 8583227 h 178"/>
              <a:gd name="T28" fmla="*/ 65496130 w 446"/>
              <a:gd name="T29" fmla="*/ 3045594 h 178"/>
              <a:gd name="T30" fmla="*/ 68597520 w 446"/>
              <a:gd name="T31" fmla="*/ 6367963 h 178"/>
              <a:gd name="T32" fmla="*/ 72246491 w 446"/>
              <a:gd name="T33" fmla="*/ 6091187 h 178"/>
              <a:gd name="T34" fmla="*/ 75347882 w 446"/>
              <a:gd name="T35" fmla="*/ 10244413 h 178"/>
              <a:gd name="T36" fmla="*/ 75712651 w 446"/>
              <a:gd name="T37" fmla="*/ 11905598 h 178"/>
              <a:gd name="T38" fmla="*/ 78266888 w 446"/>
              <a:gd name="T39" fmla="*/ 14951190 h 178"/>
              <a:gd name="T40" fmla="*/ 80821125 w 446"/>
              <a:gd name="T41" fmla="*/ 18827642 h 178"/>
              <a:gd name="T42" fmla="*/ 81368278 w 446"/>
              <a:gd name="T43" fmla="*/ 22150011 h 178"/>
              <a:gd name="T44" fmla="*/ 79908775 w 446"/>
              <a:gd name="T45" fmla="*/ 26580012 h 178"/>
              <a:gd name="T46" fmla="*/ 75347882 w 446"/>
              <a:gd name="T47" fmla="*/ 30733236 h 178"/>
              <a:gd name="T48" fmla="*/ 72428876 w 446"/>
              <a:gd name="T49" fmla="*/ 33225276 h 178"/>
              <a:gd name="T50" fmla="*/ 66773248 w 446"/>
              <a:gd name="T51" fmla="*/ 34055605 h 178"/>
              <a:gd name="T52" fmla="*/ 54732015 w 446"/>
              <a:gd name="T53" fmla="*/ 40424101 h 178"/>
              <a:gd name="T54" fmla="*/ 42690795 w 446"/>
              <a:gd name="T55" fmla="*/ 47346141 h 178"/>
              <a:gd name="T56" fmla="*/ 36305630 w 446"/>
              <a:gd name="T57" fmla="*/ 49284102 h 178"/>
              <a:gd name="T58" fmla="*/ 32291890 w 446"/>
              <a:gd name="T59" fmla="*/ 48176470 h 178"/>
              <a:gd name="T60" fmla="*/ 31379541 w 446"/>
              <a:gd name="T61" fmla="*/ 45407654 h 178"/>
              <a:gd name="T62" fmla="*/ 31014772 w 446"/>
              <a:gd name="T63" fmla="*/ 44577325 h 178"/>
              <a:gd name="T64" fmla="*/ 28460535 w 446"/>
              <a:gd name="T65" fmla="*/ 44577325 h 178"/>
              <a:gd name="T66" fmla="*/ 25359138 w 446"/>
              <a:gd name="T67" fmla="*/ 44300549 h 178"/>
              <a:gd name="T68" fmla="*/ 18244007 w 446"/>
              <a:gd name="T69" fmla="*/ 40700877 h 178"/>
              <a:gd name="T70" fmla="*/ 15507386 w 446"/>
              <a:gd name="T71" fmla="*/ 37932061 h 178"/>
              <a:gd name="T72" fmla="*/ 14777848 w 446"/>
              <a:gd name="T73" fmla="*/ 34609692 h 178"/>
              <a:gd name="T74" fmla="*/ 15872155 w 446"/>
              <a:gd name="T75" fmla="*/ 30733236 h 178"/>
              <a:gd name="T76" fmla="*/ 4926091 w 446"/>
              <a:gd name="T77" fmla="*/ 28518499 h 178"/>
              <a:gd name="T78" fmla="*/ 1641888 w 446"/>
              <a:gd name="T79" fmla="*/ 29072052 h 178"/>
              <a:gd name="T80" fmla="*/ 0 w 446"/>
              <a:gd name="T81" fmla="*/ 22150011 h 178"/>
              <a:gd name="T82" fmla="*/ 10946489 w 446"/>
              <a:gd name="T83" fmla="*/ 23811196 h 178"/>
              <a:gd name="T84" fmla="*/ 15872155 w 446"/>
              <a:gd name="T85" fmla="*/ 22150011 h 178"/>
              <a:gd name="T86" fmla="*/ 4196126 w 446"/>
              <a:gd name="T87" fmla="*/ 18827642 h 178"/>
              <a:gd name="T88" fmla="*/ 2919007 w 446"/>
              <a:gd name="T89" fmla="*/ 15228493 h 17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446"/>
              <a:gd name="T136" fmla="*/ 0 h 178"/>
              <a:gd name="T137" fmla="*/ 446 w 446"/>
              <a:gd name="T138" fmla="*/ 178 h 178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446" h="178">
                <a:moveTo>
                  <a:pt x="27" y="43"/>
                </a:moveTo>
                <a:lnTo>
                  <a:pt x="31" y="52"/>
                </a:lnTo>
                <a:lnTo>
                  <a:pt x="34" y="61"/>
                </a:lnTo>
                <a:lnTo>
                  <a:pt x="37" y="53"/>
                </a:lnTo>
                <a:lnTo>
                  <a:pt x="40" y="47"/>
                </a:lnTo>
                <a:lnTo>
                  <a:pt x="41" y="42"/>
                </a:lnTo>
                <a:lnTo>
                  <a:pt x="41" y="37"/>
                </a:lnTo>
                <a:lnTo>
                  <a:pt x="55" y="37"/>
                </a:lnTo>
                <a:lnTo>
                  <a:pt x="68" y="37"/>
                </a:lnTo>
                <a:lnTo>
                  <a:pt x="77" y="37"/>
                </a:lnTo>
                <a:lnTo>
                  <a:pt x="80" y="37"/>
                </a:lnTo>
                <a:lnTo>
                  <a:pt x="80" y="18"/>
                </a:lnTo>
                <a:lnTo>
                  <a:pt x="78" y="17"/>
                </a:lnTo>
                <a:lnTo>
                  <a:pt x="75" y="16"/>
                </a:lnTo>
                <a:lnTo>
                  <a:pt x="72" y="14"/>
                </a:lnTo>
                <a:lnTo>
                  <a:pt x="70" y="11"/>
                </a:lnTo>
                <a:lnTo>
                  <a:pt x="65" y="5"/>
                </a:lnTo>
                <a:lnTo>
                  <a:pt x="60" y="0"/>
                </a:lnTo>
                <a:lnTo>
                  <a:pt x="69" y="3"/>
                </a:lnTo>
                <a:lnTo>
                  <a:pt x="78" y="6"/>
                </a:lnTo>
                <a:lnTo>
                  <a:pt x="85" y="10"/>
                </a:lnTo>
                <a:lnTo>
                  <a:pt x="90" y="15"/>
                </a:lnTo>
                <a:lnTo>
                  <a:pt x="100" y="27"/>
                </a:lnTo>
                <a:lnTo>
                  <a:pt x="108" y="39"/>
                </a:lnTo>
                <a:lnTo>
                  <a:pt x="114" y="49"/>
                </a:lnTo>
                <a:lnTo>
                  <a:pt x="121" y="59"/>
                </a:lnTo>
                <a:lnTo>
                  <a:pt x="125" y="62"/>
                </a:lnTo>
                <a:lnTo>
                  <a:pt x="130" y="65"/>
                </a:lnTo>
                <a:lnTo>
                  <a:pt x="134" y="67"/>
                </a:lnTo>
                <a:lnTo>
                  <a:pt x="139" y="67"/>
                </a:lnTo>
                <a:lnTo>
                  <a:pt x="146" y="67"/>
                </a:lnTo>
                <a:lnTo>
                  <a:pt x="152" y="66"/>
                </a:lnTo>
                <a:lnTo>
                  <a:pt x="157" y="63"/>
                </a:lnTo>
                <a:lnTo>
                  <a:pt x="163" y="61"/>
                </a:lnTo>
                <a:lnTo>
                  <a:pt x="172" y="54"/>
                </a:lnTo>
                <a:lnTo>
                  <a:pt x="181" y="45"/>
                </a:lnTo>
                <a:lnTo>
                  <a:pt x="190" y="37"/>
                </a:lnTo>
                <a:lnTo>
                  <a:pt x="198" y="29"/>
                </a:lnTo>
                <a:lnTo>
                  <a:pt x="205" y="23"/>
                </a:lnTo>
                <a:lnTo>
                  <a:pt x="213" y="18"/>
                </a:lnTo>
                <a:lnTo>
                  <a:pt x="216" y="25"/>
                </a:lnTo>
                <a:lnTo>
                  <a:pt x="220" y="31"/>
                </a:lnTo>
                <a:lnTo>
                  <a:pt x="293" y="31"/>
                </a:lnTo>
                <a:lnTo>
                  <a:pt x="352" y="6"/>
                </a:lnTo>
                <a:lnTo>
                  <a:pt x="359" y="11"/>
                </a:lnTo>
                <a:lnTo>
                  <a:pt x="367" y="17"/>
                </a:lnTo>
                <a:lnTo>
                  <a:pt x="371" y="21"/>
                </a:lnTo>
                <a:lnTo>
                  <a:pt x="376" y="23"/>
                </a:lnTo>
                <a:lnTo>
                  <a:pt x="381" y="24"/>
                </a:lnTo>
                <a:lnTo>
                  <a:pt x="385" y="25"/>
                </a:lnTo>
                <a:lnTo>
                  <a:pt x="396" y="22"/>
                </a:lnTo>
                <a:lnTo>
                  <a:pt x="413" y="18"/>
                </a:lnTo>
                <a:lnTo>
                  <a:pt x="413" y="28"/>
                </a:lnTo>
                <a:lnTo>
                  <a:pt x="413" y="37"/>
                </a:lnTo>
                <a:lnTo>
                  <a:pt x="413" y="39"/>
                </a:lnTo>
                <a:lnTo>
                  <a:pt x="414" y="41"/>
                </a:lnTo>
                <a:lnTo>
                  <a:pt x="415" y="43"/>
                </a:lnTo>
                <a:lnTo>
                  <a:pt x="417" y="45"/>
                </a:lnTo>
                <a:lnTo>
                  <a:pt x="423" y="49"/>
                </a:lnTo>
                <a:lnTo>
                  <a:pt x="429" y="54"/>
                </a:lnTo>
                <a:lnTo>
                  <a:pt x="435" y="59"/>
                </a:lnTo>
                <a:lnTo>
                  <a:pt x="440" y="64"/>
                </a:lnTo>
                <a:lnTo>
                  <a:pt x="443" y="68"/>
                </a:lnTo>
                <a:lnTo>
                  <a:pt x="444" y="71"/>
                </a:lnTo>
                <a:lnTo>
                  <a:pt x="445" y="76"/>
                </a:lnTo>
                <a:lnTo>
                  <a:pt x="446" y="80"/>
                </a:lnTo>
                <a:lnTo>
                  <a:pt x="445" y="87"/>
                </a:lnTo>
                <a:lnTo>
                  <a:pt x="443" y="92"/>
                </a:lnTo>
                <a:lnTo>
                  <a:pt x="438" y="96"/>
                </a:lnTo>
                <a:lnTo>
                  <a:pt x="434" y="100"/>
                </a:lnTo>
                <a:lnTo>
                  <a:pt x="423" y="106"/>
                </a:lnTo>
                <a:lnTo>
                  <a:pt x="413" y="111"/>
                </a:lnTo>
                <a:lnTo>
                  <a:pt x="407" y="115"/>
                </a:lnTo>
                <a:lnTo>
                  <a:pt x="402" y="118"/>
                </a:lnTo>
                <a:lnTo>
                  <a:pt x="397" y="120"/>
                </a:lnTo>
                <a:lnTo>
                  <a:pt x="392" y="121"/>
                </a:lnTo>
                <a:lnTo>
                  <a:pt x="380" y="123"/>
                </a:lnTo>
                <a:lnTo>
                  <a:pt x="366" y="123"/>
                </a:lnTo>
                <a:lnTo>
                  <a:pt x="344" y="129"/>
                </a:lnTo>
                <a:lnTo>
                  <a:pt x="322" y="137"/>
                </a:lnTo>
                <a:lnTo>
                  <a:pt x="300" y="146"/>
                </a:lnTo>
                <a:lnTo>
                  <a:pt x="279" y="156"/>
                </a:lnTo>
                <a:lnTo>
                  <a:pt x="257" y="164"/>
                </a:lnTo>
                <a:lnTo>
                  <a:pt x="234" y="171"/>
                </a:lnTo>
                <a:lnTo>
                  <a:pt x="223" y="174"/>
                </a:lnTo>
                <a:lnTo>
                  <a:pt x="211" y="176"/>
                </a:lnTo>
                <a:lnTo>
                  <a:pt x="199" y="178"/>
                </a:lnTo>
                <a:lnTo>
                  <a:pt x="187" y="178"/>
                </a:lnTo>
                <a:lnTo>
                  <a:pt x="181" y="177"/>
                </a:lnTo>
                <a:lnTo>
                  <a:pt x="177" y="174"/>
                </a:lnTo>
                <a:lnTo>
                  <a:pt x="175" y="171"/>
                </a:lnTo>
                <a:lnTo>
                  <a:pt x="173" y="166"/>
                </a:lnTo>
                <a:lnTo>
                  <a:pt x="172" y="164"/>
                </a:lnTo>
                <a:lnTo>
                  <a:pt x="172" y="163"/>
                </a:lnTo>
                <a:lnTo>
                  <a:pt x="171" y="162"/>
                </a:lnTo>
                <a:lnTo>
                  <a:pt x="170" y="161"/>
                </a:lnTo>
                <a:lnTo>
                  <a:pt x="166" y="161"/>
                </a:lnTo>
                <a:lnTo>
                  <a:pt x="161" y="161"/>
                </a:lnTo>
                <a:lnTo>
                  <a:pt x="156" y="161"/>
                </a:lnTo>
                <a:lnTo>
                  <a:pt x="150" y="162"/>
                </a:lnTo>
                <a:lnTo>
                  <a:pt x="145" y="162"/>
                </a:lnTo>
                <a:lnTo>
                  <a:pt x="139" y="160"/>
                </a:lnTo>
                <a:lnTo>
                  <a:pt x="125" y="156"/>
                </a:lnTo>
                <a:lnTo>
                  <a:pt x="112" y="152"/>
                </a:lnTo>
                <a:lnTo>
                  <a:pt x="100" y="147"/>
                </a:lnTo>
                <a:lnTo>
                  <a:pt x="91" y="143"/>
                </a:lnTo>
                <a:lnTo>
                  <a:pt x="87" y="140"/>
                </a:lnTo>
                <a:lnTo>
                  <a:pt x="85" y="137"/>
                </a:lnTo>
                <a:lnTo>
                  <a:pt x="82" y="134"/>
                </a:lnTo>
                <a:lnTo>
                  <a:pt x="81" y="129"/>
                </a:lnTo>
                <a:lnTo>
                  <a:pt x="81" y="125"/>
                </a:lnTo>
                <a:lnTo>
                  <a:pt x="81" y="121"/>
                </a:lnTo>
                <a:lnTo>
                  <a:pt x="83" y="116"/>
                </a:lnTo>
                <a:lnTo>
                  <a:pt x="87" y="111"/>
                </a:lnTo>
                <a:lnTo>
                  <a:pt x="63" y="108"/>
                </a:lnTo>
                <a:lnTo>
                  <a:pt x="38" y="104"/>
                </a:lnTo>
                <a:lnTo>
                  <a:pt x="27" y="103"/>
                </a:lnTo>
                <a:lnTo>
                  <a:pt x="18" y="103"/>
                </a:lnTo>
                <a:lnTo>
                  <a:pt x="13" y="104"/>
                </a:lnTo>
                <a:lnTo>
                  <a:pt x="9" y="105"/>
                </a:lnTo>
                <a:lnTo>
                  <a:pt x="4" y="108"/>
                </a:lnTo>
                <a:lnTo>
                  <a:pt x="0" y="111"/>
                </a:lnTo>
                <a:lnTo>
                  <a:pt x="0" y="80"/>
                </a:lnTo>
                <a:lnTo>
                  <a:pt x="30" y="82"/>
                </a:lnTo>
                <a:lnTo>
                  <a:pt x="51" y="85"/>
                </a:lnTo>
                <a:lnTo>
                  <a:pt x="60" y="86"/>
                </a:lnTo>
                <a:lnTo>
                  <a:pt x="68" y="86"/>
                </a:lnTo>
                <a:lnTo>
                  <a:pt x="77" y="84"/>
                </a:lnTo>
                <a:lnTo>
                  <a:pt x="87" y="80"/>
                </a:lnTo>
                <a:lnTo>
                  <a:pt x="64" y="76"/>
                </a:lnTo>
                <a:lnTo>
                  <a:pt x="44" y="71"/>
                </a:lnTo>
                <a:lnTo>
                  <a:pt x="23" y="68"/>
                </a:lnTo>
                <a:lnTo>
                  <a:pt x="0" y="67"/>
                </a:lnTo>
                <a:lnTo>
                  <a:pt x="9" y="62"/>
                </a:lnTo>
                <a:lnTo>
                  <a:pt x="16" y="55"/>
                </a:lnTo>
                <a:lnTo>
                  <a:pt x="22" y="49"/>
                </a:lnTo>
                <a:lnTo>
                  <a:pt x="27" y="43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44" name="Freeform 242"/>
          <p:cNvSpPr>
            <a:spLocks/>
          </p:cNvSpPr>
          <p:nvPr userDrawn="1">
            <p:custDataLst>
              <p:tags r:id="rId168"/>
            </p:custDataLst>
          </p:nvPr>
        </p:nvSpPr>
        <p:spPr bwMode="auto">
          <a:xfrm>
            <a:off x="4373563" y="1584734"/>
            <a:ext cx="14288" cy="42863"/>
          </a:xfrm>
          <a:custGeom>
            <a:avLst/>
            <a:gdLst>
              <a:gd name="T0" fmla="*/ 0 w 28"/>
              <a:gd name="T1" fmla="*/ 44741398 h 73"/>
              <a:gd name="T2" fmla="*/ 521002 w 28"/>
              <a:gd name="T3" fmla="*/ 28805949 h 73"/>
              <a:gd name="T4" fmla="*/ 1562495 w 28"/>
              <a:gd name="T5" fmla="*/ 17161439 h 73"/>
              <a:gd name="T6" fmla="*/ 1822741 w 28"/>
              <a:gd name="T7" fmla="*/ 12258281 h 73"/>
              <a:gd name="T8" fmla="*/ 1562495 w 28"/>
              <a:gd name="T9" fmla="*/ 7967336 h 73"/>
              <a:gd name="T10" fmla="*/ 1041493 w 28"/>
              <a:gd name="T11" fmla="*/ 4290164 h 73"/>
              <a:gd name="T12" fmla="*/ 0 w 28"/>
              <a:gd name="T13" fmla="*/ 0 h 73"/>
              <a:gd name="T14" fmla="*/ 7290962 w 28"/>
              <a:gd name="T15" fmla="*/ 0 h 73"/>
              <a:gd name="T16" fmla="*/ 5728468 w 28"/>
              <a:gd name="T17" fmla="*/ 9806313 h 73"/>
              <a:gd name="T18" fmla="*/ 4426729 w 28"/>
              <a:gd name="T19" fmla="*/ 18386641 h 73"/>
              <a:gd name="T20" fmla="*/ 3124480 w 28"/>
              <a:gd name="T21" fmla="*/ 26354763 h 73"/>
              <a:gd name="T22" fmla="*/ 1822741 w 28"/>
              <a:gd name="T23" fmla="*/ 33709104 h 73"/>
              <a:gd name="T24" fmla="*/ 0 w 28"/>
              <a:gd name="T25" fmla="*/ 44741398 h 7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8"/>
              <a:gd name="T40" fmla="*/ 0 h 73"/>
              <a:gd name="T41" fmla="*/ 28 w 28"/>
              <a:gd name="T42" fmla="*/ 73 h 7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8" h="73">
                <a:moveTo>
                  <a:pt x="0" y="73"/>
                </a:moveTo>
                <a:lnTo>
                  <a:pt x="2" y="47"/>
                </a:lnTo>
                <a:lnTo>
                  <a:pt x="6" y="28"/>
                </a:lnTo>
                <a:lnTo>
                  <a:pt x="7" y="20"/>
                </a:lnTo>
                <a:lnTo>
                  <a:pt x="6" y="13"/>
                </a:lnTo>
                <a:lnTo>
                  <a:pt x="4" y="7"/>
                </a:lnTo>
                <a:lnTo>
                  <a:pt x="0" y="0"/>
                </a:lnTo>
                <a:lnTo>
                  <a:pt x="28" y="0"/>
                </a:lnTo>
                <a:lnTo>
                  <a:pt x="22" y="16"/>
                </a:lnTo>
                <a:lnTo>
                  <a:pt x="17" y="30"/>
                </a:lnTo>
                <a:lnTo>
                  <a:pt x="12" y="43"/>
                </a:lnTo>
                <a:lnTo>
                  <a:pt x="7" y="55"/>
                </a:lnTo>
                <a:lnTo>
                  <a:pt x="0" y="73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45" name="Freeform 243"/>
          <p:cNvSpPr>
            <a:spLocks/>
          </p:cNvSpPr>
          <p:nvPr userDrawn="1">
            <p:custDataLst>
              <p:tags r:id="rId169"/>
            </p:custDataLst>
          </p:nvPr>
        </p:nvSpPr>
        <p:spPr bwMode="auto">
          <a:xfrm>
            <a:off x="4260853" y="1332313"/>
            <a:ext cx="234950" cy="296465"/>
          </a:xfrm>
          <a:custGeom>
            <a:avLst/>
            <a:gdLst>
              <a:gd name="T0" fmla="*/ 82030725 w 531"/>
              <a:gd name="T1" fmla="*/ 55351666 h 757"/>
              <a:gd name="T2" fmla="*/ 79485656 w 531"/>
              <a:gd name="T3" fmla="*/ 60259594 h 757"/>
              <a:gd name="T4" fmla="*/ 79094073 w 531"/>
              <a:gd name="T5" fmla="*/ 64622371 h 757"/>
              <a:gd name="T6" fmla="*/ 74786658 w 531"/>
              <a:gd name="T7" fmla="*/ 74983394 h 757"/>
              <a:gd name="T8" fmla="*/ 63627644 w 531"/>
              <a:gd name="T9" fmla="*/ 83436371 h 757"/>
              <a:gd name="T10" fmla="*/ 49335951 w 531"/>
              <a:gd name="T11" fmla="*/ 96524178 h 757"/>
              <a:gd name="T12" fmla="*/ 46399299 w 531"/>
              <a:gd name="T13" fmla="*/ 100614379 h 757"/>
              <a:gd name="T14" fmla="*/ 47965189 w 531"/>
              <a:gd name="T15" fmla="*/ 103886331 h 757"/>
              <a:gd name="T16" fmla="*/ 46986452 w 531"/>
              <a:gd name="T17" fmla="*/ 115610738 h 757"/>
              <a:gd name="T18" fmla="*/ 46790882 w 531"/>
              <a:gd name="T19" fmla="*/ 122427740 h 757"/>
              <a:gd name="T20" fmla="*/ 51293425 w 531"/>
              <a:gd name="T21" fmla="*/ 127608243 h 757"/>
              <a:gd name="T22" fmla="*/ 62648465 w 531"/>
              <a:gd name="T23" fmla="*/ 132243595 h 757"/>
              <a:gd name="T24" fmla="*/ 64997964 w 531"/>
              <a:gd name="T25" fmla="*/ 137697229 h 757"/>
              <a:gd name="T26" fmla="*/ 60690992 w 531"/>
              <a:gd name="T27" fmla="*/ 144786284 h 757"/>
              <a:gd name="T28" fmla="*/ 53251340 w 531"/>
              <a:gd name="T29" fmla="*/ 149149061 h 757"/>
              <a:gd name="T30" fmla="*/ 51881021 w 531"/>
              <a:gd name="T31" fmla="*/ 152693588 h 757"/>
              <a:gd name="T32" fmla="*/ 49335951 w 531"/>
              <a:gd name="T33" fmla="*/ 172053246 h 757"/>
              <a:gd name="T34" fmla="*/ 46790882 w 531"/>
              <a:gd name="T35" fmla="*/ 196593407 h 757"/>
              <a:gd name="T36" fmla="*/ 33869523 w 531"/>
              <a:gd name="T37" fmla="*/ 198229382 h 757"/>
              <a:gd name="T38" fmla="*/ 29758121 w 531"/>
              <a:gd name="T39" fmla="*/ 201228759 h 757"/>
              <a:gd name="T40" fmla="*/ 29953691 w 531"/>
              <a:gd name="T41" fmla="*/ 206409262 h 757"/>
              <a:gd name="T42" fmla="*/ 20752144 w 531"/>
              <a:gd name="T43" fmla="*/ 206409262 h 757"/>
              <a:gd name="T44" fmla="*/ 18598658 w 531"/>
              <a:gd name="T45" fmla="*/ 205045862 h 757"/>
              <a:gd name="T46" fmla="*/ 13900099 w 531"/>
              <a:gd name="T47" fmla="*/ 195775158 h 757"/>
              <a:gd name="T48" fmla="*/ 8026794 w 531"/>
              <a:gd name="T49" fmla="*/ 174506948 h 757"/>
              <a:gd name="T50" fmla="*/ 6656473 w 531"/>
              <a:gd name="T51" fmla="*/ 162782541 h 757"/>
              <a:gd name="T52" fmla="*/ 2741083 w 531"/>
              <a:gd name="T53" fmla="*/ 159783165 h 757"/>
              <a:gd name="T54" fmla="*/ 3719820 w 531"/>
              <a:gd name="T55" fmla="*/ 152966686 h 757"/>
              <a:gd name="T56" fmla="*/ 7048056 w 531"/>
              <a:gd name="T57" fmla="*/ 146695358 h 757"/>
              <a:gd name="T58" fmla="*/ 10376293 w 531"/>
              <a:gd name="T59" fmla="*/ 137424653 h 757"/>
              <a:gd name="T60" fmla="*/ 11942183 w 531"/>
              <a:gd name="T61" fmla="*/ 128426492 h 757"/>
              <a:gd name="T62" fmla="*/ 12529779 w 531"/>
              <a:gd name="T63" fmla="*/ 120246090 h 757"/>
              <a:gd name="T64" fmla="*/ 11355030 w 531"/>
              <a:gd name="T65" fmla="*/ 111248484 h 757"/>
              <a:gd name="T66" fmla="*/ 8418378 w 531"/>
              <a:gd name="T67" fmla="*/ 102795507 h 757"/>
              <a:gd name="T68" fmla="*/ 14487695 w 531"/>
              <a:gd name="T69" fmla="*/ 75256491 h 757"/>
              <a:gd name="T70" fmla="*/ 20164991 w 531"/>
              <a:gd name="T71" fmla="*/ 74983394 h 757"/>
              <a:gd name="T72" fmla="*/ 22122906 w 531"/>
              <a:gd name="T73" fmla="*/ 63804122 h 757"/>
              <a:gd name="T74" fmla="*/ 26821462 w 531"/>
              <a:gd name="T75" fmla="*/ 52352290 h 757"/>
              <a:gd name="T76" fmla="*/ 35239843 w 531"/>
              <a:gd name="T77" fmla="*/ 39536536 h 757"/>
              <a:gd name="T78" fmla="*/ 38763649 w 531"/>
              <a:gd name="T79" fmla="*/ 30265824 h 757"/>
              <a:gd name="T80" fmla="*/ 44636954 w 531"/>
              <a:gd name="T81" fmla="*/ 16360285 h 757"/>
              <a:gd name="T82" fmla="*/ 48748355 w 531"/>
              <a:gd name="T83" fmla="*/ 11724933 h 757"/>
              <a:gd name="T84" fmla="*/ 60494979 w 531"/>
              <a:gd name="T85" fmla="*/ 7907306 h 757"/>
              <a:gd name="T86" fmla="*/ 72046018 w 531"/>
              <a:gd name="T87" fmla="*/ 3544528 h 757"/>
              <a:gd name="T88" fmla="*/ 78506477 w 531"/>
              <a:gd name="T89" fmla="*/ 1363401 h 757"/>
              <a:gd name="T90" fmla="*/ 84379781 w 531"/>
              <a:gd name="T91" fmla="*/ 8725557 h 757"/>
              <a:gd name="T92" fmla="*/ 89469920 w 531"/>
              <a:gd name="T93" fmla="*/ 11451836 h 757"/>
              <a:gd name="T94" fmla="*/ 100433806 w 531"/>
              <a:gd name="T95" fmla="*/ 30265824 h 757"/>
              <a:gd name="T96" fmla="*/ 103370458 w 531"/>
              <a:gd name="T97" fmla="*/ 40899936 h 757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531"/>
              <a:gd name="T148" fmla="*/ 0 h 757"/>
              <a:gd name="T149" fmla="*/ 531 w 531"/>
              <a:gd name="T150" fmla="*/ 757 h 757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531" h="757">
                <a:moveTo>
                  <a:pt x="531" y="190"/>
                </a:moveTo>
                <a:lnTo>
                  <a:pt x="432" y="190"/>
                </a:lnTo>
                <a:lnTo>
                  <a:pt x="428" y="194"/>
                </a:lnTo>
                <a:lnTo>
                  <a:pt x="419" y="203"/>
                </a:lnTo>
                <a:lnTo>
                  <a:pt x="413" y="208"/>
                </a:lnTo>
                <a:lnTo>
                  <a:pt x="409" y="213"/>
                </a:lnTo>
                <a:lnTo>
                  <a:pt x="407" y="218"/>
                </a:lnTo>
                <a:lnTo>
                  <a:pt x="406" y="221"/>
                </a:lnTo>
                <a:lnTo>
                  <a:pt x="404" y="226"/>
                </a:lnTo>
                <a:lnTo>
                  <a:pt x="403" y="230"/>
                </a:lnTo>
                <a:lnTo>
                  <a:pt x="403" y="233"/>
                </a:lnTo>
                <a:lnTo>
                  <a:pt x="404" y="237"/>
                </a:lnTo>
                <a:lnTo>
                  <a:pt x="407" y="244"/>
                </a:lnTo>
                <a:lnTo>
                  <a:pt x="412" y="252"/>
                </a:lnTo>
                <a:lnTo>
                  <a:pt x="397" y="264"/>
                </a:lnTo>
                <a:lnTo>
                  <a:pt x="382" y="275"/>
                </a:lnTo>
                <a:lnTo>
                  <a:pt x="367" y="284"/>
                </a:lnTo>
                <a:lnTo>
                  <a:pt x="353" y="291"/>
                </a:lnTo>
                <a:lnTo>
                  <a:pt x="339" y="299"/>
                </a:lnTo>
                <a:lnTo>
                  <a:pt x="325" y="306"/>
                </a:lnTo>
                <a:lnTo>
                  <a:pt x="311" y="315"/>
                </a:lnTo>
                <a:lnTo>
                  <a:pt x="299" y="325"/>
                </a:lnTo>
                <a:lnTo>
                  <a:pt x="277" y="338"/>
                </a:lnTo>
                <a:lnTo>
                  <a:pt x="252" y="354"/>
                </a:lnTo>
                <a:lnTo>
                  <a:pt x="248" y="358"/>
                </a:lnTo>
                <a:lnTo>
                  <a:pt x="242" y="361"/>
                </a:lnTo>
                <a:lnTo>
                  <a:pt x="239" y="365"/>
                </a:lnTo>
                <a:lnTo>
                  <a:pt x="237" y="369"/>
                </a:lnTo>
                <a:lnTo>
                  <a:pt x="237" y="372"/>
                </a:lnTo>
                <a:lnTo>
                  <a:pt x="238" y="375"/>
                </a:lnTo>
                <a:lnTo>
                  <a:pt x="241" y="378"/>
                </a:lnTo>
                <a:lnTo>
                  <a:pt x="245" y="381"/>
                </a:lnTo>
                <a:lnTo>
                  <a:pt x="245" y="391"/>
                </a:lnTo>
                <a:lnTo>
                  <a:pt x="245" y="400"/>
                </a:lnTo>
                <a:lnTo>
                  <a:pt x="243" y="413"/>
                </a:lnTo>
                <a:lnTo>
                  <a:pt x="240" y="424"/>
                </a:lnTo>
                <a:lnTo>
                  <a:pt x="238" y="430"/>
                </a:lnTo>
                <a:lnTo>
                  <a:pt x="238" y="436"/>
                </a:lnTo>
                <a:lnTo>
                  <a:pt x="238" y="443"/>
                </a:lnTo>
                <a:lnTo>
                  <a:pt x="239" y="449"/>
                </a:lnTo>
                <a:lnTo>
                  <a:pt x="243" y="456"/>
                </a:lnTo>
                <a:lnTo>
                  <a:pt x="249" y="461"/>
                </a:lnTo>
                <a:lnTo>
                  <a:pt x="255" y="465"/>
                </a:lnTo>
                <a:lnTo>
                  <a:pt x="262" y="468"/>
                </a:lnTo>
                <a:lnTo>
                  <a:pt x="277" y="473"/>
                </a:lnTo>
                <a:lnTo>
                  <a:pt x="293" y="477"/>
                </a:lnTo>
                <a:lnTo>
                  <a:pt x="308" y="480"/>
                </a:lnTo>
                <a:lnTo>
                  <a:pt x="320" y="485"/>
                </a:lnTo>
                <a:lnTo>
                  <a:pt x="326" y="488"/>
                </a:lnTo>
                <a:lnTo>
                  <a:pt x="329" y="492"/>
                </a:lnTo>
                <a:lnTo>
                  <a:pt x="331" y="499"/>
                </a:lnTo>
                <a:lnTo>
                  <a:pt x="332" y="505"/>
                </a:lnTo>
                <a:lnTo>
                  <a:pt x="332" y="517"/>
                </a:lnTo>
                <a:lnTo>
                  <a:pt x="332" y="529"/>
                </a:lnTo>
                <a:lnTo>
                  <a:pt x="321" y="530"/>
                </a:lnTo>
                <a:lnTo>
                  <a:pt x="310" y="531"/>
                </a:lnTo>
                <a:lnTo>
                  <a:pt x="299" y="534"/>
                </a:lnTo>
                <a:lnTo>
                  <a:pt x="289" y="537"/>
                </a:lnTo>
                <a:lnTo>
                  <a:pt x="280" y="542"/>
                </a:lnTo>
                <a:lnTo>
                  <a:pt x="272" y="547"/>
                </a:lnTo>
                <a:lnTo>
                  <a:pt x="270" y="551"/>
                </a:lnTo>
                <a:lnTo>
                  <a:pt x="267" y="554"/>
                </a:lnTo>
                <a:lnTo>
                  <a:pt x="266" y="557"/>
                </a:lnTo>
                <a:lnTo>
                  <a:pt x="265" y="560"/>
                </a:lnTo>
                <a:lnTo>
                  <a:pt x="264" y="576"/>
                </a:lnTo>
                <a:lnTo>
                  <a:pt x="262" y="593"/>
                </a:lnTo>
                <a:lnTo>
                  <a:pt x="258" y="612"/>
                </a:lnTo>
                <a:lnTo>
                  <a:pt x="252" y="631"/>
                </a:lnTo>
                <a:lnTo>
                  <a:pt x="248" y="651"/>
                </a:lnTo>
                <a:lnTo>
                  <a:pt x="243" y="673"/>
                </a:lnTo>
                <a:lnTo>
                  <a:pt x="240" y="695"/>
                </a:lnTo>
                <a:lnTo>
                  <a:pt x="239" y="721"/>
                </a:lnTo>
                <a:lnTo>
                  <a:pt x="224" y="721"/>
                </a:lnTo>
                <a:lnTo>
                  <a:pt x="206" y="722"/>
                </a:lnTo>
                <a:lnTo>
                  <a:pt x="189" y="724"/>
                </a:lnTo>
                <a:lnTo>
                  <a:pt x="173" y="727"/>
                </a:lnTo>
                <a:lnTo>
                  <a:pt x="166" y="730"/>
                </a:lnTo>
                <a:lnTo>
                  <a:pt x="161" y="732"/>
                </a:lnTo>
                <a:lnTo>
                  <a:pt x="155" y="735"/>
                </a:lnTo>
                <a:lnTo>
                  <a:pt x="152" y="738"/>
                </a:lnTo>
                <a:lnTo>
                  <a:pt x="150" y="742"/>
                </a:lnTo>
                <a:lnTo>
                  <a:pt x="149" y="747"/>
                </a:lnTo>
                <a:lnTo>
                  <a:pt x="150" y="751"/>
                </a:lnTo>
                <a:lnTo>
                  <a:pt x="153" y="757"/>
                </a:lnTo>
                <a:lnTo>
                  <a:pt x="142" y="757"/>
                </a:lnTo>
                <a:lnTo>
                  <a:pt x="127" y="757"/>
                </a:lnTo>
                <a:lnTo>
                  <a:pt x="113" y="757"/>
                </a:lnTo>
                <a:lnTo>
                  <a:pt x="106" y="757"/>
                </a:lnTo>
                <a:lnTo>
                  <a:pt x="104" y="757"/>
                </a:lnTo>
                <a:lnTo>
                  <a:pt x="101" y="756"/>
                </a:lnTo>
                <a:lnTo>
                  <a:pt x="98" y="754"/>
                </a:lnTo>
                <a:lnTo>
                  <a:pt x="95" y="752"/>
                </a:lnTo>
                <a:lnTo>
                  <a:pt x="90" y="746"/>
                </a:lnTo>
                <a:lnTo>
                  <a:pt x="84" y="738"/>
                </a:lnTo>
                <a:lnTo>
                  <a:pt x="77" y="729"/>
                </a:lnTo>
                <a:lnTo>
                  <a:pt x="71" y="718"/>
                </a:lnTo>
                <a:lnTo>
                  <a:pt x="65" y="706"/>
                </a:lnTo>
                <a:lnTo>
                  <a:pt x="60" y="693"/>
                </a:lnTo>
                <a:lnTo>
                  <a:pt x="49" y="667"/>
                </a:lnTo>
                <a:lnTo>
                  <a:pt x="41" y="640"/>
                </a:lnTo>
                <a:lnTo>
                  <a:pt x="38" y="628"/>
                </a:lnTo>
                <a:lnTo>
                  <a:pt x="35" y="616"/>
                </a:lnTo>
                <a:lnTo>
                  <a:pt x="34" y="606"/>
                </a:lnTo>
                <a:lnTo>
                  <a:pt x="34" y="597"/>
                </a:lnTo>
                <a:lnTo>
                  <a:pt x="27" y="596"/>
                </a:lnTo>
                <a:lnTo>
                  <a:pt x="22" y="594"/>
                </a:lnTo>
                <a:lnTo>
                  <a:pt x="17" y="590"/>
                </a:lnTo>
                <a:lnTo>
                  <a:pt x="14" y="586"/>
                </a:lnTo>
                <a:lnTo>
                  <a:pt x="8" y="576"/>
                </a:lnTo>
                <a:lnTo>
                  <a:pt x="0" y="566"/>
                </a:lnTo>
                <a:lnTo>
                  <a:pt x="9" y="563"/>
                </a:lnTo>
                <a:lnTo>
                  <a:pt x="19" y="561"/>
                </a:lnTo>
                <a:lnTo>
                  <a:pt x="27" y="560"/>
                </a:lnTo>
                <a:lnTo>
                  <a:pt x="34" y="560"/>
                </a:lnTo>
                <a:lnTo>
                  <a:pt x="34" y="548"/>
                </a:lnTo>
                <a:lnTo>
                  <a:pt x="36" y="538"/>
                </a:lnTo>
                <a:lnTo>
                  <a:pt x="38" y="528"/>
                </a:lnTo>
                <a:lnTo>
                  <a:pt x="42" y="519"/>
                </a:lnTo>
                <a:lnTo>
                  <a:pt x="47" y="511"/>
                </a:lnTo>
                <a:lnTo>
                  <a:pt x="53" y="504"/>
                </a:lnTo>
                <a:lnTo>
                  <a:pt x="59" y="498"/>
                </a:lnTo>
                <a:lnTo>
                  <a:pt x="67" y="492"/>
                </a:lnTo>
                <a:lnTo>
                  <a:pt x="62" y="480"/>
                </a:lnTo>
                <a:lnTo>
                  <a:pt x="61" y="471"/>
                </a:lnTo>
                <a:lnTo>
                  <a:pt x="61" y="464"/>
                </a:lnTo>
                <a:lnTo>
                  <a:pt x="61" y="457"/>
                </a:lnTo>
                <a:lnTo>
                  <a:pt x="63" y="450"/>
                </a:lnTo>
                <a:lnTo>
                  <a:pt x="64" y="441"/>
                </a:lnTo>
                <a:lnTo>
                  <a:pt x="65" y="428"/>
                </a:lnTo>
                <a:lnTo>
                  <a:pt x="67" y="412"/>
                </a:lnTo>
                <a:lnTo>
                  <a:pt x="62" y="410"/>
                </a:lnTo>
                <a:lnTo>
                  <a:pt x="58" y="408"/>
                </a:lnTo>
                <a:lnTo>
                  <a:pt x="54" y="404"/>
                </a:lnTo>
                <a:lnTo>
                  <a:pt x="51" y="400"/>
                </a:lnTo>
                <a:lnTo>
                  <a:pt x="47" y="390"/>
                </a:lnTo>
                <a:lnTo>
                  <a:pt x="43" y="377"/>
                </a:lnTo>
                <a:lnTo>
                  <a:pt x="40" y="354"/>
                </a:lnTo>
                <a:lnTo>
                  <a:pt x="40" y="338"/>
                </a:lnTo>
                <a:lnTo>
                  <a:pt x="60" y="277"/>
                </a:lnTo>
                <a:lnTo>
                  <a:pt x="74" y="276"/>
                </a:lnTo>
                <a:lnTo>
                  <a:pt x="88" y="275"/>
                </a:lnTo>
                <a:lnTo>
                  <a:pt x="94" y="274"/>
                </a:lnTo>
                <a:lnTo>
                  <a:pt x="99" y="274"/>
                </a:lnTo>
                <a:lnTo>
                  <a:pt x="103" y="275"/>
                </a:lnTo>
                <a:lnTo>
                  <a:pt x="106" y="277"/>
                </a:lnTo>
                <a:lnTo>
                  <a:pt x="107" y="261"/>
                </a:lnTo>
                <a:lnTo>
                  <a:pt x="109" y="247"/>
                </a:lnTo>
                <a:lnTo>
                  <a:pt x="113" y="234"/>
                </a:lnTo>
                <a:lnTo>
                  <a:pt x="118" y="222"/>
                </a:lnTo>
                <a:lnTo>
                  <a:pt x="124" y="211"/>
                </a:lnTo>
                <a:lnTo>
                  <a:pt x="130" y="201"/>
                </a:lnTo>
                <a:lnTo>
                  <a:pt x="137" y="192"/>
                </a:lnTo>
                <a:lnTo>
                  <a:pt x="144" y="183"/>
                </a:lnTo>
                <a:lnTo>
                  <a:pt x="160" y="168"/>
                </a:lnTo>
                <a:lnTo>
                  <a:pt x="173" y="152"/>
                </a:lnTo>
                <a:lnTo>
                  <a:pt x="180" y="145"/>
                </a:lnTo>
                <a:lnTo>
                  <a:pt x="185" y="138"/>
                </a:lnTo>
                <a:lnTo>
                  <a:pt x="189" y="130"/>
                </a:lnTo>
                <a:lnTo>
                  <a:pt x="193" y="123"/>
                </a:lnTo>
                <a:lnTo>
                  <a:pt x="198" y="111"/>
                </a:lnTo>
                <a:lnTo>
                  <a:pt x="205" y="97"/>
                </a:lnTo>
                <a:lnTo>
                  <a:pt x="213" y="83"/>
                </a:lnTo>
                <a:lnTo>
                  <a:pt x="220" y="71"/>
                </a:lnTo>
                <a:lnTo>
                  <a:pt x="228" y="60"/>
                </a:lnTo>
                <a:lnTo>
                  <a:pt x="237" y="51"/>
                </a:lnTo>
                <a:lnTo>
                  <a:pt x="241" y="47"/>
                </a:lnTo>
                <a:lnTo>
                  <a:pt x="244" y="44"/>
                </a:lnTo>
                <a:lnTo>
                  <a:pt x="249" y="43"/>
                </a:lnTo>
                <a:lnTo>
                  <a:pt x="252" y="42"/>
                </a:lnTo>
                <a:lnTo>
                  <a:pt x="272" y="36"/>
                </a:lnTo>
                <a:lnTo>
                  <a:pt x="291" y="32"/>
                </a:lnTo>
                <a:lnTo>
                  <a:pt x="309" y="29"/>
                </a:lnTo>
                <a:lnTo>
                  <a:pt x="327" y="25"/>
                </a:lnTo>
                <a:lnTo>
                  <a:pt x="344" y="22"/>
                </a:lnTo>
                <a:lnTo>
                  <a:pt x="361" y="16"/>
                </a:lnTo>
                <a:lnTo>
                  <a:pt x="368" y="13"/>
                </a:lnTo>
                <a:lnTo>
                  <a:pt x="376" y="9"/>
                </a:lnTo>
                <a:lnTo>
                  <a:pt x="384" y="5"/>
                </a:lnTo>
                <a:lnTo>
                  <a:pt x="392" y="0"/>
                </a:lnTo>
                <a:lnTo>
                  <a:pt x="401" y="5"/>
                </a:lnTo>
                <a:lnTo>
                  <a:pt x="409" y="11"/>
                </a:lnTo>
                <a:lnTo>
                  <a:pt x="416" y="18"/>
                </a:lnTo>
                <a:lnTo>
                  <a:pt x="423" y="25"/>
                </a:lnTo>
                <a:lnTo>
                  <a:pt x="431" y="32"/>
                </a:lnTo>
                <a:lnTo>
                  <a:pt x="441" y="37"/>
                </a:lnTo>
                <a:lnTo>
                  <a:pt x="445" y="39"/>
                </a:lnTo>
                <a:lnTo>
                  <a:pt x="452" y="41"/>
                </a:lnTo>
                <a:lnTo>
                  <a:pt x="457" y="42"/>
                </a:lnTo>
                <a:lnTo>
                  <a:pt x="465" y="42"/>
                </a:lnTo>
                <a:lnTo>
                  <a:pt x="487" y="72"/>
                </a:lnTo>
                <a:lnTo>
                  <a:pt x="508" y="102"/>
                </a:lnTo>
                <a:lnTo>
                  <a:pt x="513" y="111"/>
                </a:lnTo>
                <a:lnTo>
                  <a:pt x="518" y="120"/>
                </a:lnTo>
                <a:lnTo>
                  <a:pt x="521" y="129"/>
                </a:lnTo>
                <a:lnTo>
                  <a:pt x="524" y="139"/>
                </a:lnTo>
                <a:lnTo>
                  <a:pt x="528" y="150"/>
                </a:lnTo>
                <a:lnTo>
                  <a:pt x="530" y="163"/>
                </a:lnTo>
                <a:lnTo>
                  <a:pt x="531" y="176"/>
                </a:lnTo>
                <a:lnTo>
                  <a:pt x="531" y="19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46" name="Freeform 244"/>
          <p:cNvSpPr>
            <a:spLocks/>
          </p:cNvSpPr>
          <p:nvPr userDrawn="1">
            <p:custDataLst>
              <p:tags r:id="rId170"/>
            </p:custDataLst>
          </p:nvPr>
        </p:nvSpPr>
        <p:spPr bwMode="auto">
          <a:xfrm>
            <a:off x="4398963" y="1568065"/>
            <a:ext cx="26988" cy="42863"/>
          </a:xfrm>
          <a:custGeom>
            <a:avLst/>
            <a:gdLst>
              <a:gd name="T0" fmla="*/ 0 w 60"/>
              <a:gd name="T1" fmla="*/ 46461833 h 51"/>
              <a:gd name="T2" fmla="*/ 1214010 w 60"/>
              <a:gd name="T3" fmla="*/ 37671942 h 51"/>
              <a:gd name="T4" fmla="*/ 3034801 w 60"/>
              <a:gd name="T5" fmla="*/ 23858446 h 51"/>
              <a:gd name="T6" fmla="*/ 4046402 w 60"/>
              <a:gd name="T7" fmla="*/ 16324729 h 51"/>
              <a:gd name="T8" fmla="*/ 5462821 w 60"/>
              <a:gd name="T9" fmla="*/ 10046075 h 51"/>
              <a:gd name="T10" fmla="*/ 6676381 w 60"/>
              <a:gd name="T11" fmla="*/ 5022477 h 51"/>
              <a:gd name="T12" fmla="*/ 8092803 w 60"/>
              <a:gd name="T13" fmla="*/ 0 h 51"/>
              <a:gd name="T14" fmla="*/ 10116003 w 60"/>
              <a:gd name="T15" fmla="*/ 8789894 h 51"/>
              <a:gd name="T16" fmla="*/ 12139203 w 60"/>
              <a:gd name="T17" fmla="*/ 16324729 h 51"/>
              <a:gd name="T18" fmla="*/ 11936793 w 60"/>
              <a:gd name="T19" fmla="*/ 25114625 h 51"/>
              <a:gd name="T20" fmla="*/ 11330013 w 60"/>
              <a:gd name="T21" fmla="*/ 36415754 h 51"/>
              <a:gd name="T22" fmla="*/ 10925193 w 60"/>
              <a:gd name="T23" fmla="*/ 42694417 h 51"/>
              <a:gd name="T24" fmla="*/ 10520823 w 60"/>
              <a:gd name="T25" fmla="*/ 47716891 h 51"/>
              <a:gd name="T26" fmla="*/ 9913593 w 60"/>
              <a:gd name="T27" fmla="*/ 52740487 h 51"/>
              <a:gd name="T28" fmla="*/ 9104403 w 60"/>
              <a:gd name="T29" fmla="*/ 56506783 h 51"/>
              <a:gd name="T30" fmla="*/ 8295213 w 60"/>
              <a:gd name="T31" fmla="*/ 60274199 h 51"/>
              <a:gd name="T32" fmla="*/ 7486023 w 60"/>
              <a:gd name="T33" fmla="*/ 62785437 h 51"/>
              <a:gd name="T34" fmla="*/ 6272011 w 60"/>
              <a:gd name="T35" fmla="*/ 64041616 h 51"/>
              <a:gd name="T36" fmla="*/ 5462821 w 60"/>
              <a:gd name="T37" fmla="*/ 64041616 h 51"/>
              <a:gd name="T38" fmla="*/ 4046402 w 60"/>
              <a:gd name="T39" fmla="*/ 62785437 h 51"/>
              <a:gd name="T40" fmla="*/ 3034801 w 60"/>
              <a:gd name="T41" fmla="*/ 59019141 h 51"/>
              <a:gd name="T42" fmla="*/ 1416420 w 60"/>
              <a:gd name="T43" fmla="*/ 53995545 h 51"/>
              <a:gd name="T44" fmla="*/ 0 w 60"/>
              <a:gd name="T45" fmla="*/ 46461833 h 51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60"/>
              <a:gd name="T70" fmla="*/ 0 h 51"/>
              <a:gd name="T71" fmla="*/ 60 w 60"/>
              <a:gd name="T72" fmla="*/ 51 h 51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60" h="51">
                <a:moveTo>
                  <a:pt x="0" y="37"/>
                </a:moveTo>
                <a:lnTo>
                  <a:pt x="6" y="30"/>
                </a:lnTo>
                <a:lnTo>
                  <a:pt x="15" y="19"/>
                </a:lnTo>
                <a:lnTo>
                  <a:pt x="20" y="13"/>
                </a:lnTo>
                <a:lnTo>
                  <a:pt x="27" y="8"/>
                </a:lnTo>
                <a:lnTo>
                  <a:pt x="33" y="4"/>
                </a:lnTo>
                <a:lnTo>
                  <a:pt x="40" y="0"/>
                </a:lnTo>
                <a:lnTo>
                  <a:pt x="50" y="7"/>
                </a:lnTo>
                <a:lnTo>
                  <a:pt x="60" y="13"/>
                </a:lnTo>
                <a:lnTo>
                  <a:pt x="59" y="20"/>
                </a:lnTo>
                <a:lnTo>
                  <a:pt x="56" y="29"/>
                </a:lnTo>
                <a:lnTo>
                  <a:pt x="54" y="34"/>
                </a:lnTo>
                <a:lnTo>
                  <a:pt x="52" y="38"/>
                </a:lnTo>
                <a:lnTo>
                  <a:pt x="49" y="42"/>
                </a:lnTo>
                <a:lnTo>
                  <a:pt x="45" y="45"/>
                </a:lnTo>
                <a:lnTo>
                  <a:pt x="41" y="48"/>
                </a:lnTo>
                <a:lnTo>
                  <a:pt x="37" y="50"/>
                </a:lnTo>
                <a:lnTo>
                  <a:pt x="31" y="51"/>
                </a:lnTo>
                <a:lnTo>
                  <a:pt x="27" y="51"/>
                </a:lnTo>
                <a:lnTo>
                  <a:pt x="20" y="50"/>
                </a:lnTo>
                <a:lnTo>
                  <a:pt x="15" y="47"/>
                </a:lnTo>
                <a:lnTo>
                  <a:pt x="7" y="43"/>
                </a:lnTo>
                <a:lnTo>
                  <a:pt x="0" y="37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47" name="Freeform 245"/>
          <p:cNvSpPr>
            <a:spLocks/>
          </p:cNvSpPr>
          <p:nvPr userDrawn="1">
            <p:custDataLst>
              <p:tags r:id="rId171"/>
            </p:custDataLst>
          </p:nvPr>
        </p:nvSpPr>
        <p:spPr bwMode="auto">
          <a:xfrm>
            <a:off x="3843342" y="1689509"/>
            <a:ext cx="28575" cy="42863"/>
          </a:xfrm>
          <a:custGeom>
            <a:avLst/>
            <a:gdLst>
              <a:gd name="T0" fmla="*/ 11059389 w 66"/>
              <a:gd name="T1" fmla="*/ 60274199 h 51"/>
              <a:gd name="T2" fmla="*/ 7872845 w 66"/>
              <a:gd name="T3" fmla="*/ 62785437 h 51"/>
              <a:gd name="T4" fmla="*/ 4123892 w 66"/>
              <a:gd name="T5" fmla="*/ 64041616 h 51"/>
              <a:gd name="T6" fmla="*/ 3186545 w 66"/>
              <a:gd name="T7" fmla="*/ 62785437 h 51"/>
              <a:gd name="T8" fmla="*/ 2436668 w 66"/>
              <a:gd name="T9" fmla="*/ 61530379 h 51"/>
              <a:gd name="T10" fmla="*/ 1874693 w 66"/>
              <a:gd name="T11" fmla="*/ 60274199 h 51"/>
              <a:gd name="T12" fmla="*/ 1312285 w 66"/>
              <a:gd name="T13" fmla="*/ 57762962 h 51"/>
              <a:gd name="T14" fmla="*/ 562408 w 66"/>
              <a:gd name="T15" fmla="*/ 53995545 h 51"/>
              <a:gd name="T16" fmla="*/ 187469 w 66"/>
              <a:gd name="T17" fmla="*/ 50229250 h 51"/>
              <a:gd name="T18" fmla="*/ 0 w 66"/>
              <a:gd name="T19" fmla="*/ 43950596 h 51"/>
              <a:gd name="T20" fmla="*/ 0 w 66"/>
              <a:gd name="T21" fmla="*/ 37671942 h 51"/>
              <a:gd name="T22" fmla="*/ 749877 w 66"/>
              <a:gd name="T23" fmla="*/ 36415754 h 51"/>
              <a:gd name="T24" fmla="*/ 1874693 w 66"/>
              <a:gd name="T25" fmla="*/ 33904516 h 51"/>
              <a:gd name="T26" fmla="*/ 2624137 w 66"/>
              <a:gd name="T27" fmla="*/ 30137100 h 51"/>
              <a:gd name="T28" fmla="*/ 3561484 w 66"/>
              <a:gd name="T29" fmla="*/ 25114625 h 51"/>
              <a:gd name="T30" fmla="*/ 4873769 w 66"/>
              <a:gd name="T31" fmla="*/ 12557312 h 51"/>
              <a:gd name="T32" fmla="*/ 6186053 w 66"/>
              <a:gd name="T33" fmla="*/ 0 h 51"/>
              <a:gd name="T34" fmla="*/ 8622722 w 66"/>
              <a:gd name="T35" fmla="*/ 1256180 h 51"/>
              <a:gd name="T36" fmla="*/ 9747538 w 66"/>
              <a:gd name="T37" fmla="*/ 2511239 h 51"/>
              <a:gd name="T38" fmla="*/ 10496981 w 66"/>
              <a:gd name="T39" fmla="*/ 3767418 h 51"/>
              <a:gd name="T40" fmla="*/ 12371674 w 66"/>
              <a:gd name="T41" fmla="*/ 0 h 51"/>
              <a:gd name="T42" fmla="*/ 12184205 w 66"/>
              <a:gd name="T43" fmla="*/ 16324729 h 51"/>
              <a:gd name="T44" fmla="*/ 11809266 w 66"/>
              <a:gd name="T45" fmla="*/ 30137100 h 51"/>
              <a:gd name="T46" fmla="*/ 11246858 w 66"/>
              <a:gd name="T47" fmla="*/ 45205654 h 51"/>
              <a:gd name="T48" fmla="*/ 11059389 w 66"/>
              <a:gd name="T49" fmla="*/ 60274199 h 5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66"/>
              <a:gd name="T76" fmla="*/ 0 h 51"/>
              <a:gd name="T77" fmla="*/ 66 w 66"/>
              <a:gd name="T78" fmla="*/ 51 h 51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66" h="51">
                <a:moveTo>
                  <a:pt x="59" y="48"/>
                </a:moveTo>
                <a:lnTo>
                  <a:pt x="42" y="50"/>
                </a:lnTo>
                <a:lnTo>
                  <a:pt x="22" y="51"/>
                </a:lnTo>
                <a:lnTo>
                  <a:pt x="17" y="50"/>
                </a:lnTo>
                <a:lnTo>
                  <a:pt x="13" y="49"/>
                </a:lnTo>
                <a:lnTo>
                  <a:pt x="10" y="48"/>
                </a:lnTo>
                <a:lnTo>
                  <a:pt x="7" y="46"/>
                </a:lnTo>
                <a:lnTo>
                  <a:pt x="3" y="43"/>
                </a:lnTo>
                <a:lnTo>
                  <a:pt x="1" y="40"/>
                </a:lnTo>
                <a:lnTo>
                  <a:pt x="0" y="35"/>
                </a:lnTo>
                <a:lnTo>
                  <a:pt x="0" y="30"/>
                </a:lnTo>
                <a:lnTo>
                  <a:pt x="4" y="29"/>
                </a:lnTo>
                <a:lnTo>
                  <a:pt x="10" y="27"/>
                </a:lnTo>
                <a:lnTo>
                  <a:pt x="14" y="24"/>
                </a:lnTo>
                <a:lnTo>
                  <a:pt x="19" y="20"/>
                </a:lnTo>
                <a:lnTo>
                  <a:pt x="26" y="10"/>
                </a:lnTo>
                <a:lnTo>
                  <a:pt x="33" y="0"/>
                </a:lnTo>
                <a:lnTo>
                  <a:pt x="46" y="1"/>
                </a:lnTo>
                <a:lnTo>
                  <a:pt x="52" y="2"/>
                </a:lnTo>
                <a:lnTo>
                  <a:pt x="56" y="3"/>
                </a:lnTo>
                <a:lnTo>
                  <a:pt x="66" y="0"/>
                </a:lnTo>
                <a:lnTo>
                  <a:pt x="65" y="13"/>
                </a:lnTo>
                <a:lnTo>
                  <a:pt x="63" y="24"/>
                </a:lnTo>
                <a:lnTo>
                  <a:pt x="60" y="36"/>
                </a:lnTo>
                <a:lnTo>
                  <a:pt x="59" y="48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48" name="Freeform 246"/>
          <p:cNvSpPr>
            <a:spLocks/>
          </p:cNvSpPr>
          <p:nvPr userDrawn="1">
            <p:custDataLst>
              <p:tags r:id="rId172"/>
            </p:custDataLst>
          </p:nvPr>
        </p:nvSpPr>
        <p:spPr bwMode="auto">
          <a:xfrm>
            <a:off x="4833939" y="2085987"/>
            <a:ext cx="50800" cy="42863"/>
          </a:xfrm>
          <a:custGeom>
            <a:avLst/>
            <a:gdLst>
              <a:gd name="T0" fmla="*/ 0 w 113"/>
              <a:gd name="T1" fmla="*/ 26243436 h 74"/>
              <a:gd name="T2" fmla="*/ 4041972 w 113"/>
              <a:gd name="T3" fmla="*/ 44136784 h 74"/>
              <a:gd name="T4" fmla="*/ 7477941 w 113"/>
              <a:gd name="T5" fmla="*/ 41154946 h 74"/>
              <a:gd name="T6" fmla="*/ 10307006 w 113"/>
              <a:gd name="T7" fmla="*/ 38768548 h 74"/>
              <a:gd name="T8" fmla="*/ 12934669 w 113"/>
              <a:gd name="T9" fmla="*/ 35190496 h 74"/>
              <a:gd name="T10" fmla="*/ 14955433 w 113"/>
              <a:gd name="T11" fmla="*/ 31611672 h 74"/>
              <a:gd name="T12" fmla="*/ 15763737 w 113"/>
              <a:gd name="T13" fmla="*/ 29226047 h 74"/>
              <a:gd name="T14" fmla="*/ 16774342 w 113"/>
              <a:gd name="T15" fmla="*/ 26839649 h 74"/>
              <a:gd name="T16" fmla="*/ 17380795 w 113"/>
              <a:gd name="T17" fmla="*/ 24454018 h 74"/>
              <a:gd name="T18" fmla="*/ 17784947 w 113"/>
              <a:gd name="T19" fmla="*/ 22068392 h 74"/>
              <a:gd name="T20" fmla="*/ 18189099 w 113"/>
              <a:gd name="T21" fmla="*/ 19086554 h 74"/>
              <a:gd name="T22" fmla="*/ 18391400 w 113"/>
              <a:gd name="T23" fmla="*/ 15507729 h 74"/>
              <a:gd name="T24" fmla="*/ 18795552 w 113"/>
              <a:gd name="T25" fmla="*/ 11332689 h 74"/>
              <a:gd name="T26" fmla="*/ 18997404 w 113"/>
              <a:gd name="T27" fmla="*/ 7753865 h 74"/>
              <a:gd name="T28" fmla="*/ 20008009 w 113"/>
              <a:gd name="T29" fmla="*/ 7157651 h 74"/>
              <a:gd name="T30" fmla="*/ 21422766 w 113"/>
              <a:gd name="T31" fmla="*/ 5368238 h 74"/>
              <a:gd name="T32" fmla="*/ 21826918 w 113"/>
              <a:gd name="T33" fmla="*/ 4175039 h 74"/>
              <a:gd name="T34" fmla="*/ 22433371 w 113"/>
              <a:gd name="T35" fmla="*/ 2981839 h 74"/>
              <a:gd name="T36" fmla="*/ 22635222 w 113"/>
              <a:gd name="T37" fmla="*/ 1789413 h 74"/>
              <a:gd name="T38" fmla="*/ 22837523 w 113"/>
              <a:gd name="T39" fmla="*/ 0 h 74"/>
              <a:gd name="T40" fmla="*/ 19806157 w 113"/>
              <a:gd name="T41" fmla="*/ 2385626 h 74"/>
              <a:gd name="T42" fmla="*/ 16572491 w 113"/>
              <a:gd name="T43" fmla="*/ 4771252 h 74"/>
              <a:gd name="T44" fmla="*/ 13136520 w 113"/>
              <a:gd name="T45" fmla="*/ 7753865 h 74"/>
              <a:gd name="T46" fmla="*/ 9902854 w 113"/>
              <a:gd name="T47" fmla="*/ 11332689 h 74"/>
              <a:gd name="T48" fmla="*/ 4041972 w 113"/>
              <a:gd name="T49" fmla="*/ 19682767 h 74"/>
              <a:gd name="T50" fmla="*/ 0 w 113"/>
              <a:gd name="T51" fmla="*/ 26243436 h 74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13"/>
              <a:gd name="T79" fmla="*/ 0 h 74"/>
              <a:gd name="T80" fmla="*/ 113 w 113"/>
              <a:gd name="T81" fmla="*/ 74 h 74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13" h="74">
                <a:moveTo>
                  <a:pt x="0" y="44"/>
                </a:moveTo>
                <a:lnTo>
                  <a:pt x="20" y="74"/>
                </a:lnTo>
                <a:lnTo>
                  <a:pt x="37" y="69"/>
                </a:lnTo>
                <a:lnTo>
                  <a:pt x="51" y="65"/>
                </a:lnTo>
                <a:lnTo>
                  <a:pt x="64" y="59"/>
                </a:lnTo>
                <a:lnTo>
                  <a:pt x="74" y="53"/>
                </a:lnTo>
                <a:lnTo>
                  <a:pt x="78" y="49"/>
                </a:lnTo>
                <a:lnTo>
                  <a:pt x="83" y="45"/>
                </a:lnTo>
                <a:lnTo>
                  <a:pt x="86" y="41"/>
                </a:lnTo>
                <a:lnTo>
                  <a:pt x="88" y="37"/>
                </a:lnTo>
                <a:lnTo>
                  <a:pt x="90" y="32"/>
                </a:lnTo>
                <a:lnTo>
                  <a:pt x="91" y="26"/>
                </a:lnTo>
                <a:lnTo>
                  <a:pt x="93" y="19"/>
                </a:lnTo>
                <a:lnTo>
                  <a:pt x="94" y="13"/>
                </a:lnTo>
                <a:lnTo>
                  <a:pt x="99" y="12"/>
                </a:lnTo>
                <a:lnTo>
                  <a:pt x="106" y="9"/>
                </a:lnTo>
                <a:lnTo>
                  <a:pt x="108" y="7"/>
                </a:lnTo>
                <a:lnTo>
                  <a:pt x="111" y="5"/>
                </a:lnTo>
                <a:lnTo>
                  <a:pt x="112" y="3"/>
                </a:lnTo>
                <a:lnTo>
                  <a:pt x="113" y="0"/>
                </a:lnTo>
                <a:lnTo>
                  <a:pt x="98" y="4"/>
                </a:lnTo>
                <a:lnTo>
                  <a:pt x="82" y="8"/>
                </a:lnTo>
                <a:lnTo>
                  <a:pt x="65" y="13"/>
                </a:lnTo>
                <a:lnTo>
                  <a:pt x="49" y="19"/>
                </a:lnTo>
                <a:lnTo>
                  <a:pt x="20" y="33"/>
                </a:lnTo>
                <a:lnTo>
                  <a:pt x="0" y="44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49" name="Freeform 247"/>
          <p:cNvSpPr>
            <a:spLocks/>
          </p:cNvSpPr>
          <p:nvPr userDrawn="1">
            <p:custDataLst>
              <p:tags r:id="rId173"/>
            </p:custDataLst>
          </p:nvPr>
        </p:nvSpPr>
        <p:spPr bwMode="auto">
          <a:xfrm>
            <a:off x="4441830" y="2680098"/>
            <a:ext cx="325437" cy="183356"/>
          </a:xfrm>
          <a:custGeom>
            <a:avLst/>
            <a:gdLst>
              <a:gd name="T0" fmla="*/ 18650246 w 746"/>
              <a:gd name="T1" fmla="*/ 122817673 h 469"/>
              <a:gd name="T2" fmla="*/ 10276568 w 746"/>
              <a:gd name="T3" fmla="*/ 119557138 h 469"/>
              <a:gd name="T4" fmla="*/ 3996419 w 746"/>
              <a:gd name="T5" fmla="*/ 116568184 h 469"/>
              <a:gd name="T6" fmla="*/ 951445 w 746"/>
              <a:gd name="T7" fmla="*/ 112220805 h 469"/>
              <a:gd name="T8" fmla="*/ 0 w 746"/>
              <a:gd name="T9" fmla="*/ 98634983 h 469"/>
              <a:gd name="T10" fmla="*/ 951445 w 746"/>
              <a:gd name="T11" fmla="*/ 83961796 h 469"/>
              <a:gd name="T12" fmla="*/ 4377259 w 746"/>
              <a:gd name="T13" fmla="*/ 74179671 h 469"/>
              <a:gd name="T14" fmla="*/ 10657407 w 746"/>
              <a:gd name="T15" fmla="*/ 61952259 h 469"/>
              <a:gd name="T16" fmla="*/ 23027066 w 746"/>
              <a:gd name="T17" fmla="*/ 55431190 h 469"/>
              <a:gd name="T18" fmla="*/ 31590949 w 746"/>
              <a:gd name="T19" fmla="*/ 51083810 h 469"/>
              <a:gd name="T20" fmla="*/ 44722284 w 746"/>
              <a:gd name="T21" fmla="*/ 47007490 h 469"/>
              <a:gd name="T22" fmla="*/ 49860785 w 746"/>
              <a:gd name="T23" fmla="*/ 41573266 h 469"/>
              <a:gd name="T24" fmla="*/ 50812230 w 746"/>
              <a:gd name="T25" fmla="*/ 36954306 h 469"/>
              <a:gd name="T26" fmla="*/ 55569890 w 746"/>
              <a:gd name="T27" fmla="*/ 32606397 h 469"/>
              <a:gd name="T28" fmla="*/ 63182335 w 746"/>
              <a:gd name="T29" fmla="*/ 31247971 h 469"/>
              <a:gd name="T30" fmla="*/ 68320399 w 746"/>
              <a:gd name="T31" fmla="*/ 27443753 h 469"/>
              <a:gd name="T32" fmla="*/ 74029504 w 746"/>
              <a:gd name="T33" fmla="*/ 18205311 h 469"/>
              <a:gd name="T34" fmla="*/ 80880693 w 746"/>
              <a:gd name="T35" fmla="*/ 5977909 h 469"/>
              <a:gd name="T36" fmla="*/ 85638353 w 746"/>
              <a:gd name="T37" fmla="*/ 1630528 h 469"/>
              <a:gd name="T38" fmla="*/ 92489541 w 746"/>
              <a:gd name="T39" fmla="*/ 0 h 469"/>
              <a:gd name="T40" fmla="*/ 96485959 w 746"/>
              <a:gd name="T41" fmla="*/ 7880018 h 469"/>
              <a:gd name="T42" fmla="*/ 101243619 w 746"/>
              <a:gd name="T43" fmla="*/ 14401090 h 469"/>
              <a:gd name="T44" fmla="*/ 105240037 w 746"/>
              <a:gd name="T45" fmla="*/ 29074281 h 469"/>
              <a:gd name="T46" fmla="*/ 110188335 w 746"/>
              <a:gd name="T47" fmla="*/ 43203794 h 469"/>
              <a:gd name="T48" fmla="*/ 116658711 w 746"/>
              <a:gd name="T49" fmla="*/ 46735909 h 469"/>
              <a:gd name="T50" fmla="*/ 119513046 w 746"/>
              <a:gd name="T51" fmla="*/ 52442236 h 469"/>
              <a:gd name="T52" fmla="*/ 123700101 w 746"/>
              <a:gd name="T53" fmla="*/ 63311206 h 469"/>
              <a:gd name="T54" fmla="*/ 133595825 w 746"/>
              <a:gd name="T55" fmla="*/ 75810199 h 469"/>
              <a:gd name="T56" fmla="*/ 141018055 w 746"/>
              <a:gd name="T57" fmla="*/ 85592324 h 469"/>
              <a:gd name="T58" fmla="*/ 135308950 w 746"/>
              <a:gd name="T59" fmla="*/ 93743921 h 469"/>
              <a:gd name="T60" fmla="*/ 131502734 w 746"/>
              <a:gd name="T61" fmla="*/ 92928657 h 469"/>
              <a:gd name="T62" fmla="*/ 129219005 w 746"/>
              <a:gd name="T63" fmla="*/ 87222330 h 469"/>
              <a:gd name="T64" fmla="*/ 123890303 w 746"/>
              <a:gd name="T65" fmla="*/ 89668122 h 469"/>
              <a:gd name="T66" fmla="*/ 121606573 w 746"/>
              <a:gd name="T67" fmla="*/ 95646030 h 469"/>
              <a:gd name="T68" fmla="*/ 114946023 w 746"/>
              <a:gd name="T69" fmla="*/ 96732875 h 469"/>
              <a:gd name="T70" fmla="*/ 105240037 w 746"/>
              <a:gd name="T71" fmla="*/ 96732875 h 469"/>
              <a:gd name="T72" fmla="*/ 99340730 w 746"/>
              <a:gd name="T73" fmla="*/ 99178145 h 469"/>
              <a:gd name="T74" fmla="*/ 94392431 w 746"/>
              <a:gd name="T75" fmla="*/ 105156053 h 469"/>
              <a:gd name="T76" fmla="*/ 92489541 w 746"/>
              <a:gd name="T77" fmla="*/ 107058161 h 469"/>
              <a:gd name="T78" fmla="*/ 81070894 w 746"/>
              <a:gd name="T79" fmla="*/ 108688168 h 469"/>
              <a:gd name="T80" fmla="*/ 75361789 w 746"/>
              <a:gd name="T81" fmla="*/ 106514478 h 469"/>
              <a:gd name="T82" fmla="*/ 66417509 w 746"/>
              <a:gd name="T83" fmla="*/ 96189191 h 469"/>
              <a:gd name="T84" fmla="*/ 60707968 w 746"/>
              <a:gd name="T85" fmla="*/ 93743921 h 469"/>
              <a:gd name="T86" fmla="*/ 55379688 w 746"/>
              <a:gd name="T87" fmla="*/ 96460772 h 469"/>
              <a:gd name="T88" fmla="*/ 50622028 w 746"/>
              <a:gd name="T89" fmla="*/ 102438680 h 469"/>
              <a:gd name="T90" fmla="*/ 43199798 w 746"/>
              <a:gd name="T91" fmla="*/ 118741874 h 469"/>
              <a:gd name="T92" fmla="*/ 28545970 w 746"/>
              <a:gd name="T93" fmla="*/ 119285557 h 469"/>
              <a:gd name="T94" fmla="*/ 25691635 w 746"/>
              <a:gd name="T95" fmla="*/ 121730828 h 469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746"/>
              <a:gd name="T145" fmla="*/ 0 h 469"/>
              <a:gd name="T146" fmla="*/ 746 w 746"/>
              <a:gd name="T147" fmla="*/ 469 h 469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746" h="469">
                <a:moveTo>
                  <a:pt x="114" y="469"/>
                </a:moveTo>
                <a:lnTo>
                  <a:pt x="109" y="463"/>
                </a:lnTo>
                <a:lnTo>
                  <a:pt x="103" y="456"/>
                </a:lnTo>
                <a:lnTo>
                  <a:pt x="98" y="452"/>
                </a:lnTo>
                <a:lnTo>
                  <a:pt x="92" y="449"/>
                </a:lnTo>
                <a:lnTo>
                  <a:pt x="79" y="445"/>
                </a:lnTo>
                <a:lnTo>
                  <a:pt x="67" y="442"/>
                </a:lnTo>
                <a:lnTo>
                  <a:pt x="54" y="440"/>
                </a:lnTo>
                <a:lnTo>
                  <a:pt x="39" y="437"/>
                </a:lnTo>
                <a:lnTo>
                  <a:pt x="33" y="435"/>
                </a:lnTo>
                <a:lnTo>
                  <a:pt x="26" y="433"/>
                </a:lnTo>
                <a:lnTo>
                  <a:pt x="21" y="429"/>
                </a:lnTo>
                <a:lnTo>
                  <a:pt x="14" y="425"/>
                </a:lnTo>
                <a:lnTo>
                  <a:pt x="11" y="422"/>
                </a:lnTo>
                <a:lnTo>
                  <a:pt x="8" y="418"/>
                </a:lnTo>
                <a:lnTo>
                  <a:pt x="5" y="413"/>
                </a:lnTo>
                <a:lnTo>
                  <a:pt x="3" y="408"/>
                </a:lnTo>
                <a:lnTo>
                  <a:pt x="1" y="396"/>
                </a:lnTo>
                <a:lnTo>
                  <a:pt x="0" y="385"/>
                </a:lnTo>
                <a:lnTo>
                  <a:pt x="0" y="363"/>
                </a:lnTo>
                <a:lnTo>
                  <a:pt x="1" y="345"/>
                </a:lnTo>
                <a:lnTo>
                  <a:pt x="1" y="332"/>
                </a:lnTo>
                <a:lnTo>
                  <a:pt x="3" y="320"/>
                </a:lnTo>
                <a:lnTo>
                  <a:pt x="5" y="309"/>
                </a:lnTo>
                <a:lnTo>
                  <a:pt x="10" y="299"/>
                </a:lnTo>
                <a:lnTo>
                  <a:pt x="13" y="289"/>
                </a:lnTo>
                <a:lnTo>
                  <a:pt x="19" y="281"/>
                </a:lnTo>
                <a:lnTo>
                  <a:pt x="23" y="273"/>
                </a:lnTo>
                <a:lnTo>
                  <a:pt x="30" y="265"/>
                </a:lnTo>
                <a:lnTo>
                  <a:pt x="41" y="251"/>
                </a:lnTo>
                <a:lnTo>
                  <a:pt x="52" y="236"/>
                </a:lnTo>
                <a:lnTo>
                  <a:pt x="56" y="228"/>
                </a:lnTo>
                <a:lnTo>
                  <a:pt x="60" y="220"/>
                </a:lnTo>
                <a:lnTo>
                  <a:pt x="65" y="212"/>
                </a:lnTo>
                <a:lnTo>
                  <a:pt x="67" y="204"/>
                </a:lnTo>
                <a:lnTo>
                  <a:pt x="121" y="204"/>
                </a:lnTo>
                <a:lnTo>
                  <a:pt x="131" y="198"/>
                </a:lnTo>
                <a:lnTo>
                  <a:pt x="142" y="194"/>
                </a:lnTo>
                <a:lnTo>
                  <a:pt x="154" y="191"/>
                </a:lnTo>
                <a:lnTo>
                  <a:pt x="166" y="188"/>
                </a:lnTo>
                <a:lnTo>
                  <a:pt x="190" y="184"/>
                </a:lnTo>
                <a:lnTo>
                  <a:pt x="213" y="178"/>
                </a:lnTo>
                <a:lnTo>
                  <a:pt x="224" y="176"/>
                </a:lnTo>
                <a:lnTo>
                  <a:pt x="235" y="173"/>
                </a:lnTo>
                <a:lnTo>
                  <a:pt x="244" y="170"/>
                </a:lnTo>
                <a:lnTo>
                  <a:pt x="251" y="165"/>
                </a:lnTo>
                <a:lnTo>
                  <a:pt x="258" y="160"/>
                </a:lnTo>
                <a:lnTo>
                  <a:pt x="262" y="153"/>
                </a:lnTo>
                <a:lnTo>
                  <a:pt x="265" y="150"/>
                </a:lnTo>
                <a:lnTo>
                  <a:pt x="266" y="145"/>
                </a:lnTo>
                <a:lnTo>
                  <a:pt x="267" y="141"/>
                </a:lnTo>
                <a:lnTo>
                  <a:pt x="267" y="136"/>
                </a:lnTo>
                <a:lnTo>
                  <a:pt x="267" y="126"/>
                </a:lnTo>
                <a:lnTo>
                  <a:pt x="267" y="117"/>
                </a:lnTo>
                <a:lnTo>
                  <a:pt x="280" y="119"/>
                </a:lnTo>
                <a:lnTo>
                  <a:pt x="292" y="120"/>
                </a:lnTo>
                <a:lnTo>
                  <a:pt x="303" y="120"/>
                </a:lnTo>
                <a:lnTo>
                  <a:pt x="313" y="119"/>
                </a:lnTo>
                <a:lnTo>
                  <a:pt x="323" y="117"/>
                </a:lnTo>
                <a:lnTo>
                  <a:pt x="332" y="115"/>
                </a:lnTo>
                <a:lnTo>
                  <a:pt x="339" y="112"/>
                </a:lnTo>
                <a:lnTo>
                  <a:pt x="347" y="109"/>
                </a:lnTo>
                <a:lnTo>
                  <a:pt x="354" y="105"/>
                </a:lnTo>
                <a:lnTo>
                  <a:pt x="359" y="101"/>
                </a:lnTo>
                <a:lnTo>
                  <a:pt x="366" y="96"/>
                </a:lnTo>
                <a:lnTo>
                  <a:pt x="370" y="91"/>
                </a:lnTo>
                <a:lnTo>
                  <a:pt x="380" y="80"/>
                </a:lnTo>
                <a:lnTo>
                  <a:pt x="389" y="67"/>
                </a:lnTo>
                <a:lnTo>
                  <a:pt x="397" y="56"/>
                </a:lnTo>
                <a:lnTo>
                  <a:pt x="405" y="44"/>
                </a:lnTo>
                <a:lnTo>
                  <a:pt x="414" y="32"/>
                </a:lnTo>
                <a:lnTo>
                  <a:pt x="425" y="22"/>
                </a:lnTo>
                <a:lnTo>
                  <a:pt x="430" y="18"/>
                </a:lnTo>
                <a:lnTo>
                  <a:pt x="436" y="13"/>
                </a:lnTo>
                <a:lnTo>
                  <a:pt x="442" y="9"/>
                </a:lnTo>
                <a:lnTo>
                  <a:pt x="450" y="6"/>
                </a:lnTo>
                <a:lnTo>
                  <a:pt x="458" y="3"/>
                </a:lnTo>
                <a:lnTo>
                  <a:pt x="467" y="1"/>
                </a:lnTo>
                <a:lnTo>
                  <a:pt x="475" y="0"/>
                </a:lnTo>
                <a:lnTo>
                  <a:pt x="486" y="0"/>
                </a:lnTo>
                <a:lnTo>
                  <a:pt x="486" y="6"/>
                </a:lnTo>
                <a:lnTo>
                  <a:pt x="492" y="14"/>
                </a:lnTo>
                <a:lnTo>
                  <a:pt x="498" y="22"/>
                </a:lnTo>
                <a:lnTo>
                  <a:pt x="507" y="29"/>
                </a:lnTo>
                <a:lnTo>
                  <a:pt x="515" y="35"/>
                </a:lnTo>
                <a:lnTo>
                  <a:pt x="523" y="41"/>
                </a:lnTo>
                <a:lnTo>
                  <a:pt x="530" y="49"/>
                </a:lnTo>
                <a:lnTo>
                  <a:pt x="532" y="53"/>
                </a:lnTo>
                <a:lnTo>
                  <a:pt x="536" y="57"/>
                </a:lnTo>
                <a:lnTo>
                  <a:pt x="538" y="62"/>
                </a:lnTo>
                <a:lnTo>
                  <a:pt x="539" y="67"/>
                </a:lnTo>
                <a:lnTo>
                  <a:pt x="553" y="107"/>
                </a:lnTo>
                <a:lnTo>
                  <a:pt x="564" y="141"/>
                </a:lnTo>
                <a:lnTo>
                  <a:pt x="569" y="148"/>
                </a:lnTo>
                <a:lnTo>
                  <a:pt x="573" y="154"/>
                </a:lnTo>
                <a:lnTo>
                  <a:pt x="579" y="159"/>
                </a:lnTo>
                <a:lnTo>
                  <a:pt x="585" y="164"/>
                </a:lnTo>
                <a:lnTo>
                  <a:pt x="593" y="168"/>
                </a:lnTo>
                <a:lnTo>
                  <a:pt x="602" y="170"/>
                </a:lnTo>
                <a:lnTo>
                  <a:pt x="613" y="172"/>
                </a:lnTo>
                <a:lnTo>
                  <a:pt x="626" y="172"/>
                </a:lnTo>
                <a:lnTo>
                  <a:pt x="626" y="179"/>
                </a:lnTo>
                <a:lnTo>
                  <a:pt x="627" y="187"/>
                </a:lnTo>
                <a:lnTo>
                  <a:pt x="628" y="193"/>
                </a:lnTo>
                <a:lnTo>
                  <a:pt x="630" y="199"/>
                </a:lnTo>
                <a:lnTo>
                  <a:pt x="636" y="211"/>
                </a:lnTo>
                <a:lnTo>
                  <a:pt x="642" y="222"/>
                </a:lnTo>
                <a:lnTo>
                  <a:pt x="650" y="233"/>
                </a:lnTo>
                <a:lnTo>
                  <a:pt x="660" y="244"/>
                </a:lnTo>
                <a:lnTo>
                  <a:pt x="670" y="254"/>
                </a:lnTo>
                <a:lnTo>
                  <a:pt x="681" y="263"/>
                </a:lnTo>
                <a:lnTo>
                  <a:pt x="702" y="279"/>
                </a:lnTo>
                <a:lnTo>
                  <a:pt x="720" y="294"/>
                </a:lnTo>
                <a:lnTo>
                  <a:pt x="729" y="302"/>
                </a:lnTo>
                <a:lnTo>
                  <a:pt x="736" y="309"/>
                </a:lnTo>
                <a:lnTo>
                  <a:pt x="741" y="315"/>
                </a:lnTo>
                <a:lnTo>
                  <a:pt x="746" y="321"/>
                </a:lnTo>
                <a:lnTo>
                  <a:pt x="738" y="345"/>
                </a:lnTo>
                <a:lnTo>
                  <a:pt x="728" y="345"/>
                </a:lnTo>
                <a:lnTo>
                  <a:pt x="711" y="345"/>
                </a:lnTo>
                <a:lnTo>
                  <a:pt x="706" y="345"/>
                </a:lnTo>
                <a:lnTo>
                  <a:pt x="700" y="344"/>
                </a:lnTo>
                <a:lnTo>
                  <a:pt x="695" y="343"/>
                </a:lnTo>
                <a:lnTo>
                  <a:pt x="691" y="342"/>
                </a:lnTo>
                <a:lnTo>
                  <a:pt x="685" y="339"/>
                </a:lnTo>
                <a:lnTo>
                  <a:pt x="682" y="335"/>
                </a:lnTo>
                <a:lnTo>
                  <a:pt x="680" y="329"/>
                </a:lnTo>
                <a:lnTo>
                  <a:pt x="679" y="321"/>
                </a:lnTo>
                <a:lnTo>
                  <a:pt x="666" y="321"/>
                </a:lnTo>
                <a:lnTo>
                  <a:pt x="659" y="321"/>
                </a:lnTo>
                <a:lnTo>
                  <a:pt x="654" y="325"/>
                </a:lnTo>
                <a:lnTo>
                  <a:pt x="651" y="330"/>
                </a:lnTo>
                <a:lnTo>
                  <a:pt x="648" y="334"/>
                </a:lnTo>
                <a:lnTo>
                  <a:pt x="647" y="338"/>
                </a:lnTo>
                <a:lnTo>
                  <a:pt x="642" y="345"/>
                </a:lnTo>
                <a:lnTo>
                  <a:pt x="639" y="352"/>
                </a:lnTo>
                <a:lnTo>
                  <a:pt x="630" y="354"/>
                </a:lnTo>
                <a:lnTo>
                  <a:pt x="621" y="355"/>
                </a:lnTo>
                <a:lnTo>
                  <a:pt x="613" y="355"/>
                </a:lnTo>
                <a:lnTo>
                  <a:pt x="604" y="356"/>
                </a:lnTo>
                <a:lnTo>
                  <a:pt x="586" y="355"/>
                </a:lnTo>
                <a:lnTo>
                  <a:pt x="570" y="355"/>
                </a:lnTo>
                <a:lnTo>
                  <a:pt x="561" y="355"/>
                </a:lnTo>
                <a:lnTo>
                  <a:pt x="553" y="356"/>
                </a:lnTo>
                <a:lnTo>
                  <a:pt x="545" y="357"/>
                </a:lnTo>
                <a:lnTo>
                  <a:pt x="537" y="359"/>
                </a:lnTo>
                <a:lnTo>
                  <a:pt x="529" y="361"/>
                </a:lnTo>
                <a:lnTo>
                  <a:pt x="522" y="365"/>
                </a:lnTo>
                <a:lnTo>
                  <a:pt x="514" y="370"/>
                </a:lnTo>
                <a:lnTo>
                  <a:pt x="506" y="376"/>
                </a:lnTo>
                <a:lnTo>
                  <a:pt x="501" y="381"/>
                </a:lnTo>
                <a:lnTo>
                  <a:pt x="496" y="387"/>
                </a:lnTo>
                <a:lnTo>
                  <a:pt x="493" y="390"/>
                </a:lnTo>
                <a:lnTo>
                  <a:pt x="491" y="392"/>
                </a:lnTo>
                <a:lnTo>
                  <a:pt x="489" y="394"/>
                </a:lnTo>
                <a:lnTo>
                  <a:pt x="486" y="394"/>
                </a:lnTo>
                <a:lnTo>
                  <a:pt x="466" y="395"/>
                </a:lnTo>
                <a:lnTo>
                  <a:pt x="451" y="397"/>
                </a:lnTo>
                <a:lnTo>
                  <a:pt x="439" y="399"/>
                </a:lnTo>
                <a:lnTo>
                  <a:pt x="426" y="400"/>
                </a:lnTo>
                <a:lnTo>
                  <a:pt x="417" y="400"/>
                </a:lnTo>
                <a:lnTo>
                  <a:pt x="410" y="398"/>
                </a:lnTo>
                <a:lnTo>
                  <a:pt x="403" y="395"/>
                </a:lnTo>
                <a:lnTo>
                  <a:pt x="396" y="392"/>
                </a:lnTo>
                <a:lnTo>
                  <a:pt x="384" y="383"/>
                </a:lnTo>
                <a:lnTo>
                  <a:pt x="373" y="373"/>
                </a:lnTo>
                <a:lnTo>
                  <a:pt x="361" y="363"/>
                </a:lnTo>
                <a:lnTo>
                  <a:pt x="349" y="354"/>
                </a:lnTo>
                <a:lnTo>
                  <a:pt x="343" y="351"/>
                </a:lnTo>
                <a:lnTo>
                  <a:pt x="336" y="347"/>
                </a:lnTo>
                <a:lnTo>
                  <a:pt x="328" y="345"/>
                </a:lnTo>
                <a:lnTo>
                  <a:pt x="319" y="345"/>
                </a:lnTo>
                <a:lnTo>
                  <a:pt x="313" y="345"/>
                </a:lnTo>
                <a:lnTo>
                  <a:pt x="305" y="347"/>
                </a:lnTo>
                <a:lnTo>
                  <a:pt x="299" y="351"/>
                </a:lnTo>
                <a:lnTo>
                  <a:pt x="291" y="355"/>
                </a:lnTo>
                <a:lnTo>
                  <a:pt x="284" y="360"/>
                </a:lnTo>
                <a:lnTo>
                  <a:pt x="278" y="365"/>
                </a:lnTo>
                <a:lnTo>
                  <a:pt x="272" y="371"/>
                </a:lnTo>
                <a:lnTo>
                  <a:pt x="266" y="377"/>
                </a:lnTo>
                <a:lnTo>
                  <a:pt x="255" y="392"/>
                </a:lnTo>
                <a:lnTo>
                  <a:pt x="244" y="408"/>
                </a:lnTo>
                <a:lnTo>
                  <a:pt x="235" y="423"/>
                </a:lnTo>
                <a:lnTo>
                  <a:pt x="227" y="437"/>
                </a:lnTo>
                <a:lnTo>
                  <a:pt x="197" y="437"/>
                </a:lnTo>
                <a:lnTo>
                  <a:pt x="176" y="437"/>
                </a:lnTo>
                <a:lnTo>
                  <a:pt x="160" y="437"/>
                </a:lnTo>
                <a:lnTo>
                  <a:pt x="150" y="439"/>
                </a:lnTo>
                <a:lnTo>
                  <a:pt x="146" y="440"/>
                </a:lnTo>
                <a:lnTo>
                  <a:pt x="143" y="442"/>
                </a:lnTo>
                <a:lnTo>
                  <a:pt x="139" y="445"/>
                </a:lnTo>
                <a:lnTo>
                  <a:pt x="135" y="448"/>
                </a:lnTo>
                <a:lnTo>
                  <a:pt x="126" y="456"/>
                </a:lnTo>
                <a:lnTo>
                  <a:pt x="114" y="469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50" name="Freeform 248"/>
          <p:cNvSpPr>
            <a:spLocks/>
          </p:cNvSpPr>
          <p:nvPr userDrawn="1">
            <p:custDataLst>
              <p:tags r:id="rId174"/>
            </p:custDataLst>
          </p:nvPr>
        </p:nvSpPr>
        <p:spPr bwMode="auto">
          <a:xfrm>
            <a:off x="4378326" y="2806303"/>
            <a:ext cx="500062" cy="414338"/>
          </a:xfrm>
          <a:custGeom>
            <a:avLst/>
            <a:gdLst>
              <a:gd name="T0" fmla="*/ 172045330 w 1145"/>
              <a:gd name="T1" fmla="*/ 15689472 h 1053"/>
              <a:gd name="T2" fmla="*/ 189402496 w 1145"/>
              <a:gd name="T3" fmla="*/ 18166319 h 1053"/>
              <a:gd name="T4" fmla="*/ 205996686 w 1145"/>
              <a:gd name="T5" fmla="*/ 22295264 h 1053"/>
              <a:gd name="T6" fmla="*/ 214770696 w 1145"/>
              <a:gd name="T7" fmla="*/ 48169122 h 1053"/>
              <a:gd name="T8" fmla="*/ 216105796 w 1145"/>
              <a:gd name="T9" fmla="*/ 58078066 h 1053"/>
              <a:gd name="T10" fmla="*/ 201800535 w 1145"/>
              <a:gd name="T11" fmla="*/ 74868253 h 1053"/>
              <a:gd name="T12" fmla="*/ 199320752 w 1145"/>
              <a:gd name="T13" fmla="*/ 99090525 h 1053"/>
              <a:gd name="T14" fmla="*/ 191309719 w 1145"/>
              <a:gd name="T15" fmla="*/ 121110343 h 1053"/>
              <a:gd name="T16" fmla="*/ 188830373 w 1145"/>
              <a:gd name="T17" fmla="*/ 131019287 h 1053"/>
              <a:gd name="T18" fmla="*/ 194361624 w 1145"/>
              <a:gd name="T19" fmla="*/ 158544748 h 1053"/>
              <a:gd name="T20" fmla="*/ 195697160 w 1145"/>
              <a:gd name="T21" fmla="*/ 182766495 h 1053"/>
              <a:gd name="T22" fmla="*/ 199702459 w 1145"/>
              <a:gd name="T23" fmla="*/ 201208768 h 1053"/>
              <a:gd name="T24" fmla="*/ 205805833 w 1145"/>
              <a:gd name="T25" fmla="*/ 210567361 h 1053"/>
              <a:gd name="T26" fmla="*/ 208285615 w 1145"/>
              <a:gd name="T27" fmla="*/ 227082093 h 1053"/>
              <a:gd name="T28" fmla="*/ 198367359 w 1145"/>
              <a:gd name="T29" fmla="*/ 232311741 h 1053"/>
              <a:gd name="T30" fmla="*/ 190165472 w 1145"/>
              <a:gd name="T31" fmla="*/ 235614897 h 1053"/>
              <a:gd name="T32" fmla="*/ 183108269 w 1145"/>
              <a:gd name="T33" fmla="*/ 273049270 h 1053"/>
              <a:gd name="T34" fmla="*/ 177386164 w 1145"/>
              <a:gd name="T35" fmla="*/ 282407928 h 1053"/>
              <a:gd name="T36" fmla="*/ 172045330 w 1145"/>
              <a:gd name="T37" fmla="*/ 283784069 h 1053"/>
              <a:gd name="T38" fmla="*/ 160219851 w 1145"/>
              <a:gd name="T39" fmla="*/ 289839505 h 1053"/>
              <a:gd name="T40" fmla="*/ 149156912 w 1145"/>
              <a:gd name="T41" fmla="*/ 285435647 h 1053"/>
              <a:gd name="T42" fmla="*/ 141718002 w 1145"/>
              <a:gd name="T43" fmla="*/ 279104772 h 1053"/>
              <a:gd name="T44" fmla="*/ 134851651 w 1145"/>
              <a:gd name="T45" fmla="*/ 274425410 h 1053"/>
              <a:gd name="T46" fmla="*/ 128557424 w 1145"/>
              <a:gd name="T47" fmla="*/ 271397691 h 1053"/>
              <a:gd name="T48" fmla="*/ 115968532 w 1145"/>
              <a:gd name="T49" fmla="*/ 271672605 h 1053"/>
              <a:gd name="T50" fmla="*/ 113298306 w 1145"/>
              <a:gd name="T51" fmla="*/ 259286293 h 1053"/>
              <a:gd name="T52" fmla="*/ 109674277 w 1145"/>
              <a:gd name="T53" fmla="*/ 243321912 h 1053"/>
              <a:gd name="T54" fmla="*/ 112535329 w 1145"/>
              <a:gd name="T55" fmla="*/ 232862617 h 1053"/>
              <a:gd name="T56" fmla="*/ 112535329 w 1145"/>
              <a:gd name="T57" fmla="*/ 214420868 h 1053"/>
              <a:gd name="T58" fmla="*/ 86595006 w 1145"/>
              <a:gd name="T59" fmla="*/ 207814556 h 1053"/>
              <a:gd name="T60" fmla="*/ 84496930 w 1145"/>
              <a:gd name="T61" fmla="*/ 216071922 h 1053"/>
              <a:gd name="T62" fmla="*/ 75532067 w 1145"/>
              <a:gd name="T63" fmla="*/ 224880164 h 1053"/>
              <a:gd name="T64" fmla="*/ 64278712 w 1145"/>
              <a:gd name="T65" fmla="*/ 219375078 h 1053"/>
              <a:gd name="T66" fmla="*/ 56648934 w 1145"/>
              <a:gd name="T67" fmla="*/ 194877893 h 1053"/>
              <a:gd name="T68" fmla="*/ 572123 w 1145"/>
              <a:gd name="T69" fmla="*/ 184693511 h 1053"/>
              <a:gd name="T70" fmla="*/ 8583160 w 1145"/>
              <a:gd name="T71" fmla="*/ 183592284 h 1053"/>
              <a:gd name="T72" fmla="*/ 4959130 w 1145"/>
              <a:gd name="T73" fmla="*/ 173683340 h 1053"/>
              <a:gd name="T74" fmla="*/ 14305264 w 1145"/>
              <a:gd name="T75" fmla="*/ 169279481 h 1053"/>
              <a:gd name="T76" fmla="*/ 27657136 w 1145"/>
              <a:gd name="T77" fmla="*/ 169004043 h 1053"/>
              <a:gd name="T78" fmla="*/ 34905200 w 1145"/>
              <a:gd name="T79" fmla="*/ 170655621 h 1053"/>
              <a:gd name="T80" fmla="*/ 41962404 w 1145"/>
              <a:gd name="T81" fmla="*/ 157994397 h 1053"/>
              <a:gd name="T82" fmla="*/ 49591731 w 1145"/>
              <a:gd name="T83" fmla="*/ 152764224 h 1053"/>
              <a:gd name="T84" fmla="*/ 53597466 w 1145"/>
              <a:gd name="T85" fmla="*/ 121110343 h 1053"/>
              <a:gd name="T86" fmla="*/ 65995081 w 1145"/>
              <a:gd name="T87" fmla="*/ 101842805 h 1053"/>
              <a:gd name="T88" fmla="*/ 70572939 w 1145"/>
              <a:gd name="T89" fmla="*/ 75969480 h 1053"/>
              <a:gd name="T90" fmla="*/ 70954646 w 1145"/>
              <a:gd name="T91" fmla="*/ 49545262 h 1053"/>
              <a:gd name="T92" fmla="*/ 73052722 w 1145"/>
              <a:gd name="T93" fmla="*/ 33580873 h 1053"/>
              <a:gd name="T94" fmla="*/ 83924807 w 1145"/>
              <a:gd name="T95" fmla="*/ 9634035 h 1053"/>
              <a:gd name="T96" fmla="*/ 93652210 w 1145"/>
              <a:gd name="T97" fmla="*/ 8257368 h 1053"/>
              <a:gd name="T98" fmla="*/ 106431518 w 1145"/>
              <a:gd name="T99" fmla="*/ 21194562 h 1053"/>
              <a:gd name="T100" fmla="*/ 121499783 w 1145"/>
              <a:gd name="T101" fmla="*/ 20093335 h 1053"/>
              <a:gd name="T102" fmla="*/ 127794447 w 1145"/>
              <a:gd name="T103" fmla="*/ 12110878 h 1053"/>
              <a:gd name="T104" fmla="*/ 140001632 w 1145"/>
              <a:gd name="T105" fmla="*/ 9358597 h 1053"/>
              <a:gd name="T106" fmla="*/ 151636694 w 1145"/>
              <a:gd name="T107" fmla="*/ 4679299 h 1053"/>
              <a:gd name="T108" fmla="*/ 157930922 w 1145"/>
              <a:gd name="T109" fmla="*/ 2201930 h 1053"/>
              <a:gd name="T110" fmla="*/ 163843880 w 1145"/>
              <a:gd name="T111" fmla="*/ 6605790 h 1053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1145"/>
              <a:gd name="T169" fmla="*/ 0 h 1053"/>
              <a:gd name="T170" fmla="*/ 1145 w 1145"/>
              <a:gd name="T171" fmla="*/ 1053 h 1053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1145" h="1053">
                <a:moveTo>
                  <a:pt x="894" y="24"/>
                </a:moveTo>
                <a:lnTo>
                  <a:pt x="894" y="32"/>
                </a:lnTo>
                <a:lnTo>
                  <a:pt x="895" y="38"/>
                </a:lnTo>
                <a:lnTo>
                  <a:pt x="896" y="44"/>
                </a:lnTo>
                <a:lnTo>
                  <a:pt x="897" y="49"/>
                </a:lnTo>
                <a:lnTo>
                  <a:pt x="900" y="53"/>
                </a:lnTo>
                <a:lnTo>
                  <a:pt x="902" y="57"/>
                </a:lnTo>
                <a:lnTo>
                  <a:pt x="906" y="61"/>
                </a:lnTo>
                <a:lnTo>
                  <a:pt x="909" y="64"/>
                </a:lnTo>
                <a:lnTo>
                  <a:pt x="918" y="68"/>
                </a:lnTo>
                <a:lnTo>
                  <a:pt x="926" y="71"/>
                </a:lnTo>
                <a:lnTo>
                  <a:pt x="936" y="72"/>
                </a:lnTo>
                <a:lnTo>
                  <a:pt x="947" y="72"/>
                </a:lnTo>
                <a:lnTo>
                  <a:pt x="993" y="66"/>
                </a:lnTo>
                <a:lnTo>
                  <a:pt x="1033" y="61"/>
                </a:lnTo>
                <a:lnTo>
                  <a:pt x="1038" y="61"/>
                </a:lnTo>
                <a:lnTo>
                  <a:pt x="1045" y="63"/>
                </a:lnTo>
                <a:lnTo>
                  <a:pt x="1051" y="64"/>
                </a:lnTo>
                <a:lnTo>
                  <a:pt x="1057" y="67"/>
                </a:lnTo>
                <a:lnTo>
                  <a:pt x="1069" y="73"/>
                </a:lnTo>
                <a:lnTo>
                  <a:pt x="1080" y="81"/>
                </a:lnTo>
                <a:lnTo>
                  <a:pt x="1099" y="98"/>
                </a:lnTo>
                <a:lnTo>
                  <a:pt x="1112" y="110"/>
                </a:lnTo>
                <a:lnTo>
                  <a:pt x="1113" y="124"/>
                </a:lnTo>
                <a:lnTo>
                  <a:pt x="1114" y="138"/>
                </a:lnTo>
                <a:lnTo>
                  <a:pt x="1117" y="152"/>
                </a:lnTo>
                <a:lnTo>
                  <a:pt x="1122" y="164"/>
                </a:lnTo>
                <a:lnTo>
                  <a:pt x="1126" y="175"/>
                </a:lnTo>
                <a:lnTo>
                  <a:pt x="1132" y="183"/>
                </a:lnTo>
                <a:lnTo>
                  <a:pt x="1135" y="186"/>
                </a:lnTo>
                <a:lnTo>
                  <a:pt x="1138" y="188"/>
                </a:lnTo>
                <a:lnTo>
                  <a:pt x="1142" y="190"/>
                </a:lnTo>
                <a:lnTo>
                  <a:pt x="1145" y="190"/>
                </a:lnTo>
                <a:lnTo>
                  <a:pt x="1139" y="202"/>
                </a:lnTo>
                <a:lnTo>
                  <a:pt x="1133" y="211"/>
                </a:lnTo>
                <a:lnTo>
                  <a:pt x="1125" y="220"/>
                </a:lnTo>
                <a:lnTo>
                  <a:pt x="1117" y="227"/>
                </a:lnTo>
                <a:lnTo>
                  <a:pt x="1100" y="240"/>
                </a:lnTo>
                <a:lnTo>
                  <a:pt x="1082" y="253"/>
                </a:lnTo>
                <a:lnTo>
                  <a:pt x="1074" y="259"/>
                </a:lnTo>
                <a:lnTo>
                  <a:pt x="1066" y="266"/>
                </a:lnTo>
                <a:lnTo>
                  <a:pt x="1058" y="272"/>
                </a:lnTo>
                <a:lnTo>
                  <a:pt x="1052" y="280"/>
                </a:lnTo>
                <a:lnTo>
                  <a:pt x="1046" y="288"/>
                </a:lnTo>
                <a:lnTo>
                  <a:pt x="1043" y="297"/>
                </a:lnTo>
                <a:lnTo>
                  <a:pt x="1040" y="308"/>
                </a:lnTo>
                <a:lnTo>
                  <a:pt x="1040" y="320"/>
                </a:lnTo>
                <a:lnTo>
                  <a:pt x="1041" y="339"/>
                </a:lnTo>
                <a:lnTo>
                  <a:pt x="1045" y="360"/>
                </a:lnTo>
                <a:lnTo>
                  <a:pt x="1046" y="371"/>
                </a:lnTo>
                <a:lnTo>
                  <a:pt x="1047" y="381"/>
                </a:lnTo>
                <a:lnTo>
                  <a:pt x="1047" y="391"/>
                </a:lnTo>
                <a:lnTo>
                  <a:pt x="1046" y="400"/>
                </a:lnTo>
                <a:lnTo>
                  <a:pt x="1034" y="410"/>
                </a:lnTo>
                <a:lnTo>
                  <a:pt x="1013" y="430"/>
                </a:lnTo>
                <a:lnTo>
                  <a:pt x="1003" y="440"/>
                </a:lnTo>
                <a:lnTo>
                  <a:pt x="995" y="450"/>
                </a:lnTo>
                <a:lnTo>
                  <a:pt x="991" y="455"/>
                </a:lnTo>
                <a:lnTo>
                  <a:pt x="988" y="460"/>
                </a:lnTo>
                <a:lnTo>
                  <a:pt x="987" y="464"/>
                </a:lnTo>
                <a:lnTo>
                  <a:pt x="986" y="467"/>
                </a:lnTo>
                <a:lnTo>
                  <a:pt x="987" y="470"/>
                </a:lnTo>
                <a:lnTo>
                  <a:pt x="990" y="476"/>
                </a:lnTo>
                <a:lnTo>
                  <a:pt x="995" y="481"/>
                </a:lnTo>
                <a:lnTo>
                  <a:pt x="999" y="486"/>
                </a:lnTo>
                <a:lnTo>
                  <a:pt x="1009" y="495"/>
                </a:lnTo>
                <a:lnTo>
                  <a:pt x="1012" y="499"/>
                </a:lnTo>
                <a:lnTo>
                  <a:pt x="1016" y="524"/>
                </a:lnTo>
                <a:lnTo>
                  <a:pt x="1019" y="550"/>
                </a:lnTo>
                <a:lnTo>
                  <a:pt x="1019" y="576"/>
                </a:lnTo>
                <a:lnTo>
                  <a:pt x="1019" y="610"/>
                </a:lnTo>
                <a:lnTo>
                  <a:pt x="1020" y="618"/>
                </a:lnTo>
                <a:lnTo>
                  <a:pt x="1022" y="625"/>
                </a:lnTo>
                <a:lnTo>
                  <a:pt x="1025" y="632"/>
                </a:lnTo>
                <a:lnTo>
                  <a:pt x="1026" y="640"/>
                </a:lnTo>
                <a:lnTo>
                  <a:pt x="1026" y="650"/>
                </a:lnTo>
                <a:lnTo>
                  <a:pt x="1026" y="664"/>
                </a:lnTo>
                <a:lnTo>
                  <a:pt x="1027" y="679"/>
                </a:lnTo>
                <a:lnTo>
                  <a:pt x="1031" y="696"/>
                </a:lnTo>
                <a:lnTo>
                  <a:pt x="1033" y="705"/>
                </a:lnTo>
                <a:lnTo>
                  <a:pt x="1035" y="713"/>
                </a:lnTo>
                <a:lnTo>
                  <a:pt x="1038" y="720"/>
                </a:lnTo>
                <a:lnTo>
                  <a:pt x="1043" y="726"/>
                </a:lnTo>
                <a:lnTo>
                  <a:pt x="1047" y="731"/>
                </a:lnTo>
                <a:lnTo>
                  <a:pt x="1053" y="735"/>
                </a:lnTo>
                <a:lnTo>
                  <a:pt x="1058" y="738"/>
                </a:lnTo>
                <a:lnTo>
                  <a:pt x="1066" y="739"/>
                </a:lnTo>
                <a:lnTo>
                  <a:pt x="1067" y="745"/>
                </a:lnTo>
                <a:lnTo>
                  <a:pt x="1070" y="751"/>
                </a:lnTo>
                <a:lnTo>
                  <a:pt x="1074" y="759"/>
                </a:lnTo>
                <a:lnTo>
                  <a:pt x="1079" y="765"/>
                </a:lnTo>
                <a:lnTo>
                  <a:pt x="1083" y="772"/>
                </a:lnTo>
                <a:lnTo>
                  <a:pt x="1088" y="780"/>
                </a:lnTo>
                <a:lnTo>
                  <a:pt x="1091" y="790"/>
                </a:lnTo>
                <a:lnTo>
                  <a:pt x="1092" y="800"/>
                </a:lnTo>
                <a:lnTo>
                  <a:pt x="1092" y="807"/>
                </a:lnTo>
                <a:lnTo>
                  <a:pt x="1092" y="816"/>
                </a:lnTo>
                <a:lnTo>
                  <a:pt x="1092" y="825"/>
                </a:lnTo>
                <a:lnTo>
                  <a:pt x="1092" y="831"/>
                </a:lnTo>
                <a:lnTo>
                  <a:pt x="1092" y="837"/>
                </a:lnTo>
                <a:lnTo>
                  <a:pt x="1080" y="836"/>
                </a:lnTo>
                <a:lnTo>
                  <a:pt x="1069" y="837"/>
                </a:lnTo>
                <a:lnTo>
                  <a:pt x="1059" y="840"/>
                </a:lnTo>
                <a:lnTo>
                  <a:pt x="1049" y="842"/>
                </a:lnTo>
                <a:lnTo>
                  <a:pt x="1040" y="844"/>
                </a:lnTo>
                <a:lnTo>
                  <a:pt x="1029" y="844"/>
                </a:lnTo>
                <a:lnTo>
                  <a:pt x="1023" y="844"/>
                </a:lnTo>
                <a:lnTo>
                  <a:pt x="1018" y="842"/>
                </a:lnTo>
                <a:lnTo>
                  <a:pt x="1012" y="840"/>
                </a:lnTo>
                <a:lnTo>
                  <a:pt x="1005" y="837"/>
                </a:lnTo>
                <a:lnTo>
                  <a:pt x="1001" y="846"/>
                </a:lnTo>
                <a:lnTo>
                  <a:pt x="997" y="856"/>
                </a:lnTo>
                <a:lnTo>
                  <a:pt x="993" y="869"/>
                </a:lnTo>
                <a:lnTo>
                  <a:pt x="990" y="883"/>
                </a:lnTo>
                <a:lnTo>
                  <a:pt x="982" y="914"/>
                </a:lnTo>
                <a:lnTo>
                  <a:pt x="975" y="947"/>
                </a:lnTo>
                <a:lnTo>
                  <a:pt x="970" y="962"/>
                </a:lnTo>
                <a:lnTo>
                  <a:pt x="966" y="978"/>
                </a:lnTo>
                <a:lnTo>
                  <a:pt x="960" y="992"/>
                </a:lnTo>
                <a:lnTo>
                  <a:pt x="955" y="1004"/>
                </a:lnTo>
                <a:lnTo>
                  <a:pt x="951" y="1009"/>
                </a:lnTo>
                <a:lnTo>
                  <a:pt x="947" y="1014"/>
                </a:lnTo>
                <a:lnTo>
                  <a:pt x="944" y="1018"/>
                </a:lnTo>
                <a:lnTo>
                  <a:pt x="940" y="1021"/>
                </a:lnTo>
                <a:lnTo>
                  <a:pt x="935" y="1024"/>
                </a:lnTo>
                <a:lnTo>
                  <a:pt x="930" y="1026"/>
                </a:lnTo>
                <a:lnTo>
                  <a:pt x="925" y="1028"/>
                </a:lnTo>
                <a:lnTo>
                  <a:pt x="920" y="1028"/>
                </a:lnTo>
                <a:lnTo>
                  <a:pt x="918" y="1029"/>
                </a:lnTo>
                <a:lnTo>
                  <a:pt x="912" y="1031"/>
                </a:lnTo>
                <a:lnTo>
                  <a:pt x="909" y="1032"/>
                </a:lnTo>
                <a:lnTo>
                  <a:pt x="906" y="1032"/>
                </a:lnTo>
                <a:lnTo>
                  <a:pt x="902" y="1031"/>
                </a:lnTo>
                <a:lnTo>
                  <a:pt x="900" y="1028"/>
                </a:lnTo>
                <a:lnTo>
                  <a:pt x="888" y="1035"/>
                </a:lnTo>
                <a:lnTo>
                  <a:pt x="873" y="1043"/>
                </a:lnTo>
                <a:lnTo>
                  <a:pt x="864" y="1047"/>
                </a:lnTo>
                <a:lnTo>
                  <a:pt x="856" y="1050"/>
                </a:lnTo>
                <a:lnTo>
                  <a:pt x="847" y="1052"/>
                </a:lnTo>
                <a:lnTo>
                  <a:pt x="840" y="1053"/>
                </a:lnTo>
                <a:lnTo>
                  <a:pt x="828" y="1053"/>
                </a:lnTo>
                <a:lnTo>
                  <a:pt x="816" y="1052"/>
                </a:lnTo>
                <a:lnTo>
                  <a:pt x="805" y="1049"/>
                </a:lnTo>
                <a:lnTo>
                  <a:pt x="795" y="1046"/>
                </a:lnTo>
                <a:lnTo>
                  <a:pt x="789" y="1043"/>
                </a:lnTo>
                <a:lnTo>
                  <a:pt x="786" y="1040"/>
                </a:lnTo>
                <a:lnTo>
                  <a:pt x="782" y="1037"/>
                </a:lnTo>
                <a:lnTo>
                  <a:pt x="779" y="1033"/>
                </a:lnTo>
                <a:lnTo>
                  <a:pt x="777" y="1027"/>
                </a:lnTo>
                <a:lnTo>
                  <a:pt x="775" y="1022"/>
                </a:lnTo>
                <a:lnTo>
                  <a:pt x="774" y="1016"/>
                </a:lnTo>
                <a:lnTo>
                  <a:pt x="774" y="1010"/>
                </a:lnTo>
                <a:lnTo>
                  <a:pt x="761" y="1011"/>
                </a:lnTo>
                <a:lnTo>
                  <a:pt x="743" y="1014"/>
                </a:lnTo>
                <a:lnTo>
                  <a:pt x="734" y="1014"/>
                </a:lnTo>
                <a:lnTo>
                  <a:pt x="727" y="1012"/>
                </a:lnTo>
                <a:lnTo>
                  <a:pt x="723" y="1011"/>
                </a:lnTo>
                <a:lnTo>
                  <a:pt x="719" y="1009"/>
                </a:lnTo>
                <a:lnTo>
                  <a:pt x="717" y="1007"/>
                </a:lnTo>
                <a:lnTo>
                  <a:pt x="713" y="1004"/>
                </a:lnTo>
                <a:lnTo>
                  <a:pt x="707" y="997"/>
                </a:lnTo>
                <a:lnTo>
                  <a:pt x="701" y="993"/>
                </a:lnTo>
                <a:lnTo>
                  <a:pt x="697" y="992"/>
                </a:lnTo>
                <a:lnTo>
                  <a:pt x="694" y="992"/>
                </a:lnTo>
                <a:lnTo>
                  <a:pt x="689" y="993"/>
                </a:lnTo>
                <a:lnTo>
                  <a:pt x="686" y="993"/>
                </a:lnTo>
                <a:lnTo>
                  <a:pt x="680" y="991"/>
                </a:lnTo>
                <a:lnTo>
                  <a:pt x="674" y="986"/>
                </a:lnTo>
                <a:lnTo>
                  <a:pt x="662" y="987"/>
                </a:lnTo>
                <a:lnTo>
                  <a:pt x="653" y="989"/>
                </a:lnTo>
                <a:lnTo>
                  <a:pt x="643" y="991"/>
                </a:lnTo>
                <a:lnTo>
                  <a:pt x="627" y="992"/>
                </a:lnTo>
                <a:lnTo>
                  <a:pt x="618" y="991"/>
                </a:lnTo>
                <a:lnTo>
                  <a:pt x="611" y="988"/>
                </a:lnTo>
                <a:lnTo>
                  <a:pt x="608" y="987"/>
                </a:lnTo>
                <a:lnTo>
                  <a:pt x="605" y="984"/>
                </a:lnTo>
                <a:lnTo>
                  <a:pt x="603" y="982"/>
                </a:lnTo>
                <a:lnTo>
                  <a:pt x="600" y="979"/>
                </a:lnTo>
                <a:lnTo>
                  <a:pt x="597" y="971"/>
                </a:lnTo>
                <a:lnTo>
                  <a:pt x="596" y="963"/>
                </a:lnTo>
                <a:lnTo>
                  <a:pt x="595" y="953"/>
                </a:lnTo>
                <a:lnTo>
                  <a:pt x="594" y="942"/>
                </a:lnTo>
                <a:lnTo>
                  <a:pt x="593" y="933"/>
                </a:lnTo>
                <a:lnTo>
                  <a:pt x="590" y="925"/>
                </a:lnTo>
                <a:lnTo>
                  <a:pt x="587" y="916"/>
                </a:lnTo>
                <a:lnTo>
                  <a:pt x="584" y="908"/>
                </a:lnTo>
                <a:lnTo>
                  <a:pt x="581" y="900"/>
                </a:lnTo>
                <a:lnTo>
                  <a:pt x="577" y="892"/>
                </a:lnTo>
                <a:lnTo>
                  <a:pt x="575" y="884"/>
                </a:lnTo>
                <a:lnTo>
                  <a:pt x="574" y="875"/>
                </a:lnTo>
                <a:lnTo>
                  <a:pt x="575" y="870"/>
                </a:lnTo>
                <a:lnTo>
                  <a:pt x="577" y="866"/>
                </a:lnTo>
                <a:lnTo>
                  <a:pt x="581" y="860"/>
                </a:lnTo>
                <a:lnTo>
                  <a:pt x="584" y="856"/>
                </a:lnTo>
                <a:lnTo>
                  <a:pt x="587" y="851"/>
                </a:lnTo>
                <a:lnTo>
                  <a:pt x="590" y="846"/>
                </a:lnTo>
                <a:lnTo>
                  <a:pt x="593" y="842"/>
                </a:lnTo>
                <a:lnTo>
                  <a:pt x="594" y="837"/>
                </a:lnTo>
                <a:lnTo>
                  <a:pt x="593" y="825"/>
                </a:lnTo>
                <a:lnTo>
                  <a:pt x="589" y="809"/>
                </a:lnTo>
                <a:lnTo>
                  <a:pt x="588" y="798"/>
                </a:lnTo>
                <a:lnTo>
                  <a:pt x="588" y="789"/>
                </a:lnTo>
                <a:lnTo>
                  <a:pt x="590" y="779"/>
                </a:lnTo>
                <a:lnTo>
                  <a:pt x="594" y="770"/>
                </a:lnTo>
                <a:lnTo>
                  <a:pt x="571" y="766"/>
                </a:lnTo>
                <a:lnTo>
                  <a:pt x="521" y="759"/>
                </a:lnTo>
                <a:lnTo>
                  <a:pt x="494" y="756"/>
                </a:lnTo>
                <a:lnTo>
                  <a:pt x="471" y="755"/>
                </a:lnTo>
                <a:lnTo>
                  <a:pt x="461" y="754"/>
                </a:lnTo>
                <a:lnTo>
                  <a:pt x="454" y="755"/>
                </a:lnTo>
                <a:lnTo>
                  <a:pt x="450" y="756"/>
                </a:lnTo>
                <a:lnTo>
                  <a:pt x="448" y="758"/>
                </a:lnTo>
                <a:lnTo>
                  <a:pt x="448" y="762"/>
                </a:lnTo>
                <a:lnTo>
                  <a:pt x="448" y="770"/>
                </a:lnTo>
                <a:lnTo>
                  <a:pt x="447" y="775"/>
                </a:lnTo>
                <a:lnTo>
                  <a:pt x="446" y="780"/>
                </a:lnTo>
                <a:lnTo>
                  <a:pt x="443" y="785"/>
                </a:lnTo>
                <a:lnTo>
                  <a:pt x="440" y="790"/>
                </a:lnTo>
                <a:lnTo>
                  <a:pt x="437" y="796"/>
                </a:lnTo>
                <a:lnTo>
                  <a:pt x="431" y="801"/>
                </a:lnTo>
                <a:lnTo>
                  <a:pt x="425" y="806"/>
                </a:lnTo>
                <a:lnTo>
                  <a:pt x="417" y="811"/>
                </a:lnTo>
                <a:lnTo>
                  <a:pt x="407" y="814"/>
                </a:lnTo>
                <a:lnTo>
                  <a:pt x="396" y="817"/>
                </a:lnTo>
                <a:lnTo>
                  <a:pt x="383" y="819"/>
                </a:lnTo>
                <a:lnTo>
                  <a:pt x="369" y="819"/>
                </a:lnTo>
                <a:lnTo>
                  <a:pt x="362" y="818"/>
                </a:lnTo>
                <a:lnTo>
                  <a:pt x="355" y="816"/>
                </a:lnTo>
                <a:lnTo>
                  <a:pt x="349" y="811"/>
                </a:lnTo>
                <a:lnTo>
                  <a:pt x="342" y="804"/>
                </a:lnTo>
                <a:lnTo>
                  <a:pt x="337" y="797"/>
                </a:lnTo>
                <a:lnTo>
                  <a:pt x="330" y="789"/>
                </a:lnTo>
                <a:lnTo>
                  <a:pt x="325" y="780"/>
                </a:lnTo>
                <a:lnTo>
                  <a:pt x="319" y="771"/>
                </a:lnTo>
                <a:lnTo>
                  <a:pt x="309" y="749"/>
                </a:lnTo>
                <a:lnTo>
                  <a:pt x="302" y="728"/>
                </a:lnTo>
                <a:lnTo>
                  <a:pt x="298" y="718"/>
                </a:lnTo>
                <a:lnTo>
                  <a:pt x="297" y="708"/>
                </a:lnTo>
                <a:lnTo>
                  <a:pt x="295" y="699"/>
                </a:lnTo>
                <a:lnTo>
                  <a:pt x="295" y="689"/>
                </a:lnTo>
                <a:lnTo>
                  <a:pt x="3" y="689"/>
                </a:lnTo>
                <a:lnTo>
                  <a:pt x="2" y="683"/>
                </a:lnTo>
                <a:lnTo>
                  <a:pt x="0" y="680"/>
                </a:lnTo>
                <a:lnTo>
                  <a:pt x="0" y="677"/>
                </a:lnTo>
                <a:lnTo>
                  <a:pt x="3" y="671"/>
                </a:lnTo>
                <a:lnTo>
                  <a:pt x="10" y="669"/>
                </a:lnTo>
                <a:lnTo>
                  <a:pt x="16" y="668"/>
                </a:lnTo>
                <a:lnTo>
                  <a:pt x="23" y="668"/>
                </a:lnTo>
                <a:lnTo>
                  <a:pt x="28" y="668"/>
                </a:lnTo>
                <a:lnTo>
                  <a:pt x="34" y="668"/>
                </a:lnTo>
                <a:lnTo>
                  <a:pt x="39" y="668"/>
                </a:lnTo>
                <a:lnTo>
                  <a:pt x="45" y="667"/>
                </a:lnTo>
                <a:lnTo>
                  <a:pt x="49" y="665"/>
                </a:lnTo>
                <a:lnTo>
                  <a:pt x="49" y="640"/>
                </a:lnTo>
                <a:lnTo>
                  <a:pt x="36" y="640"/>
                </a:lnTo>
                <a:lnTo>
                  <a:pt x="27" y="640"/>
                </a:lnTo>
                <a:lnTo>
                  <a:pt x="18" y="640"/>
                </a:lnTo>
                <a:lnTo>
                  <a:pt x="10" y="640"/>
                </a:lnTo>
                <a:lnTo>
                  <a:pt x="26" y="631"/>
                </a:lnTo>
                <a:lnTo>
                  <a:pt x="39" y="622"/>
                </a:lnTo>
                <a:lnTo>
                  <a:pt x="46" y="619"/>
                </a:lnTo>
                <a:lnTo>
                  <a:pt x="52" y="615"/>
                </a:lnTo>
                <a:lnTo>
                  <a:pt x="60" y="612"/>
                </a:lnTo>
                <a:lnTo>
                  <a:pt x="69" y="610"/>
                </a:lnTo>
                <a:lnTo>
                  <a:pt x="72" y="613"/>
                </a:lnTo>
                <a:lnTo>
                  <a:pt x="75" y="615"/>
                </a:lnTo>
                <a:lnTo>
                  <a:pt x="79" y="616"/>
                </a:lnTo>
                <a:lnTo>
                  <a:pt x="82" y="617"/>
                </a:lnTo>
                <a:lnTo>
                  <a:pt x="91" y="618"/>
                </a:lnTo>
                <a:lnTo>
                  <a:pt x="101" y="616"/>
                </a:lnTo>
                <a:lnTo>
                  <a:pt x="122" y="612"/>
                </a:lnTo>
                <a:lnTo>
                  <a:pt x="142" y="610"/>
                </a:lnTo>
                <a:lnTo>
                  <a:pt x="145" y="614"/>
                </a:lnTo>
                <a:lnTo>
                  <a:pt x="148" y="617"/>
                </a:lnTo>
                <a:lnTo>
                  <a:pt x="152" y="619"/>
                </a:lnTo>
                <a:lnTo>
                  <a:pt x="157" y="620"/>
                </a:lnTo>
                <a:lnTo>
                  <a:pt x="166" y="621"/>
                </a:lnTo>
                <a:lnTo>
                  <a:pt x="175" y="622"/>
                </a:lnTo>
                <a:lnTo>
                  <a:pt x="179" y="621"/>
                </a:lnTo>
                <a:lnTo>
                  <a:pt x="183" y="620"/>
                </a:lnTo>
                <a:lnTo>
                  <a:pt x="186" y="618"/>
                </a:lnTo>
                <a:lnTo>
                  <a:pt x="190" y="616"/>
                </a:lnTo>
                <a:lnTo>
                  <a:pt x="195" y="610"/>
                </a:lnTo>
                <a:lnTo>
                  <a:pt x="201" y="603"/>
                </a:lnTo>
                <a:lnTo>
                  <a:pt x="209" y="588"/>
                </a:lnTo>
                <a:lnTo>
                  <a:pt x="215" y="578"/>
                </a:lnTo>
                <a:lnTo>
                  <a:pt x="220" y="574"/>
                </a:lnTo>
                <a:lnTo>
                  <a:pt x="225" y="571"/>
                </a:lnTo>
                <a:lnTo>
                  <a:pt x="230" y="569"/>
                </a:lnTo>
                <a:lnTo>
                  <a:pt x="236" y="567"/>
                </a:lnTo>
                <a:lnTo>
                  <a:pt x="246" y="564"/>
                </a:lnTo>
                <a:lnTo>
                  <a:pt x="256" y="560"/>
                </a:lnTo>
                <a:lnTo>
                  <a:pt x="258" y="558"/>
                </a:lnTo>
                <a:lnTo>
                  <a:pt x="260" y="555"/>
                </a:lnTo>
                <a:lnTo>
                  <a:pt x="262" y="550"/>
                </a:lnTo>
                <a:lnTo>
                  <a:pt x="264" y="544"/>
                </a:lnTo>
                <a:lnTo>
                  <a:pt x="268" y="528"/>
                </a:lnTo>
                <a:lnTo>
                  <a:pt x="270" y="511"/>
                </a:lnTo>
                <a:lnTo>
                  <a:pt x="274" y="477"/>
                </a:lnTo>
                <a:lnTo>
                  <a:pt x="275" y="449"/>
                </a:lnTo>
                <a:lnTo>
                  <a:pt x="281" y="440"/>
                </a:lnTo>
                <a:lnTo>
                  <a:pt x="287" y="432"/>
                </a:lnTo>
                <a:lnTo>
                  <a:pt x="294" y="425"/>
                </a:lnTo>
                <a:lnTo>
                  <a:pt x="302" y="416"/>
                </a:lnTo>
                <a:lnTo>
                  <a:pt x="316" y="404"/>
                </a:lnTo>
                <a:lnTo>
                  <a:pt x="328" y="394"/>
                </a:lnTo>
                <a:lnTo>
                  <a:pt x="338" y="382"/>
                </a:lnTo>
                <a:lnTo>
                  <a:pt x="346" y="370"/>
                </a:lnTo>
                <a:lnTo>
                  <a:pt x="352" y="357"/>
                </a:lnTo>
                <a:lnTo>
                  <a:pt x="357" y="345"/>
                </a:lnTo>
                <a:lnTo>
                  <a:pt x="361" y="334"/>
                </a:lnTo>
                <a:lnTo>
                  <a:pt x="364" y="323"/>
                </a:lnTo>
                <a:lnTo>
                  <a:pt x="366" y="312"/>
                </a:lnTo>
                <a:lnTo>
                  <a:pt x="369" y="299"/>
                </a:lnTo>
                <a:lnTo>
                  <a:pt x="370" y="276"/>
                </a:lnTo>
                <a:lnTo>
                  <a:pt x="370" y="251"/>
                </a:lnTo>
                <a:lnTo>
                  <a:pt x="369" y="225"/>
                </a:lnTo>
                <a:lnTo>
                  <a:pt x="369" y="197"/>
                </a:lnTo>
                <a:lnTo>
                  <a:pt x="369" y="191"/>
                </a:lnTo>
                <a:lnTo>
                  <a:pt x="369" y="187"/>
                </a:lnTo>
                <a:lnTo>
                  <a:pt x="371" y="183"/>
                </a:lnTo>
                <a:lnTo>
                  <a:pt x="372" y="180"/>
                </a:lnTo>
                <a:lnTo>
                  <a:pt x="375" y="174"/>
                </a:lnTo>
                <a:lnTo>
                  <a:pt x="380" y="167"/>
                </a:lnTo>
                <a:lnTo>
                  <a:pt x="383" y="160"/>
                </a:lnTo>
                <a:lnTo>
                  <a:pt x="385" y="149"/>
                </a:lnTo>
                <a:lnTo>
                  <a:pt x="385" y="140"/>
                </a:lnTo>
                <a:lnTo>
                  <a:pt x="385" y="132"/>
                </a:lnTo>
                <a:lnTo>
                  <a:pt x="383" y="122"/>
                </a:lnTo>
                <a:lnTo>
                  <a:pt x="382" y="110"/>
                </a:lnTo>
                <a:lnTo>
                  <a:pt x="397" y="87"/>
                </a:lnTo>
                <a:lnTo>
                  <a:pt x="417" y="58"/>
                </a:lnTo>
                <a:lnTo>
                  <a:pt x="422" y="51"/>
                </a:lnTo>
                <a:lnTo>
                  <a:pt x="428" y="45"/>
                </a:lnTo>
                <a:lnTo>
                  <a:pt x="435" y="40"/>
                </a:lnTo>
                <a:lnTo>
                  <a:pt x="440" y="35"/>
                </a:lnTo>
                <a:lnTo>
                  <a:pt x="447" y="31"/>
                </a:lnTo>
                <a:lnTo>
                  <a:pt x="453" y="26"/>
                </a:lnTo>
                <a:lnTo>
                  <a:pt x="461" y="24"/>
                </a:lnTo>
                <a:lnTo>
                  <a:pt x="467" y="24"/>
                </a:lnTo>
                <a:lnTo>
                  <a:pt x="476" y="24"/>
                </a:lnTo>
                <a:lnTo>
                  <a:pt x="484" y="26"/>
                </a:lnTo>
                <a:lnTo>
                  <a:pt x="491" y="30"/>
                </a:lnTo>
                <a:lnTo>
                  <a:pt x="497" y="33"/>
                </a:lnTo>
                <a:lnTo>
                  <a:pt x="509" y="42"/>
                </a:lnTo>
                <a:lnTo>
                  <a:pt x="521" y="52"/>
                </a:lnTo>
                <a:lnTo>
                  <a:pt x="532" y="62"/>
                </a:lnTo>
                <a:lnTo>
                  <a:pt x="544" y="71"/>
                </a:lnTo>
                <a:lnTo>
                  <a:pt x="551" y="74"/>
                </a:lnTo>
                <a:lnTo>
                  <a:pt x="558" y="77"/>
                </a:lnTo>
                <a:lnTo>
                  <a:pt x="565" y="79"/>
                </a:lnTo>
                <a:lnTo>
                  <a:pt x="574" y="79"/>
                </a:lnTo>
                <a:lnTo>
                  <a:pt x="587" y="78"/>
                </a:lnTo>
                <a:lnTo>
                  <a:pt x="599" y="76"/>
                </a:lnTo>
                <a:lnTo>
                  <a:pt x="614" y="74"/>
                </a:lnTo>
                <a:lnTo>
                  <a:pt x="634" y="73"/>
                </a:lnTo>
                <a:lnTo>
                  <a:pt x="637" y="73"/>
                </a:lnTo>
                <a:lnTo>
                  <a:pt x="639" y="71"/>
                </a:lnTo>
                <a:lnTo>
                  <a:pt x="641" y="69"/>
                </a:lnTo>
                <a:lnTo>
                  <a:pt x="644" y="66"/>
                </a:lnTo>
                <a:lnTo>
                  <a:pt x="649" y="60"/>
                </a:lnTo>
                <a:lnTo>
                  <a:pt x="654" y="55"/>
                </a:lnTo>
                <a:lnTo>
                  <a:pt x="662" y="49"/>
                </a:lnTo>
                <a:lnTo>
                  <a:pt x="670" y="44"/>
                </a:lnTo>
                <a:lnTo>
                  <a:pt x="677" y="40"/>
                </a:lnTo>
                <a:lnTo>
                  <a:pt x="685" y="38"/>
                </a:lnTo>
                <a:lnTo>
                  <a:pt x="693" y="36"/>
                </a:lnTo>
                <a:lnTo>
                  <a:pt x="701" y="35"/>
                </a:lnTo>
                <a:lnTo>
                  <a:pt x="709" y="34"/>
                </a:lnTo>
                <a:lnTo>
                  <a:pt x="718" y="34"/>
                </a:lnTo>
                <a:lnTo>
                  <a:pt x="734" y="34"/>
                </a:lnTo>
                <a:lnTo>
                  <a:pt x="752" y="35"/>
                </a:lnTo>
                <a:lnTo>
                  <a:pt x="761" y="34"/>
                </a:lnTo>
                <a:lnTo>
                  <a:pt x="769" y="34"/>
                </a:lnTo>
                <a:lnTo>
                  <a:pt x="778" y="33"/>
                </a:lnTo>
                <a:lnTo>
                  <a:pt x="787" y="31"/>
                </a:lnTo>
                <a:lnTo>
                  <a:pt x="790" y="24"/>
                </a:lnTo>
                <a:lnTo>
                  <a:pt x="795" y="17"/>
                </a:lnTo>
                <a:lnTo>
                  <a:pt x="796" y="13"/>
                </a:lnTo>
                <a:lnTo>
                  <a:pt x="799" y="9"/>
                </a:lnTo>
                <a:lnTo>
                  <a:pt x="802" y="4"/>
                </a:lnTo>
                <a:lnTo>
                  <a:pt x="807" y="0"/>
                </a:lnTo>
                <a:lnTo>
                  <a:pt x="814" y="0"/>
                </a:lnTo>
                <a:lnTo>
                  <a:pt x="827" y="0"/>
                </a:lnTo>
                <a:lnTo>
                  <a:pt x="828" y="8"/>
                </a:lnTo>
                <a:lnTo>
                  <a:pt x="830" y="14"/>
                </a:lnTo>
                <a:lnTo>
                  <a:pt x="833" y="18"/>
                </a:lnTo>
                <a:lnTo>
                  <a:pt x="839" y="21"/>
                </a:lnTo>
                <a:lnTo>
                  <a:pt x="843" y="22"/>
                </a:lnTo>
                <a:lnTo>
                  <a:pt x="848" y="23"/>
                </a:lnTo>
                <a:lnTo>
                  <a:pt x="854" y="24"/>
                </a:lnTo>
                <a:lnTo>
                  <a:pt x="859" y="24"/>
                </a:lnTo>
                <a:lnTo>
                  <a:pt x="869" y="24"/>
                </a:lnTo>
                <a:lnTo>
                  <a:pt x="879" y="24"/>
                </a:lnTo>
                <a:lnTo>
                  <a:pt x="887" y="24"/>
                </a:lnTo>
                <a:lnTo>
                  <a:pt x="894" y="24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51" name="Freeform 249"/>
          <p:cNvSpPr>
            <a:spLocks/>
          </p:cNvSpPr>
          <p:nvPr userDrawn="1">
            <p:custDataLst>
              <p:tags r:id="rId175"/>
            </p:custDataLst>
          </p:nvPr>
        </p:nvSpPr>
        <p:spPr bwMode="auto">
          <a:xfrm>
            <a:off x="4314829" y="2881315"/>
            <a:ext cx="55562" cy="41672"/>
          </a:xfrm>
          <a:custGeom>
            <a:avLst/>
            <a:gdLst>
              <a:gd name="T0" fmla="*/ 23709418 w 125"/>
              <a:gd name="T1" fmla="*/ 0 h 81"/>
              <a:gd name="T2" fmla="*/ 23906774 w 125"/>
              <a:gd name="T3" fmla="*/ 12704721 h 81"/>
              <a:gd name="T4" fmla="*/ 24499731 w 125"/>
              <a:gd name="T5" fmla="*/ 21644873 h 81"/>
              <a:gd name="T6" fmla="*/ 24697088 w 125"/>
              <a:gd name="T7" fmla="*/ 24938871 h 81"/>
              <a:gd name="T8" fmla="*/ 24697088 w 125"/>
              <a:gd name="T9" fmla="*/ 27762293 h 81"/>
              <a:gd name="T10" fmla="*/ 24697088 w 125"/>
              <a:gd name="T11" fmla="*/ 30585716 h 81"/>
              <a:gd name="T12" fmla="*/ 24301931 w 125"/>
              <a:gd name="T13" fmla="*/ 32467311 h 81"/>
              <a:gd name="T14" fmla="*/ 23511617 w 125"/>
              <a:gd name="T15" fmla="*/ 33879023 h 81"/>
              <a:gd name="T16" fmla="*/ 22128790 w 125"/>
              <a:gd name="T17" fmla="*/ 34820164 h 81"/>
              <a:gd name="T18" fmla="*/ 20350362 w 125"/>
              <a:gd name="T19" fmla="*/ 35761304 h 81"/>
              <a:gd name="T20" fmla="*/ 17979421 w 125"/>
              <a:gd name="T21" fmla="*/ 36231875 h 81"/>
              <a:gd name="T22" fmla="*/ 11261751 w 125"/>
              <a:gd name="T23" fmla="*/ 37173016 h 81"/>
              <a:gd name="T24" fmla="*/ 1382827 w 125"/>
              <a:gd name="T25" fmla="*/ 38114156 h 81"/>
              <a:gd name="T26" fmla="*/ 987670 w 125"/>
              <a:gd name="T27" fmla="*/ 37173016 h 81"/>
              <a:gd name="T28" fmla="*/ 592513 w 125"/>
              <a:gd name="T29" fmla="*/ 33879023 h 81"/>
              <a:gd name="T30" fmla="*/ 197356 w 125"/>
              <a:gd name="T31" fmla="*/ 27762293 h 81"/>
              <a:gd name="T32" fmla="*/ 0 w 125"/>
              <a:gd name="T33" fmla="*/ 20233161 h 81"/>
              <a:gd name="T34" fmla="*/ 0 w 125"/>
              <a:gd name="T35" fmla="*/ 17410425 h 81"/>
              <a:gd name="T36" fmla="*/ 197356 w 125"/>
              <a:gd name="T37" fmla="*/ 14587002 h 81"/>
              <a:gd name="T38" fmla="*/ 395157 w 125"/>
              <a:gd name="T39" fmla="*/ 11763580 h 81"/>
              <a:gd name="T40" fmla="*/ 790314 w 125"/>
              <a:gd name="T41" fmla="*/ 9410725 h 81"/>
              <a:gd name="T42" fmla="*/ 1580628 w 125"/>
              <a:gd name="T43" fmla="*/ 7057873 h 81"/>
              <a:gd name="T44" fmla="*/ 2173141 w 125"/>
              <a:gd name="T45" fmla="*/ 4705705 h 81"/>
              <a:gd name="T46" fmla="*/ 2766099 w 125"/>
              <a:gd name="T47" fmla="*/ 2352853 h 81"/>
              <a:gd name="T48" fmla="*/ 3951570 w 125"/>
              <a:gd name="T49" fmla="*/ 0 h 81"/>
              <a:gd name="T50" fmla="*/ 23709418 w 125"/>
              <a:gd name="T51" fmla="*/ 0 h 81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25"/>
              <a:gd name="T79" fmla="*/ 0 h 81"/>
              <a:gd name="T80" fmla="*/ 125 w 125"/>
              <a:gd name="T81" fmla="*/ 81 h 81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25" h="81">
                <a:moveTo>
                  <a:pt x="120" y="0"/>
                </a:moveTo>
                <a:lnTo>
                  <a:pt x="121" y="27"/>
                </a:lnTo>
                <a:lnTo>
                  <a:pt x="124" y="46"/>
                </a:lnTo>
                <a:lnTo>
                  <a:pt x="125" y="53"/>
                </a:lnTo>
                <a:lnTo>
                  <a:pt x="125" y="59"/>
                </a:lnTo>
                <a:lnTo>
                  <a:pt x="125" y="65"/>
                </a:lnTo>
                <a:lnTo>
                  <a:pt x="123" y="69"/>
                </a:lnTo>
                <a:lnTo>
                  <a:pt x="119" y="72"/>
                </a:lnTo>
                <a:lnTo>
                  <a:pt x="112" y="74"/>
                </a:lnTo>
                <a:lnTo>
                  <a:pt x="103" y="76"/>
                </a:lnTo>
                <a:lnTo>
                  <a:pt x="91" y="77"/>
                </a:lnTo>
                <a:lnTo>
                  <a:pt x="57" y="79"/>
                </a:lnTo>
                <a:lnTo>
                  <a:pt x="7" y="81"/>
                </a:lnTo>
                <a:lnTo>
                  <a:pt x="5" y="79"/>
                </a:lnTo>
                <a:lnTo>
                  <a:pt x="3" y="72"/>
                </a:lnTo>
                <a:lnTo>
                  <a:pt x="1" y="59"/>
                </a:lnTo>
                <a:lnTo>
                  <a:pt x="0" y="43"/>
                </a:lnTo>
                <a:lnTo>
                  <a:pt x="0" y="37"/>
                </a:lnTo>
                <a:lnTo>
                  <a:pt x="1" y="31"/>
                </a:lnTo>
                <a:lnTo>
                  <a:pt x="2" y="25"/>
                </a:lnTo>
                <a:lnTo>
                  <a:pt x="4" y="20"/>
                </a:lnTo>
                <a:lnTo>
                  <a:pt x="8" y="15"/>
                </a:lnTo>
                <a:lnTo>
                  <a:pt x="11" y="10"/>
                </a:lnTo>
                <a:lnTo>
                  <a:pt x="14" y="5"/>
                </a:lnTo>
                <a:lnTo>
                  <a:pt x="20" y="0"/>
                </a:lnTo>
                <a:lnTo>
                  <a:pt x="120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52" name="Freeform 250"/>
          <p:cNvSpPr>
            <a:spLocks/>
          </p:cNvSpPr>
          <p:nvPr userDrawn="1">
            <p:custDataLst>
              <p:tags r:id="rId176"/>
            </p:custDataLst>
          </p:nvPr>
        </p:nvSpPr>
        <p:spPr bwMode="auto">
          <a:xfrm>
            <a:off x="4297362" y="2881317"/>
            <a:ext cx="152400" cy="151210"/>
          </a:xfrm>
          <a:custGeom>
            <a:avLst/>
            <a:gdLst>
              <a:gd name="T0" fmla="*/ 48285468 w 355"/>
              <a:gd name="T1" fmla="*/ 4049927 h 388"/>
              <a:gd name="T2" fmla="*/ 47363771 w 355"/>
              <a:gd name="T3" fmla="*/ 9990237 h 388"/>
              <a:gd name="T4" fmla="*/ 48653804 w 355"/>
              <a:gd name="T5" fmla="*/ 13770479 h 388"/>
              <a:gd name="T6" fmla="*/ 52155568 w 355"/>
              <a:gd name="T7" fmla="*/ 16200227 h 388"/>
              <a:gd name="T8" fmla="*/ 58789916 w 355"/>
              <a:gd name="T9" fmla="*/ 14850252 h 388"/>
              <a:gd name="T10" fmla="*/ 61185815 w 355"/>
              <a:gd name="T11" fmla="*/ 15390138 h 388"/>
              <a:gd name="T12" fmla="*/ 62660446 w 355"/>
              <a:gd name="T13" fmla="*/ 18360295 h 388"/>
              <a:gd name="T14" fmla="*/ 63581714 w 355"/>
              <a:gd name="T15" fmla="*/ 22410741 h 388"/>
              <a:gd name="T16" fmla="*/ 64687580 w 355"/>
              <a:gd name="T17" fmla="*/ 25380375 h 388"/>
              <a:gd name="T18" fmla="*/ 63581714 w 355"/>
              <a:gd name="T19" fmla="*/ 29160617 h 388"/>
              <a:gd name="T20" fmla="*/ 58974514 w 355"/>
              <a:gd name="T21" fmla="*/ 36720591 h 388"/>
              <a:gd name="T22" fmla="*/ 64134647 w 355"/>
              <a:gd name="T23" fmla="*/ 47251230 h 388"/>
              <a:gd name="T24" fmla="*/ 65424680 w 355"/>
              <a:gd name="T25" fmla="*/ 54540992 h 388"/>
              <a:gd name="T26" fmla="*/ 65055915 w 355"/>
              <a:gd name="T27" fmla="*/ 59131324 h 388"/>
              <a:gd name="T28" fmla="*/ 63581714 w 355"/>
              <a:gd name="T29" fmla="*/ 68581687 h 388"/>
              <a:gd name="T30" fmla="*/ 61369983 w 355"/>
              <a:gd name="T31" fmla="*/ 73171499 h 388"/>
              <a:gd name="T32" fmla="*/ 57499883 w 355"/>
              <a:gd name="T33" fmla="*/ 75601766 h 388"/>
              <a:gd name="T34" fmla="*/ 52708501 w 355"/>
              <a:gd name="T35" fmla="*/ 76141652 h 388"/>
              <a:gd name="T36" fmla="*/ 49759670 w 355"/>
              <a:gd name="T37" fmla="*/ 76141652 h 388"/>
              <a:gd name="T38" fmla="*/ 46442502 w 355"/>
              <a:gd name="T39" fmla="*/ 71551840 h 388"/>
              <a:gd name="T40" fmla="*/ 44230771 w 355"/>
              <a:gd name="T41" fmla="*/ 69931662 h 388"/>
              <a:gd name="T42" fmla="*/ 40729007 w 355"/>
              <a:gd name="T43" fmla="*/ 72631612 h 388"/>
              <a:gd name="T44" fmla="*/ 37780604 w 355"/>
              <a:gd name="T45" fmla="*/ 75331563 h 388"/>
              <a:gd name="T46" fmla="*/ 35753041 w 355"/>
              <a:gd name="T47" fmla="*/ 76951741 h 388"/>
              <a:gd name="T48" fmla="*/ 34094672 w 355"/>
              <a:gd name="T49" fmla="*/ 80461781 h 388"/>
              <a:gd name="T50" fmla="*/ 34463008 w 355"/>
              <a:gd name="T51" fmla="*/ 86671771 h 388"/>
              <a:gd name="T52" fmla="*/ 38148940 w 355"/>
              <a:gd name="T53" fmla="*/ 96662004 h 388"/>
              <a:gd name="T54" fmla="*/ 35937638 w 355"/>
              <a:gd name="T55" fmla="*/ 95312029 h 388"/>
              <a:gd name="T56" fmla="*/ 32620042 w 355"/>
              <a:gd name="T57" fmla="*/ 95852434 h 388"/>
              <a:gd name="T58" fmla="*/ 29855807 w 355"/>
              <a:gd name="T59" fmla="*/ 98552385 h 388"/>
              <a:gd name="T60" fmla="*/ 26906969 w 355"/>
              <a:gd name="T61" fmla="*/ 104762375 h 388"/>
              <a:gd name="T62" fmla="*/ 22668104 w 355"/>
              <a:gd name="T63" fmla="*/ 99902360 h 388"/>
              <a:gd name="T64" fmla="*/ 20825138 w 355"/>
              <a:gd name="T65" fmla="*/ 96662004 h 388"/>
              <a:gd name="T66" fmla="*/ 17692138 w 355"/>
              <a:gd name="T67" fmla="*/ 87481860 h 388"/>
              <a:gd name="T68" fmla="*/ 9214834 w 355"/>
              <a:gd name="T69" fmla="*/ 75601766 h 388"/>
              <a:gd name="T70" fmla="*/ 4054699 w 355"/>
              <a:gd name="T71" fmla="*/ 68581687 h 388"/>
              <a:gd name="T72" fmla="*/ 921269 w 355"/>
              <a:gd name="T73" fmla="*/ 60211616 h 388"/>
              <a:gd name="T74" fmla="*/ 184168 w 355"/>
              <a:gd name="T75" fmla="*/ 50491066 h 388"/>
              <a:gd name="T76" fmla="*/ 2027135 w 355"/>
              <a:gd name="T77" fmla="*/ 43741190 h 388"/>
              <a:gd name="T78" fmla="*/ 7556036 w 355"/>
              <a:gd name="T79" fmla="*/ 36180705 h 388"/>
              <a:gd name="T80" fmla="*/ 9951935 w 355"/>
              <a:gd name="T81" fmla="*/ 31320682 h 388"/>
              <a:gd name="T82" fmla="*/ 10320700 w 355"/>
              <a:gd name="T83" fmla="*/ 24570805 h 388"/>
              <a:gd name="T84" fmla="*/ 19903869 w 355"/>
              <a:gd name="T85" fmla="*/ 22410741 h 388"/>
              <a:gd name="T86" fmla="*/ 28749942 w 355"/>
              <a:gd name="T87" fmla="*/ 21600652 h 388"/>
              <a:gd name="T88" fmla="*/ 31698773 w 355"/>
              <a:gd name="T89" fmla="*/ 19710271 h 388"/>
              <a:gd name="T90" fmla="*/ 32620042 w 355"/>
              <a:gd name="T91" fmla="*/ 17010316 h 388"/>
              <a:gd name="T92" fmla="*/ 32067109 w 355"/>
              <a:gd name="T93" fmla="*/ 11070009 h 388"/>
              <a:gd name="T94" fmla="*/ 30777076 w 355"/>
              <a:gd name="T95" fmla="*/ 3239838 h 388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355"/>
              <a:gd name="T145" fmla="*/ 0 h 388"/>
              <a:gd name="T146" fmla="*/ 355 w 355"/>
              <a:gd name="T147" fmla="*/ 388 h 388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355" h="388">
                <a:moveTo>
                  <a:pt x="266" y="7"/>
                </a:moveTo>
                <a:lnTo>
                  <a:pt x="265" y="9"/>
                </a:lnTo>
                <a:lnTo>
                  <a:pt x="262" y="15"/>
                </a:lnTo>
                <a:lnTo>
                  <a:pt x="259" y="23"/>
                </a:lnTo>
                <a:lnTo>
                  <a:pt x="257" y="32"/>
                </a:lnTo>
                <a:lnTo>
                  <a:pt x="257" y="37"/>
                </a:lnTo>
                <a:lnTo>
                  <a:pt x="258" y="42"/>
                </a:lnTo>
                <a:lnTo>
                  <a:pt x="261" y="46"/>
                </a:lnTo>
                <a:lnTo>
                  <a:pt x="264" y="51"/>
                </a:lnTo>
                <a:lnTo>
                  <a:pt x="268" y="54"/>
                </a:lnTo>
                <a:lnTo>
                  <a:pt x="275" y="58"/>
                </a:lnTo>
                <a:lnTo>
                  <a:pt x="283" y="60"/>
                </a:lnTo>
                <a:lnTo>
                  <a:pt x="294" y="63"/>
                </a:lnTo>
                <a:lnTo>
                  <a:pt x="301" y="58"/>
                </a:lnTo>
                <a:lnTo>
                  <a:pt x="319" y="55"/>
                </a:lnTo>
                <a:lnTo>
                  <a:pt x="323" y="55"/>
                </a:lnTo>
                <a:lnTo>
                  <a:pt x="328" y="55"/>
                </a:lnTo>
                <a:lnTo>
                  <a:pt x="332" y="57"/>
                </a:lnTo>
                <a:lnTo>
                  <a:pt x="335" y="59"/>
                </a:lnTo>
                <a:lnTo>
                  <a:pt x="337" y="63"/>
                </a:lnTo>
                <a:lnTo>
                  <a:pt x="340" y="68"/>
                </a:lnTo>
                <a:lnTo>
                  <a:pt x="340" y="74"/>
                </a:lnTo>
                <a:lnTo>
                  <a:pt x="340" y="81"/>
                </a:lnTo>
                <a:lnTo>
                  <a:pt x="345" y="83"/>
                </a:lnTo>
                <a:lnTo>
                  <a:pt x="348" y="87"/>
                </a:lnTo>
                <a:lnTo>
                  <a:pt x="350" y="90"/>
                </a:lnTo>
                <a:lnTo>
                  <a:pt x="351" y="94"/>
                </a:lnTo>
                <a:lnTo>
                  <a:pt x="350" y="99"/>
                </a:lnTo>
                <a:lnTo>
                  <a:pt x="347" y="103"/>
                </a:lnTo>
                <a:lnTo>
                  <a:pt x="345" y="108"/>
                </a:lnTo>
                <a:lnTo>
                  <a:pt x="342" y="113"/>
                </a:lnTo>
                <a:lnTo>
                  <a:pt x="328" y="129"/>
                </a:lnTo>
                <a:lnTo>
                  <a:pt x="320" y="136"/>
                </a:lnTo>
                <a:lnTo>
                  <a:pt x="326" y="143"/>
                </a:lnTo>
                <a:lnTo>
                  <a:pt x="341" y="162"/>
                </a:lnTo>
                <a:lnTo>
                  <a:pt x="348" y="175"/>
                </a:lnTo>
                <a:lnTo>
                  <a:pt x="353" y="188"/>
                </a:lnTo>
                <a:lnTo>
                  <a:pt x="355" y="195"/>
                </a:lnTo>
                <a:lnTo>
                  <a:pt x="355" y="202"/>
                </a:lnTo>
                <a:lnTo>
                  <a:pt x="355" y="209"/>
                </a:lnTo>
                <a:lnTo>
                  <a:pt x="353" y="216"/>
                </a:lnTo>
                <a:lnTo>
                  <a:pt x="353" y="219"/>
                </a:lnTo>
                <a:lnTo>
                  <a:pt x="352" y="228"/>
                </a:lnTo>
                <a:lnTo>
                  <a:pt x="350" y="241"/>
                </a:lnTo>
                <a:lnTo>
                  <a:pt x="345" y="254"/>
                </a:lnTo>
                <a:lnTo>
                  <a:pt x="342" y="260"/>
                </a:lnTo>
                <a:lnTo>
                  <a:pt x="339" y="266"/>
                </a:lnTo>
                <a:lnTo>
                  <a:pt x="333" y="271"/>
                </a:lnTo>
                <a:lnTo>
                  <a:pt x="328" y="276"/>
                </a:lnTo>
                <a:lnTo>
                  <a:pt x="321" y="279"/>
                </a:lnTo>
                <a:lnTo>
                  <a:pt x="312" y="280"/>
                </a:lnTo>
                <a:lnTo>
                  <a:pt x="303" y="280"/>
                </a:lnTo>
                <a:lnTo>
                  <a:pt x="294" y="277"/>
                </a:lnTo>
                <a:lnTo>
                  <a:pt x="286" y="282"/>
                </a:lnTo>
                <a:lnTo>
                  <a:pt x="280" y="285"/>
                </a:lnTo>
                <a:lnTo>
                  <a:pt x="275" y="285"/>
                </a:lnTo>
                <a:lnTo>
                  <a:pt x="270" y="282"/>
                </a:lnTo>
                <a:lnTo>
                  <a:pt x="263" y="276"/>
                </a:lnTo>
                <a:lnTo>
                  <a:pt x="255" y="268"/>
                </a:lnTo>
                <a:lnTo>
                  <a:pt x="252" y="265"/>
                </a:lnTo>
                <a:lnTo>
                  <a:pt x="249" y="261"/>
                </a:lnTo>
                <a:lnTo>
                  <a:pt x="244" y="259"/>
                </a:lnTo>
                <a:lnTo>
                  <a:pt x="240" y="259"/>
                </a:lnTo>
                <a:lnTo>
                  <a:pt x="234" y="260"/>
                </a:lnTo>
                <a:lnTo>
                  <a:pt x="229" y="263"/>
                </a:lnTo>
                <a:lnTo>
                  <a:pt x="221" y="269"/>
                </a:lnTo>
                <a:lnTo>
                  <a:pt x="213" y="277"/>
                </a:lnTo>
                <a:lnTo>
                  <a:pt x="211" y="278"/>
                </a:lnTo>
                <a:lnTo>
                  <a:pt x="205" y="279"/>
                </a:lnTo>
                <a:lnTo>
                  <a:pt x="201" y="280"/>
                </a:lnTo>
                <a:lnTo>
                  <a:pt x="197" y="282"/>
                </a:lnTo>
                <a:lnTo>
                  <a:pt x="194" y="285"/>
                </a:lnTo>
                <a:lnTo>
                  <a:pt x="190" y="288"/>
                </a:lnTo>
                <a:lnTo>
                  <a:pt x="187" y="292"/>
                </a:lnTo>
                <a:lnTo>
                  <a:pt x="185" y="298"/>
                </a:lnTo>
                <a:lnTo>
                  <a:pt x="185" y="304"/>
                </a:lnTo>
                <a:lnTo>
                  <a:pt x="185" y="312"/>
                </a:lnTo>
                <a:lnTo>
                  <a:pt x="187" y="321"/>
                </a:lnTo>
                <a:lnTo>
                  <a:pt x="191" y="331"/>
                </a:lnTo>
                <a:lnTo>
                  <a:pt x="198" y="344"/>
                </a:lnTo>
                <a:lnTo>
                  <a:pt x="207" y="358"/>
                </a:lnTo>
                <a:lnTo>
                  <a:pt x="206" y="357"/>
                </a:lnTo>
                <a:lnTo>
                  <a:pt x="201" y="355"/>
                </a:lnTo>
                <a:lnTo>
                  <a:pt x="195" y="353"/>
                </a:lnTo>
                <a:lnTo>
                  <a:pt x="187" y="353"/>
                </a:lnTo>
                <a:lnTo>
                  <a:pt x="183" y="353"/>
                </a:lnTo>
                <a:lnTo>
                  <a:pt x="177" y="355"/>
                </a:lnTo>
                <a:lnTo>
                  <a:pt x="173" y="357"/>
                </a:lnTo>
                <a:lnTo>
                  <a:pt x="167" y="361"/>
                </a:lnTo>
                <a:lnTo>
                  <a:pt x="162" y="365"/>
                </a:lnTo>
                <a:lnTo>
                  <a:pt x="157" y="371"/>
                </a:lnTo>
                <a:lnTo>
                  <a:pt x="152" y="379"/>
                </a:lnTo>
                <a:lnTo>
                  <a:pt x="146" y="388"/>
                </a:lnTo>
                <a:lnTo>
                  <a:pt x="137" y="380"/>
                </a:lnTo>
                <a:lnTo>
                  <a:pt x="128" y="373"/>
                </a:lnTo>
                <a:lnTo>
                  <a:pt x="123" y="370"/>
                </a:lnTo>
                <a:lnTo>
                  <a:pt x="120" y="366"/>
                </a:lnTo>
                <a:lnTo>
                  <a:pt x="117" y="362"/>
                </a:lnTo>
                <a:lnTo>
                  <a:pt x="113" y="358"/>
                </a:lnTo>
                <a:lnTo>
                  <a:pt x="109" y="346"/>
                </a:lnTo>
                <a:lnTo>
                  <a:pt x="102" y="334"/>
                </a:lnTo>
                <a:lnTo>
                  <a:pt x="96" y="324"/>
                </a:lnTo>
                <a:lnTo>
                  <a:pt x="87" y="315"/>
                </a:lnTo>
                <a:lnTo>
                  <a:pt x="70" y="297"/>
                </a:lnTo>
                <a:lnTo>
                  <a:pt x="50" y="280"/>
                </a:lnTo>
                <a:lnTo>
                  <a:pt x="40" y="271"/>
                </a:lnTo>
                <a:lnTo>
                  <a:pt x="31" y="263"/>
                </a:lnTo>
                <a:lnTo>
                  <a:pt x="22" y="254"/>
                </a:lnTo>
                <a:lnTo>
                  <a:pt x="16" y="245"/>
                </a:lnTo>
                <a:lnTo>
                  <a:pt x="9" y="235"/>
                </a:lnTo>
                <a:lnTo>
                  <a:pt x="5" y="223"/>
                </a:lnTo>
                <a:lnTo>
                  <a:pt x="1" y="211"/>
                </a:lnTo>
                <a:lnTo>
                  <a:pt x="0" y="198"/>
                </a:lnTo>
                <a:lnTo>
                  <a:pt x="1" y="187"/>
                </a:lnTo>
                <a:lnTo>
                  <a:pt x="4" y="178"/>
                </a:lnTo>
                <a:lnTo>
                  <a:pt x="7" y="169"/>
                </a:lnTo>
                <a:lnTo>
                  <a:pt x="11" y="162"/>
                </a:lnTo>
                <a:lnTo>
                  <a:pt x="22" y="150"/>
                </a:lnTo>
                <a:lnTo>
                  <a:pt x="34" y="139"/>
                </a:lnTo>
                <a:lnTo>
                  <a:pt x="41" y="134"/>
                </a:lnTo>
                <a:lnTo>
                  <a:pt x="45" y="129"/>
                </a:lnTo>
                <a:lnTo>
                  <a:pt x="50" y="123"/>
                </a:lnTo>
                <a:lnTo>
                  <a:pt x="54" y="116"/>
                </a:lnTo>
                <a:lnTo>
                  <a:pt x="56" y="109"/>
                </a:lnTo>
                <a:lnTo>
                  <a:pt x="57" y="101"/>
                </a:lnTo>
                <a:lnTo>
                  <a:pt x="56" y="91"/>
                </a:lnTo>
                <a:lnTo>
                  <a:pt x="54" y="81"/>
                </a:lnTo>
                <a:lnTo>
                  <a:pt x="84" y="83"/>
                </a:lnTo>
                <a:lnTo>
                  <a:pt x="108" y="83"/>
                </a:lnTo>
                <a:lnTo>
                  <a:pt x="129" y="83"/>
                </a:lnTo>
                <a:lnTo>
                  <a:pt x="144" y="82"/>
                </a:lnTo>
                <a:lnTo>
                  <a:pt x="156" y="80"/>
                </a:lnTo>
                <a:lnTo>
                  <a:pt x="165" y="77"/>
                </a:lnTo>
                <a:lnTo>
                  <a:pt x="168" y="75"/>
                </a:lnTo>
                <a:lnTo>
                  <a:pt x="172" y="73"/>
                </a:lnTo>
                <a:lnTo>
                  <a:pt x="174" y="71"/>
                </a:lnTo>
                <a:lnTo>
                  <a:pt x="175" y="69"/>
                </a:lnTo>
                <a:lnTo>
                  <a:pt x="177" y="63"/>
                </a:lnTo>
                <a:lnTo>
                  <a:pt x="176" y="56"/>
                </a:lnTo>
                <a:lnTo>
                  <a:pt x="175" y="49"/>
                </a:lnTo>
                <a:lnTo>
                  <a:pt x="174" y="41"/>
                </a:lnTo>
                <a:lnTo>
                  <a:pt x="172" y="32"/>
                </a:lnTo>
                <a:lnTo>
                  <a:pt x="169" y="22"/>
                </a:lnTo>
                <a:lnTo>
                  <a:pt x="167" y="12"/>
                </a:lnTo>
                <a:lnTo>
                  <a:pt x="167" y="0"/>
                </a:lnTo>
                <a:lnTo>
                  <a:pt x="266" y="7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53" name="Freeform 251"/>
          <p:cNvSpPr>
            <a:spLocks/>
          </p:cNvSpPr>
          <p:nvPr userDrawn="1">
            <p:custDataLst>
              <p:tags r:id="rId177"/>
            </p:custDataLst>
          </p:nvPr>
        </p:nvSpPr>
        <p:spPr bwMode="auto">
          <a:xfrm>
            <a:off x="4830762" y="3184922"/>
            <a:ext cx="260350" cy="390525"/>
          </a:xfrm>
          <a:custGeom>
            <a:avLst/>
            <a:gdLst>
              <a:gd name="T0" fmla="*/ 0 w 599"/>
              <a:gd name="T1" fmla="*/ 71215834 h 993"/>
              <a:gd name="T2" fmla="*/ 34382281 w 599"/>
              <a:gd name="T3" fmla="*/ 61592047 h 993"/>
              <a:gd name="T4" fmla="*/ 43449760 w 599"/>
              <a:gd name="T5" fmla="*/ 65991515 h 993"/>
              <a:gd name="T6" fmla="*/ 48739339 w 599"/>
              <a:gd name="T7" fmla="*/ 70941064 h 993"/>
              <a:gd name="T8" fmla="*/ 47606230 w 599"/>
              <a:gd name="T9" fmla="*/ 81389670 h 993"/>
              <a:gd name="T10" fmla="*/ 44205600 w 599"/>
              <a:gd name="T11" fmla="*/ 89913312 h 993"/>
              <a:gd name="T12" fmla="*/ 47228093 w 599"/>
              <a:gd name="T13" fmla="*/ 98162184 h 993"/>
              <a:gd name="T14" fmla="*/ 55540165 w 599"/>
              <a:gd name="T15" fmla="*/ 100361918 h 993"/>
              <a:gd name="T16" fmla="*/ 60262987 w 599"/>
              <a:gd name="T17" fmla="*/ 93487946 h 993"/>
              <a:gd name="T18" fmla="*/ 63852686 w 599"/>
              <a:gd name="T19" fmla="*/ 87164038 h 993"/>
              <a:gd name="T20" fmla="*/ 62719142 w 599"/>
              <a:gd name="T21" fmla="*/ 71765899 h 993"/>
              <a:gd name="T22" fmla="*/ 59318512 w 599"/>
              <a:gd name="T23" fmla="*/ 56092974 h 993"/>
              <a:gd name="T24" fmla="*/ 51195495 w 599"/>
              <a:gd name="T25" fmla="*/ 43169339 h 993"/>
              <a:gd name="T26" fmla="*/ 47983933 w 599"/>
              <a:gd name="T27" fmla="*/ 34370403 h 993"/>
              <a:gd name="T28" fmla="*/ 51006426 w 599"/>
              <a:gd name="T29" fmla="*/ 17047812 h 993"/>
              <a:gd name="T30" fmla="*/ 60452056 w 599"/>
              <a:gd name="T31" fmla="*/ 15122848 h 993"/>
              <a:gd name="T32" fmla="*/ 78965584 w 599"/>
              <a:gd name="T33" fmla="*/ 16497748 h 993"/>
              <a:gd name="T34" fmla="*/ 98423588 w 599"/>
              <a:gd name="T35" fmla="*/ 9898545 h 993"/>
              <a:gd name="T36" fmla="*/ 112781080 w 599"/>
              <a:gd name="T37" fmla="*/ 824835 h 993"/>
              <a:gd name="T38" fmla="*/ 112781080 w 599"/>
              <a:gd name="T39" fmla="*/ 8248874 h 993"/>
              <a:gd name="T40" fmla="*/ 112781080 w 599"/>
              <a:gd name="T41" fmla="*/ 34645697 h 993"/>
              <a:gd name="T42" fmla="*/ 111836606 w 599"/>
              <a:gd name="T43" fmla="*/ 62691652 h 993"/>
              <a:gd name="T44" fmla="*/ 110513993 w 599"/>
              <a:gd name="T45" fmla="*/ 75890073 h 993"/>
              <a:gd name="T46" fmla="*/ 103902236 w 599"/>
              <a:gd name="T47" fmla="*/ 92663111 h 993"/>
              <a:gd name="T48" fmla="*/ 88411200 w 599"/>
              <a:gd name="T49" fmla="*/ 110535754 h 993"/>
              <a:gd name="T50" fmla="*/ 70653512 w 599"/>
              <a:gd name="T51" fmla="*/ 117134956 h 993"/>
              <a:gd name="T52" fmla="*/ 66686110 w 599"/>
              <a:gd name="T53" fmla="*/ 127583562 h 993"/>
              <a:gd name="T54" fmla="*/ 55351531 w 599"/>
              <a:gd name="T55" fmla="*/ 139407100 h 993"/>
              <a:gd name="T56" fmla="*/ 45905915 w 599"/>
              <a:gd name="T57" fmla="*/ 150955835 h 993"/>
              <a:gd name="T58" fmla="*/ 43261125 w 599"/>
              <a:gd name="T59" fmla="*/ 160029542 h 993"/>
              <a:gd name="T60" fmla="*/ 44772372 w 599"/>
              <a:gd name="T61" fmla="*/ 170202853 h 993"/>
              <a:gd name="T62" fmla="*/ 50439654 w 599"/>
              <a:gd name="T63" fmla="*/ 179826624 h 993"/>
              <a:gd name="T64" fmla="*/ 47983933 w 599"/>
              <a:gd name="T65" fmla="*/ 190825295 h 993"/>
              <a:gd name="T66" fmla="*/ 50061951 w 599"/>
              <a:gd name="T67" fmla="*/ 200449066 h 993"/>
              <a:gd name="T68" fmla="*/ 50439654 w 599"/>
              <a:gd name="T69" fmla="*/ 217222104 h 993"/>
              <a:gd name="T70" fmla="*/ 48361636 w 599"/>
              <a:gd name="T71" fmla="*/ 223821306 h 993"/>
              <a:gd name="T72" fmla="*/ 36460299 w 599"/>
              <a:gd name="T73" fmla="*/ 240044280 h 993"/>
              <a:gd name="T74" fmla="*/ 27770083 w 599"/>
              <a:gd name="T75" fmla="*/ 243893683 h 993"/>
              <a:gd name="T76" fmla="*/ 19268941 w 599"/>
              <a:gd name="T77" fmla="*/ 245818123 h 993"/>
              <a:gd name="T78" fmla="*/ 16435517 w 599"/>
              <a:gd name="T79" fmla="*/ 251042426 h 993"/>
              <a:gd name="T80" fmla="*/ 17946764 w 599"/>
              <a:gd name="T81" fmla="*/ 258191693 h 993"/>
              <a:gd name="T82" fmla="*/ 17190923 w 599"/>
              <a:gd name="T83" fmla="*/ 272764997 h 993"/>
              <a:gd name="T84" fmla="*/ 13979358 w 599"/>
              <a:gd name="T85" fmla="*/ 222721177 h 993"/>
              <a:gd name="T86" fmla="*/ 10956866 w 599"/>
              <a:gd name="T87" fmla="*/ 210348131 h 993"/>
              <a:gd name="T88" fmla="*/ 7745304 w 599"/>
              <a:gd name="T89" fmla="*/ 197974562 h 993"/>
              <a:gd name="T90" fmla="*/ 20402485 w 599"/>
              <a:gd name="T91" fmla="*/ 183126487 h 993"/>
              <a:gd name="T92" fmla="*/ 20591554 w 599"/>
              <a:gd name="T93" fmla="*/ 168828478 h 993"/>
              <a:gd name="T94" fmla="*/ 28148220 w 599"/>
              <a:gd name="T95" fmla="*/ 157004973 h 993"/>
              <a:gd name="T96" fmla="*/ 32871035 w 599"/>
              <a:gd name="T97" fmla="*/ 144631403 h 993"/>
              <a:gd name="T98" fmla="*/ 31737491 w 599"/>
              <a:gd name="T99" fmla="*/ 121259130 h 993"/>
              <a:gd name="T100" fmla="*/ 28714564 w 599"/>
              <a:gd name="T101" fmla="*/ 100087148 h 993"/>
              <a:gd name="T102" fmla="*/ 15301974 w 599"/>
              <a:gd name="T103" fmla="*/ 93762716 h 993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599"/>
              <a:gd name="T157" fmla="*/ 0 h 993"/>
              <a:gd name="T158" fmla="*/ 599 w 599"/>
              <a:gd name="T159" fmla="*/ 993 h 993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599" h="993">
                <a:moveTo>
                  <a:pt x="15" y="309"/>
                </a:moveTo>
                <a:lnTo>
                  <a:pt x="9" y="291"/>
                </a:lnTo>
                <a:lnTo>
                  <a:pt x="3" y="273"/>
                </a:lnTo>
                <a:lnTo>
                  <a:pt x="1" y="266"/>
                </a:lnTo>
                <a:lnTo>
                  <a:pt x="0" y="259"/>
                </a:lnTo>
                <a:lnTo>
                  <a:pt x="0" y="253"/>
                </a:lnTo>
                <a:lnTo>
                  <a:pt x="2" y="248"/>
                </a:lnTo>
                <a:lnTo>
                  <a:pt x="174" y="216"/>
                </a:lnTo>
                <a:lnTo>
                  <a:pt x="177" y="220"/>
                </a:lnTo>
                <a:lnTo>
                  <a:pt x="182" y="224"/>
                </a:lnTo>
                <a:lnTo>
                  <a:pt x="187" y="227"/>
                </a:lnTo>
                <a:lnTo>
                  <a:pt x="193" y="229"/>
                </a:lnTo>
                <a:lnTo>
                  <a:pt x="207" y="234"/>
                </a:lnTo>
                <a:lnTo>
                  <a:pt x="222" y="238"/>
                </a:lnTo>
                <a:lnTo>
                  <a:pt x="230" y="240"/>
                </a:lnTo>
                <a:lnTo>
                  <a:pt x="237" y="242"/>
                </a:lnTo>
                <a:lnTo>
                  <a:pt x="243" y="245"/>
                </a:lnTo>
                <a:lnTo>
                  <a:pt x="249" y="249"/>
                </a:lnTo>
                <a:lnTo>
                  <a:pt x="253" y="253"/>
                </a:lnTo>
                <a:lnTo>
                  <a:pt x="258" y="258"/>
                </a:lnTo>
                <a:lnTo>
                  <a:pt x="260" y="264"/>
                </a:lnTo>
                <a:lnTo>
                  <a:pt x="261" y="272"/>
                </a:lnTo>
                <a:lnTo>
                  <a:pt x="260" y="280"/>
                </a:lnTo>
                <a:lnTo>
                  <a:pt x="256" y="289"/>
                </a:lnTo>
                <a:lnTo>
                  <a:pt x="252" y="296"/>
                </a:lnTo>
                <a:lnTo>
                  <a:pt x="248" y="302"/>
                </a:lnTo>
                <a:lnTo>
                  <a:pt x="242" y="308"/>
                </a:lnTo>
                <a:lnTo>
                  <a:pt x="238" y="314"/>
                </a:lnTo>
                <a:lnTo>
                  <a:pt x="236" y="321"/>
                </a:lnTo>
                <a:lnTo>
                  <a:pt x="234" y="327"/>
                </a:lnTo>
                <a:lnTo>
                  <a:pt x="234" y="333"/>
                </a:lnTo>
                <a:lnTo>
                  <a:pt x="236" y="338"/>
                </a:lnTo>
                <a:lnTo>
                  <a:pt x="238" y="344"/>
                </a:lnTo>
                <a:lnTo>
                  <a:pt x="241" y="349"/>
                </a:lnTo>
                <a:lnTo>
                  <a:pt x="250" y="357"/>
                </a:lnTo>
                <a:lnTo>
                  <a:pt x="259" y="365"/>
                </a:lnTo>
                <a:lnTo>
                  <a:pt x="278" y="378"/>
                </a:lnTo>
                <a:lnTo>
                  <a:pt x="294" y="389"/>
                </a:lnTo>
                <a:lnTo>
                  <a:pt x="294" y="376"/>
                </a:lnTo>
                <a:lnTo>
                  <a:pt x="294" y="365"/>
                </a:lnTo>
                <a:lnTo>
                  <a:pt x="294" y="356"/>
                </a:lnTo>
                <a:lnTo>
                  <a:pt x="294" y="346"/>
                </a:lnTo>
                <a:lnTo>
                  <a:pt x="305" y="346"/>
                </a:lnTo>
                <a:lnTo>
                  <a:pt x="315" y="343"/>
                </a:lnTo>
                <a:lnTo>
                  <a:pt x="319" y="340"/>
                </a:lnTo>
                <a:lnTo>
                  <a:pt x="323" y="338"/>
                </a:lnTo>
                <a:lnTo>
                  <a:pt x="327" y="335"/>
                </a:lnTo>
                <a:lnTo>
                  <a:pt x="329" y="332"/>
                </a:lnTo>
                <a:lnTo>
                  <a:pt x="334" y="326"/>
                </a:lnTo>
                <a:lnTo>
                  <a:pt x="338" y="317"/>
                </a:lnTo>
                <a:lnTo>
                  <a:pt x="340" y="308"/>
                </a:lnTo>
                <a:lnTo>
                  <a:pt x="340" y="297"/>
                </a:lnTo>
                <a:lnTo>
                  <a:pt x="339" y="283"/>
                </a:lnTo>
                <a:lnTo>
                  <a:pt x="337" y="272"/>
                </a:lnTo>
                <a:lnTo>
                  <a:pt x="332" y="261"/>
                </a:lnTo>
                <a:lnTo>
                  <a:pt x="327" y="251"/>
                </a:lnTo>
                <a:lnTo>
                  <a:pt x="322" y="240"/>
                </a:lnTo>
                <a:lnTo>
                  <a:pt x="318" y="229"/>
                </a:lnTo>
                <a:lnTo>
                  <a:pt x="315" y="217"/>
                </a:lnTo>
                <a:lnTo>
                  <a:pt x="314" y="204"/>
                </a:lnTo>
                <a:lnTo>
                  <a:pt x="309" y="202"/>
                </a:lnTo>
                <a:lnTo>
                  <a:pt x="301" y="194"/>
                </a:lnTo>
                <a:lnTo>
                  <a:pt x="292" y="184"/>
                </a:lnTo>
                <a:lnTo>
                  <a:pt x="282" y="171"/>
                </a:lnTo>
                <a:lnTo>
                  <a:pt x="271" y="157"/>
                </a:lnTo>
                <a:lnTo>
                  <a:pt x="262" y="144"/>
                </a:lnTo>
                <a:lnTo>
                  <a:pt x="259" y="139"/>
                </a:lnTo>
                <a:lnTo>
                  <a:pt x="256" y="133"/>
                </a:lnTo>
                <a:lnTo>
                  <a:pt x="254" y="128"/>
                </a:lnTo>
                <a:lnTo>
                  <a:pt x="254" y="125"/>
                </a:lnTo>
                <a:lnTo>
                  <a:pt x="255" y="110"/>
                </a:lnTo>
                <a:lnTo>
                  <a:pt x="259" y="90"/>
                </a:lnTo>
                <a:lnTo>
                  <a:pt x="262" y="80"/>
                </a:lnTo>
                <a:lnTo>
                  <a:pt x="265" y="71"/>
                </a:lnTo>
                <a:lnTo>
                  <a:pt x="270" y="62"/>
                </a:lnTo>
                <a:lnTo>
                  <a:pt x="274" y="56"/>
                </a:lnTo>
                <a:lnTo>
                  <a:pt x="286" y="57"/>
                </a:lnTo>
                <a:lnTo>
                  <a:pt x="298" y="58"/>
                </a:lnTo>
                <a:lnTo>
                  <a:pt x="309" y="57"/>
                </a:lnTo>
                <a:lnTo>
                  <a:pt x="320" y="55"/>
                </a:lnTo>
                <a:lnTo>
                  <a:pt x="343" y="52"/>
                </a:lnTo>
                <a:lnTo>
                  <a:pt x="367" y="50"/>
                </a:lnTo>
                <a:lnTo>
                  <a:pt x="378" y="52"/>
                </a:lnTo>
                <a:lnTo>
                  <a:pt x="398" y="56"/>
                </a:lnTo>
                <a:lnTo>
                  <a:pt x="418" y="60"/>
                </a:lnTo>
                <a:lnTo>
                  <a:pt x="433" y="62"/>
                </a:lnTo>
                <a:lnTo>
                  <a:pt x="445" y="60"/>
                </a:lnTo>
                <a:lnTo>
                  <a:pt x="466" y="54"/>
                </a:lnTo>
                <a:lnTo>
                  <a:pt x="493" y="46"/>
                </a:lnTo>
                <a:lnTo>
                  <a:pt x="521" y="36"/>
                </a:lnTo>
                <a:lnTo>
                  <a:pt x="550" y="26"/>
                </a:lnTo>
                <a:lnTo>
                  <a:pt x="574" y="16"/>
                </a:lnTo>
                <a:lnTo>
                  <a:pt x="584" y="12"/>
                </a:lnTo>
                <a:lnTo>
                  <a:pt x="591" y="7"/>
                </a:lnTo>
                <a:lnTo>
                  <a:pt x="597" y="3"/>
                </a:lnTo>
                <a:lnTo>
                  <a:pt x="599" y="0"/>
                </a:lnTo>
                <a:lnTo>
                  <a:pt x="598" y="12"/>
                </a:lnTo>
                <a:lnTo>
                  <a:pt x="597" y="20"/>
                </a:lnTo>
                <a:lnTo>
                  <a:pt x="597" y="25"/>
                </a:lnTo>
                <a:lnTo>
                  <a:pt x="597" y="30"/>
                </a:lnTo>
                <a:lnTo>
                  <a:pt x="598" y="36"/>
                </a:lnTo>
                <a:lnTo>
                  <a:pt x="599" y="44"/>
                </a:lnTo>
                <a:lnTo>
                  <a:pt x="599" y="76"/>
                </a:lnTo>
                <a:lnTo>
                  <a:pt x="598" y="102"/>
                </a:lnTo>
                <a:lnTo>
                  <a:pt x="597" y="126"/>
                </a:lnTo>
                <a:lnTo>
                  <a:pt x="596" y="146"/>
                </a:lnTo>
                <a:lnTo>
                  <a:pt x="595" y="165"/>
                </a:lnTo>
                <a:lnTo>
                  <a:pt x="594" y="185"/>
                </a:lnTo>
                <a:lnTo>
                  <a:pt x="592" y="205"/>
                </a:lnTo>
                <a:lnTo>
                  <a:pt x="592" y="228"/>
                </a:lnTo>
                <a:lnTo>
                  <a:pt x="592" y="239"/>
                </a:lnTo>
                <a:lnTo>
                  <a:pt x="591" y="249"/>
                </a:lnTo>
                <a:lnTo>
                  <a:pt x="589" y="258"/>
                </a:lnTo>
                <a:lnTo>
                  <a:pt x="587" y="267"/>
                </a:lnTo>
                <a:lnTo>
                  <a:pt x="585" y="276"/>
                </a:lnTo>
                <a:lnTo>
                  <a:pt x="581" y="285"/>
                </a:lnTo>
                <a:lnTo>
                  <a:pt x="577" y="295"/>
                </a:lnTo>
                <a:lnTo>
                  <a:pt x="573" y="304"/>
                </a:lnTo>
                <a:lnTo>
                  <a:pt x="562" y="321"/>
                </a:lnTo>
                <a:lnTo>
                  <a:pt x="550" y="337"/>
                </a:lnTo>
                <a:lnTo>
                  <a:pt x="535" y="353"/>
                </a:lnTo>
                <a:lnTo>
                  <a:pt x="520" y="367"/>
                </a:lnTo>
                <a:lnTo>
                  <a:pt x="503" y="379"/>
                </a:lnTo>
                <a:lnTo>
                  <a:pt x="487" y="391"/>
                </a:lnTo>
                <a:lnTo>
                  <a:pt x="468" y="402"/>
                </a:lnTo>
                <a:lnTo>
                  <a:pt x="450" y="410"/>
                </a:lnTo>
                <a:lnTo>
                  <a:pt x="431" y="417"/>
                </a:lnTo>
                <a:lnTo>
                  <a:pt x="411" y="422"/>
                </a:lnTo>
                <a:lnTo>
                  <a:pt x="393" y="425"/>
                </a:lnTo>
                <a:lnTo>
                  <a:pt x="374" y="426"/>
                </a:lnTo>
                <a:lnTo>
                  <a:pt x="372" y="433"/>
                </a:lnTo>
                <a:lnTo>
                  <a:pt x="368" y="440"/>
                </a:lnTo>
                <a:lnTo>
                  <a:pt x="365" y="446"/>
                </a:lnTo>
                <a:lnTo>
                  <a:pt x="362" y="452"/>
                </a:lnTo>
                <a:lnTo>
                  <a:pt x="353" y="464"/>
                </a:lnTo>
                <a:lnTo>
                  <a:pt x="342" y="474"/>
                </a:lnTo>
                <a:lnTo>
                  <a:pt x="331" y="483"/>
                </a:lnTo>
                <a:lnTo>
                  <a:pt x="318" y="491"/>
                </a:lnTo>
                <a:lnTo>
                  <a:pt x="306" y="499"/>
                </a:lnTo>
                <a:lnTo>
                  <a:pt x="293" y="507"/>
                </a:lnTo>
                <a:lnTo>
                  <a:pt x="281" y="516"/>
                </a:lnTo>
                <a:lnTo>
                  <a:pt x="269" y="525"/>
                </a:lnTo>
                <a:lnTo>
                  <a:pt x="258" y="534"/>
                </a:lnTo>
                <a:lnTo>
                  <a:pt x="248" y="544"/>
                </a:lnTo>
                <a:lnTo>
                  <a:pt x="243" y="549"/>
                </a:lnTo>
                <a:lnTo>
                  <a:pt x="239" y="555"/>
                </a:lnTo>
                <a:lnTo>
                  <a:pt x="236" y="561"/>
                </a:lnTo>
                <a:lnTo>
                  <a:pt x="232" y="568"/>
                </a:lnTo>
                <a:lnTo>
                  <a:pt x="230" y="575"/>
                </a:lnTo>
                <a:lnTo>
                  <a:pt x="229" y="582"/>
                </a:lnTo>
                <a:lnTo>
                  <a:pt x="228" y="590"/>
                </a:lnTo>
                <a:lnTo>
                  <a:pt x="227" y="598"/>
                </a:lnTo>
                <a:lnTo>
                  <a:pt x="228" y="604"/>
                </a:lnTo>
                <a:lnTo>
                  <a:pt x="231" y="611"/>
                </a:lnTo>
                <a:lnTo>
                  <a:pt x="237" y="619"/>
                </a:lnTo>
                <a:lnTo>
                  <a:pt x="242" y="629"/>
                </a:lnTo>
                <a:lnTo>
                  <a:pt x="249" y="637"/>
                </a:lnTo>
                <a:lnTo>
                  <a:pt x="255" y="645"/>
                </a:lnTo>
                <a:lnTo>
                  <a:pt x="262" y="650"/>
                </a:lnTo>
                <a:lnTo>
                  <a:pt x="267" y="654"/>
                </a:lnTo>
                <a:lnTo>
                  <a:pt x="262" y="663"/>
                </a:lnTo>
                <a:lnTo>
                  <a:pt x="258" y="671"/>
                </a:lnTo>
                <a:lnTo>
                  <a:pt x="255" y="680"/>
                </a:lnTo>
                <a:lnTo>
                  <a:pt x="254" y="685"/>
                </a:lnTo>
                <a:lnTo>
                  <a:pt x="254" y="694"/>
                </a:lnTo>
                <a:lnTo>
                  <a:pt x="256" y="701"/>
                </a:lnTo>
                <a:lnTo>
                  <a:pt x="258" y="709"/>
                </a:lnTo>
                <a:lnTo>
                  <a:pt x="261" y="715"/>
                </a:lnTo>
                <a:lnTo>
                  <a:pt x="263" y="722"/>
                </a:lnTo>
                <a:lnTo>
                  <a:pt x="265" y="729"/>
                </a:lnTo>
                <a:lnTo>
                  <a:pt x="266" y="738"/>
                </a:lnTo>
                <a:lnTo>
                  <a:pt x="267" y="747"/>
                </a:lnTo>
                <a:lnTo>
                  <a:pt x="267" y="766"/>
                </a:lnTo>
                <a:lnTo>
                  <a:pt x="267" y="780"/>
                </a:lnTo>
                <a:lnTo>
                  <a:pt x="267" y="790"/>
                </a:lnTo>
                <a:lnTo>
                  <a:pt x="267" y="796"/>
                </a:lnTo>
                <a:lnTo>
                  <a:pt x="266" y="799"/>
                </a:lnTo>
                <a:lnTo>
                  <a:pt x="264" y="803"/>
                </a:lnTo>
                <a:lnTo>
                  <a:pt x="261" y="808"/>
                </a:lnTo>
                <a:lnTo>
                  <a:pt x="256" y="814"/>
                </a:lnTo>
                <a:lnTo>
                  <a:pt x="244" y="827"/>
                </a:lnTo>
                <a:lnTo>
                  <a:pt x="230" y="841"/>
                </a:lnTo>
                <a:lnTo>
                  <a:pt x="215" y="856"/>
                </a:lnTo>
                <a:lnTo>
                  <a:pt x="200" y="868"/>
                </a:lnTo>
                <a:lnTo>
                  <a:pt x="193" y="873"/>
                </a:lnTo>
                <a:lnTo>
                  <a:pt x="186" y="877"/>
                </a:lnTo>
                <a:lnTo>
                  <a:pt x="180" y="880"/>
                </a:lnTo>
                <a:lnTo>
                  <a:pt x="174" y="882"/>
                </a:lnTo>
                <a:lnTo>
                  <a:pt x="161" y="885"/>
                </a:lnTo>
                <a:lnTo>
                  <a:pt x="147" y="887"/>
                </a:lnTo>
                <a:lnTo>
                  <a:pt x="132" y="889"/>
                </a:lnTo>
                <a:lnTo>
                  <a:pt x="118" y="890"/>
                </a:lnTo>
                <a:lnTo>
                  <a:pt x="113" y="891"/>
                </a:lnTo>
                <a:lnTo>
                  <a:pt x="106" y="892"/>
                </a:lnTo>
                <a:lnTo>
                  <a:pt x="102" y="894"/>
                </a:lnTo>
                <a:lnTo>
                  <a:pt x="96" y="896"/>
                </a:lnTo>
                <a:lnTo>
                  <a:pt x="93" y="900"/>
                </a:lnTo>
                <a:lnTo>
                  <a:pt x="91" y="904"/>
                </a:lnTo>
                <a:lnTo>
                  <a:pt x="88" y="908"/>
                </a:lnTo>
                <a:lnTo>
                  <a:pt x="87" y="913"/>
                </a:lnTo>
                <a:lnTo>
                  <a:pt x="88" y="920"/>
                </a:lnTo>
                <a:lnTo>
                  <a:pt x="90" y="925"/>
                </a:lnTo>
                <a:lnTo>
                  <a:pt x="91" y="931"/>
                </a:lnTo>
                <a:lnTo>
                  <a:pt x="93" y="935"/>
                </a:lnTo>
                <a:lnTo>
                  <a:pt x="95" y="939"/>
                </a:lnTo>
                <a:lnTo>
                  <a:pt x="99" y="941"/>
                </a:lnTo>
                <a:lnTo>
                  <a:pt x="103" y="943"/>
                </a:lnTo>
                <a:lnTo>
                  <a:pt x="108" y="943"/>
                </a:lnTo>
                <a:lnTo>
                  <a:pt x="94" y="993"/>
                </a:lnTo>
                <a:lnTo>
                  <a:pt x="91" y="992"/>
                </a:lnTo>
                <a:lnTo>
                  <a:pt x="82" y="990"/>
                </a:lnTo>
                <a:lnTo>
                  <a:pt x="75" y="988"/>
                </a:lnTo>
                <a:lnTo>
                  <a:pt x="74" y="987"/>
                </a:lnTo>
                <a:lnTo>
                  <a:pt x="74" y="820"/>
                </a:lnTo>
                <a:lnTo>
                  <a:pt x="74" y="810"/>
                </a:lnTo>
                <a:lnTo>
                  <a:pt x="73" y="801"/>
                </a:lnTo>
                <a:lnTo>
                  <a:pt x="71" y="793"/>
                </a:lnTo>
                <a:lnTo>
                  <a:pt x="70" y="785"/>
                </a:lnTo>
                <a:lnTo>
                  <a:pt x="64" y="774"/>
                </a:lnTo>
                <a:lnTo>
                  <a:pt x="58" y="765"/>
                </a:lnTo>
                <a:lnTo>
                  <a:pt x="52" y="755"/>
                </a:lnTo>
                <a:lnTo>
                  <a:pt x="47" y="744"/>
                </a:lnTo>
                <a:lnTo>
                  <a:pt x="45" y="738"/>
                </a:lnTo>
                <a:lnTo>
                  <a:pt x="42" y="729"/>
                </a:lnTo>
                <a:lnTo>
                  <a:pt x="41" y="720"/>
                </a:lnTo>
                <a:lnTo>
                  <a:pt x="41" y="709"/>
                </a:lnTo>
                <a:lnTo>
                  <a:pt x="51" y="704"/>
                </a:lnTo>
                <a:lnTo>
                  <a:pt x="72" y="690"/>
                </a:lnTo>
                <a:lnTo>
                  <a:pt x="95" y="675"/>
                </a:lnTo>
                <a:lnTo>
                  <a:pt x="108" y="666"/>
                </a:lnTo>
                <a:lnTo>
                  <a:pt x="107" y="653"/>
                </a:lnTo>
                <a:lnTo>
                  <a:pt x="106" y="636"/>
                </a:lnTo>
                <a:lnTo>
                  <a:pt x="106" y="627"/>
                </a:lnTo>
                <a:lnTo>
                  <a:pt x="108" y="617"/>
                </a:lnTo>
                <a:lnTo>
                  <a:pt x="109" y="614"/>
                </a:lnTo>
                <a:lnTo>
                  <a:pt x="110" y="610"/>
                </a:lnTo>
                <a:lnTo>
                  <a:pt x="113" y="607"/>
                </a:lnTo>
                <a:lnTo>
                  <a:pt x="115" y="604"/>
                </a:lnTo>
                <a:lnTo>
                  <a:pt x="129" y="591"/>
                </a:lnTo>
                <a:lnTo>
                  <a:pt x="149" y="571"/>
                </a:lnTo>
                <a:lnTo>
                  <a:pt x="159" y="558"/>
                </a:lnTo>
                <a:lnTo>
                  <a:pt x="166" y="546"/>
                </a:lnTo>
                <a:lnTo>
                  <a:pt x="170" y="539"/>
                </a:lnTo>
                <a:lnTo>
                  <a:pt x="172" y="532"/>
                </a:lnTo>
                <a:lnTo>
                  <a:pt x="174" y="526"/>
                </a:lnTo>
                <a:lnTo>
                  <a:pt x="174" y="519"/>
                </a:lnTo>
                <a:lnTo>
                  <a:pt x="174" y="498"/>
                </a:lnTo>
                <a:lnTo>
                  <a:pt x="172" y="479"/>
                </a:lnTo>
                <a:lnTo>
                  <a:pt x="170" y="460"/>
                </a:lnTo>
                <a:lnTo>
                  <a:pt x="168" y="441"/>
                </a:lnTo>
                <a:lnTo>
                  <a:pt x="165" y="423"/>
                </a:lnTo>
                <a:lnTo>
                  <a:pt x="163" y="404"/>
                </a:lnTo>
                <a:lnTo>
                  <a:pt x="161" y="384"/>
                </a:lnTo>
                <a:lnTo>
                  <a:pt x="161" y="364"/>
                </a:lnTo>
                <a:lnTo>
                  <a:pt x="152" y="364"/>
                </a:lnTo>
                <a:lnTo>
                  <a:pt x="142" y="363"/>
                </a:lnTo>
                <a:lnTo>
                  <a:pt x="132" y="361"/>
                </a:lnTo>
                <a:lnTo>
                  <a:pt x="122" y="358"/>
                </a:lnTo>
                <a:lnTo>
                  <a:pt x="102" y="350"/>
                </a:lnTo>
                <a:lnTo>
                  <a:pt x="81" y="341"/>
                </a:lnTo>
                <a:lnTo>
                  <a:pt x="42" y="323"/>
                </a:lnTo>
                <a:lnTo>
                  <a:pt x="15" y="309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54" name="Freeform 252"/>
          <p:cNvSpPr>
            <a:spLocks/>
          </p:cNvSpPr>
          <p:nvPr userDrawn="1">
            <p:custDataLst>
              <p:tags r:id="rId178"/>
            </p:custDataLst>
          </p:nvPr>
        </p:nvSpPr>
        <p:spPr bwMode="auto">
          <a:xfrm>
            <a:off x="4565655" y="3364717"/>
            <a:ext cx="238125" cy="215504"/>
          </a:xfrm>
          <a:custGeom>
            <a:avLst/>
            <a:gdLst>
              <a:gd name="T0" fmla="*/ 5727233 w 545"/>
              <a:gd name="T1" fmla="*/ 117242259 h 549"/>
              <a:gd name="T2" fmla="*/ 8781787 w 545"/>
              <a:gd name="T3" fmla="*/ 124364470 h 549"/>
              <a:gd name="T4" fmla="*/ 8781787 w 545"/>
              <a:gd name="T5" fmla="*/ 140252873 h 549"/>
              <a:gd name="T6" fmla="*/ 9163224 w 545"/>
              <a:gd name="T7" fmla="*/ 144361962 h 549"/>
              <a:gd name="T8" fmla="*/ 10499782 w 545"/>
              <a:gd name="T9" fmla="*/ 147100831 h 549"/>
              <a:gd name="T10" fmla="*/ 12981524 w 545"/>
              <a:gd name="T11" fmla="*/ 149292240 h 549"/>
              <a:gd name="T12" fmla="*/ 19090632 w 545"/>
              <a:gd name="T13" fmla="*/ 150388207 h 549"/>
              <a:gd name="T14" fmla="*/ 21572374 w 545"/>
              <a:gd name="T15" fmla="*/ 149566494 h 549"/>
              <a:gd name="T16" fmla="*/ 24817427 w 545"/>
              <a:gd name="T17" fmla="*/ 146005388 h 549"/>
              <a:gd name="T18" fmla="*/ 27299606 w 545"/>
              <a:gd name="T19" fmla="*/ 138883177 h 549"/>
              <a:gd name="T20" fmla="*/ 29399481 w 545"/>
              <a:gd name="T21" fmla="*/ 130664967 h 549"/>
              <a:gd name="T22" fmla="*/ 32263097 w 545"/>
              <a:gd name="T23" fmla="*/ 124364470 h 549"/>
              <a:gd name="T24" fmla="*/ 34935776 w 545"/>
              <a:gd name="T25" fmla="*/ 121899330 h 549"/>
              <a:gd name="T26" fmla="*/ 38371765 w 545"/>
              <a:gd name="T27" fmla="*/ 121625601 h 549"/>
              <a:gd name="T28" fmla="*/ 42381002 w 545"/>
              <a:gd name="T29" fmla="*/ 122721044 h 549"/>
              <a:gd name="T30" fmla="*/ 48107796 w 545"/>
              <a:gd name="T31" fmla="*/ 126282149 h 549"/>
              <a:gd name="T32" fmla="*/ 51926096 w 545"/>
              <a:gd name="T33" fmla="*/ 128199828 h 549"/>
              <a:gd name="T34" fmla="*/ 56698643 w 545"/>
              <a:gd name="T35" fmla="*/ 128473558 h 549"/>
              <a:gd name="T36" fmla="*/ 60898830 w 545"/>
              <a:gd name="T37" fmla="*/ 127103862 h 549"/>
              <a:gd name="T38" fmla="*/ 63380572 w 545"/>
              <a:gd name="T39" fmla="*/ 124090740 h 549"/>
              <a:gd name="T40" fmla="*/ 68534993 w 545"/>
              <a:gd name="T41" fmla="*/ 106285213 h 549"/>
              <a:gd name="T42" fmla="*/ 72925667 w 545"/>
              <a:gd name="T43" fmla="*/ 99436732 h 549"/>
              <a:gd name="T44" fmla="*/ 85334377 w 545"/>
              <a:gd name="T45" fmla="*/ 86014546 h 549"/>
              <a:gd name="T46" fmla="*/ 100606702 w 545"/>
              <a:gd name="T47" fmla="*/ 72317584 h 549"/>
              <a:gd name="T48" fmla="*/ 100797639 w 545"/>
              <a:gd name="T49" fmla="*/ 63551931 h 549"/>
              <a:gd name="T50" fmla="*/ 96025092 w 545"/>
              <a:gd name="T51" fmla="*/ 59717096 h 549"/>
              <a:gd name="T52" fmla="*/ 92588666 w 545"/>
              <a:gd name="T53" fmla="*/ 54512041 h 549"/>
              <a:gd name="T54" fmla="*/ 87816119 w 545"/>
              <a:gd name="T55" fmla="*/ 43007011 h 549"/>
              <a:gd name="T56" fmla="*/ 83998256 w 545"/>
              <a:gd name="T57" fmla="*/ 36159054 h 549"/>
              <a:gd name="T58" fmla="*/ 71970982 w 545"/>
              <a:gd name="T59" fmla="*/ 20818658 h 549"/>
              <a:gd name="T60" fmla="*/ 68534993 w 545"/>
              <a:gd name="T61" fmla="*/ 14518156 h 549"/>
              <a:gd name="T62" fmla="*/ 66434688 w 545"/>
              <a:gd name="T63" fmla="*/ 6574230 h 549"/>
              <a:gd name="T64" fmla="*/ 60898830 w 545"/>
              <a:gd name="T65" fmla="*/ 0 h 549"/>
              <a:gd name="T66" fmla="*/ 46580738 w 545"/>
              <a:gd name="T67" fmla="*/ 547983 h 549"/>
              <a:gd name="T68" fmla="*/ 33599218 w 545"/>
              <a:gd name="T69" fmla="*/ 3561106 h 549"/>
              <a:gd name="T70" fmla="*/ 18135948 w 545"/>
              <a:gd name="T71" fmla="*/ 6026247 h 549"/>
              <a:gd name="T72" fmla="*/ 13554334 w 545"/>
              <a:gd name="T73" fmla="*/ 7395943 h 549"/>
              <a:gd name="T74" fmla="*/ 12790587 w 545"/>
              <a:gd name="T75" fmla="*/ 10409591 h 549"/>
              <a:gd name="T76" fmla="*/ 13936208 w 545"/>
              <a:gd name="T77" fmla="*/ 15340392 h 549"/>
              <a:gd name="T78" fmla="*/ 16036080 w 545"/>
              <a:gd name="T79" fmla="*/ 20270674 h 549"/>
              <a:gd name="T80" fmla="*/ 16417954 w 545"/>
              <a:gd name="T81" fmla="*/ 29310565 h 549"/>
              <a:gd name="T82" fmla="*/ 14127145 w 545"/>
              <a:gd name="T83" fmla="*/ 46842370 h 549"/>
              <a:gd name="T84" fmla="*/ 11835903 w 545"/>
              <a:gd name="T85" fmla="*/ 64921627 h 549"/>
              <a:gd name="T86" fmla="*/ 8972724 w 545"/>
              <a:gd name="T87" fmla="*/ 72043854 h 549"/>
              <a:gd name="T88" fmla="*/ 4963486 w 545"/>
              <a:gd name="T89" fmla="*/ 75878690 h 549"/>
              <a:gd name="T90" fmla="*/ 954685 w 545"/>
              <a:gd name="T91" fmla="*/ 84096867 h 549"/>
              <a:gd name="T92" fmla="*/ 190937 w 545"/>
              <a:gd name="T93" fmla="*/ 92862504 h 549"/>
              <a:gd name="T94" fmla="*/ 1527058 w 545"/>
              <a:gd name="T95" fmla="*/ 100532698 h 549"/>
              <a:gd name="T96" fmla="*/ 1527058 w 545"/>
              <a:gd name="T97" fmla="*/ 107106926 h 549"/>
              <a:gd name="T98" fmla="*/ 0 w 545"/>
              <a:gd name="T99" fmla="*/ 111763997 h 549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545"/>
              <a:gd name="T151" fmla="*/ 0 h 549"/>
              <a:gd name="T152" fmla="*/ 545 w 545"/>
              <a:gd name="T153" fmla="*/ 549 h 549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545" h="549">
                <a:moveTo>
                  <a:pt x="13" y="420"/>
                </a:moveTo>
                <a:lnTo>
                  <a:pt x="21" y="424"/>
                </a:lnTo>
                <a:lnTo>
                  <a:pt x="30" y="428"/>
                </a:lnTo>
                <a:lnTo>
                  <a:pt x="40" y="431"/>
                </a:lnTo>
                <a:lnTo>
                  <a:pt x="46" y="432"/>
                </a:lnTo>
                <a:lnTo>
                  <a:pt x="46" y="454"/>
                </a:lnTo>
                <a:lnTo>
                  <a:pt x="46" y="472"/>
                </a:lnTo>
                <a:lnTo>
                  <a:pt x="46" y="491"/>
                </a:lnTo>
                <a:lnTo>
                  <a:pt x="46" y="512"/>
                </a:lnTo>
                <a:lnTo>
                  <a:pt x="47" y="518"/>
                </a:lnTo>
                <a:lnTo>
                  <a:pt x="47" y="523"/>
                </a:lnTo>
                <a:lnTo>
                  <a:pt x="48" y="527"/>
                </a:lnTo>
                <a:lnTo>
                  <a:pt x="51" y="531"/>
                </a:lnTo>
                <a:lnTo>
                  <a:pt x="53" y="534"/>
                </a:lnTo>
                <a:lnTo>
                  <a:pt x="55" y="537"/>
                </a:lnTo>
                <a:lnTo>
                  <a:pt x="57" y="540"/>
                </a:lnTo>
                <a:lnTo>
                  <a:pt x="61" y="542"/>
                </a:lnTo>
                <a:lnTo>
                  <a:pt x="68" y="545"/>
                </a:lnTo>
                <a:lnTo>
                  <a:pt x="77" y="547"/>
                </a:lnTo>
                <a:lnTo>
                  <a:pt x="88" y="548"/>
                </a:lnTo>
                <a:lnTo>
                  <a:pt x="100" y="549"/>
                </a:lnTo>
                <a:lnTo>
                  <a:pt x="104" y="548"/>
                </a:lnTo>
                <a:lnTo>
                  <a:pt x="109" y="548"/>
                </a:lnTo>
                <a:lnTo>
                  <a:pt x="113" y="546"/>
                </a:lnTo>
                <a:lnTo>
                  <a:pt x="117" y="544"/>
                </a:lnTo>
                <a:lnTo>
                  <a:pt x="123" y="539"/>
                </a:lnTo>
                <a:lnTo>
                  <a:pt x="130" y="533"/>
                </a:lnTo>
                <a:lnTo>
                  <a:pt x="134" y="525"/>
                </a:lnTo>
                <a:lnTo>
                  <a:pt x="138" y="516"/>
                </a:lnTo>
                <a:lnTo>
                  <a:pt x="143" y="507"/>
                </a:lnTo>
                <a:lnTo>
                  <a:pt x="146" y="496"/>
                </a:lnTo>
                <a:lnTo>
                  <a:pt x="151" y="487"/>
                </a:lnTo>
                <a:lnTo>
                  <a:pt x="154" y="477"/>
                </a:lnTo>
                <a:lnTo>
                  <a:pt x="158" y="469"/>
                </a:lnTo>
                <a:lnTo>
                  <a:pt x="164" y="461"/>
                </a:lnTo>
                <a:lnTo>
                  <a:pt x="169" y="454"/>
                </a:lnTo>
                <a:lnTo>
                  <a:pt x="176" y="448"/>
                </a:lnTo>
                <a:lnTo>
                  <a:pt x="179" y="446"/>
                </a:lnTo>
                <a:lnTo>
                  <a:pt x="183" y="445"/>
                </a:lnTo>
                <a:lnTo>
                  <a:pt x="188" y="444"/>
                </a:lnTo>
                <a:lnTo>
                  <a:pt x="193" y="444"/>
                </a:lnTo>
                <a:lnTo>
                  <a:pt x="201" y="444"/>
                </a:lnTo>
                <a:lnTo>
                  <a:pt x="209" y="445"/>
                </a:lnTo>
                <a:lnTo>
                  <a:pt x="215" y="446"/>
                </a:lnTo>
                <a:lnTo>
                  <a:pt x="222" y="448"/>
                </a:lnTo>
                <a:lnTo>
                  <a:pt x="232" y="453"/>
                </a:lnTo>
                <a:lnTo>
                  <a:pt x="242" y="457"/>
                </a:lnTo>
                <a:lnTo>
                  <a:pt x="252" y="461"/>
                </a:lnTo>
                <a:lnTo>
                  <a:pt x="261" y="465"/>
                </a:lnTo>
                <a:lnTo>
                  <a:pt x="267" y="467"/>
                </a:lnTo>
                <a:lnTo>
                  <a:pt x="272" y="468"/>
                </a:lnTo>
                <a:lnTo>
                  <a:pt x="279" y="469"/>
                </a:lnTo>
                <a:lnTo>
                  <a:pt x="286" y="469"/>
                </a:lnTo>
                <a:lnTo>
                  <a:pt x="297" y="469"/>
                </a:lnTo>
                <a:lnTo>
                  <a:pt x="305" y="468"/>
                </a:lnTo>
                <a:lnTo>
                  <a:pt x="313" y="466"/>
                </a:lnTo>
                <a:lnTo>
                  <a:pt x="319" y="464"/>
                </a:lnTo>
                <a:lnTo>
                  <a:pt x="324" y="461"/>
                </a:lnTo>
                <a:lnTo>
                  <a:pt x="328" y="457"/>
                </a:lnTo>
                <a:lnTo>
                  <a:pt x="332" y="453"/>
                </a:lnTo>
                <a:lnTo>
                  <a:pt x="335" y="447"/>
                </a:lnTo>
                <a:lnTo>
                  <a:pt x="345" y="422"/>
                </a:lnTo>
                <a:lnTo>
                  <a:pt x="359" y="388"/>
                </a:lnTo>
                <a:lnTo>
                  <a:pt x="365" y="380"/>
                </a:lnTo>
                <a:lnTo>
                  <a:pt x="373" y="372"/>
                </a:lnTo>
                <a:lnTo>
                  <a:pt x="382" y="363"/>
                </a:lnTo>
                <a:lnTo>
                  <a:pt x="393" y="353"/>
                </a:lnTo>
                <a:lnTo>
                  <a:pt x="418" y="333"/>
                </a:lnTo>
                <a:lnTo>
                  <a:pt x="447" y="314"/>
                </a:lnTo>
                <a:lnTo>
                  <a:pt x="476" y="296"/>
                </a:lnTo>
                <a:lnTo>
                  <a:pt x="503" y="278"/>
                </a:lnTo>
                <a:lnTo>
                  <a:pt x="527" y="264"/>
                </a:lnTo>
                <a:lnTo>
                  <a:pt x="545" y="253"/>
                </a:lnTo>
                <a:lnTo>
                  <a:pt x="538" y="235"/>
                </a:lnTo>
                <a:lnTo>
                  <a:pt x="528" y="232"/>
                </a:lnTo>
                <a:lnTo>
                  <a:pt x="518" y="229"/>
                </a:lnTo>
                <a:lnTo>
                  <a:pt x="511" y="223"/>
                </a:lnTo>
                <a:lnTo>
                  <a:pt x="503" y="218"/>
                </a:lnTo>
                <a:lnTo>
                  <a:pt x="496" y="212"/>
                </a:lnTo>
                <a:lnTo>
                  <a:pt x="491" y="206"/>
                </a:lnTo>
                <a:lnTo>
                  <a:pt x="485" y="199"/>
                </a:lnTo>
                <a:lnTo>
                  <a:pt x="480" y="191"/>
                </a:lnTo>
                <a:lnTo>
                  <a:pt x="470" y="175"/>
                </a:lnTo>
                <a:lnTo>
                  <a:pt x="460" y="157"/>
                </a:lnTo>
                <a:lnTo>
                  <a:pt x="454" y="149"/>
                </a:lnTo>
                <a:lnTo>
                  <a:pt x="447" y="141"/>
                </a:lnTo>
                <a:lnTo>
                  <a:pt x="440" y="132"/>
                </a:lnTo>
                <a:lnTo>
                  <a:pt x="432" y="124"/>
                </a:lnTo>
                <a:lnTo>
                  <a:pt x="404" y="101"/>
                </a:lnTo>
                <a:lnTo>
                  <a:pt x="377" y="76"/>
                </a:lnTo>
                <a:lnTo>
                  <a:pt x="370" y="69"/>
                </a:lnTo>
                <a:lnTo>
                  <a:pt x="365" y="62"/>
                </a:lnTo>
                <a:lnTo>
                  <a:pt x="359" y="53"/>
                </a:lnTo>
                <a:lnTo>
                  <a:pt x="355" y="44"/>
                </a:lnTo>
                <a:lnTo>
                  <a:pt x="350" y="35"/>
                </a:lnTo>
                <a:lnTo>
                  <a:pt x="348" y="24"/>
                </a:lnTo>
                <a:lnTo>
                  <a:pt x="346" y="13"/>
                </a:lnTo>
                <a:lnTo>
                  <a:pt x="346" y="0"/>
                </a:lnTo>
                <a:lnTo>
                  <a:pt x="319" y="0"/>
                </a:lnTo>
                <a:lnTo>
                  <a:pt x="293" y="0"/>
                </a:lnTo>
                <a:lnTo>
                  <a:pt x="268" y="1"/>
                </a:lnTo>
                <a:lnTo>
                  <a:pt x="244" y="2"/>
                </a:lnTo>
                <a:lnTo>
                  <a:pt x="221" y="6"/>
                </a:lnTo>
                <a:lnTo>
                  <a:pt x="198" y="9"/>
                </a:lnTo>
                <a:lnTo>
                  <a:pt x="176" y="13"/>
                </a:lnTo>
                <a:lnTo>
                  <a:pt x="153" y="19"/>
                </a:lnTo>
                <a:lnTo>
                  <a:pt x="123" y="21"/>
                </a:lnTo>
                <a:lnTo>
                  <a:pt x="95" y="22"/>
                </a:lnTo>
                <a:lnTo>
                  <a:pt x="84" y="23"/>
                </a:lnTo>
                <a:lnTo>
                  <a:pt x="75" y="25"/>
                </a:lnTo>
                <a:lnTo>
                  <a:pt x="71" y="27"/>
                </a:lnTo>
                <a:lnTo>
                  <a:pt x="68" y="30"/>
                </a:lnTo>
                <a:lnTo>
                  <a:pt x="67" y="33"/>
                </a:lnTo>
                <a:lnTo>
                  <a:pt x="67" y="38"/>
                </a:lnTo>
                <a:lnTo>
                  <a:pt x="67" y="44"/>
                </a:lnTo>
                <a:lnTo>
                  <a:pt x="69" y="50"/>
                </a:lnTo>
                <a:lnTo>
                  <a:pt x="73" y="56"/>
                </a:lnTo>
                <a:lnTo>
                  <a:pt x="77" y="63"/>
                </a:lnTo>
                <a:lnTo>
                  <a:pt x="80" y="68"/>
                </a:lnTo>
                <a:lnTo>
                  <a:pt x="84" y="74"/>
                </a:lnTo>
                <a:lnTo>
                  <a:pt x="86" y="80"/>
                </a:lnTo>
                <a:lnTo>
                  <a:pt x="87" y="87"/>
                </a:lnTo>
                <a:lnTo>
                  <a:pt x="86" y="107"/>
                </a:lnTo>
                <a:lnTo>
                  <a:pt x="82" y="129"/>
                </a:lnTo>
                <a:lnTo>
                  <a:pt x="78" y="150"/>
                </a:lnTo>
                <a:lnTo>
                  <a:pt x="74" y="171"/>
                </a:lnTo>
                <a:lnTo>
                  <a:pt x="68" y="193"/>
                </a:lnTo>
                <a:lnTo>
                  <a:pt x="64" y="214"/>
                </a:lnTo>
                <a:lnTo>
                  <a:pt x="62" y="237"/>
                </a:lnTo>
                <a:lnTo>
                  <a:pt x="61" y="259"/>
                </a:lnTo>
                <a:lnTo>
                  <a:pt x="54" y="261"/>
                </a:lnTo>
                <a:lnTo>
                  <a:pt x="47" y="263"/>
                </a:lnTo>
                <a:lnTo>
                  <a:pt x="42" y="266"/>
                </a:lnTo>
                <a:lnTo>
                  <a:pt x="36" y="269"/>
                </a:lnTo>
                <a:lnTo>
                  <a:pt x="26" y="277"/>
                </a:lnTo>
                <a:lnTo>
                  <a:pt x="18" y="287"/>
                </a:lnTo>
                <a:lnTo>
                  <a:pt x="10" y="297"/>
                </a:lnTo>
                <a:lnTo>
                  <a:pt x="5" y="307"/>
                </a:lnTo>
                <a:lnTo>
                  <a:pt x="1" y="317"/>
                </a:lnTo>
                <a:lnTo>
                  <a:pt x="0" y="327"/>
                </a:lnTo>
                <a:lnTo>
                  <a:pt x="1" y="339"/>
                </a:lnTo>
                <a:lnTo>
                  <a:pt x="3" y="349"/>
                </a:lnTo>
                <a:lnTo>
                  <a:pt x="6" y="358"/>
                </a:lnTo>
                <a:lnTo>
                  <a:pt x="8" y="367"/>
                </a:lnTo>
                <a:lnTo>
                  <a:pt x="9" y="376"/>
                </a:lnTo>
                <a:lnTo>
                  <a:pt x="9" y="386"/>
                </a:lnTo>
                <a:lnTo>
                  <a:pt x="8" y="391"/>
                </a:lnTo>
                <a:lnTo>
                  <a:pt x="6" y="397"/>
                </a:lnTo>
                <a:lnTo>
                  <a:pt x="3" y="402"/>
                </a:lnTo>
                <a:lnTo>
                  <a:pt x="0" y="408"/>
                </a:lnTo>
                <a:lnTo>
                  <a:pt x="13" y="42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55" name="Freeform 253"/>
          <p:cNvSpPr>
            <a:spLocks/>
          </p:cNvSpPr>
          <p:nvPr userDrawn="1">
            <p:custDataLst>
              <p:tags r:id="rId179"/>
            </p:custDataLst>
          </p:nvPr>
        </p:nvSpPr>
        <p:spPr bwMode="auto">
          <a:xfrm>
            <a:off x="5138740" y="3215891"/>
            <a:ext cx="196850" cy="326231"/>
          </a:xfrm>
          <a:custGeom>
            <a:avLst/>
            <a:gdLst>
              <a:gd name="T0" fmla="*/ 21242816 w 452"/>
              <a:gd name="T1" fmla="*/ 71338526 h 832"/>
              <a:gd name="T2" fmla="*/ 26174082 w 452"/>
              <a:gd name="T3" fmla="*/ 67784995 h 832"/>
              <a:gd name="T4" fmla="*/ 31295236 w 452"/>
              <a:gd name="T5" fmla="*/ 65598619 h 832"/>
              <a:gd name="T6" fmla="*/ 36416383 w 452"/>
              <a:gd name="T7" fmla="*/ 63411720 h 832"/>
              <a:gd name="T8" fmla="*/ 40778438 w 452"/>
              <a:gd name="T9" fmla="*/ 59311872 h 832"/>
              <a:gd name="T10" fmla="*/ 44002945 w 452"/>
              <a:gd name="T11" fmla="*/ 54665170 h 832"/>
              <a:gd name="T12" fmla="*/ 44002945 w 452"/>
              <a:gd name="T13" fmla="*/ 48925279 h 832"/>
              <a:gd name="T14" fmla="*/ 50262076 w 452"/>
              <a:gd name="T15" fmla="*/ 48652374 h 832"/>
              <a:gd name="T16" fmla="*/ 53486583 w 452"/>
              <a:gd name="T17" fmla="*/ 47285758 h 832"/>
              <a:gd name="T18" fmla="*/ 56521208 w 452"/>
              <a:gd name="T19" fmla="*/ 44279099 h 832"/>
              <a:gd name="T20" fmla="*/ 60693831 w 452"/>
              <a:gd name="T21" fmla="*/ 36352309 h 832"/>
              <a:gd name="T22" fmla="*/ 66383752 w 452"/>
              <a:gd name="T23" fmla="*/ 20499245 h 832"/>
              <a:gd name="T24" fmla="*/ 71694346 w 452"/>
              <a:gd name="T25" fmla="*/ 0 h 832"/>
              <a:gd name="T26" fmla="*/ 73022212 w 452"/>
              <a:gd name="T27" fmla="*/ 5193037 h 832"/>
              <a:gd name="T28" fmla="*/ 77194821 w 452"/>
              <a:gd name="T29" fmla="*/ 12846401 h 832"/>
              <a:gd name="T30" fmla="*/ 84971265 w 452"/>
              <a:gd name="T31" fmla="*/ 23232999 h 832"/>
              <a:gd name="T32" fmla="*/ 83453952 w 452"/>
              <a:gd name="T33" fmla="*/ 28152607 h 832"/>
              <a:gd name="T34" fmla="*/ 84212609 w 452"/>
              <a:gd name="T35" fmla="*/ 37718925 h 832"/>
              <a:gd name="T36" fmla="*/ 85729921 w 452"/>
              <a:gd name="T37" fmla="*/ 50565322 h 832"/>
              <a:gd name="T38" fmla="*/ 84971265 w 452"/>
              <a:gd name="T39" fmla="*/ 56305213 h 832"/>
              <a:gd name="T40" fmla="*/ 81177984 w 452"/>
              <a:gd name="T41" fmla="*/ 63958575 h 832"/>
              <a:gd name="T42" fmla="*/ 77574149 w 452"/>
              <a:gd name="T43" fmla="*/ 71338526 h 832"/>
              <a:gd name="T44" fmla="*/ 76815493 w 452"/>
              <a:gd name="T45" fmla="*/ 77351321 h 832"/>
              <a:gd name="T46" fmla="*/ 74539524 w 452"/>
              <a:gd name="T47" fmla="*/ 84184400 h 832"/>
              <a:gd name="T48" fmla="*/ 72642884 w 452"/>
              <a:gd name="T49" fmla="*/ 86917632 h 832"/>
              <a:gd name="T50" fmla="*/ 71504899 w 452"/>
              <a:gd name="T51" fmla="*/ 90744574 h 832"/>
              <a:gd name="T52" fmla="*/ 69797705 w 452"/>
              <a:gd name="T53" fmla="*/ 99491124 h 832"/>
              <a:gd name="T54" fmla="*/ 64107784 w 452"/>
              <a:gd name="T55" fmla="*/ 116710274 h 832"/>
              <a:gd name="T56" fmla="*/ 60883277 w 452"/>
              <a:gd name="T57" fmla="*/ 128463483 h 832"/>
              <a:gd name="T58" fmla="*/ 60314503 w 452"/>
              <a:gd name="T59" fmla="*/ 136663178 h 832"/>
              <a:gd name="T60" fmla="*/ 58797190 w 452"/>
              <a:gd name="T61" fmla="*/ 145136333 h 832"/>
              <a:gd name="T62" fmla="*/ 53296701 w 452"/>
              <a:gd name="T63" fmla="*/ 164542904 h 832"/>
              <a:gd name="T64" fmla="*/ 49313538 w 452"/>
              <a:gd name="T65" fmla="*/ 174109214 h 832"/>
              <a:gd name="T66" fmla="*/ 45899585 w 452"/>
              <a:gd name="T67" fmla="*/ 179028822 h 832"/>
              <a:gd name="T68" fmla="*/ 44002945 w 452"/>
              <a:gd name="T69" fmla="*/ 180395438 h 832"/>
              <a:gd name="T70" fmla="*/ 43244289 w 452"/>
              <a:gd name="T71" fmla="*/ 195155306 h 832"/>
              <a:gd name="T72" fmla="*/ 40778438 w 452"/>
              <a:gd name="T73" fmla="*/ 207454848 h 832"/>
              <a:gd name="T74" fmla="*/ 36226501 w 452"/>
              <a:gd name="T75" fmla="*/ 217294586 h 832"/>
              <a:gd name="T76" fmla="*/ 29777923 w 452"/>
              <a:gd name="T77" fmla="*/ 223854760 h 832"/>
              <a:gd name="T78" fmla="*/ 20863488 w 452"/>
              <a:gd name="T79" fmla="*/ 227134324 h 832"/>
              <a:gd name="T80" fmla="*/ 15173567 w 452"/>
              <a:gd name="T81" fmla="*/ 226041136 h 832"/>
              <a:gd name="T82" fmla="*/ 13845697 w 452"/>
              <a:gd name="T83" fmla="*/ 223307904 h 832"/>
              <a:gd name="T84" fmla="*/ 9483206 w 452"/>
              <a:gd name="T85" fmla="*/ 221394433 h 832"/>
              <a:gd name="T86" fmla="*/ 4931267 w 452"/>
              <a:gd name="T87" fmla="*/ 218114869 h 832"/>
              <a:gd name="T88" fmla="*/ 2275969 w 452"/>
              <a:gd name="T89" fmla="*/ 212374978 h 832"/>
              <a:gd name="T90" fmla="*/ 569210 w 452"/>
              <a:gd name="T91" fmla="*/ 205541377 h 832"/>
              <a:gd name="T92" fmla="*/ 0 w 452"/>
              <a:gd name="T93" fmla="*/ 193515263 h 832"/>
              <a:gd name="T94" fmla="*/ 758656 w 452"/>
              <a:gd name="T95" fmla="*/ 189688843 h 832"/>
              <a:gd name="T96" fmla="*/ 3603836 w 452"/>
              <a:gd name="T97" fmla="*/ 185315568 h 832"/>
              <a:gd name="T98" fmla="*/ 2086523 w 452"/>
              <a:gd name="T99" fmla="*/ 183675524 h 832"/>
              <a:gd name="T100" fmla="*/ 0 w 452"/>
              <a:gd name="T101" fmla="*/ 178209061 h 832"/>
              <a:gd name="T102" fmla="*/ 948538 w 452"/>
              <a:gd name="T103" fmla="*/ 171649410 h 832"/>
              <a:gd name="T104" fmla="*/ 1517313 w 452"/>
              <a:gd name="T105" fmla="*/ 166729280 h 832"/>
              <a:gd name="T106" fmla="*/ 948538 w 452"/>
              <a:gd name="T107" fmla="*/ 161536245 h 832"/>
              <a:gd name="T108" fmla="*/ 3413954 w 452"/>
              <a:gd name="T109" fmla="*/ 160442534 h 832"/>
              <a:gd name="T110" fmla="*/ 8155775 w 452"/>
              <a:gd name="T111" fmla="*/ 155249498 h 832"/>
              <a:gd name="T112" fmla="*/ 11949056 w 452"/>
              <a:gd name="T113" fmla="*/ 147049804 h 832"/>
              <a:gd name="T114" fmla="*/ 14414910 w 452"/>
              <a:gd name="T115" fmla="*/ 138303254 h 832"/>
              <a:gd name="T116" fmla="*/ 16311551 w 452"/>
              <a:gd name="T117" fmla="*/ 126277107 h 832"/>
              <a:gd name="T118" fmla="*/ 15742341 w 452"/>
              <a:gd name="T119" fmla="*/ 119716933 h 832"/>
              <a:gd name="T120" fmla="*/ 13276923 w 452"/>
              <a:gd name="T121" fmla="*/ 111517238 h 832"/>
              <a:gd name="T122" fmla="*/ 10621190 w 452"/>
              <a:gd name="T123" fmla="*/ 104410732 h 832"/>
              <a:gd name="T124" fmla="*/ 10052416 w 452"/>
              <a:gd name="T125" fmla="*/ 99217696 h 83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452"/>
              <a:gd name="T190" fmla="*/ 0 h 832"/>
              <a:gd name="T191" fmla="*/ 452 w 452"/>
              <a:gd name="T192" fmla="*/ 832 h 832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452" h="832">
                <a:moveTo>
                  <a:pt x="93" y="264"/>
                </a:moveTo>
                <a:lnTo>
                  <a:pt x="103" y="263"/>
                </a:lnTo>
                <a:lnTo>
                  <a:pt x="112" y="261"/>
                </a:lnTo>
                <a:lnTo>
                  <a:pt x="120" y="257"/>
                </a:lnTo>
                <a:lnTo>
                  <a:pt x="129" y="252"/>
                </a:lnTo>
                <a:lnTo>
                  <a:pt x="138" y="248"/>
                </a:lnTo>
                <a:lnTo>
                  <a:pt x="147" y="244"/>
                </a:lnTo>
                <a:lnTo>
                  <a:pt x="157" y="241"/>
                </a:lnTo>
                <a:lnTo>
                  <a:pt x="165" y="240"/>
                </a:lnTo>
                <a:lnTo>
                  <a:pt x="175" y="239"/>
                </a:lnTo>
                <a:lnTo>
                  <a:pt x="184" y="236"/>
                </a:lnTo>
                <a:lnTo>
                  <a:pt x="192" y="232"/>
                </a:lnTo>
                <a:lnTo>
                  <a:pt x="199" y="227"/>
                </a:lnTo>
                <a:lnTo>
                  <a:pt x="206" y="222"/>
                </a:lnTo>
                <a:lnTo>
                  <a:pt x="215" y="217"/>
                </a:lnTo>
                <a:lnTo>
                  <a:pt x="222" y="213"/>
                </a:lnTo>
                <a:lnTo>
                  <a:pt x="232" y="209"/>
                </a:lnTo>
                <a:lnTo>
                  <a:pt x="232" y="200"/>
                </a:lnTo>
                <a:lnTo>
                  <a:pt x="232" y="191"/>
                </a:lnTo>
                <a:lnTo>
                  <a:pt x="232" y="184"/>
                </a:lnTo>
                <a:lnTo>
                  <a:pt x="232" y="179"/>
                </a:lnTo>
                <a:lnTo>
                  <a:pt x="248" y="179"/>
                </a:lnTo>
                <a:lnTo>
                  <a:pt x="259" y="179"/>
                </a:lnTo>
                <a:lnTo>
                  <a:pt x="265" y="178"/>
                </a:lnTo>
                <a:lnTo>
                  <a:pt x="271" y="177"/>
                </a:lnTo>
                <a:lnTo>
                  <a:pt x="276" y="175"/>
                </a:lnTo>
                <a:lnTo>
                  <a:pt x="282" y="173"/>
                </a:lnTo>
                <a:lnTo>
                  <a:pt x="287" y="170"/>
                </a:lnTo>
                <a:lnTo>
                  <a:pt x="293" y="166"/>
                </a:lnTo>
                <a:lnTo>
                  <a:pt x="298" y="162"/>
                </a:lnTo>
                <a:lnTo>
                  <a:pt x="303" y="157"/>
                </a:lnTo>
                <a:lnTo>
                  <a:pt x="311" y="145"/>
                </a:lnTo>
                <a:lnTo>
                  <a:pt x="320" y="133"/>
                </a:lnTo>
                <a:lnTo>
                  <a:pt x="329" y="120"/>
                </a:lnTo>
                <a:lnTo>
                  <a:pt x="336" y="106"/>
                </a:lnTo>
                <a:lnTo>
                  <a:pt x="350" y="75"/>
                </a:lnTo>
                <a:lnTo>
                  <a:pt x="361" y="46"/>
                </a:lnTo>
                <a:lnTo>
                  <a:pt x="371" y="20"/>
                </a:lnTo>
                <a:lnTo>
                  <a:pt x="378" y="0"/>
                </a:lnTo>
                <a:lnTo>
                  <a:pt x="379" y="7"/>
                </a:lnTo>
                <a:lnTo>
                  <a:pt x="383" y="13"/>
                </a:lnTo>
                <a:lnTo>
                  <a:pt x="385" y="19"/>
                </a:lnTo>
                <a:lnTo>
                  <a:pt x="389" y="25"/>
                </a:lnTo>
                <a:lnTo>
                  <a:pt x="397" y="36"/>
                </a:lnTo>
                <a:lnTo>
                  <a:pt x="407" y="47"/>
                </a:lnTo>
                <a:lnTo>
                  <a:pt x="430" y="65"/>
                </a:lnTo>
                <a:lnTo>
                  <a:pt x="452" y="80"/>
                </a:lnTo>
                <a:lnTo>
                  <a:pt x="448" y="85"/>
                </a:lnTo>
                <a:lnTo>
                  <a:pt x="444" y="91"/>
                </a:lnTo>
                <a:lnTo>
                  <a:pt x="442" y="96"/>
                </a:lnTo>
                <a:lnTo>
                  <a:pt x="440" y="103"/>
                </a:lnTo>
                <a:lnTo>
                  <a:pt x="440" y="114"/>
                </a:lnTo>
                <a:lnTo>
                  <a:pt x="442" y="125"/>
                </a:lnTo>
                <a:lnTo>
                  <a:pt x="444" y="138"/>
                </a:lnTo>
                <a:lnTo>
                  <a:pt x="448" y="151"/>
                </a:lnTo>
                <a:lnTo>
                  <a:pt x="451" y="168"/>
                </a:lnTo>
                <a:lnTo>
                  <a:pt x="452" y="185"/>
                </a:lnTo>
                <a:lnTo>
                  <a:pt x="451" y="192"/>
                </a:lnTo>
                <a:lnTo>
                  <a:pt x="450" y="199"/>
                </a:lnTo>
                <a:lnTo>
                  <a:pt x="448" y="206"/>
                </a:lnTo>
                <a:lnTo>
                  <a:pt x="444" y="213"/>
                </a:lnTo>
                <a:lnTo>
                  <a:pt x="437" y="224"/>
                </a:lnTo>
                <a:lnTo>
                  <a:pt x="428" y="234"/>
                </a:lnTo>
                <a:lnTo>
                  <a:pt x="420" y="244"/>
                </a:lnTo>
                <a:lnTo>
                  <a:pt x="412" y="255"/>
                </a:lnTo>
                <a:lnTo>
                  <a:pt x="409" y="261"/>
                </a:lnTo>
                <a:lnTo>
                  <a:pt x="407" y="269"/>
                </a:lnTo>
                <a:lnTo>
                  <a:pt x="406" y="276"/>
                </a:lnTo>
                <a:lnTo>
                  <a:pt x="405" y="283"/>
                </a:lnTo>
                <a:lnTo>
                  <a:pt x="402" y="289"/>
                </a:lnTo>
                <a:lnTo>
                  <a:pt x="397" y="302"/>
                </a:lnTo>
                <a:lnTo>
                  <a:pt x="393" y="308"/>
                </a:lnTo>
                <a:lnTo>
                  <a:pt x="388" y="314"/>
                </a:lnTo>
                <a:lnTo>
                  <a:pt x="386" y="316"/>
                </a:lnTo>
                <a:lnTo>
                  <a:pt x="383" y="318"/>
                </a:lnTo>
                <a:lnTo>
                  <a:pt x="381" y="319"/>
                </a:lnTo>
                <a:lnTo>
                  <a:pt x="378" y="320"/>
                </a:lnTo>
                <a:lnTo>
                  <a:pt x="377" y="332"/>
                </a:lnTo>
                <a:lnTo>
                  <a:pt x="376" y="343"/>
                </a:lnTo>
                <a:lnTo>
                  <a:pt x="373" y="354"/>
                </a:lnTo>
                <a:lnTo>
                  <a:pt x="368" y="364"/>
                </a:lnTo>
                <a:lnTo>
                  <a:pt x="360" y="386"/>
                </a:lnTo>
                <a:lnTo>
                  <a:pt x="349" y="406"/>
                </a:lnTo>
                <a:lnTo>
                  <a:pt x="338" y="427"/>
                </a:lnTo>
                <a:lnTo>
                  <a:pt x="328" y="449"/>
                </a:lnTo>
                <a:lnTo>
                  <a:pt x="325" y="459"/>
                </a:lnTo>
                <a:lnTo>
                  <a:pt x="321" y="470"/>
                </a:lnTo>
                <a:lnTo>
                  <a:pt x="319" y="481"/>
                </a:lnTo>
                <a:lnTo>
                  <a:pt x="319" y="493"/>
                </a:lnTo>
                <a:lnTo>
                  <a:pt x="318" y="500"/>
                </a:lnTo>
                <a:lnTo>
                  <a:pt x="316" y="509"/>
                </a:lnTo>
                <a:lnTo>
                  <a:pt x="314" y="520"/>
                </a:lnTo>
                <a:lnTo>
                  <a:pt x="310" y="531"/>
                </a:lnTo>
                <a:lnTo>
                  <a:pt x="300" y="559"/>
                </a:lnTo>
                <a:lnTo>
                  <a:pt x="288" y="587"/>
                </a:lnTo>
                <a:lnTo>
                  <a:pt x="281" y="602"/>
                </a:lnTo>
                <a:lnTo>
                  <a:pt x="274" y="615"/>
                </a:lnTo>
                <a:lnTo>
                  <a:pt x="266" y="627"/>
                </a:lnTo>
                <a:lnTo>
                  <a:pt x="260" y="637"/>
                </a:lnTo>
                <a:lnTo>
                  <a:pt x="252" y="646"/>
                </a:lnTo>
                <a:lnTo>
                  <a:pt x="245" y="653"/>
                </a:lnTo>
                <a:lnTo>
                  <a:pt x="242" y="655"/>
                </a:lnTo>
                <a:lnTo>
                  <a:pt x="239" y="658"/>
                </a:lnTo>
                <a:lnTo>
                  <a:pt x="236" y="659"/>
                </a:lnTo>
                <a:lnTo>
                  <a:pt x="232" y="660"/>
                </a:lnTo>
                <a:lnTo>
                  <a:pt x="231" y="678"/>
                </a:lnTo>
                <a:lnTo>
                  <a:pt x="230" y="696"/>
                </a:lnTo>
                <a:lnTo>
                  <a:pt x="228" y="714"/>
                </a:lnTo>
                <a:lnTo>
                  <a:pt x="225" y="730"/>
                </a:lnTo>
                <a:lnTo>
                  <a:pt x="220" y="745"/>
                </a:lnTo>
                <a:lnTo>
                  <a:pt x="215" y="759"/>
                </a:lnTo>
                <a:lnTo>
                  <a:pt x="207" y="773"/>
                </a:lnTo>
                <a:lnTo>
                  <a:pt x="199" y="785"/>
                </a:lnTo>
                <a:lnTo>
                  <a:pt x="191" y="795"/>
                </a:lnTo>
                <a:lnTo>
                  <a:pt x="181" y="805"/>
                </a:lnTo>
                <a:lnTo>
                  <a:pt x="169" y="812"/>
                </a:lnTo>
                <a:lnTo>
                  <a:pt x="157" y="819"/>
                </a:lnTo>
                <a:lnTo>
                  <a:pt x="142" y="825"/>
                </a:lnTo>
                <a:lnTo>
                  <a:pt x="127" y="829"/>
                </a:lnTo>
                <a:lnTo>
                  <a:pt x="110" y="831"/>
                </a:lnTo>
                <a:lnTo>
                  <a:pt x="93" y="832"/>
                </a:lnTo>
                <a:lnTo>
                  <a:pt x="86" y="831"/>
                </a:lnTo>
                <a:lnTo>
                  <a:pt x="80" y="827"/>
                </a:lnTo>
                <a:lnTo>
                  <a:pt x="77" y="825"/>
                </a:lnTo>
                <a:lnTo>
                  <a:pt x="75" y="821"/>
                </a:lnTo>
                <a:lnTo>
                  <a:pt x="73" y="817"/>
                </a:lnTo>
                <a:lnTo>
                  <a:pt x="73" y="813"/>
                </a:lnTo>
                <a:lnTo>
                  <a:pt x="61" y="812"/>
                </a:lnTo>
                <a:lnTo>
                  <a:pt x="50" y="810"/>
                </a:lnTo>
                <a:lnTo>
                  <a:pt x="41" y="807"/>
                </a:lnTo>
                <a:lnTo>
                  <a:pt x="34" y="803"/>
                </a:lnTo>
                <a:lnTo>
                  <a:pt x="26" y="798"/>
                </a:lnTo>
                <a:lnTo>
                  <a:pt x="20" y="791"/>
                </a:lnTo>
                <a:lnTo>
                  <a:pt x="15" y="785"/>
                </a:lnTo>
                <a:lnTo>
                  <a:pt x="12" y="777"/>
                </a:lnTo>
                <a:lnTo>
                  <a:pt x="8" y="769"/>
                </a:lnTo>
                <a:lnTo>
                  <a:pt x="5" y="760"/>
                </a:lnTo>
                <a:lnTo>
                  <a:pt x="3" y="752"/>
                </a:lnTo>
                <a:lnTo>
                  <a:pt x="2" y="743"/>
                </a:lnTo>
                <a:lnTo>
                  <a:pt x="0" y="726"/>
                </a:lnTo>
                <a:lnTo>
                  <a:pt x="0" y="708"/>
                </a:lnTo>
                <a:lnTo>
                  <a:pt x="1" y="702"/>
                </a:lnTo>
                <a:lnTo>
                  <a:pt x="2" y="697"/>
                </a:lnTo>
                <a:lnTo>
                  <a:pt x="4" y="694"/>
                </a:lnTo>
                <a:lnTo>
                  <a:pt x="7" y="691"/>
                </a:lnTo>
                <a:lnTo>
                  <a:pt x="14" y="685"/>
                </a:lnTo>
                <a:lnTo>
                  <a:pt x="19" y="678"/>
                </a:lnTo>
                <a:lnTo>
                  <a:pt x="17" y="677"/>
                </a:lnTo>
                <a:lnTo>
                  <a:pt x="14" y="675"/>
                </a:lnTo>
                <a:lnTo>
                  <a:pt x="11" y="672"/>
                </a:lnTo>
                <a:lnTo>
                  <a:pt x="7" y="668"/>
                </a:lnTo>
                <a:lnTo>
                  <a:pt x="2" y="660"/>
                </a:lnTo>
                <a:lnTo>
                  <a:pt x="0" y="652"/>
                </a:lnTo>
                <a:lnTo>
                  <a:pt x="1" y="642"/>
                </a:lnTo>
                <a:lnTo>
                  <a:pt x="3" y="635"/>
                </a:lnTo>
                <a:lnTo>
                  <a:pt x="5" y="628"/>
                </a:lnTo>
                <a:lnTo>
                  <a:pt x="7" y="622"/>
                </a:lnTo>
                <a:lnTo>
                  <a:pt x="8" y="616"/>
                </a:lnTo>
                <a:lnTo>
                  <a:pt x="8" y="610"/>
                </a:lnTo>
                <a:lnTo>
                  <a:pt x="5" y="602"/>
                </a:lnTo>
                <a:lnTo>
                  <a:pt x="0" y="591"/>
                </a:lnTo>
                <a:lnTo>
                  <a:pt x="5" y="591"/>
                </a:lnTo>
                <a:lnTo>
                  <a:pt x="9" y="590"/>
                </a:lnTo>
                <a:lnTo>
                  <a:pt x="14" y="589"/>
                </a:lnTo>
                <a:lnTo>
                  <a:pt x="18" y="587"/>
                </a:lnTo>
                <a:lnTo>
                  <a:pt x="27" y="582"/>
                </a:lnTo>
                <a:lnTo>
                  <a:pt x="36" y="575"/>
                </a:lnTo>
                <a:lnTo>
                  <a:pt x="43" y="568"/>
                </a:lnTo>
                <a:lnTo>
                  <a:pt x="50" y="559"/>
                </a:lnTo>
                <a:lnTo>
                  <a:pt x="57" y="549"/>
                </a:lnTo>
                <a:lnTo>
                  <a:pt x="63" y="538"/>
                </a:lnTo>
                <a:lnTo>
                  <a:pt x="68" y="527"/>
                </a:lnTo>
                <a:lnTo>
                  <a:pt x="73" y="516"/>
                </a:lnTo>
                <a:lnTo>
                  <a:pt x="76" y="506"/>
                </a:lnTo>
                <a:lnTo>
                  <a:pt x="80" y="496"/>
                </a:lnTo>
                <a:lnTo>
                  <a:pt x="84" y="476"/>
                </a:lnTo>
                <a:lnTo>
                  <a:pt x="86" y="462"/>
                </a:lnTo>
                <a:lnTo>
                  <a:pt x="85" y="453"/>
                </a:lnTo>
                <a:lnTo>
                  <a:pt x="84" y="445"/>
                </a:lnTo>
                <a:lnTo>
                  <a:pt x="83" y="438"/>
                </a:lnTo>
                <a:lnTo>
                  <a:pt x="81" y="430"/>
                </a:lnTo>
                <a:lnTo>
                  <a:pt x="75" y="419"/>
                </a:lnTo>
                <a:lnTo>
                  <a:pt x="70" y="408"/>
                </a:lnTo>
                <a:lnTo>
                  <a:pt x="63" y="398"/>
                </a:lnTo>
                <a:lnTo>
                  <a:pt x="58" y="388"/>
                </a:lnTo>
                <a:lnTo>
                  <a:pt x="56" y="382"/>
                </a:lnTo>
                <a:lnTo>
                  <a:pt x="54" y="376"/>
                </a:lnTo>
                <a:lnTo>
                  <a:pt x="53" y="370"/>
                </a:lnTo>
                <a:lnTo>
                  <a:pt x="53" y="363"/>
                </a:lnTo>
                <a:lnTo>
                  <a:pt x="93" y="264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56" name="Freeform 254"/>
          <p:cNvSpPr>
            <a:spLocks/>
          </p:cNvSpPr>
          <p:nvPr userDrawn="1">
            <p:custDataLst>
              <p:tags r:id="rId180"/>
            </p:custDataLst>
          </p:nvPr>
        </p:nvSpPr>
        <p:spPr bwMode="auto">
          <a:xfrm>
            <a:off x="4814892" y="2989664"/>
            <a:ext cx="36513" cy="50006"/>
          </a:xfrm>
          <a:custGeom>
            <a:avLst/>
            <a:gdLst>
              <a:gd name="T0" fmla="*/ 16664990 w 80"/>
              <a:gd name="T1" fmla="*/ 559858 h 126"/>
              <a:gd name="T2" fmla="*/ 16664990 w 80"/>
              <a:gd name="T3" fmla="*/ 28281843 h 126"/>
              <a:gd name="T4" fmla="*/ 16248286 w 80"/>
              <a:gd name="T5" fmla="*/ 29121630 h 126"/>
              <a:gd name="T6" fmla="*/ 15623457 w 80"/>
              <a:gd name="T7" fmla="*/ 29961947 h 126"/>
              <a:gd name="T8" fmla="*/ 14581921 w 80"/>
              <a:gd name="T9" fmla="*/ 30521805 h 126"/>
              <a:gd name="T10" fmla="*/ 13957092 w 80"/>
              <a:gd name="T11" fmla="*/ 31082192 h 126"/>
              <a:gd name="T12" fmla="*/ 12082151 w 80"/>
              <a:gd name="T13" fmla="*/ 31921980 h 126"/>
              <a:gd name="T14" fmla="*/ 9999085 w 80"/>
              <a:gd name="T15" fmla="*/ 32481838 h 126"/>
              <a:gd name="T16" fmla="*/ 7499314 w 80"/>
              <a:gd name="T17" fmla="*/ 32762296 h 126"/>
              <a:gd name="T18" fmla="*/ 5207666 w 80"/>
              <a:gd name="T19" fmla="*/ 33322154 h 126"/>
              <a:gd name="T20" fmla="*/ 2707895 w 80"/>
              <a:gd name="T21" fmla="*/ 34442400 h 126"/>
              <a:gd name="T22" fmla="*/ 0 w 80"/>
              <a:gd name="T23" fmla="*/ 35282195 h 126"/>
              <a:gd name="T24" fmla="*/ 1458238 w 80"/>
              <a:gd name="T25" fmla="*/ 11200872 h 126"/>
              <a:gd name="T26" fmla="*/ 4790962 w 80"/>
              <a:gd name="T27" fmla="*/ 7560734 h 126"/>
              <a:gd name="T28" fmla="*/ 8540847 w 80"/>
              <a:gd name="T29" fmla="*/ 3360209 h 126"/>
              <a:gd name="T30" fmla="*/ 10623913 w 80"/>
              <a:gd name="T31" fmla="*/ 1400175 h 126"/>
              <a:gd name="T32" fmla="*/ 12498855 w 80"/>
              <a:gd name="T33" fmla="*/ 279929 h 126"/>
              <a:gd name="T34" fmla="*/ 13540388 w 80"/>
              <a:gd name="T35" fmla="*/ 0 h 126"/>
              <a:gd name="T36" fmla="*/ 14581921 w 80"/>
              <a:gd name="T37" fmla="*/ 0 h 126"/>
              <a:gd name="T38" fmla="*/ 15623457 w 80"/>
              <a:gd name="T39" fmla="*/ 279929 h 126"/>
              <a:gd name="T40" fmla="*/ 16664990 w 80"/>
              <a:gd name="T41" fmla="*/ 559858 h 12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80"/>
              <a:gd name="T64" fmla="*/ 0 h 126"/>
              <a:gd name="T65" fmla="*/ 80 w 80"/>
              <a:gd name="T66" fmla="*/ 126 h 12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80" h="126">
                <a:moveTo>
                  <a:pt x="80" y="2"/>
                </a:moveTo>
                <a:lnTo>
                  <a:pt x="80" y="101"/>
                </a:lnTo>
                <a:lnTo>
                  <a:pt x="78" y="104"/>
                </a:lnTo>
                <a:lnTo>
                  <a:pt x="75" y="107"/>
                </a:lnTo>
                <a:lnTo>
                  <a:pt x="70" y="109"/>
                </a:lnTo>
                <a:lnTo>
                  <a:pt x="67" y="111"/>
                </a:lnTo>
                <a:lnTo>
                  <a:pt x="58" y="114"/>
                </a:lnTo>
                <a:lnTo>
                  <a:pt x="48" y="116"/>
                </a:lnTo>
                <a:lnTo>
                  <a:pt x="36" y="117"/>
                </a:lnTo>
                <a:lnTo>
                  <a:pt x="25" y="119"/>
                </a:lnTo>
                <a:lnTo>
                  <a:pt x="13" y="123"/>
                </a:lnTo>
                <a:lnTo>
                  <a:pt x="0" y="126"/>
                </a:lnTo>
                <a:lnTo>
                  <a:pt x="7" y="40"/>
                </a:lnTo>
                <a:lnTo>
                  <a:pt x="23" y="27"/>
                </a:lnTo>
                <a:lnTo>
                  <a:pt x="41" y="12"/>
                </a:lnTo>
                <a:lnTo>
                  <a:pt x="51" y="5"/>
                </a:lnTo>
                <a:lnTo>
                  <a:pt x="60" y="1"/>
                </a:lnTo>
                <a:lnTo>
                  <a:pt x="65" y="0"/>
                </a:lnTo>
                <a:lnTo>
                  <a:pt x="70" y="0"/>
                </a:lnTo>
                <a:lnTo>
                  <a:pt x="75" y="1"/>
                </a:lnTo>
                <a:lnTo>
                  <a:pt x="80" y="2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57" name="Freeform 255"/>
          <p:cNvSpPr>
            <a:spLocks/>
          </p:cNvSpPr>
          <p:nvPr userDrawn="1">
            <p:custDataLst>
              <p:tags r:id="rId181"/>
            </p:custDataLst>
          </p:nvPr>
        </p:nvSpPr>
        <p:spPr bwMode="auto">
          <a:xfrm>
            <a:off x="4803778" y="2959899"/>
            <a:ext cx="55562" cy="45244"/>
          </a:xfrm>
          <a:custGeom>
            <a:avLst/>
            <a:gdLst>
              <a:gd name="T0" fmla="*/ 22687669 w 124"/>
              <a:gd name="T1" fmla="*/ 0 h 117"/>
              <a:gd name="T2" fmla="*/ 23289889 w 124"/>
              <a:gd name="T3" fmla="*/ 3987637 h 117"/>
              <a:gd name="T4" fmla="*/ 24494778 w 124"/>
              <a:gd name="T5" fmla="*/ 9304488 h 117"/>
              <a:gd name="T6" fmla="*/ 24896258 w 124"/>
              <a:gd name="T7" fmla="*/ 11962912 h 117"/>
              <a:gd name="T8" fmla="*/ 24896258 w 124"/>
              <a:gd name="T9" fmla="*/ 14355288 h 117"/>
              <a:gd name="T10" fmla="*/ 24896258 w 124"/>
              <a:gd name="T11" fmla="*/ 15684500 h 117"/>
              <a:gd name="T12" fmla="*/ 24695518 w 124"/>
              <a:gd name="T13" fmla="*/ 17013716 h 117"/>
              <a:gd name="T14" fmla="*/ 24494778 w 124"/>
              <a:gd name="T15" fmla="*/ 18342928 h 117"/>
              <a:gd name="T16" fmla="*/ 23892557 w 124"/>
              <a:gd name="T17" fmla="*/ 19406607 h 117"/>
              <a:gd name="T18" fmla="*/ 22888409 w 124"/>
              <a:gd name="T19" fmla="*/ 19140558 h 117"/>
              <a:gd name="T20" fmla="*/ 21683968 w 124"/>
              <a:gd name="T21" fmla="*/ 18874510 h 117"/>
              <a:gd name="T22" fmla="*/ 20679820 w 124"/>
              <a:gd name="T23" fmla="*/ 19140558 h 117"/>
              <a:gd name="T24" fmla="*/ 19274639 w 124"/>
              <a:gd name="T25" fmla="*/ 19406607 h 117"/>
              <a:gd name="T26" fmla="*/ 16664570 w 124"/>
              <a:gd name="T27" fmla="*/ 20735819 h 117"/>
              <a:gd name="T28" fmla="*/ 14255238 w 124"/>
              <a:gd name="T29" fmla="*/ 22596613 h 117"/>
              <a:gd name="T30" fmla="*/ 9235839 w 124"/>
              <a:gd name="T31" fmla="*/ 27381879 h 117"/>
              <a:gd name="T32" fmla="*/ 5220140 w 124"/>
              <a:gd name="T33" fmla="*/ 31103467 h 117"/>
              <a:gd name="T34" fmla="*/ 4617920 w 124"/>
              <a:gd name="T35" fmla="*/ 29774255 h 117"/>
              <a:gd name="T36" fmla="*/ 2610070 w 124"/>
              <a:gd name="T37" fmla="*/ 26849782 h 117"/>
              <a:gd name="T38" fmla="*/ 802961 w 124"/>
              <a:gd name="T39" fmla="*/ 23659776 h 117"/>
              <a:gd name="T40" fmla="*/ 0 w 124"/>
              <a:gd name="T41" fmla="*/ 21001352 h 117"/>
              <a:gd name="T42" fmla="*/ 200740 w 124"/>
              <a:gd name="T43" fmla="*/ 20203722 h 117"/>
              <a:gd name="T44" fmla="*/ 401480 w 124"/>
              <a:gd name="T45" fmla="*/ 19140558 h 117"/>
              <a:gd name="T46" fmla="*/ 1003701 w 124"/>
              <a:gd name="T47" fmla="*/ 17811346 h 117"/>
              <a:gd name="T48" fmla="*/ 1807109 w 124"/>
              <a:gd name="T49" fmla="*/ 16482130 h 117"/>
              <a:gd name="T50" fmla="*/ 3413030 w 124"/>
              <a:gd name="T51" fmla="*/ 13823706 h 117"/>
              <a:gd name="T52" fmla="*/ 5420880 w 124"/>
              <a:gd name="T53" fmla="*/ 11165282 h 117"/>
              <a:gd name="T54" fmla="*/ 9637320 w 124"/>
              <a:gd name="T55" fmla="*/ 5848432 h 117"/>
              <a:gd name="T56" fmla="*/ 12046649 w 124"/>
              <a:gd name="T57" fmla="*/ 3190007 h 117"/>
              <a:gd name="T58" fmla="*/ 14656718 w 124"/>
              <a:gd name="T59" fmla="*/ 3190007 h 117"/>
              <a:gd name="T60" fmla="*/ 17266790 w 124"/>
              <a:gd name="T61" fmla="*/ 3190007 h 117"/>
              <a:gd name="T62" fmla="*/ 20077600 w 124"/>
              <a:gd name="T63" fmla="*/ 1595261 h 117"/>
              <a:gd name="T64" fmla="*/ 22687669 w 124"/>
              <a:gd name="T65" fmla="*/ 0 h 11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24"/>
              <a:gd name="T100" fmla="*/ 0 h 117"/>
              <a:gd name="T101" fmla="*/ 124 w 124"/>
              <a:gd name="T102" fmla="*/ 117 h 117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24" h="117">
                <a:moveTo>
                  <a:pt x="113" y="0"/>
                </a:moveTo>
                <a:lnTo>
                  <a:pt x="116" y="15"/>
                </a:lnTo>
                <a:lnTo>
                  <a:pt x="122" y="35"/>
                </a:lnTo>
                <a:lnTo>
                  <a:pt x="124" y="45"/>
                </a:lnTo>
                <a:lnTo>
                  <a:pt x="124" y="54"/>
                </a:lnTo>
                <a:lnTo>
                  <a:pt x="124" y="59"/>
                </a:lnTo>
                <a:lnTo>
                  <a:pt x="123" y="64"/>
                </a:lnTo>
                <a:lnTo>
                  <a:pt x="122" y="69"/>
                </a:lnTo>
                <a:lnTo>
                  <a:pt x="119" y="73"/>
                </a:lnTo>
                <a:lnTo>
                  <a:pt x="114" y="72"/>
                </a:lnTo>
                <a:lnTo>
                  <a:pt x="108" y="71"/>
                </a:lnTo>
                <a:lnTo>
                  <a:pt x="103" y="72"/>
                </a:lnTo>
                <a:lnTo>
                  <a:pt x="96" y="73"/>
                </a:lnTo>
                <a:lnTo>
                  <a:pt x="83" y="78"/>
                </a:lnTo>
                <a:lnTo>
                  <a:pt x="71" y="85"/>
                </a:lnTo>
                <a:lnTo>
                  <a:pt x="46" y="103"/>
                </a:lnTo>
                <a:lnTo>
                  <a:pt x="26" y="117"/>
                </a:lnTo>
                <a:lnTo>
                  <a:pt x="23" y="112"/>
                </a:lnTo>
                <a:lnTo>
                  <a:pt x="13" y="101"/>
                </a:lnTo>
                <a:lnTo>
                  <a:pt x="4" y="89"/>
                </a:lnTo>
                <a:lnTo>
                  <a:pt x="0" y="79"/>
                </a:lnTo>
                <a:lnTo>
                  <a:pt x="1" y="76"/>
                </a:lnTo>
                <a:lnTo>
                  <a:pt x="2" y="72"/>
                </a:lnTo>
                <a:lnTo>
                  <a:pt x="5" y="67"/>
                </a:lnTo>
                <a:lnTo>
                  <a:pt x="9" y="62"/>
                </a:lnTo>
                <a:lnTo>
                  <a:pt x="17" y="52"/>
                </a:lnTo>
                <a:lnTo>
                  <a:pt x="27" y="42"/>
                </a:lnTo>
                <a:lnTo>
                  <a:pt x="48" y="22"/>
                </a:lnTo>
                <a:lnTo>
                  <a:pt x="60" y="12"/>
                </a:lnTo>
                <a:lnTo>
                  <a:pt x="73" y="12"/>
                </a:lnTo>
                <a:lnTo>
                  <a:pt x="86" y="12"/>
                </a:lnTo>
                <a:lnTo>
                  <a:pt x="100" y="6"/>
                </a:lnTo>
                <a:lnTo>
                  <a:pt x="113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58" name="Freeform 256"/>
          <p:cNvSpPr>
            <a:spLocks/>
          </p:cNvSpPr>
          <p:nvPr userDrawn="1">
            <p:custDataLst>
              <p:tags r:id="rId182"/>
            </p:custDataLst>
          </p:nvPr>
        </p:nvSpPr>
        <p:spPr bwMode="auto">
          <a:xfrm>
            <a:off x="5113337" y="1984784"/>
            <a:ext cx="503238" cy="354806"/>
          </a:xfrm>
          <a:custGeom>
            <a:avLst/>
            <a:gdLst>
              <a:gd name="T0" fmla="*/ 175864683 w 1156"/>
              <a:gd name="T1" fmla="*/ 52772570 h 900"/>
              <a:gd name="T2" fmla="*/ 162788772 w 1156"/>
              <a:gd name="T3" fmla="*/ 44760258 h 900"/>
              <a:gd name="T4" fmla="*/ 146491007 w 1156"/>
              <a:gd name="T5" fmla="*/ 30668927 h 900"/>
              <a:gd name="T6" fmla="*/ 116927528 w 1156"/>
              <a:gd name="T7" fmla="*/ 28734576 h 900"/>
              <a:gd name="T8" fmla="*/ 104419691 w 1156"/>
              <a:gd name="T9" fmla="*/ 42549422 h 900"/>
              <a:gd name="T10" fmla="*/ 95512905 w 1156"/>
              <a:gd name="T11" fmla="*/ 49456840 h 900"/>
              <a:gd name="T12" fmla="*/ 80730948 w 1156"/>
              <a:gd name="T13" fmla="*/ 54430434 h 900"/>
              <a:gd name="T14" fmla="*/ 72582066 w 1156"/>
              <a:gd name="T15" fmla="*/ 54982881 h 900"/>
              <a:gd name="T16" fmla="*/ 67275867 w 1156"/>
              <a:gd name="T17" fmla="*/ 47799501 h 900"/>
              <a:gd name="T18" fmla="*/ 49272478 w 1156"/>
              <a:gd name="T19" fmla="*/ 37576353 h 900"/>
              <a:gd name="T20" fmla="*/ 43208376 w 1156"/>
              <a:gd name="T21" fmla="*/ 23761508 h 900"/>
              <a:gd name="T22" fmla="*/ 41692132 w 1156"/>
              <a:gd name="T23" fmla="*/ 6354974 h 900"/>
              <a:gd name="T24" fmla="*/ 35627595 w 1156"/>
              <a:gd name="T25" fmla="*/ 276486 h 900"/>
              <a:gd name="T26" fmla="*/ 29374125 w 1156"/>
              <a:gd name="T27" fmla="*/ 5802003 h 900"/>
              <a:gd name="T28" fmla="*/ 25773095 w 1156"/>
              <a:gd name="T29" fmla="*/ 18511954 h 900"/>
              <a:gd name="T30" fmla="*/ 14971331 w 1156"/>
              <a:gd name="T31" fmla="*/ 14920260 h 900"/>
              <a:gd name="T32" fmla="*/ 757904 w 1156"/>
              <a:gd name="T33" fmla="*/ 4420624 h 900"/>
              <a:gd name="T34" fmla="*/ 947707 w 1156"/>
              <a:gd name="T35" fmla="*/ 19893332 h 900"/>
              <a:gd name="T36" fmla="*/ 8528056 w 1156"/>
              <a:gd name="T37" fmla="*/ 40339111 h 900"/>
              <a:gd name="T38" fmla="*/ 13834254 w 1156"/>
              <a:gd name="T39" fmla="*/ 56640745 h 900"/>
              <a:gd name="T40" fmla="*/ 25583728 w 1156"/>
              <a:gd name="T41" fmla="*/ 78467911 h 900"/>
              <a:gd name="T42" fmla="*/ 23120213 w 1156"/>
              <a:gd name="T43" fmla="*/ 87309680 h 900"/>
              <a:gd name="T44" fmla="*/ 25204558 w 1156"/>
              <a:gd name="T45" fmla="*/ 102229410 h 900"/>
              <a:gd name="T46" fmla="*/ 35627595 w 1156"/>
              <a:gd name="T47" fmla="*/ 118254559 h 900"/>
              <a:gd name="T48" fmla="*/ 49083111 w 1156"/>
              <a:gd name="T49" fmla="*/ 125990910 h 900"/>
              <a:gd name="T50" fmla="*/ 49083111 w 1156"/>
              <a:gd name="T51" fmla="*/ 144779374 h 900"/>
              <a:gd name="T52" fmla="*/ 63485912 w 1156"/>
              <a:gd name="T53" fmla="*/ 160528036 h 900"/>
              <a:gd name="T54" fmla="*/ 80162411 w 1156"/>
              <a:gd name="T55" fmla="*/ 183460603 h 900"/>
              <a:gd name="T56" fmla="*/ 89259000 w 1156"/>
              <a:gd name="T57" fmla="*/ 198933306 h 900"/>
              <a:gd name="T58" fmla="*/ 95512905 w 1156"/>
              <a:gd name="T59" fmla="*/ 202524995 h 900"/>
              <a:gd name="T60" fmla="*/ 102714081 w 1156"/>
              <a:gd name="T61" fmla="*/ 208603482 h 900"/>
              <a:gd name="T62" fmla="*/ 113326913 w 1156"/>
              <a:gd name="T63" fmla="*/ 217445251 h 900"/>
              <a:gd name="T64" fmla="*/ 129814073 w 1156"/>
              <a:gd name="T65" fmla="*/ 219655562 h 900"/>
              <a:gd name="T66" fmla="*/ 138720859 w 1156"/>
              <a:gd name="T67" fmla="*/ 215510900 h 900"/>
              <a:gd name="T68" fmla="*/ 147628081 w 1156"/>
              <a:gd name="T69" fmla="*/ 211090279 h 900"/>
              <a:gd name="T70" fmla="*/ 151797206 w 1156"/>
              <a:gd name="T71" fmla="*/ 219932048 h 900"/>
              <a:gd name="T72" fmla="*/ 154071353 w 1156"/>
              <a:gd name="T73" fmla="*/ 236786129 h 900"/>
              <a:gd name="T74" fmla="*/ 165631456 w 1156"/>
              <a:gd name="T75" fmla="*/ 241482711 h 900"/>
              <a:gd name="T76" fmla="*/ 191594347 w 1156"/>
              <a:gd name="T77" fmla="*/ 246456305 h 900"/>
              <a:gd name="T78" fmla="*/ 206755038 w 1156"/>
              <a:gd name="T79" fmla="*/ 242864615 h 900"/>
              <a:gd name="T80" fmla="*/ 208270846 w 1156"/>
              <a:gd name="T81" fmla="*/ 229602224 h 900"/>
              <a:gd name="T82" fmla="*/ 219073045 w 1156"/>
              <a:gd name="T83" fmla="*/ 212748143 h 900"/>
              <a:gd name="T84" fmla="*/ 214524751 w 1156"/>
              <a:gd name="T85" fmla="*/ 207222103 h 900"/>
              <a:gd name="T86" fmla="*/ 207702309 w 1156"/>
              <a:gd name="T87" fmla="*/ 195617576 h 900"/>
              <a:gd name="T88" fmla="*/ 195384302 w 1156"/>
              <a:gd name="T89" fmla="*/ 177658603 h 900"/>
              <a:gd name="T90" fmla="*/ 192920788 w 1156"/>
              <a:gd name="T91" fmla="*/ 166606523 h 900"/>
              <a:gd name="T92" fmla="*/ 197847816 w 1156"/>
              <a:gd name="T93" fmla="*/ 154449550 h 900"/>
              <a:gd name="T94" fmla="*/ 198606156 w 1156"/>
              <a:gd name="T95" fmla="*/ 145331820 h 900"/>
              <a:gd name="T96" fmla="*/ 195194935 w 1156"/>
              <a:gd name="T97" fmla="*/ 141463645 h 900"/>
              <a:gd name="T98" fmla="*/ 186287713 w 1156"/>
              <a:gd name="T99" fmla="*/ 140082266 h 900"/>
              <a:gd name="T100" fmla="*/ 180792147 w 1156"/>
              <a:gd name="T101" fmla="*/ 125161977 h 900"/>
              <a:gd name="T102" fmla="*/ 177570294 w 1156"/>
              <a:gd name="T103" fmla="*/ 103058342 h 900"/>
              <a:gd name="T104" fmla="*/ 175106779 w 1156"/>
              <a:gd name="T105" fmla="*/ 98637721 h 900"/>
              <a:gd name="T106" fmla="*/ 178138831 w 1156"/>
              <a:gd name="T107" fmla="*/ 92282748 h 900"/>
              <a:gd name="T108" fmla="*/ 181929221 w 1156"/>
              <a:gd name="T109" fmla="*/ 80954707 h 90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156"/>
              <a:gd name="T166" fmla="*/ 0 h 900"/>
              <a:gd name="T167" fmla="*/ 1156 w 1156"/>
              <a:gd name="T168" fmla="*/ 900 h 900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156" h="900">
                <a:moveTo>
                  <a:pt x="963" y="271"/>
                </a:moveTo>
                <a:lnTo>
                  <a:pt x="954" y="252"/>
                </a:lnTo>
                <a:lnTo>
                  <a:pt x="948" y="234"/>
                </a:lnTo>
                <a:lnTo>
                  <a:pt x="941" y="213"/>
                </a:lnTo>
                <a:lnTo>
                  <a:pt x="937" y="191"/>
                </a:lnTo>
                <a:lnTo>
                  <a:pt x="928" y="191"/>
                </a:lnTo>
                <a:lnTo>
                  <a:pt x="920" y="190"/>
                </a:lnTo>
                <a:lnTo>
                  <a:pt x="913" y="189"/>
                </a:lnTo>
                <a:lnTo>
                  <a:pt x="906" y="187"/>
                </a:lnTo>
                <a:lnTo>
                  <a:pt x="893" y="183"/>
                </a:lnTo>
                <a:lnTo>
                  <a:pt x="881" y="177"/>
                </a:lnTo>
                <a:lnTo>
                  <a:pt x="859" y="162"/>
                </a:lnTo>
                <a:lnTo>
                  <a:pt x="839" y="145"/>
                </a:lnTo>
                <a:lnTo>
                  <a:pt x="828" y="137"/>
                </a:lnTo>
                <a:lnTo>
                  <a:pt x="816" y="129"/>
                </a:lnTo>
                <a:lnTo>
                  <a:pt x="803" y="122"/>
                </a:lnTo>
                <a:lnTo>
                  <a:pt x="789" y="116"/>
                </a:lnTo>
                <a:lnTo>
                  <a:pt x="773" y="111"/>
                </a:lnTo>
                <a:lnTo>
                  <a:pt x="755" y="106"/>
                </a:lnTo>
                <a:lnTo>
                  <a:pt x="745" y="105"/>
                </a:lnTo>
                <a:lnTo>
                  <a:pt x="734" y="104"/>
                </a:lnTo>
                <a:lnTo>
                  <a:pt x="723" y="104"/>
                </a:lnTo>
                <a:lnTo>
                  <a:pt x="711" y="104"/>
                </a:lnTo>
                <a:lnTo>
                  <a:pt x="617" y="104"/>
                </a:lnTo>
                <a:lnTo>
                  <a:pt x="609" y="113"/>
                </a:lnTo>
                <a:lnTo>
                  <a:pt x="587" y="129"/>
                </a:lnTo>
                <a:lnTo>
                  <a:pt x="576" y="138"/>
                </a:lnTo>
                <a:lnTo>
                  <a:pt x="565" y="146"/>
                </a:lnTo>
                <a:lnTo>
                  <a:pt x="556" y="152"/>
                </a:lnTo>
                <a:lnTo>
                  <a:pt x="551" y="154"/>
                </a:lnTo>
                <a:lnTo>
                  <a:pt x="542" y="155"/>
                </a:lnTo>
                <a:lnTo>
                  <a:pt x="532" y="157"/>
                </a:lnTo>
                <a:lnTo>
                  <a:pt x="522" y="159"/>
                </a:lnTo>
                <a:lnTo>
                  <a:pt x="512" y="160"/>
                </a:lnTo>
                <a:lnTo>
                  <a:pt x="518" y="173"/>
                </a:lnTo>
                <a:lnTo>
                  <a:pt x="504" y="179"/>
                </a:lnTo>
                <a:lnTo>
                  <a:pt x="490" y="184"/>
                </a:lnTo>
                <a:lnTo>
                  <a:pt x="478" y="188"/>
                </a:lnTo>
                <a:lnTo>
                  <a:pt x="465" y="192"/>
                </a:lnTo>
                <a:lnTo>
                  <a:pt x="453" y="194"/>
                </a:lnTo>
                <a:lnTo>
                  <a:pt x="439" y="196"/>
                </a:lnTo>
                <a:lnTo>
                  <a:pt x="426" y="197"/>
                </a:lnTo>
                <a:lnTo>
                  <a:pt x="412" y="197"/>
                </a:lnTo>
                <a:lnTo>
                  <a:pt x="405" y="198"/>
                </a:lnTo>
                <a:lnTo>
                  <a:pt x="398" y="199"/>
                </a:lnTo>
                <a:lnTo>
                  <a:pt x="393" y="200"/>
                </a:lnTo>
                <a:lnTo>
                  <a:pt x="389" y="200"/>
                </a:lnTo>
                <a:lnTo>
                  <a:pt x="383" y="199"/>
                </a:lnTo>
                <a:lnTo>
                  <a:pt x="379" y="197"/>
                </a:lnTo>
                <a:lnTo>
                  <a:pt x="371" y="194"/>
                </a:lnTo>
                <a:lnTo>
                  <a:pt x="367" y="190"/>
                </a:lnTo>
                <a:lnTo>
                  <a:pt x="363" y="184"/>
                </a:lnTo>
                <a:lnTo>
                  <a:pt x="358" y="179"/>
                </a:lnTo>
                <a:lnTo>
                  <a:pt x="355" y="173"/>
                </a:lnTo>
                <a:lnTo>
                  <a:pt x="351" y="168"/>
                </a:lnTo>
                <a:lnTo>
                  <a:pt x="345" y="163"/>
                </a:lnTo>
                <a:lnTo>
                  <a:pt x="338" y="160"/>
                </a:lnTo>
                <a:lnTo>
                  <a:pt x="316" y="153"/>
                </a:lnTo>
                <a:lnTo>
                  <a:pt x="280" y="142"/>
                </a:lnTo>
                <a:lnTo>
                  <a:pt x="260" y="136"/>
                </a:lnTo>
                <a:lnTo>
                  <a:pt x="244" y="128"/>
                </a:lnTo>
                <a:lnTo>
                  <a:pt x="237" y="124"/>
                </a:lnTo>
                <a:lnTo>
                  <a:pt x="232" y="120"/>
                </a:lnTo>
                <a:lnTo>
                  <a:pt x="228" y="116"/>
                </a:lnTo>
                <a:lnTo>
                  <a:pt x="225" y="111"/>
                </a:lnTo>
                <a:lnTo>
                  <a:pt x="228" y="86"/>
                </a:lnTo>
                <a:lnTo>
                  <a:pt x="228" y="65"/>
                </a:lnTo>
                <a:lnTo>
                  <a:pt x="228" y="56"/>
                </a:lnTo>
                <a:lnTo>
                  <a:pt x="226" y="46"/>
                </a:lnTo>
                <a:lnTo>
                  <a:pt x="224" y="37"/>
                </a:lnTo>
                <a:lnTo>
                  <a:pt x="222" y="30"/>
                </a:lnTo>
                <a:lnTo>
                  <a:pt x="220" y="23"/>
                </a:lnTo>
                <a:lnTo>
                  <a:pt x="217" y="17"/>
                </a:lnTo>
                <a:lnTo>
                  <a:pt x="212" y="12"/>
                </a:lnTo>
                <a:lnTo>
                  <a:pt x="207" y="8"/>
                </a:lnTo>
                <a:lnTo>
                  <a:pt x="201" y="5"/>
                </a:lnTo>
                <a:lnTo>
                  <a:pt x="195" y="2"/>
                </a:lnTo>
                <a:lnTo>
                  <a:pt x="188" y="1"/>
                </a:lnTo>
                <a:lnTo>
                  <a:pt x="179" y="0"/>
                </a:lnTo>
                <a:lnTo>
                  <a:pt x="174" y="1"/>
                </a:lnTo>
                <a:lnTo>
                  <a:pt x="168" y="3"/>
                </a:lnTo>
                <a:lnTo>
                  <a:pt x="164" y="7"/>
                </a:lnTo>
                <a:lnTo>
                  <a:pt x="161" y="11"/>
                </a:lnTo>
                <a:lnTo>
                  <a:pt x="155" y="21"/>
                </a:lnTo>
                <a:lnTo>
                  <a:pt x="151" y="34"/>
                </a:lnTo>
                <a:lnTo>
                  <a:pt x="147" y="46"/>
                </a:lnTo>
                <a:lnTo>
                  <a:pt x="144" y="57"/>
                </a:lnTo>
                <a:lnTo>
                  <a:pt x="142" y="62"/>
                </a:lnTo>
                <a:lnTo>
                  <a:pt x="139" y="65"/>
                </a:lnTo>
                <a:lnTo>
                  <a:pt x="136" y="67"/>
                </a:lnTo>
                <a:lnTo>
                  <a:pt x="133" y="68"/>
                </a:lnTo>
                <a:lnTo>
                  <a:pt x="125" y="68"/>
                </a:lnTo>
                <a:lnTo>
                  <a:pt x="118" y="66"/>
                </a:lnTo>
                <a:lnTo>
                  <a:pt x="109" y="64"/>
                </a:lnTo>
                <a:lnTo>
                  <a:pt x="100" y="62"/>
                </a:lnTo>
                <a:lnTo>
                  <a:pt x="79" y="54"/>
                </a:lnTo>
                <a:lnTo>
                  <a:pt x="58" y="46"/>
                </a:lnTo>
                <a:lnTo>
                  <a:pt x="39" y="38"/>
                </a:lnTo>
                <a:lnTo>
                  <a:pt x="21" y="29"/>
                </a:lnTo>
                <a:lnTo>
                  <a:pt x="15" y="24"/>
                </a:lnTo>
                <a:lnTo>
                  <a:pt x="8" y="20"/>
                </a:lnTo>
                <a:lnTo>
                  <a:pt x="4" y="16"/>
                </a:lnTo>
                <a:lnTo>
                  <a:pt x="0" y="12"/>
                </a:lnTo>
                <a:lnTo>
                  <a:pt x="0" y="25"/>
                </a:lnTo>
                <a:lnTo>
                  <a:pt x="0" y="37"/>
                </a:lnTo>
                <a:lnTo>
                  <a:pt x="0" y="49"/>
                </a:lnTo>
                <a:lnTo>
                  <a:pt x="1" y="62"/>
                </a:lnTo>
                <a:lnTo>
                  <a:pt x="5" y="72"/>
                </a:lnTo>
                <a:lnTo>
                  <a:pt x="7" y="81"/>
                </a:lnTo>
                <a:lnTo>
                  <a:pt x="15" y="96"/>
                </a:lnTo>
                <a:lnTo>
                  <a:pt x="24" y="111"/>
                </a:lnTo>
                <a:lnTo>
                  <a:pt x="33" y="124"/>
                </a:lnTo>
                <a:lnTo>
                  <a:pt x="42" y="138"/>
                </a:lnTo>
                <a:lnTo>
                  <a:pt x="45" y="146"/>
                </a:lnTo>
                <a:lnTo>
                  <a:pt x="49" y="156"/>
                </a:lnTo>
                <a:lnTo>
                  <a:pt x="52" y="167"/>
                </a:lnTo>
                <a:lnTo>
                  <a:pt x="53" y="179"/>
                </a:lnTo>
                <a:lnTo>
                  <a:pt x="60" y="179"/>
                </a:lnTo>
                <a:lnTo>
                  <a:pt x="64" y="190"/>
                </a:lnTo>
                <a:lnTo>
                  <a:pt x="73" y="205"/>
                </a:lnTo>
                <a:lnTo>
                  <a:pt x="83" y="223"/>
                </a:lnTo>
                <a:lnTo>
                  <a:pt x="96" y="241"/>
                </a:lnTo>
                <a:lnTo>
                  <a:pt x="109" y="258"/>
                </a:lnTo>
                <a:lnTo>
                  <a:pt x="122" y="273"/>
                </a:lnTo>
                <a:lnTo>
                  <a:pt x="129" y="280"/>
                </a:lnTo>
                <a:lnTo>
                  <a:pt x="135" y="284"/>
                </a:lnTo>
                <a:lnTo>
                  <a:pt x="141" y="288"/>
                </a:lnTo>
                <a:lnTo>
                  <a:pt x="146" y="290"/>
                </a:lnTo>
                <a:lnTo>
                  <a:pt x="139" y="296"/>
                </a:lnTo>
                <a:lnTo>
                  <a:pt x="130" y="304"/>
                </a:lnTo>
                <a:lnTo>
                  <a:pt x="127" y="310"/>
                </a:lnTo>
                <a:lnTo>
                  <a:pt x="122" y="316"/>
                </a:lnTo>
                <a:lnTo>
                  <a:pt x="120" y="324"/>
                </a:lnTo>
                <a:lnTo>
                  <a:pt x="120" y="332"/>
                </a:lnTo>
                <a:lnTo>
                  <a:pt x="120" y="341"/>
                </a:lnTo>
                <a:lnTo>
                  <a:pt x="123" y="350"/>
                </a:lnTo>
                <a:lnTo>
                  <a:pt x="128" y="360"/>
                </a:lnTo>
                <a:lnTo>
                  <a:pt x="133" y="370"/>
                </a:lnTo>
                <a:lnTo>
                  <a:pt x="140" y="380"/>
                </a:lnTo>
                <a:lnTo>
                  <a:pt x="147" y="391"/>
                </a:lnTo>
                <a:lnTo>
                  <a:pt x="157" y="401"/>
                </a:lnTo>
                <a:lnTo>
                  <a:pt x="167" y="410"/>
                </a:lnTo>
                <a:lnTo>
                  <a:pt x="177" y="420"/>
                </a:lnTo>
                <a:lnTo>
                  <a:pt x="188" y="428"/>
                </a:lnTo>
                <a:lnTo>
                  <a:pt x="200" y="436"/>
                </a:lnTo>
                <a:lnTo>
                  <a:pt x="212" y="442"/>
                </a:lnTo>
                <a:lnTo>
                  <a:pt x="224" y="449"/>
                </a:lnTo>
                <a:lnTo>
                  <a:pt x="236" y="453"/>
                </a:lnTo>
                <a:lnTo>
                  <a:pt x="247" y="455"/>
                </a:lnTo>
                <a:lnTo>
                  <a:pt x="259" y="456"/>
                </a:lnTo>
                <a:lnTo>
                  <a:pt x="260" y="469"/>
                </a:lnTo>
                <a:lnTo>
                  <a:pt x="264" y="483"/>
                </a:lnTo>
                <a:lnTo>
                  <a:pt x="265" y="490"/>
                </a:lnTo>
                <a:lnTo>
                  <a:pt x="265" y="500"/>
                </a:lnTo>
                <a:lnTo>
                  <a:pt x="263" y="511"/>
                </a:lnTo>
                <a:lnTo>
                  <a:pt x="259" y="524"/>
                </a:lnTo>
                <a:lnTo>
                  <a:pt x="305" y="573"/>
                </a:lnTo>
                <a:lnTo>
                  <a:pt x="312" y="574"/>
                </a:lnTo>
                <a:lnTo>
                  <a:pt x="319" y="576"/>
                </a:lnTo>
                <a:lnTo>
                  <a:pt x="324" y="578"/>
                </a:lnTo>
                <a:lnTo>
                  <a:pt x="330" y="580"/>
                </a:lnTo>
                <a:lnTo>
                  <a:pt x="335" y="581"/>
                </a:lnTo>
                <a:lnTo>
                  <a:pt x="342" y="581"/>
                </a:lnTo>
                <a:lnTo>
                  <a:pt x="349" y="578"/>
                </a:lnTo>
                <a:lnTo>
                  <a:pt x="358" y="573"/>
                </a:lnTo>
                <a:lnTo>
                  <a:pt x="372" y="593"/>
                </a:lnTo>
                <a:lnTo>
                  <a:pt x="404" y="639"/>
                </a:lnTo>
                <a:lnTo>
                  <a:pt x="423" y="664"/>
                </a:lnTo>
                <a:lnTo>
                  <a:pt x="439" y="687"/>
                </a:lnTo>
                <a:lnTo>
                  <a:pt x="447" y="697"/>
                </a:lnTo>
                <a:lnTo>
                  <a:pt x="455" y="705"/>
                </a:lnTo>
                <a:lnTo>
                  <a:pt x="460" y="711"/>
                </a:lnTo>
                <a:lnTo>
                  <a:pt x="465" y="714"/>
                </a:lnTo>
                <a:lnTo>
                  <a:pt x="471" y="720"/>
                </a:lnTo>
                <a:lnTo>
                  <a:pt x="479" y="727"/>
                </a:lnTo>
                <a:lnTo>
                  <a:pt x="483" y="729"/>
                </a:lnTo>
                <a:lnTo>
                  <a:pt x="488" y="731"/>
                </a:lnTo>
                <a:lnTo>
                  <a:pt x="493" y="733"/>
                </a:lnTo>
                <a:lnTo>
                  <a:pt x="498" y="733"/>
                </a:lnTo>
                <a:lnTo>
                  <a:pt x="504" y="733"/>
                </a:lnTo>
                <a:lnTo>
                  <a:pt x="512" y="733"/>
                </a:lnTo>
                <a:lnTo>
                  <a:pt x="522" y="733"/>
                </a:lnTo>
                <a:lnTo>
                  <a:pt x="532" y="733"/>
                </a:lnTo>
                <a:lnTo>
                  <a:pt x="533" y="741"/>
                </a:lnTo>
                <a:lnTo>
                  <a:pt x="537" y="748"/>
                </a:lnTo>
                <a:lnTo>
                  <a:pt x="542" y="755"/>
                </a:lnTo>
                <a:lnTo>
                  <a:pt x="547" y="761"/>
                </a:lnTo>
                <a:lnTo>
                  <a:pt x="554" y="766"/>
                </a:lnTo>
                <a:lnTo>
                  <a:pt x="561" y="771"/>
                </a:lnTo>
                <a:lnTo>
                  <a:pt x="570" y="776"/>
                </a:lnTo>
                <a:lnTo>
                  <a:pt x="579" y="781"/>
                </a:lnTo>
                <a:lnTo>
                  <a:pt x="598" y="787"/>
                </a:lnTo>
                <a:lnTo>
                  <a:pt x="616" y="791"/>
                </a:lnTo>
                <a:lnTo>
                  <a:pt x="635" y="794"/>
                </a:lnTo>
                <a:lnTo>
                  <a:pt x="651" y="795"/>
                </a:lnTo>
                <a:lnTo>
                  <a:pt x="663" y="795"/>
                </a:lnTo>
                <a:lnTo>
                  <a:pt x="671" y="795"/>
                </a:lnTo>
                <a:lnTo>
                  <a:pt x="685" y="795"/>
                </a:lnTo>
                <a:lnTo>
                  <a:pt x="700" y="793"/>
                </a:lnTo>
                <a:lnTo>
                  <a:pt x="706" y="792"/>
                </a:lnTo>
                <a:lnTo>
                  <a:pt x="713" y="790"/>
                </a:lnTo>
                <a:lnTo>
                  <a:pt x="718" y="787"/>
                </a:lnTo>
                <a:lnTo>
                  <a:pt x="724" y="783"/>
                </a:lnTo>
                <a:lnTo>
                  <a:pt x="732" y="780"/>
                </a:lnTo>
                <a:lnTo>
                  <a:pt x="742" y="773"/>
                </a:lnTo>
                <a:lnTo>
                  <a:pt x="749" y="769"/>
                </a:lnTo>
                <a:lnTo>
                  <a:pt x="756" y="766"/>
                </a:lnTo>
                <a:lnTo>
                  <a:pt x="763" y="764"/>
                </a:lnTo>
                <a:lnTo>
                  <a:pt x="771" y="764"/>
                </a:lnTo>
                <a:lnTo>
                  <a:pt x="779" y="764"/>
                </a:lnTo>
                <a:lnTo>
                  <a:pt x="785" y="767"/>
                </a:lnTo>
                <a:lnTo>
                  <a:pt x="790" y="771"/>
                </a:lnTo>
                <a:lnTo>
                  <a:pt x="794" y="775"/>
                </a:lnTo>
                <a:lnTo>
                  <a:pt x="796" y="782"/>
                </a:lnTo>
                <a:lnTo>
                  <a:pt x="798" y="789"/>
                </a:lnTo>
                <a:lnTo>
                  <a:pt x="801" y="796"/>
                </a:lnTo>
                <a:lnTo>
                  <a:pt x="802" y="804"/>
                </a:lnTo>
                <a:lnTo>
                  <a:pt x="803" y="820"/>
                </a:lnTo>
                <a:lnTo>
                  <a:pt x="805" y="837"/>
                </a:lnTo>
                <a:lnTo>
                  <a:pt x="807" y="845"/>
                </a:lnTo>
                <a:lnTo>
                  <a:pt x="809" y="851"/>
                </a:lnTo>
                <a:lnTo>
                  <a:pt x="813" y="857"/>
                </a:lnTo>
                <a:lnTo>
                  <a:pt x="817" y="862"/>
                </a:lnTo>
                <a:lnTo>
                  <a:pt x="822" y="865"/>
                </a:lnTo>
                <a:lnTo>
                  <a:pt x="828" y="867"/>
                </a:lnTo>
                <a:lnTo>
                  <a:pt x="838" y="869"/>
                </a:lnTo>
                <a:lnTo>
                  <a:pt x="849" y="871"/>
                </a:lnTo>
                <a:lnTo>
                  <a:pt x="874" y="874"/>
                </a:lnTo>
                <a:lnTo>
                  <a:pt x="897" y="875"/>
                </a:lnTo>
                <a:lnTo>
                  <a:pt x="925" y="876"/>
                </a:lnTo>
                <a:lnTo>
                  <a:pt x="948" y="878"/>
                </a:lnTo>
                <a:lnTo>
                  <a:pt x="970" y="882"/>
                </a:lnTo>
                <a:lnTo>
                  <a:pt x="991" y="887"/>
                </a:lnTo>
                <a:lnTo>
                  <a:pt x="1011" y="892"/>
                </a:lnTo>
                <a:lnTo>
                  <a:pt x="1035" y="896"/>
                </a:lnTo>
                <a:lnTo>
                  <a:pt x="1047" y="898"/>
                </a:lnTo>
                <a:lnTo>
                  <a:pt x="1060" y="899"/>
                </a:lnTo>
                <a:lnTo>
                  <a:pt x="1074" y="900"/>
                </a:lnTo>
                <a:lnTo>
                  <a:pt x="1089" y="900"/>
                </a:lnTo>
                <a:lnTo>
                  <a:pt x="1091" y="879"/>
                </a:lnTo>
                <a:lnTo>
                  <a:pt x="1093" y="865"/>
                </a:lnTo>
                <a:lnTo>
                  <a:pt x="1095" y="854"/>
                </a:lnTo>
                <a:lnTo>
                  <a:pt x="1096" y="844"/>
                </a:lnTo>
                <a:lnTo>
                  <a:pt x="1096" y="840"/>
                </a:lnTo>
                <a:lnTo>
                  <a:pt x="1097" y="836"/>
                </a:lnTo>
                <a:lnTo>
                  <a:pt x="1099" y="831"/>
                </a:lnTo>
                <a:lnTo>
                  <a:pt x="1102" y="827"/>
                </a:lnTo>
                <a:lnTo>
                  <a:pt x="1108" y="820"/>
                </a:lnTo>
                <a:lnTo>
                  <a:pt x="1116" y="814"/>
                </a:lnTo>
                <a:lnTo>
                  <a:pt x="1136" y="802"/>
                </a:lnTo>
                <a:lnTo>
                  <a:pt x="1156" y="789"/>
                </a:lnTo>
                <a:lnTo>
                  <a:pt x="1156" y="770"/>
                </a:lnTo>
                <a:lnTo>
                  <a:pt x="1151" y="769"/>
                </a:lnTo>
                <a:lnTo>
                  <a:pt x="1147" y="768"/>
                </a:lnTo>
                <a:lnTo>
                  <a:pt x="1143" y="766"/>
                </a:lnTo>
                <a:lnTo>
                  <a:pt x="1140" y="764"/>
                </a:lnTo>
                <a:lnTo>
                  <a:pt x="1136" y="758"/>
                </a:lnTo>
                <a:lnTo>
                  <a:pt x="1132" y="750"/>
                </a:lnTo>
                <a:lnTo>
                  <a:pt x="1130" y="734"/>
                </a:lnTo>
                <a:lnTo>
                  <a:pt x="1129" y="720"/>
                </a:lnTo>
                <a:lnTo>
                  <a:pt x="1121" y="719"/>
                </a:lnTo>
                <a:lnTo>
                  <a:pt x="1114" y="717"/>
                </a:lnTo>
                <a:lnTo>
                  <a:pt x="1105" y="713"/>
                </a:lnTo>
                <a:lnTo>
                  <a:pt x="1096" y="708"/>
                </a:lnTo>
                <a:lnTo>
                  <a:pt x="1087" y="701"/>
                </a:lnTo>
                <a:lnTo>
                  <a:pt x="1077" y="694"/>
                </a:lnTo>
                <a:lnTo>
                  <a:pt x="1069" y="686"/>
                </a:lnTo>
                <a:lnTo>
                  <a:pt x="1061" y="678"/>
                </a:lnTo>
                <a:lnTo>
                  <a:pt x="1044" y="660"/>
                </a:lnTo>
                <a:lnTo>
                  <a:pt x="1031" y="643"/>
                </a:lnTo>
                <a:lnTo>
                  <a:pt x="1026" y="635"/>
                </a:lnTo>
                <a:lnTo>
                  <a:pt x="1021" y="628"/>
                </a:lnTo>
                <a:lnTo>
                  <a:pt x="1018" y="622"/>
                </a:lnTo>
                <a:lnTo>
                  <a:pt x="1016" y="616"/>
                </a:lnTo>
                <a:lnTo>
                  <a:pt x="1017" y="609"/>
                </a:lnTo>
                <a:lnTo>
                  <a:pt x="1018" y="603"/>
                </a:lnTo>
                <a:lnTo>
                  <a:pt x="1019" y="598"/>
                </a:lnTo>
                <a:lnTo>
                  <a:pt x="1021" y="593"/>
                </a:lnTo>
                <a:lnTo>
                  <a:pt x="1027" y="584"/>
                </a:lnTo>
                <a:lnTo>
                  <a:pt x="1033" y="576"/>
                </a:lnTo>
                <a:lnTo>
                  <a:pt x="1039" y="568"/>
                </a:lnTo>
                <a:lnTo>
                  <a:pt x="1044" y="559"/>
                </a:lnTo>
                <a:lnTo>
                  <a:pt x="1047" y="553"/>
                </a:lnTo>
                <a:lnTo>
                  <a:pt x="1048" y="548"/>
                </a:lnTo>
                <a:lnTo>
                  <a:pt x="1049" y="542"/>
                </a:lnTo>
                <a:lnTo>
                  <a:pt x="1050" y="536"/>
                </a:lnTo>
                <a:lnTo>
                  <a:pt x="1049" y="531"/>
                </a:lnTo>
                <a:lnTo>
                  <a:pt x="1048" y="526"/>
                </a:lnTo>
                <a:lnTo>
                  <a:pt x="1047" y="522"/>
                </a:lnTo>
                <a:lnTo>
                  <a:pt x="1044" y="519"/>
                </a:lnTo>
                <a:lnTo>
                  <a:pt x="1041" y="517"/>
                </a:lnTo>
                <a:lnTo>
                  <a:pt x="1038" y="515"/>
                </a:lnTo>
                <a:lnTo>
                  <a:pt x="1035" y="513"/>
                </a:lnTo>
                <a:lnTo>
                  <a:pt x="1030" y="512"/>
                </a:lnTo>
                <a:lnTo>
                  <a:pt x="1013" y="511"/>
                </a:lnTo>
                <a:lnTo>
                  <a:pt x="996" y="512"/>
                </a:lnTo>
                <a:lnTo>
                  <a:pt x="993" y="511"/>
                </a:lnTo>
                <a:lnTo>
                  <a:pt x="990" y="510"/>
                </a:lnTo>
                <a:lnTo>
                  <a:pt x="986" y="509"/>
                </a:lnTo>
                <a:lnTo>
                  <a:pt x="983" y="507"/>
                </a:lnTo>
                <a:lnTo>
                  <a:pt x="976" y="501"/>
                </a:lnTo>
                <a:lnTo>
                  <a:pt x="971" y="493"/>
                </a:lnTo>
                <a:lnTo>
                  <a:pt x="966" y="485"/>
                </a:lnTo>
                <a:lnTo>
                  <a:pt x="962" y="475"/>
                </a:lnTo>
                <a:lnTo>
                  <a:pt x="958" y="464"/>
                </a:lnTo>
                <a:lnTo>
                  <a:pt x="954" y="453"/>
                </a:lnTo>
                <a:lnTo>
                  <a:pt x="950" y="429"/>
                </a:lnTo>
                <a:lnTo>
                  <a:pt x="946" y="407"/>
                </a:lnTo>
                <a:lnTo>
                  <a:pt x="943" y="389"/>
                </a:lnTo>
                <a:lnTo>
                  <a:pt x="943" y="375"/>
                </a:lnTo>
                <a:lnTo>
                  <a:pt x="940" y="375"/>
                </a:lnTo>
                <a:lnTo>
                  <a:pt x="937" y="373"/>
                </a:lnTo>
                <a:lnTo>
                  <a:pt x="934" y="371"/>
                </a:lnTo>
                <a:lnTo>
                  <a:pt x="931" y="369"/>
                </a:lnTo>
                <a:lnTo>
                  <a:pt x="928" y="366"/>
                </a:lnTo>
                <a:lnTo>
                  <a:pt x="926" y="363"/>
                </a:lnTo>
                <a:lnTo>
                  <a:pt x="924" y="360"/>
                </a:lnTo>
                <a:lnTo>
                  <a:pt x="924" y="357"/>
                </a:lnTo>
                <a:lnTo>
                  <a:pt x="924" y="354"/>
                </a:lnTo>
                <a:lnTo>
                  <a:pt x="925" y="351"/>
                </a:lnTo>
                <a:lnTo>
                  <a:pt x="926" y="348"/>
                </a:lnTo>
                <a:lnTo>
                  <a:pt x="928" y="345"/>
                </a:lnTo>
                <a:lnTo>
                  <a:pt x="934" y="339"/>
                </a:lnTo>
                <a:lnTo>
                  <a:pt x="940" y="334"/>
                </a:lnTo>
                <a:lnTo>
                  <a:pt x="946" y="328"/>
                </a:lnTo>
                <a:lnTo>
                  <a:pt x="951" y="323"/>
                </a:lnTo>
                <a:lnTo>
                  <a:pt x="955" y="318"/>
                </a:lnTo>
                <a:lnTo>
                  <a:pt x="957" y="314"/>
                </a:lnTo>
                <a:lnTo>
                  <a:pt x="958" y="301"/>
                </a:lnTo>
                <a:lnTo>
                  <a:pt x="960" y="293"/>
                </a:lnTo>
                <a:lnTo>
                  <a:pt x="962" y="285"/>
                </a:lnTo>
                <a:lnTo>
                  <a:pt x="963" y="271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59" name="Freeform 257"/>
          <p:cNvSpPr>
            <a:spLocks/>
          </p:cNvSpPr>
          <p:nvPr userDrawn="1">
            <p:custDataLst>
              <p:tags r:id="rId183"/>
            </p:custDataLst>
          </p:nvPr>
        </p:nvSpPr>
        <p:spPr bwMode="auto">
          <a:xfrm>
            <a:off x="5137151" y="2477691"/>
            <a:ext cx="247650" cy="171450"/>
          </a:xfrm>
          <a:custGeom>
            <a:avLst/>
            <a:gdLst>
              <a:gd name="T0" fmla="*/ 4890979 w 571"/>
              <a:gd name="T1" fmla="*/ 50593878 h 443"/>
              <a:gd name="T2" fmla="*/ 6959788 w 571"/>
              <a:gd name="T3" fmla="*/ 47132369 h 443"/>
              <a:gd name="T4" fmla="*/ 7712281 w 571"/>
              <a:gd name="T5" fmla="*/ 43670344 h 443"/>
              <a:gd name="T6" fmla="*/ 7336252 w 571"/>
              <a:gd name="T7" fmla="*/ 34350898 h 443"/>
              <a:gd name="T8" fmla="*/ 8276541 w 571"/>
              <a:gd name="T9" fmla="*/ 31953945 h 443"/>
              <a:gd name="T10" fmla="*/ 10345784 w 571"/>
              <a:gd name="T11" fmla="*/ 29823785 h 443"/>
              <a:gd name="T12" fmla="*/ 12791055 w 571"/>
              <a:gd name="T13" fmla="*/ 28492436 h 443"/>
              <a:gd name="T14" fmla="*/ 15048533 w 571"/>
              <a:gd name="T15" fmla="*/ 27693626 h 443"/>
              <a:gd name="T16" fmla="*/ 19374816 w 571"/>
              <a:gd name="T17" fmla="*/ 28226166 h 443"/>
              <a:gd name="T18" fmla="*/ 23325070 w 571"/>
              <a:gd name="T19" fmla="*/ 29024976 h 443"/>
              <a:gd name="T20" fmla="*/ 29721037 w 571"/>
              <a:gd name="T21" fmla="*/ 31953945 h 443"/>
              <a:gd name="T22" fmla="*/ 34611580 w 571"/>
              <a:gd name="T23" fmla="*/ 35948517 h 443"/>
              <a:gd name="T24" fmla="*/ 38750066 w 571"/>
              <a:gd name="T25" fmla="*/ 41007645 h 443"/>
              <a:gd name="T26" fmla="*/ 47779095 w 571"/>
              <a:gd name="T27" fmla="*/ 24497871 h 443"/>
              <a:gd name="T28" fmla="*/ 53610361 w 571"/>
              <a:gd name="T29" fmla="*/ 13047745 h 443"/>
              <a:gd name="T30" fmla="*/ 101201224 w 571"/>
              <a:gd name="T31" fmla="*/ 11450126 h 443"/>
              <a:gd name="T32" fmla="*/ 104775449 w 571"/>
              <a:gd name="T33" fmla="*/ 20770093 h 443"/>
              <a:gd name="T34" fmla="*/ 105716172 w 571"/>
              <a:gd name="T35" fmla="*/ 26096007 h 443"/>
              <a:gd name="T36" fmla="*/ 106092201 w 571"/>
              <a:gd name="T37" fmla="*/ 32752754 h 443"/>
              <a:gd name="T38" fmla="*/ 106844692 w 571"/>
              <a:gd name="T39" fmla="*/ 40208836 h 443"/>
              <a:gd name="T40" fmla="*/ 107408952 w 571"/>
              <a:gd name="T41" fmla="*/ 47398639 h 443"/>
              <a:gd name="T42" fmla="*/ 106092201 w 571"/>
              <a:gd name="T43" fmla="*/ 47931179 h 443"/>
              <a:gd name="T44" fmla="*/ 105716172 w 571"/>
              <a:gd name="T45" fmla="*/ 47664909 h 443"/>
              <a:gd name="T46" fmla="*/ 104963681 w 571"/>
              <a:gd name="T47" fmla="*/ 48996259 h 443"/>
              <a:gd name="T48" fmla="*/ 103082669 w 571"/>
              <a:gd name="T49" fmla="*/ 55120982 h 443"/>
              <a:gd name="T50" fmla="*/ 100449166 w 571"/>
              <a:gd name="T51" fmla="*/ 59913841 h 443"/>
              <a:gd name="T52" fmla="*/ 96874941 w 571"/>
              <a:gd name="T53" fmla="*/ 63641619 h 443"/>
              <a:gd name="T54" fmla="*/ 92924686 w 571"/>
              <a:gd name="T55" fmla="*/ 66304834 h 443"/>
              <a:gd name="T56" fmla="*/ 76183380 w 571"/>
              <a:gd name="T57" fmla="*/ 75358543 h 443"/>
              <a:gd name="T58" fmla="*/ 65272906 w 571"/>
              <a:gd name="T59" fmla="*/ 81749021 h 443"/>
              <a:gd name="T60" fmla="*/ 55491372 w 571"/>
              <a:gd name="T61" fmla="*/ 87341205 h 443"/>
              <a:gd name="T62" fmla="*/ 46086314 w 571"/>
              <a:gd name="T63" fmla="*/ 91867793 h 443"/>
              <a:gd name="T64" fmla="*/ 34988043 w 571"/>
              <a:gd name="T65" fmla="*/ 96661168 h 443"/>
              <a:gd name="T66" fmla="*/ 31413817 w 571"/>
              <a:gd name="T67" fmla="*/ 98791327 h 443"/>
              <a:gd name="T68" fmla="*/ 28027816 w 571"/>
              <a:gd name="T69" fmla="*/ 101454026 h 443"/>
              <a:gd name="T70" fmla="*/ 22384781 w 571"/>
              <a:gd name="T71" fmla="*/ 107312480 h 443"/>
              <a:gd name="T72" fmla="*/ 17306007 w 571"/>
              <a:gd name="T73" fmla="*/ 113437204 h 443"/>
              <a:gd name="T74" fmla="*/ 12603258 w 571"/>
              <a:gd name="T75" fmla="*/ 117963792 h 443"/>
              <a:gd name="T76" fmla="*/ 9405495 w 571"/>
              <a:gd name="T77" fmla="*/ 100655216 h 443"/>
              <a:gd name="T78" fmla="*/ 6207730 w 571"/>
              <a:gd name="T79" fmla="*/ 83346640 h 443"/>
              <a:gd name="T80" fmla="*/ 3009533 w 571"/>
              <a:gd name="T81" fmla="*/ 66837374 h 443"/>
              <a:gd name="T82" fmla="*/ 0 w 571"/>
              <a:gd name="T83" fmla="*/ 52191497 h 443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571"/>
              <a:gd name="T127" fmla="*/ 0 h 443"/>
              <a:gd name="T128" fmla="*/ 571 w 571"/>
              <a:gd name="T129" fmla="*/ 443 h 443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571" h="443">
                <a:moveTo>
                  <a:pt x="0" y="196"/>
                </a:moveTo>
                <a:lnTo>
                  <a:pt x="26" y="190"/>
                </a:lnTo>
                <a:lnTo>
                  <a:pt x="33" y="184"/>
                </a:lnTo>
                <a:lnTo>
                  <a:pt x="37" y="177"/>
                </a:lnTo>
                <a:lnTo>
                  <a:pt x="39" y="171"/>
                </a:lnTo>
                <a:lnTo>
                  <a:pt x="41" y="164"/>
                </a:lnTo>
                <a:lnTo>
                  <a:pt x="41" y="149"/>
                </a:lnTo>
                <a:lnTo>
                  <a:pt x="39" y="129"/>
                </a:lnTo>
                <a:lnTo>
                  <a:pt x="41" y="124"/>
                </a:lnTo>
                <a:lnTo>
                  <a:pt x="44" y="120"/>
                </a:lnTo>
                <a:lnTo>
                  <a:pt x="49" y="116"/>
                </a:lnTo>
                <a:lnTo>
                  <a:pt x="55" y="112"/>
                </a:lnTo>
                <a:lnTo>
                  <a:pt x="61" y="109"/>
                </a:lnTo>
                <a:lnTo>
                  <a:pt x="68" y="107"/>
                </a:lnTo>
                <a:lnTo>
                  <a:pt x="75" y="105"/>
                </a:lnTo>
                <a:lnTo>
                  <a:pt x="80" y="104"/>
                </a:lnTo>
                <a:lnTo>
                  <a:pt x="92" y="105"/>
                </a:lnTo>
                <a:lnTo>
                  <a:pt x="103" y="106"/>
                </a:lnTo>
                <a:lnTo>
                  <a:pt x="114" y="107"/>
                </a:lnTo>
                <a:lnTo>
                  <a:pt x="124" y="109"/>
                </a:lnTo>
                <a:lnTo>
                  <a:pt x="142" y="113"/>
                </a:lnTo>
                <a:lnTo>
                  <a:pt x="158" y="120"/>
                </a:lnTo>
                <a:lnTo>
                  <a:pt x="172" y="127"/>
                </a:lnTo>
                <a:lnTo>
                  <a:pt x="184" y="135"/>
                </a:lnTo>
                <a:lnTo>
                  <a:pt x="195" y="145"/>
                </a:lnTo>
                <a:lnTo>
                  <a:pt x="206" y="154"/>
                </a:lnTo>
                <a:lnTo>
                  <a:pt x="227" y="127"/>
                </a:lnTo>
                <a:lnTo>
                  <a:pt x="254" y="92"/>
                </a:lnTo>
                <a:lnTo>
                  <a:pt x="276" y="62"/>
                </a:lnTo>
                <a:lnTo>
                  <a:pt x="285" y="49"/>
                </a:lnTo>
                <a:lnTo>
                  <a:pt x="538" y="0"/>
                </a:lnTo>
                <a:lnTo>
                  <a:pt x="538" y="43"/>
                </a:lnTo>
                <a:lnTo>
                  <a:pt x="548" y="60"/>
                </a:lnTo>
                <a:lnTo>
                  <a:pt x="557" y="78"/>
                </a:lnTo>
                <a:lnTo>
                  <a:pt x="560" y="87"/>
                </a:lnTo>
                <a:lnTo>
                  <a:pt x="562" y="98"/>
                </a:lnTo>
                <a:lnTo>
                  <a:pt x="564" y="110"/>
                </a:lnTo>
                <a:lnTo>
                  <a:pt x="564" y="123"/>
                </a:lnTo>
                <a:lnTo>
                  <a:pt x="565" y="136"/>
                </a:lnTo>
                <a:lnTo>
                  <a:pt x="568" y="151"/>
                </a:lnTo>
                <a:lnTo>
                  <a:pt x="570" y="164"/>
                </a:lnTo>
                <a:lnTo>
                  <a:pt x="571" y="178"/>
                </a:lnTo>
                <a:lnTo>
                  <a:pt x="568" y="180"/>
                </a:lnTo>
                <a:lnTo>
                  <a:pt x="564" y="180"/>
                </a:lnTo>
                <a:lnTo>
                  <a:pt x="563" y="179"/>
                </a:lnTo>
                <a:lnTo>
                  <a:pt x="562" y="179"/>
                </a:lnTo>
                <a:lnTo>
                  <a:pt x="561" y="179"/>
                </a:lnTo>
                <a:lnTo>
                  <a:pt x="558" y="184"/>
                </a:lnTo>
                <a:lnTo>
                  <a:pt x="553" y="196"/>
                </a:lnTo>
                <a:lnTo>
                  <a:pt x="548" y="207"/>
                </a:lnTo>
                <a:lnTo>
                  <a:pt x="541" y="217"/>
                </a:lnTo>
                <a:lnTo>
                  <a:pt x="534" y="225"/>
                </a:lnTo>
                <a:lnTo>
                  <a:pt x="525" y="232"/>
                </a:lnTo>
                <a:lnTo>
                  <a:pt x="515" y="239"/>
                </a:lnTo>
                <a:lnTo>
                  <a:pt x="505" y="244"/>
                </a:lnTo>
                <a:lnTo>
                  <a:pt x="494" y="249"/>
                </a:lnTo>
                <a:lnTo>
                  <a:pt x="449" y="267"/>
                </a:lnTo>
                <a:lnTo>
                  <a:pt x="405" y="283"/>
                </a:lnTo>
                <a:lnTo>
                  <a:pt x="374" y="296"/>
                </a:lnTo>
                <a:lnTo>
                  <a:pt x="347" y="307"/>
                </a:lnTo>
                <a:lnTo>
                  <a:pt x="321" y="318"/>
                </a:lnTo>
                <a:lnTo>
                  <a:pt x="295" y="328"/>
                </a:lnTo>
                <a:lnTo>
                  <a:pt x="270" y="337"/>
                </a:lnTo>
                <a:lnTo>
                  <a:pt x="245" y="345"/>
                </a:lnTo>
                <a:lnTo>
                  <a:pt x="216" y="354"/>
                </a:lnTo>
                <a:lnTo>
                  <a:pt x="186" y="363"/>
                </a:lnTo>
                <a:lnTo>
                  <a:pt x="177" y="366"/>
                </a:lnTo>
                <a:lnTo>
                  <a:pt x="167" y="371"/>
                </a:lnTo>
                <a:lnTo>
                  <a:pt x="158" y="376"/>
                </a:lnTo>
                <a:lnTo>
                  <a:pt x="149" y="381"/>
                </a:lnTo>
                <a:lnTo>
                  <a:pt x="134" y="392"/>
                </a:lnTo>
                <a:lnTo>
                  <a:pt x="119" y="403"/>
                </a:lnTo>
                <a:lnTo>
                  <a:pt x="105" y="414"/>
                </a:lnTo>
                <a:lnTo>
                  <a:pt x="92" y="426"/>
                </a:lnTo>
                <a:lnTo>
                  <a:pt x="79" y="435"/>
                </a:lnTo>
                <a:lnTo>
                  <a:pt x="67" y="443"/>
                </a:lnTo>
                <a:lnTo>
                  <a:pt x="58" y="410"/>
                </a:lnTo>
                <a:lnTo>
                  <a:pt x="50" y="378"/>
                </a:lnTo>
                <a:lnTo>
                  <a:pt x="42" y="345"/>
                </a:lnTo>
                <a:lnTo>
                  <a:pt x="33" y="313"/>
                </a:lnTo>
                <a:lnTo>
                  <a:pt x="24" y="282"/>
                </a:lnTo>
                <a:lnTo>
                  <a:pt x="16" y="251"/>
                </a:lnTo>
                <a:lnTo>
                  <a:pt x="8" y="223"/>
                </a:lnTo>
                <a:lnTo>
                  <a:pt x="0" y="196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60" name="Freeform 258"/>
          <p:cNvSpPr>
            <a:spLocks/>
          </p:cNvSpPr>
          <p:nvPr userDrawn="1">
            <p:custDataLst>
              <p:tags r:id="rId184"/>
            </p:custDataLst>
          </p:nvPr>
        </p:nvSpPr>
        <p:spPr bwMode="auto">
          <a:xfrm>
            <a:off x="5332414" y="2308633"/>
            <a:ext cx="120650" cy="90488"/>
          </a:xfrm>
          <a:custGeom>
            <a:avLst/>
            <a:gdLst>
              <a:gd name="T0" fmla="*/ 0 w 286"/>
              <a:gd name="T1" fmla="*/ 31082192 h 228"/>
              <a:gd name="T2" fmla="*/ 711666 w 286"/>
              <a:gd name="T3" fmla="*/ 30521804 h 228"/>
              <a:gd name="T4" fmla="*/ 1245732 w 286"/>
              <a:gd name="T5" fmla="*/ 30521804 h 228"/>
              <a:gd name="T6" fmla="*/ 1779798 w 286"/>
              <a:gd name="T7" fmla="*/ 30801733 h 228"/>
              <a:gd name="T8" fmla="*/ 1957399 w 286"/>
              <a:gd name="T9" fmla="*/ 31082192 h 228"/>
              <a:gd name="T10" fmla="*/ 2135421 w 286"/>
              <a:gd name="T11" fmla="*/ 32761766 h 228"/>
              <a:gd name="T12" fmla="*/ 2313442 w 286"/>
              <a:gd name="T13" fmla="*/ 34441870 h 228"/>
              <a:gd name="T14" fmla="*/ 2491464 w 286"/>
              <a:gd name="T15" fmla="*/ 35842053 h 228"/>
              <a:gd name="T16" fmla="*/ 2847508 w 286"/>
              <a:gd name="T17" fmla="*/ 36682369 h 228"/>
              <a:gd name="T18" fmla="*/ 3381152 w 286"/>
              <a:gd name="T19" fmla="*/ 37522156 h 228"/>
              <a:gd name="T20" fmla="*/ 4270841 w 286"/>
              <a:gd name="T21" fmla="*/ 38082544 h 228"/>
              <a:gd name="T22" fmla="*/ 5160951 w 286"/>
              <a:gd name="T23" fmla="*/ 38362473 h 228"/>
              <a:gd name="T24" fmla="*/ 6584705 w 286"/>
              <a:gd name="T25" fmla="*/ 38642402 h 228"/>
              <a:gd name="T26" fmla="*/ 8542104 w 286"/>
              <a:gd name="T27" fmla="*/ 38642402 h 228"/>
              <a:gd name="T28" fmla="*/ 10677524 w 286"/>
              <a:gd name="T29" fmla="*/ 38082544 h 228"/>
              <a:gd name="T30" fmla="*/ 17440252 w 286"/>
              <a:gd name="T31" fmla="*/ 36402440 h 228"/>
              <a:gd name="T32" fmla="*/ 22956823 w 286"/>
              <a:gd name="T33" fmla="*/ 34161941 h 228"/>
              <a:gd name="T34" fmla="*/ 25448287 w 286"/>
              <a:gd name="T35" fmla="*/ 33042224 h 228"/>
              <a:gd name="T36" fmla="*/ 27761735 w 286"/>
              <a:gd name="T37" fmla="*/ 31921979 h 228"/>
              <a:gd name="T38" fmla="*/ 29719133 w 286"/>
              <a:gd name="T39" fmla="*/ 30521804 h 228"/>
              <a:gd name="T40" fmla="*/ 31676952 w 286"/>
              <a:gd name="T41" fmla="*/ 28841701 h 228"/>
              <a:gd name="T42" fmla="*/ 33456328 w 286"/>
              <a:gd name="T43" fmla="*/ 26881668 h 228"/>
              <a:gd name="T44" fmla="*/ 35236126 w 286"/>
              <a:gd name="T45" fmla="*/ 24361777 h 228"/>
              <a:gd name="T46" fmla="*/ 37015502 w 286"/>
              <a:gd name="T47" fmla="*/ 21841357 h 228"/>
              <a:gd name="T48" fmla="*/ 38973321 w 286"/>
              <a:gd name="T49" fmla="*/ 18201220 h 228"/>
              <a:gd name="T50" fmla="*/ 40752697 w 286"/>
              <a:gd name="T51" fmla="*/ 14561079 h 228"/>
              <a:gd name="T52" fmla="*/ 42888539 w 286"/>
              <a:gd name="T53" fmla="*/ 10360556 h 228"/>
              <a:gd name="T54" fmla="*/ 45023958 w 286"/>
              <a:gd name="T55" fmla="*/ 5600171 h 228"/>
              <a:gd name="T56" fmla="*/ 47337400 w 286"/>
              <a:gd name="T57" fmla="*/ 0 h 228"/>
              <a:gd name="T58" fmla="*/ 48049066 w 286"/>
              <a:gd name="T59" fmla="*/ 1960033 h 228"/>
              <a:gd name="T60" fmla="*/ 48761154 w 286"/>
              <a:gd name="T61" fmla="*/ 3640138 h 228"/>
              <a:gd name="T62" fmla="*/ 49116776 w 286"/>
              <a:gd name="T63" fmla="*/ 5600171 h 228"/>
              <a:gd name="T64" fmla="*/ 49650842 w 286"/>
              <a:gd name="T65" fmla="*/ 7560733 h 228"/>
              <a:gd name="T66" fmla="*/ 50184908 w 286"/>
              <a:gd name="T67" fmla="*/ 11760730 h 228"/>
              <a:gd name="T68" fmla="*/ 50896574 w 286"/>
              <a:gd name="T69" fmla="*/ 17360904 h 228"/>
              <a:gd name="T70" fmla="*/ 43778227 w 286"/>
              <a:gd name="T71" fmla="*/ 55443439 h 228"/>
              <a:gd name="T72" fmla="*/ 40219053 w 286"/>
              <a:gd name="T73" fmla="*/ 63843958 h 228"/>
              <a:gd name="T74" fmla="*/ 9431792 w 286"/>
              <a:gd name="T75" fmla="*/ 58803647 h 228"/>
              <a:gd name="T76" fmla="*/ 0 w 286"/>
              <a:gd name="T77" fmla="*/ 31082192 h 228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286"/>
              <a:gd name="T118" fmla="*/ 0 h 228"/>
              <a:gd name="T119" fmla="*/ 286 w 286"/>
              <a:gd name="T120" fmla="*/ 228 h 228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286" h="228">
                <a:moveTo>
                  <a:pt x="0" y="111"/>
                </a:moveTo>
                <a:lnTo>
                  <a:pt x="4" y="109"/>
                </a:lnTo>
                <a:lnTo>
                  <a:pt x="7" y="109"/>
                </a:lnTo>
                <a:lnTo>
                  <a:pt x="10" y="110"/>
                </a:lnTo>
                <a:lnTo>
                  <a:pt x="11" y="111"/>
                </a:lnTo>
                <a:lnTo>
                  <a:pt x="12" y="117"/>
                </a:lnTo>
                <a:lnTo>
                  <a:pt x="13" y="123"/>
                </a:lnTo>
                <a:lnTo>
                  <a:pt x="14" y="128"/>
                </a:lnTo>
                <a:lnTo>
                  <a:pt x="16" y="131"/>
                </a:lnTo>
                <a:lnTo>
                  <a:pt x="19" y="134"/>
                </a:lnTo>
                <a:lnTo>
                  <a:pt x="24" y="136"/>
                </a:lnTo>
                <a:lnTo>
                  <a:pt x="29" y="137"/>
                </a:lnTo>
                <a:lnTo>
                  <a:pt x="37" y="138"/>
                </a:lnTo>
                <a:lnTo>
                  <a:pt x="48" y="138"/>
                </a:lnTo>
                <a:lnTo>
                  <a:pt x="60" y="136"/>
                </a:lnTo>
                <a:lnTo>
                  <a:pt x="98" y="130"/>
                </a:lnTo>
                <a:lnTo>
                  <a:pt x="129" y="122"/>
                </a:lnTo>
                <a:lnTo>
                  <a:pt x="143" y="118"/>
                </a:lnTo>
                <a:lnTo>
                  <a:pt x="156" y="114"/>
                </a:lnTo>
                <a:lnTo>
                  <a:pt x="167" y="109"/>
                </a:lnTo>
                <a:lnTo>
                  <a:pt x="178" y="103"/>
                </a:lnTo>
                <a:lnTo>
                  <a:pt x="188" y="96"/>
                </a:lnTo>
                <a:lnTo>
                  <a:pt x="198" y="87"/>
                </a:lnTo>
                <a:lnTo>
                  <a:pt x="208" y="78"/>
                </a:lnTo>
                <a:lnTo>
                  <a:pt x="219" y="65"/>
                </a:lnTo>
                <a:lnTo>
                  <a:pt x="229" y="52"/>
                </a:lnTo>
                <a:lnTo>
                  <a:pt x="241" y="37"/>
                </a:lnTo>
                <a:lnTo>
                  <a:pt x="253" y="20"/>
                </a:lnTo>
                <a:lnTo>
                  <a:pt x="266" y="0"/>
                </a:lnTo>
                <a:lnTo>
                  <a:pt x="270" y="7"/>
                </a:lnTo>
                <a:lnTo>
                  <a:pt x="274" y="13"/>
                </a:lnTo>
                <a:lnTo>
                  <a:pt x="276" y="20"/>
                </a:lnTo>
                <a:lnTo>
                  <a:pt x="279" y="27"/>
                </a:lnTo>
                <a:lnTo>
                  <a:pt x="282" y="42"/>
                </a:lnTo>
                <a:lnTo>
                  <a:pt x="286" y="62"/>
                </a:lnTo>
                <a:lnTo>
                  <a:pt x="246" y="198"/>
                </a:lnTo>
                <a:lnTo>
                  <a:pt x="226" y="228"/>
                </a:lnTo>
                <a:lnTo>
                  <a:pt x="53" y="210"/>
                </a:lnTo>
                <a:lnTo>
                  <a:pt x="0" y="111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61" name="Freeform 259"/>
          <p:cNvSpPr>
            <a:spLocks/>
          </p:cNvSpPr>
          <p:nvPr userDrawn="1">
            <p:custDataLst>
              <p:tags r:id="rId185"/>
            </p:custDataLst>
          </p:nvPr>
        </p:nvSpPr>
        <p:spPr bwMode="auto">
          <a:xfrm>
            <a:off x="5019678" y="2047885"/>
            <a:ext cx="222250" cy="197644"/>
          </a:xfrm>
          <a:custGeom>
            <a:avLst/>
            <a:gdLst>
              <a:gd name="T0" fmla="*/ 85989954 w 524"/>
              <a:gd name="T1" fmla="*/ 100754226 h 505"/>
              <a:gd name="T2" fmla="*/ 87069392 w 524"/>
              <a:gd name="T3" fmla="*/ 94218808 h 505"/>
              <a:gd name="T4" fmla="*/ 86889557 w 524"/>
              <a:gd name="T5" fmla="*/ 89589640 h 505"/>
              <a:gd name="T6" fmla="*/ 85989954 w 524"/>
              <a:gd name="T7" fmla="*/ 82237033 h 505"/>
              <a:gd name="T8" fmla="*/ 81852458 w 524"/>
              <a:gd name="T9" fmla="*/ 81420367 h 505"/>
              <a:gd name="T10" fmla="*/ 77535126 w 524"/>
              <a:gd name="T11" fmla="*/ 78425054 h 505"/>
              <a:gd name="T12" fmla="*/ 73217371 w 524"/>
              <a:gd name="T13" fmla="*/ 74612552 h 505"/>
              <a:gd name="T14" fmla="*/ 69439547 w 524"/>
              <a:gd name="T15" fmla="*/ 69710988 h 505"/>
              <a:gd name="T16" fmla="*/ 65841982 w 524"/>
              <a:gd name="T17" fmla="*/ 64537012 h 505"/>
              <a:gd name="T18" fmla="*/ 63323433 w 524"/>
              <a:gd name="T19" fmla="*/ 58818782 h 505"/>
              <a:gd name="T20" fmla="*/ 61524227 w 524"/>
              <a:gd name="T21" fmla="*/ 53372426 h 505"/>
              <a:gd name="T22" fmla="*/ 60984719 w 524"/>
              <a:gd name="T23" fmla="*/ 48470862 h 505"/>
              <a:gd name="T24" fmla="*/ 61344391 w 524"/>
              <a:gd name="T25" fmla="*/ 44114091 h 505"/>
              <a:gd name="T26" fmla="*/ 62783502 w 524"/>
              <a:gd name="T27" fmla="*/ 40846381 h 505"/>
              <a:gd name="T28" fmla="*/ 65662147 w 524"/>
              <a:gd name="T29" fmla="*/ 37033880 h 505"/>
              <a:gd name="T30" fmla="*/ 63683105 w 524"/>
              <a:gd name="T31" fmla="*/ 35400025 h 505"/>
              <a:gd name="T32" fmla="*/ 61344391 w 524"/>
              <a:gd name="T33" fmla="*/ 32404704 h 505"/>
              <a:gd name="T34" fmla="*/ 56666964 w 524"/>
              <a:gd name="T35" fmla="*/ 23690639 h 505"/>
              <a:gd name="T36" fmla="*/ 52529455 w 524"/>
              <a:gd name="T37" fmla="*/ 13887507 h 505"/>
              <a:gd name="T38" fmla="*/ 50190741 w 524"/>
              <a:gd name="T39" fmla="*/ 6807817 h 505"/>
              <a:gd name="T40" fmla="*/ 46773013 w 524"/>
              <a:gd name="T41" fmla="*/ 6535420 h 505"/>
              <a:gd name="T42" fmla="*/ 42995189 w 524"/>
              <a:gd name="T43" fmla="*/ 5173962 h 505"/>
              <a:gd name="T44" fmla="*/ 39397201 w 524"/>
              <a:gd name="T45" fmla="*/ 2995314 h 505"/>
              <a:gd name="T46" fmla="*/ 35439541 w 524"/>
              <a:gd name="T47" fmla="*/ 1633855 h 505"/>
              <a:gd name="T48" fmla="*/ 30582278 w 524"/>
              <a:gd name="T49" fmla="*/ 816667 h 505"/>
              <a:gd name="T50" fmla="*/ 26804447 w 524"/>
              <a:gd name="T51" fmla="*/ 2178648 h 505"/>
              <a:gd name="T52" fmla="*/ 20508073 w 524"/>
              <a:gd name="T53" fmla="*/ 11164590 h 505"/>
              <a:gd name="T54" fmla="*/ 17629852 w 524"/>
              <a:gd name="T55" fmla="*/ 15521362 h 505"/>
              <a:gd name="T56" fmla="*/ 16730249 w 524"/>
              <a:gd name="T57" fmla="*/ 17427617 h 505"/>
              <a:gd name="T58" fmla="*/ 16910085 w 524"/>
              <a:gd name="T59" fmla="*/ 25596890 h 505"/>
              <a:gd name="T60" fmla="*/ 17089921 w 524"/>
              <a:gd name="T61" fmla="*/ 38122943 h 505"/>
              <a:gd name="T62" fmla="*/ 16910085 w 524"/>
              <a:gd name="T63" fmla="*/ 44658361 h 505"/>
              <a:gd name="T64" fmla="*/ 15470975 w 524"/>
              <a:gd name="T65" fmla="*/ 49015654 h 505"/>
              <a:gd name="T66" fmla="*/ 12052819 w 524"/>
              <a:gd name="T67" fmla="*/ 53644822 h 505"/>
              <a:gd name="T68" fmla="*/ 7195980 w 524"/>
              <a:gd name="T69" fmla="*/ 58273990 h 505"/>
              <a:gd name="T70" fmla="*/ 2338714 w 524"/>
              <a:gd name="T71" fmla="*/ 62086491 h 505"/>
              <a:gd name="T72" fmla="*/ 359672 w 524"/>
              <a:gd name="T73" fmla="*/ 66988055 h 505"/>
              <a:gd name="T74" fmla="*/ 359672 w 524"/>
              <a:gd name="T75" fmla="*/ 71889635 h 505"/>
              <a:gd name="T76" fmla="*/ 0 w 524"/>
              <a:gd name="T77" fmla="*/ 75701615 h 505"/>
              <a:gd name="T78" fmla="*/ 0 w 524"/>
              <a:gd name="T79" fmla="*/ 78696928 h 505"/>
              <a:gd name="T80" fmla="*/ 1259275 w 524"/>
              <a:gd name="T81" fmla="*/ 81964637 h 505"/>
              <a:gd name="T82" fmla="*/ 4677429 w 524"/>
              <a:gd name="T83" fmla="*/ 85504742 h 505"/>
              <a:gd name="T84" fmla="*/ 11153640 w 524"/>
              <a:gd name="T85" fmla="*/ 90133910 h 505"/>
              <a:gd name="T86" fmla="*/ 21587512 w 524"/>
              <a:gd name="T87" fmla="*/ 96669329 h 505"/>
              <a:gd name="T88" fmla="*/ 32381060 w 524"/>
              <a:gd name="T89" fmla="*/ 101843288 h 505"/>
              <a:gd name="T90" fmla="*/ 38497597 w 524"/>
              <a:gd name="T91" fmla="*/ 104838602 h 505"/>
              <a:gd name="T92" fmla="*/ 42635093 w 524"/>
              <a:gd name="T93" fmla="*/ 108923499 h 505"/>
              <a:gd name="T94" fmla="*/ 45333902 w 524"/>
              <a:gd name="T95" fmla="*/ 113825063 h 505"/>
              <a:gd name="T96" fmla="*/ 47132685 w 524"/>
              <a:gd name="T97" fmla="*/ 118454231 h 505"/>
              <a:gd name="T98" fmla="*/ 47852452 w 524"/>
              <a:gd name="T99" fmla="*/ 122811002 h 505"/>
              <a:gd name="T100" fmla="*/ 48571795 w 524"/>
              <a:gd name="T101" fmla="*/ 127712566 h 505"/>
              <a:gd name="T102" fmla="*/ 49831070 w 524"/>
              <a:gd name="T103" fmla="*/ 130980275 h 505"/>
              <a:gd name="T104" fmla="*/ 51630276 w 524"/>
              <a:gd name="T105" fmla="*/ 133158922 h 505"/>
              <a:gd name="T106" fmla="*/ 55227840 w 524"/>
              <a:gd name="T107" fmla="*/ 135337047 h 505"/>
              <a:gd name="T108" fmla="*/ 59005677 w 524"/>
              <a:gd name="T109" fmla="*/ 136970934 h 505"/>
              <a:gd name="T110" fmla="*/ 60264952 w 524"/>
              <a:gd name="T111" fmla="*/ 136154235 h 505"/>
              <a:gd name="T112" fmla="*/ 62243994 w 524"/>
              <a:gd name="T113" fmla="*/ 135881839 h 505"/>
              <a:gd name="T114" fmla="*/ 65841982 w 524"/>
              <a:gd name="T115" fmla="*/ 136970934 h 505"/>
              <a:gd name="T116" fmla="*/ 68900039 w 524"/>
              <a:gd name="T117" fmla="*/ 137515726 h 505"/>
              <a:gd name="T118" fmla="*/ 78614565 w 524"/>
              <a:gd name="T119" fmla="*/ 137515726 h 505"/>
              <a:gd name="T120" fmla="*/ 83651664 w 524"/>
              <a:gd name="T121" fmla="*/ 122266210 h 505"/>
              <a:gd name="T122" fmla="*/ 88508503 w 524"/>
              <a:gd name="T123" fmla="*/ 118998501 h 50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524"/>
              <a:gd name="T187" fmla="*/ 0 h 505"/>
              <a:gd name="T188" fmla="*/ 524 w 524"/>
              <a:gd name="T189" fmla="*/ 505 h 505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524" h="505">
                <a:moveTo>
                  <a:pt x="524" y="419"/>
                </a:moveTo>
                <a:lnTo>
                  <a:pt x="478" y="370"/>
                </a:lnTo>
                <a:lnTo>
                  <a:pt x="482" y="357"/>
                </a:lnTo>
                <a:lnTo>
                  <a:pt x="484" y="346"/>
                </a:lnTo>
                <a:lnTo>
                  <a:pt x="484" y="336"/>
                </a:lnTo>
                <a:lnTo>
                  <a:pt x="483" y="329"/>
                </a:lnTo>
                <a:lnTo>
                  <a:pt x="479" y="315"/>
                </a:lnTo>
                <a:lnTo>
                  <a:pt x="478" y="302"/>
                </a:lnTo>
                <a:lnTo>
                  <a:pt x="466" y="301"/>
                </a:lnTo>
                <a:lnTo>
                  <a:pt x="455" y="299"/>
                </a:lnTo>
                <a:lnTo>
                  <a:pt x="443" y="295"/>
                </a:lnTo>
                <a:lnTo>
                  <a:pt x="431" y="288"/>
                </a:lnTo>
                <a:lnTo>
                  <a:pt x="419" y="282"/>
                </a:lnTo>
                <a:lnTo>
                  <a:pt x="407" y="274"/>
                </a:lnTo>
                <a:lnTo>
                  <a:pt x="396" y="266"/>
                </a:lnTo>
                <a:lnTo>
                  <a:pt x="386" y="256"/>
                </a:lnTo>
                <a:lnTo>
                  <a:pt x="376" y="247"/>
                </a:lnTo>
                <a:lnTo>
                  <a:pt x="366" y="237"/>
                </a:lnTo>
                <a:lnTo>
                  <a:pt x="359" y="226"/>
                </a:lnTo>
                <a:lnTo>
                  <a:pt x="352" y="216"/>
                </a:lnTo>
                <a:lnTo>
                  <a:pt x="347" y="206"/>
                </a:lnTo>
                <a:lnTo>
                  <a:pt x="342" y="196"/>
                </a:lnTo>
                <a:lnTo>
                  <a:pt x="339" y="187"/>
                </a:lnTo>
                <a:lnTo>
                  <a:pt x="339" y="178"/>
                </a:lnTo>
                <a:lnTo>
                  <a:pt x="339" y="170"/>
                </a:lnTo>
                <a:lnTo>
                  <a:pt x="341" y="162"/>
                </a:lnTo>
                <a:lnTo>
                  <a:pt x="346" y="156"/>
                </a:lnTo>
                <a:lnTo>
                  <a:pt x="349" y="150"/>
                </a:lnTo>
                <a:lnTo>
                  <a:pt x="358" y="142"/>
                </a:lnTo>
                <a:lnTo>
                  <a:pt x="365" y="136"/>
                </a:lnTo>
                <a:lnTo>
                  <a:pt x="360" y="134"/>
                </a:lnTo>
                <a:lnTo>
                  <a:pt x="354" y="130"/>
                </a:lnTo>
                <a:lnTo>
                  <a:pt x="348" y="126"/>
                </a:lnTo>
                <a:lnTo>
                  <a:pt x="341" y="119"/>
                </a:lnTo>
                <a:lnTo>
                  <a:pt x="328" y="104"/>
                </a:lnTo>
                <a:lnTo>
                  <a:pt x="315" y="87"/>
                </a:lnTo>
                <a:lnTo>
                  <a:pt x="302" y="69"/>
                </a:lnTo>
                <a:lnTo>
                  <a:pt x="292" y="51"/>
                </a:lnTo>
                <a:lnTo>
                  <a:pt x="283" y="36"/>
                </a:lnTo>
                <a:lnTo>
                  <a:pt x="279" y="25"/>
                </a:lnTo>
                <a:lnTo>
                  <a:pt x="272" y="25"/>
                </a:lnTo>
                <a:lnTo>
                  <a:pt x="260" y="24"/>
                </a:lnTo>
                <a:lnTo>
                  <a:pt x="249" y="22"/>
                </a:lnTo>
                <a:lnTo>
                  <a:pt x="239" y="19"/>
                </a:lnTo>
                <a:lnTo>
                  <a:pt x="229" y="16"/>
                </a:lnTo>
                <a:lnTo>
                  <a:pt x="219" y="11"/>
                </a:lnTo>
                <a:lnTo>
                  <a:pt x="208" y="9"/>
                </a:lnTo>
                <a:lnTo>
                  <a:pt x="197" y="6"/>
                </a:lnTo>
                <a:lnTo>
                  <a:pt x="185" y="6"/>
                </a:lnTo>
                <a:lnTo>
                  <a:pt x="170" y="3"/>
                </a:lnTo>
                <a:lnTo>
                  <a:pt x="159" y="0"/>
                </a:lnTo>
                <a:lnTo>
                  <a:pt x="149" y="8"/>
                </a:lnTo>
                <a:lnTo>
                  <a:pt x="126" y="29"/>
                </a:lnTo>
                <a:lnTo>
                  <a:pt x="114" y="41"/>
                </a:lnTo>
                <a:lnTo>
                  <a:pt x="103" y="52"/>
                </a:lnTo>
                <a:lnTo>
                  <a:pt x="98" y="57"/>
                </a:lnTo>
                <a:lnTo>
                  <a:pt x="95" y="61"/>
                </a:lnTo>
                <a:lnTo>
                  <a:pt x="93" y="64"/>
                </a:lnTo>
                <a:lnTo>
                  <a:pt x="93" y="68"/>
                </a:lnTo>
                <a:lnTo>
                  <a:pt x="94" y="94"/>
                </a:lnTo>
                <a:lnTo>
                  <a:pt x="95" y="125"/>
                </a:lnTo>
                <a:lnTo>
                  <a:pt x="95" y="140"/>
                </a:lnTo>
                <a:lnTo>
                  <a:pt x="95" y="153"/>
                </a:lnTo>
                <a:lnTo>
                  <a:pt x="94" y="164"/>
                </a:lnTo>
                <a:lnTo>
                  <a:pt x="93" y="172"/>
                </a:lnTo>
                <a:lnTo>
                  <a:pt x="86" y="180"/>
                </a:lnTo>
                <a:lnTo>
                  <a:pt x="78" y="188"/>
                </a:lnTo>
                <a:lnTo>
                  <a:pt x="67" y="197"/>
                </a:lnTo>
                <a:lnTo>
                  <a:pt x="53" y="206"/>
                </a:lnTo>
                <a:lnTo>
                  <a:pt x="40" y="214"/>
                </a:lnTo>
                <a:lnTo>
                  <a:pt x="26" y="222"/>
                </a:lnTo>
                <a:lnTo>
                  <a:pt x="13" y="228"/>
                </a:lnTo>
                <a:lnTo>
                  <a:pt x="0" y="235"/>
                </a:lnTo>
                <a:lnTo>
                  <a:pt x="2" y="246"/>
                </a:lnTo>
                <a:lnTo>
                  <a:pt x="3" y="256"/>
                </a:lnTo>
                <a:lnTo>
                  <a:pt x="2" y="264"/>
                </a:lnTo>
                <a:lnTo>
                  <a:pt x="1" y="272"/>
                </a:lnTo>
                <a:lnTo>
                  <a:pt x="0" y="278"/>
                </a:lnTo>
                <a:lnTo>
                  <a:pt x="0" y="284"/>
                </a:lnTo>
                <a:lnTo>
                  <a:pt x="0" y="289"/>
                </a:lnTo>
                <a:lnTo>
                  <a:pt x="2" y="295"/>
                </a:lnTo>
                <a:lnTo>
                  <a:pt x="7" y="301"/>
                </a:lnTo>
                <a:lnTo>
                  <a:pt x="15" y="307"/>
                </a:lnTo>
                <a:lnTo>
                  <a:pt x="26" y="314"/>
                </a:lnTo>
                <a:lnTo>
                  <a:pt x="41" y="321"/>
                </a:lnTo>
                <a:lnTo>
                  <a:pt x="62" y="331"/>
                </a:lnTo>
                <a:lnTo>
                  <a:pt x="89" y="341"/>
                </a:lnTo>
                <a:lnTo>
                  <a:pt x="120" y="355"/>
                </a:lnTo>
                <a:lnTo>
                  <a:pt x="159" y="370"/>
                </a:lnTo>
                <a:lnTo>
                  <a:pt x="180" y="374"/>
                </a:lnTo>
                <a:lnTo>
                  <a:pt x="198" y="379"/>
                </a:lnTo>
                <a:lnTo>
                  <a:pt x="214" y="385"/>
                </a:lnTo>
                <a:lnTo>
                  <a:pt x="226" y="393"/>
                </a:lnTo>
                <a:lnTo>
                  <a:pt x="237" y="400"/>
                </a:lnTo>
                <a:lnTo>
                  <a:pt x="246" y="410"/>
                </a:lnTo>
                <a:lnTo>
                  <a:pt x="252" y="418"/>
                </a:lnTo>
                <a:lnTo>
                  <a:pt x="258" y="427"/>
                </a:lnTo>
                <a:lnTo>
                  <a:pt x="262" y="435"/>
                </a:lnTo>
                <a:lnTo>
                  <a:pt x="265" y="443"/>
                </a:lnTo>
                <a:lnTo>
                  <a:pt x="266" y="451"/>
                </a:lnTo>
                <a:lnTo>
                  <a:pt x="269" y="458"/>
                </a:lnTo>
                <a:lnTo>
                  <a:pt x="270" y="469"/>
                </a:lnTo>
                <a:lnTo>
                  <a:pt x="272" y="475"/>
                </a:lnTo>
                <a:lnTo>
                  <a:pt x="277" y="481"/>
                </a:lnTo>
                <a:lnTo>
                  <a:pt x="282" y="485"/>
                </a:lnTo>
                <a:lnTo>
                  <a:pt x="287" y="489"/>
                </a:lnTo>
                <a:lnTo>
                  <a:pt x="294" y="492"/>
                </a:lnTo>
                <a:lnTo>
                  <a:pt x="307" y="497"/>
                </a:lnTo>
                <a:lnTo>
                  <a:pt x="325" y="505"/>
                </a:lnTo>
                <a:lnTo>
                  <a:pt x="328" y="503"/>
                </a:lnTo>
                <a:lnTo>
                  <a:pt x="331" y="501"/>
                </a:lnTo>
                <a:lnTo>
                  <a:pt x="335" y="500"/>
                </a:lnTo>
                <a:lnTo>
                  <a:pt x="338" y="500"/>
                </a:lnTo>
                <a:lnTo>
                  <a:pt x="346" y="499"/>
                </a:lnTo>
                <a:lnTo>
                  <a:pt x="353" y="500"/>
                </a:lnTo>
                <a:lnTo>
                  <a:pt x="366" y="503"/>
                </a:lnTo>
                <a:lnTo>
                  <a:pt x="372" y="505"/>
                </a:lnTo>
                <a:lnTo>
                  <a:pt x="383" y="505"/>
                </a:lnTo>
                <a:lnTo>
                  <a:pt x="407" y="505"/>
                </a:lnTo>
                <a:lnTo>
                  <a:pt x="437" y="505"/>
                </a:lnTo>
                <a:lnTo>
                  <a:pt x="458" y="505"/>
                </a:lnTo>
                <a:lnTo>
                  <a:pt x="465" y="449"/>
                </a:lnTo>
                <a:lnTo>
                  <a:pt x="478" y="443"/>
                </a:lnTo>
                <a:lnTo>
                  <a:pt x="492" y="437"/>
                </a:lnTo>
                <a:lnTo>
                  <a:pt x="524" y="419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62" name="Freeform 260"/>
          <p:cNvSpPr>
            <a:spLocks/>
          </p:cNvSpPr>
          <p:nvPr userDrawn="1">
            <p:custDataLst>
              <p:tags r:id="rId186"/>
            </p:custDataLst>
          </p:nvPr>
        </p:nvSpPr>
        <p:spPr bwMode="auto">
          <a:xfrm>
            <a:off x="5519737" y="2018110"/>
            <a:ext cx="331788" cy="217884"/>
          </a:xfrm>
          <a:custGeom>
            <a:avLst/>
            <a:gdLst>
              <a:gd name="T0" fmla="*/ 11692921 w 764"/>
              <a:gd name="T1" fmla="*/ 53702837 h 555"/>
              <a:gd name="T2" fmla="*/ 17539600 w 764"/>
              <a:gd name="T3" fmla="*/ 52059220 h 555"/>
              <a:gd name="T4" fmla="*/ 24140616 w 764"/>
              <a:gd name="T5" fmla="*/ 49867034 h 555"/>
              <a:gd name="T6" fmla="*/ 33004658 w 764"/>
              <a:gd name="T7" fmla="*/ 41373095 h 555"/>
              <a:gd name="T8" fmla="*/ 36587880 w 764"/>
              <a:gd name="T9" fmla="*/ 34523296 h 555"/>
              <a:gd name="T10" fmla="*/ 37530696 w 764"/>
              <a:gd name="T11" fmla="*/ 24111447 h 555"/>
              <a:gd name="T12" fmla="*/ 39228286 w 764"/>
              <a:gd name="T13" fmla="*/ 18905788 h 555"/>
              <a:gd name="T14" fmla="*/ 45263439 w 764"/>
              <a:gd name="T15" fmla="*/ 16439835 h 555"/>
              <a:gd name="T16" fmla="*/ 55447677 w 764"/>
              <a:gd name="T17" fmla="*/ 16987882 h 555"/>
              <a:gd name="T18" fmla="*/ 62048272 w 764"/>
              <a:gd name="T19" fmla="*/ 19453835 h 555"/>
              <a:gd name="T20" fmla="*/ 68271900 w 764"/>
              <a:gd name="T21" fmla="*/ 24659493 h 555"/>
              <a:gd name="T22" fmla="*/ 72798373 w 764"/>
              <a:gd name="T23" fmla="*/ 25481302 h 555"/>
              <a:gd name="T24" fmla="*/ 79022002 w 764"/>
              <a:gd name="T25" fmla="*/ 23015353 h 555"/>
              <a:gd name="T26" fmla="*/ 86754744 w 764"/>
              <a:gd name="T27" fmla="*/ 16713597 h 555"/>
              <a:gd name="T28" fmla="*/ 90337967 w 764"/>
              <a:gd name="T29" fmla="*/ 9041990 h 555"/>
              <a:gd name="T30" fmla="*/ 95807256 w 764"/>
              <a:gd name="T31" fmla="*/ 1096094 h 555"/>
              <a:gd name="T32" fmla="*/ 99956342 w 764"/>
              <a:gd name="T33" fmla="*/ 5205661 h 555"/>
              <a:gd name="T34" fmla="*/ 103728475 w 764"/>
              <a:gd name="T35" fmla="*/ 12329747 h 555"/>
              <a:gd name="T36" fmla="*/ 105803017 w 764"/>
              <a:gd name="T37" fmla="*/ 23837685 h 555"/>
              <a:gd name="T38" fmla="*/ 107500173 w 764"/>
              <a:gd name="T39" fmla="*/ 27673489 h 555"/>
              <a:gd name="T40" fmla="*/ 111083396 w 764"/>
              <a:gd name="T41" fmla="*/ 28495297 h 555"/>
              <a:gd name="T42" fmla="*/ 117307486 w 764"/>
              <a:gd name="T43" fmla="*/ 20001358 h 555"/>
              <a:gd name="T44" fmla="*/ 140127458 w 764"/>
              <a:gd name="T45" fmla="*/ 18083456 h 555"/>
              <a:gd name="T46" fmla="*/ 143145251 w 764"/>
              <a:gd name="T47" fmla="*/ 23837685 h 555"/>
              <a:gd name="T48" fmla="*/ 128057153 w 764"/>
              <a:gd name="T49" fmla="*/ 27399204 h 555"/>
              <a:gd name="T50" fmla="*/ 114101216 w 764"/>
              <a:gd name="T51" fmla="*/ 30687484 h 555"/>
              <a:gd name="T52" fmla="*/ 108254513 w 764"/>
              <a:gd name="T53" fmla="*/ 35619389 h 555"/>
              <a:gd name="T54" fmla="*/ 107688650 w 764"/>
              <a:gd name="T55" fmla="*/ 40277001 h 555"/>
              <a:gd name="T56" fmla="*/ 109763627 w 764"/>
              <a:gd name="T57" fmla="*/ 44935136 h 555"/>
              <a:gd name="T58" fmla="*/ 113346849 w 764"/>
              <a:gd name="T59" fmla="*/ 49318987 h 555"/>
              <a:gd name="T60" fmla="*/ 113912740 w 764"/>
              <a:gd name="T61" fmla="*/ 53429075 h 555"/>
              <a:gd name="T62" fmla="*/ 112026646 w 764"/>
              <a:gd name="T63" fmla="*/ 58360973 h 555"/>
              <a:gd name="T64" fmla="*/ 108254513 w 764"/>
              <a:gd name="T65" fmla="*/ 64936486 h 555"/>
              <a:gd name="T66" fmla="*/ 106557357 w 764"/>
              <a:gd name="T67" fmla="*/ 69868400 h 555"/>
              <a:gd name="T68" fmla="*/ 102219361 w 764"/>
              <a:gd name="T69" fmla="*/ 73704727 h 555"/>
              <a:gd name="T70" fmla="*/ 97881799 w 764"/>
              <a:gd name="T71" fmla="*/ 84938376 h 555"/>
              <a:gd name="T72" fmla="*/ 95807256 w 764"/>
              <a:gd name="T73" fmla="*/ 99460305 h 555"/>
              <a:gd name="T74" fmla="*/ 93732713 w 764"/>
              <a:gd name="T75" fmla="*/ 116447660 h 555"/>
              <a:gd name="T76" fmla="*/ 89960580 w 764"/>
              <a:gd name="T77" fmla="*/ 112885618 h 555"/>
              <a:gd name="T78" fmla="*/ 86754744 w 764"/>
              <a:gd name="T79" fmla="*/ 111515763 h 555"/>
              <a:gd name="T80" fmla="*/ 82794135 w 764"/>
              <a:gd name="T81" fmla="*/ 114529758 h 555"/>
              <a:gd name="T82" fmla="*/ 77513322 w 764"/>
              <a:gd name="T83" fmla="*/ 120557749 h 555"/>
              <a:gd name="T84" fmla="*/ 74118576 w 764"/>
              <a:gd name="T85" fmla="*/ 121653842 h 555"/>
              <a:gd name="T86" fmla="*/ 70723830 w 764"/>
              <a:gd name="T87" fmla="*/ 126859501 h 555"/>
              <a:gd name="T88" fmla="*/ 68837764 w 764"/>
              <a:gd name="T89" fmla="*/ 140011084 h 555"/>
              <a:gd name="T90" fmla="*/ 66008881 w 764"/>
              <a:gd name="T91" fmla="*/ 143847412 h 555"/>
              <a:gd name="T92" fmla="*/ 50921204 w 764"/>
              <a:gd name="T93" fmla="*/ 149601117 h 555"/>
              <a:gd name="T94" fmla="*/ 36587880 w 764"/>
              <a:gd name="T95" fmla="*/ 151793304 h 555"/>
              <a:gd name="T96" fmla="*/ 21311299 w 764"/>
              <a:gd name="T97" fmla="*/ 148505023 h 555"/>
              <a:gd name="T98" fmla="*/ 17916553 w 764"/>
              <a:gd name="T99" fmla="*/ 141929510 h 555"/>
              <a:gd name="T100" fmla="*/ 21688686 w 764"/>
              <a:gd name="T101" fmla="*/ 133709300 h 555"/>
              <a:gd name="T102" fmla="*/ 23574753 w 764"/>
              <a:gd name="T103" fmla="*/ 126585739 h 555"/>
              <a:gd name="T104" fmla="*/ 23197366 w 764"/>
              <a:gd name="T105" fmla="*/ 121105795 h 555"/>
              <a:gd name="T106" fmla="*/ 20934346 w 764"/>
              <a:gd name="T107" fmla="*/ 118639847 h 555"/>
              <a:gd name="T108" fmla="*/ 13013124 w 764"/>
              <a:gd name="T109" fmla="*/ 118091800 h 555"/>
              <a:gd name="T110" fmla="*/ 9806854 w 764"/>
              <a:gd name="T111" fmla="*/ 115351567 h 555"/>
              <a:gd name="T112" fmla="*/ 6412107 w 764"/>
              <a:gd name="T113" fmla="*/ 105214011 h 555"/>
              <a:gd name="T114" fmla="*/ 3583224 w 764"/>
              <a:gd name="T115" fmla="*/ 84664614 h 555"/>
              <a:gd name="T116" fmla="*/ 1886067 w 764"/>
              <a:gd name="T117" fmla="*/ 79732717 h 555"/>
              <a:gd name="T118" fmla="*/ 0 w 764"/>
              <a:gd name="T119" fmla="*/ 76718722 h 555"/>
              <a:gd name="T120" fmla="*/ 377387 w 764"/>
              <a:gd name="T121" fmla="*/ 73430442 h 555"/>
              <a:gd name="T122" fmla="*/ 4149087 w 764"/>
              <a:gd name="T123" fmla="*/ 67950482 h 555"/>
              <a:gd name="T124" fmla="*/ 6412107 w 764"/>
              <a:gd name="T125" fmla="*/ 60552636 h 555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764"/>
              <a:gd name="T190" fmla="*/ 0 h 555"/>
              <a:gd name="T191" fmla="*/ 764 w 764"/>
              <a:gd name="T192" fmla="*/ 555 h 555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764" h="555">
                <a:moveTo>
                  <a:pt x="39" y="191"/>
                </a:moveTo>
                <a:lnTo>
                  <a:pt x="48" y="194"/>
                </a:lnTo>
                <a:lnTo>
                  <a:pt x="56" y="196"/>
                </a:lnTo>
                <a:lnTo>
                  <a:pt x="62" y="196"/>
                </a:lnTo>
                <a:lnTo>
                  <a:pt x="68" y="195"/>
                </a:lnTo>
                <a:lnTo>
                  <a:pt x="77" y="192"/>
                </a:lnTo>
                <a:lnTo>
                  <a:pt x="85" y="191"/>
                </a:lnTo>
                <a:lnTo>
                  <a:pt x="93" y="190"/>
                </a:lnTo>
                <a:lnTo>
                  <a:pt x="101" y="190"/>
                </a:lnTo>
                <a:lnTo>
                  <a:pt x="107" y="188"/>
                </a:lnTo>
                <a:lnTo>
                  <a:pt x="114" y="186"/>
                </a:lnTo>
                <a:lnTo>
                  <a:pt x="128" y="182"/>
                </a:lnTo>
                <a:lnTo>
                  <a:pt x="140" y="175"/>
                </a:lnTo>
                <a:lnTo>
                  <a:pt x="152" y="168"/>
                </a:lnTo>
                <a:lnTo>
                  <a:pt x="164" y="160"/>
                </a:lnTo>
                <a:lnTo>
                  <a:pt x="175" y="151"/>
                </a:lnTo>
                <a:lnTo>
                  <a:pt x="185" y="142"/>
                </a:lnTo>
                <a:lnTo>
                  <a:pt x="189" y="136"/>
                </a:lnTo>
                <a:lnTo>
                  <a:pt x="192" y="131"/>
                </a:lnTo>
                <a:lnTo>
                  <a:pt x="194" y="126"/>
                </a:lnTo>
                <a:lnTo>
                  <a:pt x="195" y="120"/>
                </a:lnTo>
                <a:lnTo>
                  <a:pt x="197" y="109"/>
                </a:lnTo>
                <a:lnTo>
                  <a:pt x="198" y="98"/>
                </a:lnTo>
                <a:lnTo>
                  <a:pt x="199" y="88"/>
                </a:lnTo>
                <a:lnTo>
                  <a:pt x="202" y="78"/>
                </a:lnTo>
                <a:lnTo>
                  <a:pt x="204" y="74"/>
                </a:lnTo>
                <a:lnTo>
                  <a:pt x="206" y="71"/>
                </a:lnTo>
                <a:lnTo>
                  <a:pt x="208" y="69"/>
                </a:lnTo>
                <a:lnTo>
                  <a:pt x="212" y="68"/>
                </a:lnTo>
                <a:lnTo>
                  <a:pt x="221" y="64"/>
                </a:lnTo>
                <a:lnTo>
                  <a:pt x="231" y="62"/>
                </a:lnTo>
                <a:lnTo>
                  <a:pt x="240" y="60"/>
                </a:lnTo>
                <a:lnTo>
                  <a:pt x="249" y="60"/>
                </a:lnTo>
                <a:lnTo>
                  <a:pt x="266" y="61"/>
                </a:lnTo>
                <a:lnTo>
                  <a:pt x="285" y="61"/>
                </a:lnTo>
                <a:lnTo>
                  <a:pt x="294" y="62"/>
                </a:lnTo>
                <a:lnTo>
                  <a:pt x="303" y="63"/>
                </a:lnTo>
                <a:lnTo>
                  <a:pt x="310" y="64"/>
                </a:lnTo>
                <a:lnTo>
                  <a:pt x="317" y="66"/>
                </a:lnTo>
                <a:lnTo>
                  <a:pt x="329" y="71"/>
                </a:lnTo>
                <a:lnTo>
                  <a:pt x="339" y="77"/>
                </a:lnTo>
                <a:lnTo>
                  <a:pt x="348" y="82"/>
                </a:lnTo>
                <a:lnTo>
                  <a:pt x="357" y="88"/>
                </a:lnTo>
                <a:lnTo>
                  <a:pt x="362" y="90"/>
                </a:lnTo>
                <a:lnTo>
                  <a:pt x="366" y="91"/>
                </a:lnTo>
                <a:lnTo>
                  <a:pt x="372" y="92"/>
                </a:lnTo>
                <a:lnTo>
                  <a:pt x="378" y="93"/>
                </a:lnTo>
                <a:lnTo>
                  <a:pt x="386" y="93"/>
                </a:lnTo>
                <a:lnTo>
                  <a:pt x="394" y="92"/>
                </a:lnTo>
                <a:lnTo>
                  <a:pt x="402" y="90"/>
                </a:lnTo>
                <a:lnTo>
                  <a:pt x="407" y="89"/>
                </a:lnTo>
                <a:lnTo>
                  <a:pt x="419" y="84"/>
                </a:lnTo>
                <a:lnTo>
                  <a:pt x="429" y="78"/>
                </a:lnTo>
                <a:lnTo>
                  <a:pt x="439" y="72"/>
                </a:lnTo>
                <a:lnTo>
                  <a:pt x="449" y="66"/>
                </a:lnTo>
                <a:lnTo>
                  <a:pt x="460" y="61"/>
                </a:lnTo>
                <a:lnTo>
                  <a:pt x="471" y="55"/>
                </a:lnTo>
                <a:lnTo>
                  <a:pt x="472" y="48"/>
                </a:lnTo>
                <a:lnTo>
                  <a:pt x="475" y="41"/>
                </a:lnTo>
                <a:lnTo>
                  <a:pt x="479" y="33"/>
                </a:lnTo>
                <a:lnTo>
                  <a:pt x="485" y="25"/>
                </a:lnTo>
                <a:lnTo>
                  <a:pt x="496" y="11"/>
                </a:lnTo>
                <a:lnTo>
                  <a:pt x="505" y="0"/>
                </a:lnTo>
                <a:lnTo>
                  <a:pt x="508" y="4"/>
                </a:lnTo>
                <a:lnTo>
                  <a:pt x="512" y="8"/>
                </a:lnTo>
                <a:lnTo>
                  <a:pt x="518" y="12"/>
                </a:lnTo>
                <a:lnTo>
                  <a:pt x="525" y="15"/>
                </a:lnTo>
                <a:lnTo>
                  <a:pt x="530" y="19"/>
                </a:lnTo>
                <a:lnTo>
                  <a:pt x="537" y="22"/>
                </a:lnTo>
                <a:lnTo>
                  <a:pt x="541" y="26"/>
                </a:lnTo>
                <a:lnTo>
                  <a:pt x="544" y="31"/>
                </a:lnTo>
                <a:lnTo>
                  <a:pt x="550" y="45"/>
                </a:lnTo>
                <a:lnTo>
                  <a:pt x="554" y="58"/>
                </a:lnTo>
                <a:lnTo>
                  <a:pt x="556" y="70"/>
                </a:lnTo>
                <a:lnTo>
                  <a:pt x="559" y="81"/>
                </a:lnTo>
                <a:lnTo>
                  <a:pt x="561" y="87"/>
                </a:lnTo>
                <a:lnTo>
                  <a:pt x="562" y="91"/>
                </a:lnTo>
                <a:lnTo>
                  <a:pt x="564" y="95"/>
                </a:lnTo>
                <a:lnTo>
                  <a:pt x="566" y="99"/>
                </a:lnTo>
                <a:lnTo>
                  <a:pt x="570" y="101"/>
                </a:lnTo>
                <a:lnTo>
                  <a:pt x="574" y="103"/>
                </a:lnTo>
                <a:lnTo>
                  <a:pt x="578" y="104"/>
                </a:lnTo>
                <a:lnTo>
                  <a:pt x="584" y="105"/>
                </a:lnTo>
                <a:lnTo>
                  <a:pt x="589" y="104"/>
                </a:lnTo>
                <a:lnTo>
                  <a:pt x="596" y="100"/>
                </a:lnTo>
                <a:lnTo>
                  <a:pt x="602" y="95"/>
                </a:lnTo>
                <a:lnTo>
                  <a:pt x="610" y="88"/>
                </a:lnTo>
                <a:lnTo>
                  <a:pt x="622" y="73"/>
                </a:lnTo>
                <a:lnTo>
                  <a:pt x="631" y="61"/>
                </a:lnTo>
                <a:lnTo>
                  <a:pt x="723" y="61"/>
                </a:lnTo>
                <a:lnTo>
                  <a:pt x="736" y="61"/>
                </a:lnTo>
                <a:lnTo>
                  <a:pt x="743" y="66"/>
                </a:lnTo>
                <a:lnTo>
                  <a:pt x="748" y="70"/>
                </a:lnTo>
                <a:lnTo>
                  <a:pt x="752" y="75"/>
                </a:lnTo>
                <a:lnTo>
                  <a:pt x="755" y="79"/>
                </a:lnTo>
                <a:lnTo>
                  <a:pt x="759" y="87"/>
                </a:lnTo>
                <a:lnTo>
                  <a:pt x="764" y="93"/>
                </a:lnTo>
                <a:lnTo>
                  <a:pt x="740" y="95"/>
                </a:lnTo>
                <a:lnTo>
                  <a:pt x="711" y="97"/>
                </a:lnTo>
                <a:lnTo>
                  <a:pt x="679" y="100"/>
                </a:lnTo>
                <a:lnTo>
                  <a:pt x="647" y="103"/>
                </a:lnTo>
                <a:lnTo>
                  <a:pt x="632" y="106"/>
                </a:lnTo>
                <a:lnTo>
                  <a:pt x="618" y="109"/>
                </a:lnTo>
                <a:lnTo>
                  <a:pt x="605" y="112"/>
                </a:lnTo>
                <a:lnTo>
                  <a:pt x="594" y="117"/>
                </a:lnTo>
                <a:lnTo>
                  <a:pt x="584" y="122"/>
                </a:lnTo>
                <a:lnTo>
                  <a:pt x="577" y="127"/>
                </a:lnTo>
                <a:lnTo>
                  <a:pt x="574" y="130"/>
                </a:lnTo>
                <a:lnTo>
                  <a:pt x="572" y="134"/>
                </a:lnTo>
                <a:lnTo>
                  <a:pt x="571" y="137"/>
                </a:lnTo>
                <a:lnTo>
                  <a:pt x="571" y="142"/>
                </a:lnTo>
                <a:lnTo>
                  <a:pt x="571" y="147"/>
                </a:lnTo>
                <a:lnTo>
                  <a:pt x="572" y="152"/>
                </a:lnTo>
                <a:lnTo>
                  <a:pt x="574" y="156"/>
                </a:lnTo>
                <a:lnTo>
                  <a:pt x="576" y="159"/>
                </a:lnTo>
                <a:lnTo>
                  <a:pt x="582" y="164"/>
                </a:lnTo>
                <a:lnTo>
                  <a:pt x="587" y="169"/>
                </a:lnTo>
                <a:lnTo>
                  <a:pt x="594" y="173"/>
                </a:lnTo>
                <a:lnTo>
                  <a:pt x="599" y="177"/>
                </a:lnTo>
                <a:lnTo>
                  <a:pt x="601" y="180"/>
                </a:lnTo>
                <a:lnTo>
                  <a:pt x="602" y="183"/>
                </a:lnTo>
                <a:lnTo>
                  <a:pt x="604" y="186"/>
                </a:lnTo>
                <a:lnTo>
                  <a:pt x="604" y="191"/>
                </a:lnTo>
                <a:lnTo>
                  <a:pt x="604" y="195"/>
                </a:lnTo>
                <a:lnTo>
                  <a:pt x="602" y="200"/>
                </a:lnTo>
                <a:lnTo>
                  <a:pt x="601" y="204"/>
                </a:lnTo>
                <a:lnTo>
                  <a:pt x="599" y="207"/>
                </a:lnTo>
                <a:lnTo>
                  <a:pt x="594" y="213"/>
                </a:lnTo>
                <a:lnTo>
                  <a:pt x="587" y="220"/>
                </a:lnTo>
                <a:lnTo>
                  <a:pt x="582" y="226"/>
                </a:lnTo>
                <a:lnTo>
                  <a:pt x="576" y="233"/>
                </a:lnTo>
                <a:lnTo>
                  <a:pt x="574" y="237"/>
                </a:lnTo>
                <a:lnTo>
                  <a:pt x="572" y="242"/>
                </a:lnTo>
                <a:lnTo>
                  <a:pt x="571" y="247"/>
                </a:lnTo>
                <a:lnTo>
                  <a:pt x="571" y="252"/>
                </a:lnTo>
                <a:lnTo>
                  <a:pt x="565" y="255"/>
                </a:lnTo>
                <a:lnTo>
                  <a:pt x="560" y="256"/>
                </a:lnTo>
                <a:lnTo>
                  <a:pt x="555" y="259"/>
                </a:lnTo>
                <a:lnTo>
                  <a:pt x="551" y="262"/>
                </a:lnTo>
                <a:lnTo>
                  <a:pt x="542" y="269"/>
                </a:lnTo>
                <a:lnTo>
                  <a:pt x="535" y="277"/>
                </a:lnTo>
                <a:lnTo>
                  <a:pt x="529" y="287"/>
                </a:lnTo>
                <a:lnTo>
                  <a:pt x="523" y="298"/>
                </a:lnTo>
                <a:lnTo>
                  <a:pt x="519" y="310"/>
                </a:lnTo>
                <a:lnTo>
                  <a:pt x="515" y="323"/>
                </a:lnTo>
                <a:lnTo>
                  <a:pt x="512" y="336"/>
                </a:lnTo>
                <a:lnTo>
                  <a:pt x="509" y="349"/>
                </a:lnTo>
                <a:lnTo>
                  <a:pt x="508" y="363"/>
                </a:lnTo>
                <a:lnTo>
                  <a:pt x="506" y="377"/>
                </a:lnTo>
                <a:lnTo>
                  <a:pt x="505" y="402"/>
                </a:lnTo>
                <a:lnTo>
                  <a:pt x="505" y="425"/>
                </a:lnTo>
                <a:lnTo>
                  <a:pt x="497" y="425"/>
                </a:lnTo>
                <a:lnTo>
                  <a:pt x="492" y="423"/>
                </a:lnTo>
                <a:lnTo>
                  <a:pt x="486" y="420"/>
                </a:lnTo>
                <a:lnTo>
                  <a:pt x="482" y="415"/>
                </a:lnTo>
                <a:lnTo>
                  <a:pt x="477" y="412"/>
                </a:lnTo>
                <a:lnTo>
                  <a:pt x="473" y="409"/>
                </a:lnTo>
                <a:lnTo>
                  <a:pt x="470" y="407"/>
                </a:lnTo>
                <a:lnTo>
                  <a:pt x="464" y="406"/>
                </a:lnTo>
                <a:lnTo>
                  <a:pt x="460" y="407"/>
                </a:lnTo>
                <a:lnTo>
                  <a:pt x="455" y="408"/>
                </a:lnTo>
                <a:lnTo>
                  <a:pt x="451" y="410"/>
                </a:lnTo>
                <a:lnTo>
                  <a:pt x="447" y="412"/>
                </a:lnTo>
                <a:lnTo>
                  <a:pt x="439" y="418"/>
                </a:lnTo>
                <a:lnTo>
                  <a:pt x="431" y="425"/>
                </a:lnTo>
                <a:lnTo>
                  <a:pt x="423" y="432"/>
                </a:lnTo>
                <a:lnTo>
                  <a:pt x="416" y="438"/>
                </a:lnTo>
                <a:lnTo>
                  <a:pt x="411" y="440"/>
                </a:lnTo>
                <a:lnTo>
                  <a:pt x="407" y="442"/>
                </a:lnTo>
                <a:lnTo>
                  <a:pt x="403" y="443"/>
                </a:lnTo>
                <a:lnTo>
                  <a:pt x="398" y="444"/>
                </a:lnTo>
                <a:lnTo>
                  <a:pt x="393" y="444"/>
                </a:lnTo>
                <a:lnTo>
                  <a:pt x="388" y="446"/>
                </a:lnTo>
                <a:lnTo>
                  <a:pt x="385" y="449"/>
                </a:lnTo>
                <a:lnTo>
                  <a:pt x="382" y="453"/>
                </a:lnTo>
                <a:lnTo>
                  <a:pt x="375" y="463"/>
                </a:lnTo>
                <a:lnTo>
                  <a:pt x="372" y="476"/>
                </a:lnTo>
                <a:lnTo>
                  <a:pt x="369" y="489"/>
                </a:lnTo>
                <a:lnTo>
                  <a:pt x="366" y="501"/>
                </a:lnTo>
                <a:lnTo>
                  <a:pt x="365" y="511"/>
                </a:lnTo>
                <a:lnTo>
                  <a:pt x="365" y="517"/>
                </a:lnTo>
                <a:lnTo>
                  <a:pt x="362" y="520"/>
                </a:lnTo>
                <a:lnTo>
                  <a:pt x="358" y="522"/>
                </a:lnTo>
                <a:lnTo>
                  <a:pt x="350" y="525"/>
                </a:lnTo>
                <a:lnTo>
                  <a:pt x="342" y="528"/>
                </a:lnTo>
                <a:lnTo>
                  <a:pt x="320" y="535"/>
                </a:lnTo>
                <a:lnTo>
                  <a:pt x="296" y="541"/>
                </a:lnTo>
                <a:lnTo>
                  <a:pt x="270" y="546"/>
                </a:lnTo>
                <a:lnTo>
                  <a:pt x="246" y="551"/>
                </a:lnTo>
                <a:lnTo>
                  <a:pt x="226" y="554"/>
                </a:lnTo>
                <a:lnTo>
                  <a:pt x="212" y="555"/>
                </a:lnTo>
                <a:lnTo>
                  <a:pt x="194" y="554"/>
                </a:lnTo>
                <a:lnTo>
                  <a:pt x="176" y="553"/>
                </a:lnTo>
                <a:lnTo>
                  <a:pt x="159" y="550"/>
                </a:lnTo>
                <a:lnTo>
                  <a:pt x="142" y="548"/>
                </a:lnTo>
                <a:lnTo>
                  <a:pt x="113" y="542"/>
                </a:lnTo>
                <a:lnTo>
                  <a:pt x="92" y="536"/>
                </a:lnTo>
                <a:lnTo>
                  <a:pt x="93" y="529"/>
                </a:lnTo>
                <a:lnTo>
                  <a:pt x="94" y="523"/>
                </a:lnTo>
                <a:lnTo>
                  <a:pt x="95" y="518"/>
                </a:lnTo>
                <a:lnTo>
                  <a:pt x="97" y="513"/>
                </a:lnTo>
                <a:lnTo>
                  <a:pt x="103" y="504"/>
                </a:lnTo>
                <a:lnTo>
                  <a:pt x="109" y="496"/>
                </a:lnTo>
                <a:lnTo>
                  <a:pt x="115" y="488"/>
                </a:lnTo>
                <a:lnTo>
                  <a:pt x="120" y="479"/>
                </a:lnTo>
                <a:lnTo>
                  <a:pt x="123" y="473"/>
                </a:lnTo>
                <a:lnTo>
                  <a:pt x="124" y="468"/>
                </a:lnTo>
                <a:lnTo>
                  <a:pt x="125" y="462"/>
                </a:lnTo>
                <a:lnTo>
                  <a:pt x="126" y="456"/>
                </a:lnTo>
                <a:lnTo>
                  <a:pt x="125" y="451"/>
                </a:lnTo>
                <a:lnTo>
                  <a:pt x="124" y="446"/>
                </a:lnTo>
                <a:lnTo>
                  <a:pt x="123" y="442"/>
                </a:lnTo>
                <a:lnTo>
                  <a:pt x="120" y="439"/>
                </a:lnTo>
                <a:lnTo>
                  <a:pt x="117" y="437"/>
                </a:lnTo>
                <a:lnTo>
                  <a:pt x="114" y="435"/>
                </a:lnTo>
                <a:lnTo>
                  <a:pt x="111" y="433"/>
                </a:lnTo>
                <a:lnTo>
                  <a:pt x="106" y="432"/>
                </a:lnTo>
                <a:lnTo>
                  <a:pt x="89" y="431"/>
                </a:lnTo>
                <a:lnTo>
                  <a:pt x="72" y="432"/>
                </a:lnTo>
                <a:lnTo>
                  <a:pt x="69" y="431"/>
                </a:lnTo>
                <a:lnTo>
                  <a:pt x="66" y="430"/>
                </a:lnTo>
                <a:lnTo>
                  <a:pt x="62" y="429"/>
                </a:lnTo>
                <a:lnTo>
                  <a:pt x="59" y="427"/>
                </a:lnTo>
                <a:lnTo>
                  <a:pt x="52" y="421"/>
                </a:lnTo>
                <a:lnTo>
                  <a:pt x="47" y="413"/>
                </a:lnTo>
                <a:lnTo>
                  <a:pt x="42" y="405"/>
                </a:lnTo>
                <a:lnTo>
                  <a:pt x="38" y="395"/>
                </a:lnTo>
                <a:lnTo>
                  <a:pt x="34" y="384"/>
                </a:lnTo>
                <a:lnTo>
                  <a:pt x="30" y="373"/>
                </a:lnTo>
                <a:lnTo>
                  <a:pt x="26" y="349"/>
                </a:lnTo>
                <a:lnTo>
                  <a:pt x="22" y="327"/>
                </a:lnTo>
                <a:lnTo>
                  <a:pt x="19" y="309"/>
                </a:lnTo>
                <a:lnTo>
                  <a:pt x="19" y="295"/>
                </a:lnTo>
                <a:lnTo>
                  <a:pt x="16" y="295"/>
                </a:lnTo>
                <a:lnTo>
                  <a:pt x="13" y="293"/>
                </a:lnTo>
                <a:lnTo>
                  <a:pt x="10" y="291"/>
                </a:lnTo>
                <a:lnTo>
                  <a:pt x="7" y="289"/>
                </a:lnTo>
                <a:lnTo>
                  <a:pt x="4" y="286"/>
                </a:lnTo>
                <a:lnTo>
                  <a:pt x="2" y="283"/>
                </a:lnTo>
                <a:lnTo>
                  <a:pt x="0" y="280"/>
                </a:lnTo>
                <a:lnTo>
                  <a:pt x="0" y="277"/>
                </a:lnTo>
                <a:lnTo>
                  <a:pt x="0" y="274"/>
                </a:lnTo>
                <a:lnTo>
                  <a:pt x="1" y="271"/>
                </a:lnTo>
                <a:lnTo>
                  <a:pt x="2" y="268"/>
                </a:lnTo>
                <a:lnTo>
                  <a:pt x="4" y="265"/>
                </a:lnTo>
                <a:lnTo>
                  <a:pt x="10" y="259"/>
                </a:lnTo>
                <a:lnTo>
                  <a:pt x="16" y="254"/>
                </a:lnTo>
                <a:lnTo>
                  <a:pt x="22" y="248"/>
                </a:lnTo>
                <a:lnTo>
                  <a:pt x="27" y="243"/>
                </a:lnTo>
                <a:lnTo>
                  <a:pt x="31" y="238"/>
                </a:lnTo>
                <a:lnTo>
                  <a:pt x="33" y="234"/>
                </a:lnTo>
                <a:lnTo>
                  <a:pt x="34" y="221"/>
                </a:lnTo>
                <a:lnTo>
                  <a:pt x="36" y="213"/>
                </a:lnTo>
                <a:lnTo>
                  <a:pt x="38" y="205"/>
                </a:lnTo>
                <a:lnTo>
                  <a:pt x="39" y="191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63" name="Freeform 261"/>
          <p:cNvSpPr>
            <a:spLocks/>
          </p:cNvSpPr>
          <p:nvPr userDrawn="1">
            <p:custDataLst>
              <p:tags r:id="rId187"/>
            </p:custDataLst>
          </p:nvPr>
        </p:nvSpPr>
        <p:spPr bwMode="auto">
          <a:xfrm>
            <a:off x="5551497" y="2055031"/>
            <a:ext cx="365125" cy="317897"/>
          </a:xfrm>
          <a:custGeom>
            <a:avLst/>
            <a:gdLst>
              <a:gd name="T0" fmla="*/ 150389770 w 831"/>
              <a:gd name="T1" fmla="*/ 22343637 h 812"/>
              <a:gd name="T2" fmla="*/ 136489979 w 831"/>
              <a:gd name="T3" fmla="*/ 7902017 h 812"/>
              <a:gd name="T4" fmla="*/ 108497043 w 831"/>
              <a:gd name="T5" fmla="*/ 2724834 h 812"/>
              <a:gd name="T6" fmla="*/ 96334562 w 831"/>
              <a:gd name="T7" fmla="*/ 7902017 h 812"/>
              <a:gd name="T8" fmla="*/ 93824822 w 831"/>
              <a:gd name="T9" fmla="*/ 13351685 h 812"/>
              <a:gd name="T10" fmla="*/ 95948346 w 831"/>
              <a:gd name="T11" fmla="*/ 19346321 h 812"/>
              <a:gd name="T12" fmla="*/ 99809619 w 831"/>
              <a:gd name="T13" fmla="*/ 24523503 h 812"/>
              <a:gd name="T14" fmla="*/ 99616292 w 831"/>
              <a:gd name="T15" fmla="*/ 30245652 h 812"/>
              <a:gd name="T16" fmla="*/ 94790140 w 831"/>
              <a:gd name="T17" fmla="*/ 38147675 h 812"/>
              <a:gd name="T18" fmla="*/ 92666616 w 831"/>
              <a:gd name="T19" fmla="*/ 44142307 h 812"/>
              <a:gd name="T20" fmla="*/ 86874707 w 831"/>
              <a:gd name="T21" fmla="*/ 50136939 h 812"/>
              <a:gd name="T22" fmla="*/ 82434332 w 831"/>
              <a:gd name="T23" fmla="*/ 66213452 h 812"/>
              <a:gd name="T24" fmla="*/ 81083238 w 831"/>
              <a:gd name="T25" fmla="*/ 90464480 h 812"/>
              <a:gd name="T26" fmla="*/ 75677544 w 831"/>
              <a:gd name="T27" fmla="*/ 86922197 h 812"/>
              <a:gd name="T28" fmla="*/ 71430495 w 831"/>
              <a:gd name="T29" fmla="*/ 85832264 h 812"/>
              <a:gd name="T30" fmla="*/ 65252811 w 831"/>
              <a:gd name="T31" fmla="*/ 92371863 h 812"/>
              <a:gd name="T32" fmla="*/ 60426220 w 831"/>
              <a:gd name="T33" fmla="*/ 95641662 h 812"/>
              <a:gd name="T34" fmla="*/ 55985831 w 831"/>
              <a:gd name="T35" fmla="*/ 100818844 h 812"/>
              <a:gd name="T36" fmla="*/ 54055194 w 831"/>
              <a:gd name="T37" fmla="*/ 115532419 h 812"/>
              <a:gd name="T38" fmla="*/ 45367770 w 831"/>
              <a:gd name="T39" fmla="*/ 120437118 h 812"/>
              <a:gd name="T40" fmla="*/ 24517858 w 831"/>
              <a:gd name="T41" fmla="*/ 125886784 h 812"/>
              <a:gd name="T42" fmla="*/ 5019480 w 831"/>
              <a:gd name="T43" fmla="*/ 122344501 h 812"/>
              <a:gd name="T44" fmla="*/ 9845634 w 831"/>
              <a:gd name="T45" fmla="*/ 137603597 h 812"/>
              <a:gd name="T46" fmla="*/ 18533500 w 831"/>
              <a:gd name="T47" fmla="*/ 147140512 h 812"/>
              <a:gd name="T48" fmla="*/ 23745867 w 831"/>
              <a:gd name="T49" fmla="*/ 157222393 h 812"/>
              <a:gd name="T50" fmla="*/ 27413812 w 831"/>
              <a:gd name="T51" fmla="*/ 162399575 h 812"/>
              <a:gd name="T52" fmla="*/ 19112603 w 831"/>
              <a:gd name="T53" fmla="*/ 176296222 h 812"/>
              <a:gd name="T54" fmla="*/ 16795752 w 831"/>
              <a:gd name="T55" fmla="*/ 182835821 h 812"/>
              <a:gd name="T56" fmla="*/ 21042800 w 831"/>
              <a:gd name="T57" fmla="*/ 196187501 h 812"/>
              <a:gd name="T58" fmla="*/ 42858031 w 831"/>
              <a:gd name="T59" fmla="*/ 193462669 h 812"/>
              <a:gd name="T60" fmla="*/ 58302696 w 831"/>
              <a:gd name="T61" fmla="*/ 192100252 h 812"/>
              <a:gd name="T62" fmla="*/ 63707950 w 831"/>
              <a:gd name="T63" fmla="*/ 196459985 h 812"/>
              <a:gd name="T64" fmla="*/ 69306971 w 831"/>
              <a:gd name="T65" fmla="*/ 205996899 h 812"/>
              <a:gd name="T66" fmla="*/ 78766386 w 831"/>
              <a:gd name="T67" fmla="*/ 213898914 h 812"/>
              <a:gd name="T68" fmla="*/ 86681819 w 831"/>
              <a:gd name="T69" fmla="*/ 218803613 h 812"/>
              <a:gd name="T70" fmla="*/ 88805344 w 831"/>
              <a:gd name="T71" fmla="*/ 215533814 h 812"/>
              <a:gd name="T72" fmla="*/ 94017710 w 831"/>
              <a:gd name="T73" fmla="*/ 210901598 h 812"/>
              <a:gd name="T74" fmla="*/ 106952622 w 831"/>
              <a:gd name="T75" fmla="*/ 208176766 h 812"/>
              <a:gd name="T76" fmla="*/ 115253858 w 831"/>
              <a:gd name="T77" fmla="*/ 204362000 h 812"/>
              <a:gd name="T78" fmla="*/ 119308019 w 831"/>
              <a:gd name="T79" fmla="*/ 198094884 h 812"/>
              <a:gd name="T80" fmla="*/ 112744092 w 831"/>
              <a:gd name="T81" fmla="*/ 190737836 h 812"/>
              <a:gd name="T82" fmla="*/ 104635770 w 831"/>
              <a:gd name="T83" fmla="*/ 174661323 h 812"/>
              <a:gd name="T84" fmla="*/ 101546928 w 831"/>
              <a:gd name="T85" fmla="*/ 170029107 h 812"/>
              <a:gd name="T86" fmla="*/ 101546928 w 831"/>
              <a:gd name="T87" fmla="*/ 157494876 h 812"/>
              <a:gd name="T88" fmla="*/ 112357876 w 831"/>
              <a:gd name="T89" fmla="*/ 153407627 h 812"/>
              <a:gd name="T90" fmla="*/ 120080449 w 831"/>
              <a:gd name="T91" fmla="*/ 144688162 h 812"/>
              <a:gd name="T92" fmla="*/ 132822034 w 831"/>
              <a:gd name="T93" fmla="*/ 113625036 h 812"/>
              <a:gd name="T94" fmla="*/ 140930355 w 831"/>
              <a:gd name="T95" fmla="*/ 100273878 h 812"/>
              <a:gd name="T96" fmla="*/ 139965037 w 831"/>
              <a:gd name="T97" fmla="*/ 89919513 h 812"/>
              <a:gd name="T98" fmla="*/ 140737027 w 831"/>
              <a:gd name="T99" fmla="*/ 83107432 h 812"/>
              <a:gd name="T100" fmla="*/ 144984515 w 831"/>
              <a:gd name="T101" fmla="*/ 78747699 h 812"/>
              <a:gd name="T102" fmla="*/ 129346976 w 831"/>
              <a:gd name="T103" fmla="*/ 56404054 h 812"/>
              <a:gd name="T104" fmla="*/ 146335609 w 831"/>
              <a:gd name="T105" fmla="*/ 38147675 h 812"/>
              <a:gd name="T106" fmla="*/ 155409248 w 831"/>
              <a:gd name="T107" fmla="*/ 33515451 h 81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831"/>
              <a:gd name="T163" fmla="*/ 0 h 812"/>
              <a:gd name="T164" fmla="*/ 831 w 831"/>
              <a:gd name="T165" fmla="*/ 812 h 812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831" h="812">
                <a:moveTo>
                  <a:pt x="831" y="98"/>
                </a:moveTo>
                <a:lnTo>
                  <a:pt x="817" y="95"/>
                </a:lnTo>
                <a:lnTo>
                  <a:pt x="803" y="91"/>
                </a:lnTo>
                <a:lnTo>
                  <a:pt x="791" y="87"/>
                </a:lnTo>
                <a:lnTo>
                  <a:pt x="779" y="82"/>
                </a:lnTo>
                <a:lnTo>
                  <a:pt x="769" y="77"/>
                </a:lnTo>
                <a:lnTo>
                  <a:pt x="758" y="71"/>
                </a:lnTo>
                <a:lnTo>
                  <a:pt x="749" y="65"/>
                </a:lnTo>
                <a:lnTo>
                  <a:pt x="740" y="58"/>
                </a:lnTo>
                <a:lnTo>
                  <a:pt x="707" y="29"/>
                </a:lnTo>
                <a:lnTo>
                  <a:pt x="679" y="0"/>
                </a:lnTo>
                <a:lnTo>
                  <a:pt x="655" y="2"/>
                </a:lnTo>
                <a:lnTo>
                  <a:pt x="626" y="4"/>
                </a:lnTo>
                <a:lnTo>
                  <a:pt x="594" y="7"/>
                </a:lnTo>
                <a:lnTo>
                  <a:pt x="562" y="10"/>
                </a:lnTo>
                <a:lnTo>
                  <a:pt x="547" y="13"/>
                </a:lnTo>
                <a:lnTo>
                  <a:pt x="533" y="16"/>
                </a:lnTo>
                <a:lnTo>
                  <a:pt x="520" y="19"/>
                </a:lnTo>
                <a:lnTo>
                  <a:pt x="509" y="24"/>
                </a:lnTo>
                <a:lnTo>
                  <a:pt x="499" y="29"/>
                </a:lnTo>
                <a:lnTo>
                  <a:pt x="492" y="34"/>
                </a:lnTo>
                <a:lnTo>
                  <a:pt x="489" y="37"/>
                </a:lnTo>
                <a:lnTo>
                  <a:pt x="487" y="41"/>
                </a:lnTo>
                <a:lnTo>
                  <a:pt x="486" y="44"/>
                </a:lnTo>
                <a:lnTo>
                  <a:pt x="486" y="49"/>
                </a:lnTo>
                <a:lnTo>
                  <a:pt x="486" y="54"/>
                </a:lnTo>
                <a:lnTo>
                  <a:pt x="487" y="59"/>
                </a:lnTo>
                <a:lnTo>
                  <a:pt x="489" y="63"/>
                </a:lnTo>
                <a:lnTo>
                  <a:pt x="491" y="66"/>
                </a:lnTo>
                <a:lnTo>
                  <a:pt x="497" y="71"/>
                </a:lnTo>
                <a:lnTo>
                  <a:pt x="502" y="76"/>
                </a:lnTo>
                <a:lnTo>
                  <a:pt x="509" y="80"/>
                </a:lnTo>
                <a:lnTo>
                  <a:pt x="514" y="84"/>
                </a:lnTo>
                <a:lnTo>
                  <a:pt x="516" y="87"/>
                </a:lnTo>
                <a:lnTo>
                  <a:pt x="517" y="90"/>
                </a:lnTo>
                <a:lnTo>
                  <a:pt x="519" y="93"/>
                </a:lnTo>
                <a:lnTo>
                  <a:pt x="519" y="98"/>
                </a:lnTo>
                <a:lnTo>
                  <a:pt x="519" y="102"/>
                </a:lnTo>
                <a:lnTo>
                  <a:pt x="517" y="107"/>
                </a:lnTo>
                <a:lnTo>
                  <a:pt x="516" y="111"/>
                </a:lnTo>
                <a:lnTo>
                  <a:pt x="514" y="114"/>
                </a:lnTo>
                <a:lnTo>
                  <a:pt x="509" y="120"/>
                </a:lnTo>
                <a:lnTo>
                  <a:pt x="502" y="127"/>
                </a:lnTo>
                <a:lnTo>
                  <a:pt x="497" y="133"/>
                </a:lnTo>
                <a:lnTo>
                  <a:pt x="491" y="140"/>
                </a:lnTo>
                <a:lnTo>
                  <a:pt x="489" y="144"/>
                </a:lnTo>
                <a:lnTo>
                  <a:pt x="487" y="149"/>
                </a:lnTo>
                <a:lnTo>
                  <a:pt x="486" y="154"/>
                </a:lnTo>
                <a:lnTo>
                  <a:pt x="486" y="159"/>
                </a:lnTo>
                <a:lnTo>
                  <a:pt x="480" y="162"/>
                </a:lnTo>
                <a:lnTo>
                  <a:pt x="475" y="163"/>
                </a:lnTo>
                <a:lnTo>
                  <a:pt x="470" y="166"/>
                </a:lnTo>
                <a:lnTo>
                  <a:pt x="466" y="169"/>
                </a:lnTo>
                <a:lnTo>
                  <a:pt x="457" y="176"/>
                </a:lnTo>
                <a:lnTo>
                  <a:pt x="450" y="184"/>
                </a:lnTo>
                <a:lnTo>
                  <a:pt x="444" y="194"/>
                </a:lnTo>
                <a:lnTo>
                  <a:pt x="438" y="205"/>
                </a:lnTo>
                <a:lnTo>
                  <a:pt x="434" y="217"/>
                </a:lnTo>
                <a:lnTo>
                  <a:pt x="430" y="230"/>
                </a:lnTo>
                <a:lnTo>
                  <a:pt x="427" y="243"/>
                </a:lnTo>
                <a:lnTo>
                  <a:pt x="424" y="256"/>
                </a:lnTo>
                <a:lnTo>
                  <a:pt x="423" y="270"/>
                </a:lnTo>
                <a:lnTo>
                  <a:pt x="421" y="284"/>
                </a:lnTo>
                <a:lnTo>
                  <a:pt x="420" y="309"/>
                </a:lnTo>
                <a:lnTo>
                  <a:pt x="420" y="332"/>
                </a:lnTo>
                <a:lnTo>
                  <a:pt x="412" y="332"/>
                </a:lnTo>
                <a:lnTo>
                  <a:pt x="407" y="330"/>
                </a:lnTo>
                <a:lnTo>
                  <a:pt x="401" y="327"/>
                </a:lnTo>
                <a:lnTo>
                  <a:pt x="397" y="322"/>
                </a:lnTo>
                <a:lnTo>
                  <a:pt x="392" y="319"/>
                </a:lnTo>
                <a:lnTo>
                  <a:pt x="388" y="316"/>
                </a:lnTo>
                <a:lnTo>
                  <a:pt x="385" y="314"/>
                </a:lnTo>
                <a:lnTo>
                  <a:pt x="379" y="313"/>
                </a:lnTo>
                <a:lnTo>
                  <a:pt x="375" y="314"/>
                </a:lnTo>
                <a:lnTo>
                  <a:pt x="370" y="315"/>
                </a:lnTo>
                <a:lnTo>
                  <a:pt x="366" y="317"/>
                </a:lnTo>
                <a:lnTo>
                  <a:pt x="362" y="319"/>
                </a:lnTo>
                <a:lnTo>
                  <a:pt x="354" y="325"/>
                </a:lnTo>
                <a:lnTo>
                  <a:pt x="346" y="332"/>
                </a:lnTo>
                <a:lnTo>
                  <a:pt x="338" y="339"/>
                </a:lnTo>
                <a:lnTo>
                  <a:pt x="331" y="345"/>
                </a:lnTo>
                <a:lnTo>
                  <a:pt x="326" y="347"/>
                </a:lnTo>
                <a:lnTo>
                  <a:pt x="322" y="349"/>
                </a:lnTo>
                <a:lnTo>
                  <a:pt x="318" y="350"/>
                </a:lnTo>
                <a:lnTo>
                  <a:pt x="313" y="351"/>
                </a:lnTo>
                <a:lnTo>
                  <a:pt x="308" y="351"/>
                </a:lnTo>
                <a:lnTo>
                  <a:pt x="303" y="353"/>
                </a:lnTo>
                <a:lnTo>
                  <a:pt x="300" y="356"/>
                </a:lnTo>
                <a:lnTo>
                  <a:pt x="297" y="360"/>
                </a:lnTo>
                <a:lnTo>
                  <a:pt x="290" y="370"/>
                </a:lnTo>
                <a:lnTo>
                  <a:pt x="287" y="383"/>
                </a:lnTo>
                <a:lnTo>
                  <a:pt x="284" y="396"/>
                </a:lnTo>
                <a:lnTo>
                  <a:pt x="281" y="408"/>
                </a:lnTo>
                <a:lnTo>
                  <a:pt x="280" y="418"/>
                </a:lnTo>
                <a:lnTo>
                  <a:pt x="280" y="424"/>
                </a:lnTo>
                <a:lnTo>
                  <a:pt x="277" y="427"/>
                </a:lnTo>
                <a:lnTo>
                  <a:pt x="273" y="429"/>
                </a:lnTo>
                <a:lnTo>
                  <a:pt x="265" y="432"/>
                </a:lnTo>
                <a:lnTo>
                  <a:pt x="257" y="435"/>
                </a:lnTo>
                <a:lnTo>
                  <a:pt x="235" y="442"/>
                </a:lnTo>
                <a:lnTo>
                  <a:pt x="211" y="448"/>
                </a:lnTo>
                <a:lnTo>
                  <a:pt x="185" y="453"/>
                </a:lnTo>
                <a:lnTo>
                  <a:pt x="161" y="458"/>
                </a:lnTo>
                <a:lnTo>
                  <a:pt x="141" y="461"/>
                </a:lnTo>
                <a:lnTo>
                  <a:pt x="127" y="462"/>
                </a:lnTo>
                <a:lnTo>
                  <a:pt x="109" y="461"/>
                </a:lnTo>
                <a:lnTo>
                  <a:pt x="91" y="460"/>
                </a:lnTo>
                <a:lnTo>
                  <a:pt x="74" y="457"/>
                </a:lnTo>
                <a:lnTo>
                  <a:pt x="56" y="455"/>
                </a:lnTo>
                <a:lnTo>
                  <a:pt x="26" y="449"/>
                </a:lnTo>
                <a:lnTo>
                  <a:pt x="0" y="443"/>
                </a:lnTo>
                <a:lnTo>
                  <a:pt x="8" y="455"/>
                </a:lnTo>
                <a:lnTo>
                  <a:pt x="19" y="470"/>
                </a:lnTo>
                <a:lnTo>
                  <a:pt x="34" y="487"/>
                </a:lnTo>
                <a:lnTo>
                  <a:pt x="51" y="505"/>
                </a:lnTo>
                <a:lnTo>
                  <a:pt x="60" y="513"/>
                </a:lnTo>
                <a:lnTo>
                  <a:pt x="68" y="521"/>
                </a:lnTo>
                <a:lnTo>
                  <a:pt x="77" y="528"/>
                </a:lnTo>
                <a:lnTo>
                  <a:pt x="87" y="535"/>
                </a:lnTo>
                <a:lnTo>
                  <a:pt x="96" y="540"/>
                </a:lnTo>
                <a:lnTo>
                  <a:pt x="105" y="544"/>
                </a:lnTo>
                <a:lnTo>
                  <a:pt x="112" y="546"/>
                </a:lnTo>
                <a:lnTo>
                  <a:pt x="120" y="547"/>
                </a:lnTo>
                <a:lnTo>
                  <a:pt x="121" y="561"/>
                </a:lnTo>
                <a:lnTo>
                  <a:pt x="123" y="577"/>
                </a:lnTo>
                <a:lnTo>
                  <a:pt x="127" y="585"/>
                </a:lnTo>
                <a:lnTo>
                  <a:pt x="131" y="591"/>
                </a:lnTo>
                <a:lnTo>
                  <a:pt x="134" y="593"/>
                </a:lnTo>
                <a:lnTo>
                  <a:pt x="138" y="595"/>
                </a:lnTo>
                <a:lnTo>
                  <a:pt x="142" y="596"/>
                </a:lnTo>
                <a:lnTo>
                  <a:pt x="147" y="597"/>
                </a:lnTo>
                <a:lnTo>
                  <a:pt x="147" y="616"/>
                </a:lnTo>
                <a:lnTo>
                  <a:pt x="127" y="629"/>
                </a:lnTo>
                <a:lnTo>
                  <a:pt x="107" y="641"/>
                </a:lnTo>
                <a:lnTo>
                  <a:pt x="99" y="647"/>
                </a:lnTo>
                <a:lnTo>
                  <a:pt x="93" y="654"/>
                </a:lnTo>
                <a:lnTo>
                  <a:pt x="90" y="658"/>
                </a:lnTo>
                <a:lnTo>
                  <a:pt x="88" y="663"/>
                </a:lnTo>
                <a:lnTo>
                  <a:pt x="87" y="667"/>
                </a:lnTo>
                <a:lnTo>
                  <a:pt x="87" y="671"/>
                </a:lnTo>
                <a:lnTo>
                  <a:pt x="87" y="680"/>
                </a:lnTo>
                <a:lnTo>
                  <a:pt x="87" y="689"/>
                </a:lnTo>
                <a:lnTo>
                  <a:pt x="87" y="701"/>
                </a:lnTo>
                <a:lnTo>
                  <a:pt x="87" y="721"/>
                </a:lnTo>
                <a:lnTo>
                  <a:pt x="109" y="720"/>
                </a:lnTo>
                <a:lnTo>
                  <a:pt x="132" y="719"/>
                </a:lnTo>
                <a:lnTo>
                  <a:pt x="154" y="717"/>
                </a:lnTo>
                <a:lnTo>
                  <a:pt x="177" y="714"/>
                </a:lnTo>
                <a:lnTo>
                  <a:pt x="199" y="711"/>
                </a:lnTo>
                <a:lnTo>
                  <a:pt x="222" y="710"/>
                </a:lnTo>
                <a:lnTo>
                  <a:pt x="244" y="708"/>
                </a:lnTo>
                <a:lnTo>
                  <a:pt x="266" y="708"/>
                </a:lnTo>
                <a:lnTo>
                  <a:pt x="284" y="707"/>
                </a:lnTo>
                <a:lnTo>
                  <a:pt x="297" y="705"/>
                </a:lnTo>
                <a:lnTo>
                  <a:pt x="302" y="705"/>
                </a:lnTo>
                <a:lnTo>
                  <a:pt x="310" y="705"/>
                </a:lnTo>
                <a:lnTo>
                  <a:pt x="318" y="706"/>
                </a:lnTo>
                <a:lnTo>
                  <a:pt x="326" y="708"/>
                </a:lnTo>
                <a:lnTo>
                  <a:pt x="328" y="714"/>
                </a:lnTo>
                <a:lnTo>
                  <a:pt x="330" y="721"/>
                </a:lnTo>
                <a:lnTo>
                  <a:pt x="333" y="728"/>
                </a:lnTo>
                <a:lnTo>
                  <a:pt x="338" y="735"/>
                </a:lnTo>
                <a:lnTo>
                  <a:pt x="345" y="742"/>
                </a:lnTo>
                <a:lnTo>
                  <a:pt x="352" y="749"/>
                </a:lnTo>
                <a:lnTo>
                  <a:pt x="359" y="756"/>
                </a:lnTo>
                <a:lnTo>
                  <a:pt x="368" y="762"/>
                </a:lnTo>
                <a:lnTo>
                  <a:pt x="378" y="769"/>
                </a:lnTo>
                <a:lnTo>
                  <a:pt x="388" y="776"/>
                </a:lnTo>
                <a:lnTo>
                  <a:pt x="398" y="781"/>
                </a:lnTo>
                <a:lnTo>
                  <a:pt x="408" y="785"/>
                </a:lnTo>
                <a:lnTo>
                  <a:pt x="418" y="789"/>
                </a:lnTo>
                <a:lnTo>
                  <a:pt x="427" y="792"/>
                </a:lnTo>
                <a:lnTo>
                  <a:pt x="437" y="794"/>
                </a:lnTo>
                <a:lnTo>
                  <a:pt x="446" y="794"/>
                </a:lnTo>
                <a:lnTo>
                  <a:pt x="449" y="803"/>
                </a:lnTo>
                <a:lnTo>
                  <a:pt x="453" y="812"/>
                </a:lnTo>
                <a:lnTo>
                  <a:pt x="454" y="806"/>
                </a:lnTo>
                <a:lnTo>
                  <a:pt x="455" y="800"/>
                </a:lnTo>
                <a:lnTo>
                  <a:pt x="457" y="795"/>
                </a:lnTo>
                <a:lnTo>
                  <a:pt x="460" y="791"/>
                </a:lnTo>
                <a:lnTo>
                  <a:pt x="464" y="787"/>
                </a:lnTo>
                <a:lnTo>
                  <a:pt x="467" y="783"/>
                </a:lnTo>
                <a:lnTo>
                  <a:pt x="471" y="780"/>
                </a:lnTo>
                <a:lnTo>
                  <a:pt x="477" y="778"/>
                </a:lnTo>
                <a:lnTo>
                  <a:pt x="487" y="774"/>
                </a:lnTo>
                <a:lnTo>
                  <a:pt x="499" y="770"/>
                </a:lnTo>
                <a:lnTo>
                  <a:pt x="512" y="768"/>
                </a:lnTo>
                <a:lnTo>
                  <a:pt x="525" y="767"/>
                </a:lnTo>
                <a:lnTo>
                  <a:pt x="539" y="765"/>
                </a:lnTo>
                <a:lnTo>
                  <a:pt x="554" y="764"/>
                </a:lnTo>
                <a:lnTo>
                  <a:pt x="567" y="761"/>
                </a:lnTo>
                <a:lnTo>
                  <a:pt x="580" y="758"/>
                </a:lnTo>
                <a:lnTo>
                  <a:pt x="586" y="756"/>
                </a:lnTo>
                <a:lnTo>
                  <a:pt x="591" y="753"/>
                </a:lnTo>
                <a:lnTo>
                  <a:pt x="597" y="750"/>
                </a:lnTo>
                <a:lnTo>
                  <a:pt x="602" y="747"/>
                </a:lnTo>
                <a:lnTo>
                  <a:pt x="606" y="743"/>
                </a:lnTo>
                <a:lnTo>
                  <a:pt x="611" y="738"/>
                </a:lnTo>
                <a:lnTo>
                  <a:pt x="615" y="733"/>
                </a:lnTo>
                <a:lnTo>
                  <a:pt x="618" y="727"/>
                </a:lnTo>
                <a:lnTo>
                  <a:pt x="614" y="725"/>
                </a:lnTo>
                <a:lnTo>
                  <a:pt x="610" y="722"/>
                </a:lnTo>
                <a:lnTo>
                  <a:pt x="604" y="718"/>
                </a:lnTo>
                <a:lnTo>
                  <a:pt x="598" y="712"/>
                </a:lnTo>
                <a:lnTo>
                  <a:pt x="584" y="700"/>
                </a:lnTo>
                <a:lnTo>
                  <a:pt x="571" y="686"/>
                </a:lnTo>
                <a:lnTo>
                  <a:pt x="559" y="671"/>
                </a:lnTo>
                <a:lnTo>
                  <a:pt x="548" y="655"/>
                </a:lnTo>
                <a:lnTo>
                  <a:pt x="545" y="648"/>
                </a:lnTo>
                <a:lnTo>
                  <a:pt x="542" y="641"/>
                </a:lnTo>
                <a:lnTo>
                  <a:pt x="539" y="634"/>
                </a:lnTo>
                <a:lnTo>
                  <a:pt x="538" y="628"/>
                </a:lnTo>
                <a:lnTo>
                  <a:pt x="534" y="627"/>
                </a:lnTo>
                <a:lnTo>
                  <a:pt x="530" y="626"/>
                </a:lnTo>
                <a:lnTo>
                  <a:pt x="526" y="624"/>
                </a:lnTo>
                <a:lnTo>
                  <a:pt x="523" y="620"/>
                </a:lnTo>
                <a:lnTo>
                  <a:pt x="517" y="613"/>
                </a:lnTo>
                <a:lnTo>
                  <a:pt x="512" y="603"/>
                </a:lnTo>
                <a:lnTo>
                  <a:pt x="512" y="579"/>
                </a:lnTo>
                <a:lnTo>
                  <a:pt x="526" y="578"/>
                </a:lnTo>
                <a:lnTo>
                  <a:pt x="539" y="577"/>
                </a:lnTo>
                <a:lnTo>
                  <a:pt x="551" y="575"/>
                </a:lnTo>
                <a:lnTo>
                  <a:pt x="562" y="571"/>
                </a:lnTo>
                <a:lnTo>
                  <a:pt x="572" y="568"/>
                </a:lnTo>
                <a:lnTo>
                  <a:pt x="582" y="563"/>
                </a:lnTo>
                <a:lnTo>
                  <a:pt x="591" y="558"/>
                </a:lnTo>
                <a:lnTo>
                  <a:pt x="600" y="552"/>
                </a:lnTo>
                <a:lnTo>
                  <a:pt x="607" y="545"/>
                </a:lnTo>
                <a:lnTo>
                  <a:pt x="615" y="538"/>
                </a:lnTo>
                <a:lnTo>
                  <a:pt x="622" y="531"/>
                </a:lnTo>
                <a:lnTo>
                  <a:pt x="628" y="523"/>
                </a:lnTo>
                <a:lnTo>
                  <a:pt x="639" y="507"/>
                </a:lnTo>
                <a:lnTo>
                  <a:pt x="650" y="489"/>
                </a:lnTo>
                <a:lnTo>
                  <a:pt x="669" y="453"/>
                </a:lnTo>
                <a:lnTo>
                  <a:pt x="688" y="417"/>
                </a:lnTo>
                <a:lnTo>
                  <a:pt x="699" y="401"/>
                </a:lnTo>
                <a:lnTo>
                  <a:pt x="710" y="387"/>
                </a:lnTo>
                <a:lnTo>
                  <a:pt x="716" y="379"/>
                </a:lnTo>
                <a:lnTo>
                  <a:pt x="723" y="373"/>
                </a:lnTo>
                <a:lnTo>
                  <a:pt x="730" y="368"/>
                </a:lnTo>
                <a:lnTo>
                  <a:pt x="738" y="363"/>
                </a:lnTo>
                <a:lnTo>
                  <a:pt x="732" y="351"/>
                </a:lnTo>
                <a:lnTo>
                  <a:pt x="727" y="340"/>
                </a:lnTo>
                <a:lnTo>
                  <a:pt x="726" y="335"/>
                </a:lnTo>
                <a:lnTo>
                  <a:pt x="725" y="330"/>
                </a:lnTo>
                <a:lnTo>
                  <a:pt x="725" y="324"/>
                </a:lnTo>
                <a:lnTo>
                  <a:pt x="725" y="319"/>
                </a:lnTo>
                <a:lnTo>
                  <a:pt x="726" y="314"/>
                </a:lnTo>
                <a:lnTo>
                  <a:pt x="727" y="309"/>
                </a:lnTo>
                <a:lnTo>
                  <a:pt x="729" y="305"/>
                </a:lnTo>
                <a:lnTo>
                  <a:pt x="733" y="301"/>
                </a:lnTo>
                <a:lnTo>
                  <a:pt x="736" y="298"/>
                </a:lnTo>
                <a:lnTo>
                  <a:pt x="740" y="295"/>
                </a:lnTo>
                <a:lnTo>
                  <a:pt x="746" y="292"/>
                </a:lnTo>
                <a:lnTo>
                  <a:pt x="751" y="289"/>
                </a:lnTo>
                <a:lnTo>
                  <a:pt x="722" y="262"/>
                </a:lnTo>
                <a:lnTo>
                  <a:pt x="700" y="242"/>
                </a:lnTo>
                <a:lnTo>
                  <a:pt x="690" y="232"/>
                </a:lnTo>
                <a:lnTo>
                  <a:pt x="680" y="221"/>
                </a:lnTo>
                <a:lnTo>
                  <a:pt x="670" y="207"/>
                </a:lnTo>
                <a:lnTo>
                  <a:pt x="658" y="190"/>
                </a:lnTo>
                <a:lnTo>
                  <a:pt x="658" y="147"/>
                </a:lnTo>
                <a:lnTo>
                  <a:pt x="701" y="145"/>
                </a:lnTo>
                <a:lnTo>
                  <a:pt x="733" y="143"/>
                </a:lnTo>
                <a:lnTo>
                  <a:pt x="758" y="140"/>
                </a:lnTo>
                <a:lnTo>
                  <a:pt x="778" y="136"/>
                </a:lnTo>
                <a:lnTo>
                  <a:pt x="785" y="134"/>
                </a:lnTo>
                <a:lnTo>
                  <a:pt x="792" y="131"/>
                </a:lnTo>
                <a:lnTo>
                  <a:pt x="799" y="127"/>
                </a:lnTo>
                <a:lnTo>
                  <a:pt x="805" y="123"/>
                </a:lnTo>
                <a:lnTo>
                  <a:pt x="817" y="113"/>
                </a:lnTo>
                <a:lnTo>
                  <a:pt x="831" y="98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64" name="Freeform 262"/>
          <p:cNvSpPr>
            <a:spLocks/>
          </p:cNvSpPr>
          <p:nvPr userDrawn="1">
            <p:custDataLst>
              <p:tags r:id="rId188"/>
            </p:custDataLst>
          </p:nvPr>
        </p:nvSpPr>
        <p:spPr bwMode="auto">
          <a:xfrm>
            <a:off x="6342072" y="2256245"/>
            <a:ext cx="220663" cy="439340"/>
          </a:xfrm>
          <a:custGeom>
            <a:avLst/>
            <a:gdLst>
              <a:gd name="T0" fmla="*/ 83627788 w 505"/>
              <a:gd name="T1" fmla="*/ 291361888 h 1121"/>
              <a:gd name="T2" fmla="*/ 84582538 w 505"/>
              <a:gd name="T3" fmla="*/ 280712170 h 1121"/>
              <a:gd name="T4" fmla="*/ 76181616 w 505"/>
              <a:gd name="T5" fmla="*/ 279073952 h 1121"/>
              <a:gd name="T6" fmla="*/ 77326878 w 505"/>
              <a:gd name="T7" fmla="*/ 261324183 h 1121"/>
              <a:gd name="T8" fmla="*/ 80000177 w 505"/>
              <a:gd name="T9" fmla="*/ 254224719 h 1121"/>
              <a:gd name="T10" fmla="*/ 78854477 w 505"/>
              <a:gd name="T11" fmla="*/ 245486516 h 1121"/>
              <a:gd name="T12" fmla="*/ 75990666 w 505"/>
              <a:gd name="T13" fmla="*/ 243848299 h 1121"/>
              <a:gd name="T14" fmla="*/ 72935467 w 505"/>
              <a:gd name="T15" fmla="*/ 228829479 h 1121"/>
              <a:gd name="T16" fmla="*/ 61861683 w 505"/>
              <a:gd name="T17" fmla="*/ 196334775 h 1121"/>
              <a:gd name="T18" fmla="*/ 56515508 w 505"/>
              <a:gd name="T19" fmla="*/ 191965674 h 1121"/>
              <a:gd name="T20" fmla="*/ 53842647 w 505"/>
              <a:gd name="T21" fmla="*/ 196061478 h 1121"/>
              <a:gd name="T22" fmla="*/ 43150325 w 505"/>
              <a:gd name="T23" fmla="*/ 202615392 h 1121"/>
              <a:gd name="T24" fmla="*/ 32267491 w 505"/>
              <a:gd name="T25" fmla="*/ 200976652 h 1121"/>
              <a:gd name="T26" fmla="*/ 25393724 w 505"/>
              <a:gd name="T27" fmla="*/ 154828571 h 1121"/>
              <a:gd name="T28" fmla="*/ 19284201 w 505"/>
              <a:gd name="T29" fmla="*/ 141994563 h 1121"/>
              <a:gd name="T30" fmla="*/ 9737575 w 505"/>
              <a:gd name="T31" fmla="*/ 137079389 h 1121"/>
              <a:gd name="T32" fmla="*/ 1527600 w 505"/>
              <a:gd name="T33" fmla="*/ 128614451 h 1121"/>
              <a:gd name="T34" fmla="*/ 4391413 w 505"/>
              <a:gd name="T35" fmla="*/ 121514464 h 1121"/>
              <a:gd name="T36" fmla="*/ 11073788 w 505"/>
              <a:gd name="T37" fmla="*/ 98576811 h 1121"/>
              <a:gd name="T38" fmla="*/ 12792337 w 505"/>
              <a:gd name="T39" fmla="*/ 75639158 h 1121"/>
              <a:gd name="T40" fmla="*/ 15274689 w 505"/>
              <a:gd name="T41" fmla="*/ 72362724 h 1121"/>
              <a:gd name="T42" fmla="*/ 21575163 w 505"/>
              <a:gd name="T43" fmla="*/ 70451209 h 1121"/>
              <a:gd name="T44" fmla="*/ 25584674 w 505"/>
              <a:gd name="T45" fmla="*/ 60620845 h 1121"/>
              <a:gd name="T46" fmla="*/ 26730373 w 505"/>
              <a:gd name="T47" fmla="*/ 31948640 h 1121"/>
              <a:gd name="T48" fmla="*/ 30357992 w 505"/>
              <a:gd name="T49" fmla="*/ 26760691 h 1121"/>
              <a:gd name="T50" fmla="*/ 40668413 w 505"/>
              <a:gd name="T51" fmla="*/ 20206777 h 1121"/>
              <a:gd name="T52" fmla="*/ 44677924 w 505"/>
              <a:gd name="T53" fmla="*/ 5734546 h 1121"/>
              <a:gd name="T54" fmla="*/ 52887897 w 505"/>
              <a:gd name="T55" fmla="*/ 8464908 h 1121"/>
              <a:gd name="T56" fmla="*/ 59570284 w 505"/>
              <a:gd name="T57" fmla="*/ 13380084 h 1121"/>
              <a:gd name="T58" fmla="*/ 64343595 w 505"/>
              <a:gd name="T59" fmla="*/ 33314082 h 1121"/>
              <a:gd name="T60" fmla="*/ 63961695 w 505"/>
              <a:gd name="T61" fmla="*/ 45602025 h 1121"/>
              <a:gd name="T62" fmla="*/ 57279322 w 505"/>
              <a:gd name="T63" fmla="*/ 58982105 h 1121"/>
              <a:gd name="T64" fmla="*/ 55942659 w 505"/>
              <a:gd name="T65" fmla="*/ 66901461 h 1121"/>
              <a:gd name="T66" fmla="*/ 58997871 w 505"/>
              <a:gd name="T67" fmla="*/ 71270579 h 1121"/>
              <a:gd name="T68" fmla="*/ 66062144 w 505"/>
              <a:gd name="T69" fmla="*/ 73728166 h 1121"/>
              <a:gd name="T70" fmla="*/ 70835455 w 505"/>
              <a:gd name="T71" fmla="*/ 79462187 h 1121"/>
              <a:gd name="T72" fmla="*/ 75990666 w 505"/>
              <a:gd name="T73" fmla="*/ 94207710 h 1121"/>
              <a:gd name="T74" fmla="*/ 82100189 w 505"/>
              <a:gd name="T75" fmla="*/ 109226529 h 1121"/>
              <a:gd name="T76" fmla="*/ 88592049 w 505"/>
              <a:gd name="T77" fmla="*/ 114141703 h 1121"/>
              <a:gd name="T78" fmla="*/ 96420122 w 505"/>
              <a:gd name="T79" fmla="*/ 114141703 h 1121"/>
              <a:gd name="T80" fmla="*/ 90883011 w 505"/>
              <a:gd name="T81" fmla="*/ 134894544 h 1121"/>
              <a:gd name="T82" fmla="*/ 81527339 w 505"/>
              <a:gd name="T83" fmla="*/ 139263679 h 1121"/>
              <a:gd name="T84" fmla="*/ 73126417 w 505"/>
              <a:gd name="T85" fmla="*/ 144178853 h 1121"/>
              <a:gd name="T86" fmla="*/ 68735006 w 505"/>
              <a:gd name="T87" fmla="*/ 156194013 h 1121"/>
              <a:gd name="T88" fmla="*/ 70644505 w 505"/>
              <a:gd name="T89" fmla="*/ 173943195 h 1121"/>
              <a:gd name="T90" fmla="*/ 76754028 w 505"/>
              <a:gd name="T91" fmla="*/ 186504427 h 1121"/>
              <a:gd name="T92" fmla="*/ 82100189 w 505"/>
              <a:gd name="T93" fmla="*/ 200703877 h 1121"/>
              <a:gd name="T94" fmla="*/ 81718289 w 505"/>
              <a:gd name="T95" fmla="*/ 211899667 h 1121"/>
              <a:gd name="T96" fmla="*/ 80000177 w 505"/>
              <a:gd name="T97" fmla="*/ 218726356 h 1121"/>
              <a:gd name="T98" fmla="*/ 83054939 w 505"/>
              <a:gd name="T99" fmla="*/ 232379211 h 1121"/>
              <a:gd name="T100" fmla="*/ 92219661 w 505"/>
              <a:gd name="T101" fmla="*/ 263508995 h 1121"/>
              <a:gd name="T102" fmla="*/ 87446350 w 505"/>
              <a:gd name="T103" fmla="*/ 295457692 h 1121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505"/>
              <a:gd name="T157" fmla="*/ 0 h 1121"/>
              <a:gd name="T158" fmla="*/ 505 w 505"/>
              <a:gd name="T159" fmla="*/ 1121 h 1121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505" h="1121">
                <a:moveTo>
                  <a:pt x="446" y="1121"/>
                </a:moveTo>
                <a:lnTo>
                  <a:pt x="445" y="1106"/>
                </a:lnTo>
                <a:lnTo>
                  <a:pt x="443" y="1091"/>
                </a:lnTo>
                <a:lnTo>
                  <a:pt x="440" y="1079"/>
                </a:lnTo>
                <a:lnTo>
                  <a:pt x="438" y="1067"/>
                </a:lnTo>
                <a:lnTo>
                  <a:pt x="437" y="1056"/>
                </a:lnTo>
                <a:lnTo>
                  <a:pt x="437" y="1045"/>
                </a:lnTo>
                <a:lnTo>
                  <a:pt x="438" y="1040"/>
                </a:lnTo>
                <a:lnTo>
                  <a:pt x="439" y="1034"/>
                </a:lnTo>
                <a:lnTo>
                  <a:pt x="443" y="1028"/>
                </a:lnTo>
                <a:lnTo>
                  <a:pt x="446" y="1022"/>
                </a:lnTo>
                <a:lnTo>
                  <a:pt x="430" y="1022"/>
                </a:lnTo>
                <a:lnTo>
                  <a:pt x="420" y="1022"/>
                </a:lnTo>
                <a:lnTo>
                  <a:pt x="411" y="1022"/>
                </a:lnTo>
                <a:lnTo>
                  <a:pt x="399" y="1022"/>
                </a:lnTo>
                <a:lnTo>
                  <a:pt x="399" y="1001"/>
                </a:lnTo>
                <a:lnTo>
                  <a:pt x="399" y="988"/>
                </a:lnTo>
                <a:lnTo>
                  <a:pt x="399" y="975"/>
                </a:lnTo>
                <a:lnTo>
                  <a:pt x="399" y="961"/>
                </a:lnTo>
                <a:lnTo>
                  <a:pt x="405" y="957"/>
                </a:lnTo>
                <a:lnTo>
                  <a:pt x="411" y="953"/>
                </a:lnTo>
                <a:lnTo>
                  <a:pt x="414" y="949"/>
                </a:lnTo>
                <a:lnTo>
                  <a:pt x="416" y="946"/>
                </a:lnTo>
                <a:lnTo>
                  <a:pt x="419" y="939"/>
                </a:lnTo>
                <a:lnTo>
                  <a:pt x="419" y="931"/>
                </a:lnTo>
                <a:lnTo>
                  <a:pt x="419" y="922"/>
                </a:lnTo>
                <a:lnTo>
                  <a:pt x="419" y="915"/>
                </a:lnTo>
                <a:lnTo>
                  <a:pt x="419" y="908"/>
                </a:lnTo>
                <a:lnTo>
                  <a:pt x="419" y="899"/>
                </a:lnTo>
                <a:lnTo>
                  <a:pt x="413" y="899"/>
                </a:lnTo>
                <a:lnTo>
                  <a:pt x="409" y="899"/>
                </a:lnTo>
                <a:lnTo>
                  <a:pt x="404" y="898"/>
                </a:lnTo>
                <a:lnTo>
                  <a:pt x="402" y="896"/>
                </a:lnTo>
                <a:lnTo>
                  <a:pt x="400" y="895"/>
                </a:lnTo>
                <a:lnTo>
                  <a:pt x="398" y="893"/>
                </a:lnTo>
                <a:lnTo>
                  <a:pt x="397" y="891"/>
                </a:lnTo>
                <a:lnTo>
                  <a:pt x="395" y="889"/>
                </a:lnTo>
                <a:lnTo>
                  <a:pt x="394" y="879"/>
                </a:lnTo>
                <a:lnTo>
                  <a:pt x="392" y="868"/>
                </a:lnTo>
                <a:lnTo>
                  <a:pt x="382" y="838"/>
                </a:lnTo>
                <a:lnTo>
                  <a:pt x="371" y="811"/>
                </a:lnTo>
                <a:lnTo>
                  <a:pt x="360" y="786"/>
                </a:lnTo>
                <a:lnTo>
                  <a:pt x="348" y="764"/>
                </a:lnTo>
                <a:lnTo>
                  <a:pt x="336" y="741"/>
                </a:lnTo>
                <a:lnTo>
                  <a:pt x="324" y="719"/>
                </a:lnTo>
                <a:lnTo>
                  <a:pt x="312" y="695"/>
                </a:lnTo>
                <a:lnTo>
                  <a:pt x="300" y="672"/>
                </a:lnTo>
                <a:lnTo>
                  <a:pt x="299" y="684"/>
                </a:lnTo>
                <a:lnTo>
                  <a:pt x="298" y="694"/>
                </a:lnTo>
                <a:lnTo>
                  <a:pt x="296" y="703"/>
                </a:lnTo>
                <a:lnTo>
                  <a:pt x="292" y="710"/>
                </a:lnTo>
                <a:lnTo>
                  <a:pt x="291" y="713"/>
                </a:lnTo>
                <a:lnTo>
                  <a:pt x="288" y="715"/>
                </a:lnTo>
                <a:lnTo>
                  <a:pt x="286" y="717"/>
                </a:lnTo>
                <a:lnTo>
                  <a:pt x="282" y="718"/>
                </a:lnTo>
                <a:lnTo>
                  <a:pt x="276" y="720"/>
                </a:lnTo>
                <a:lnTo>
                  <a:pt x="266" y="721"/>
                </a:lnTo>
                <a:lnTo>
                  <a:pt x="246" y="751"/>
                </a:lnTo>
                <a:lnTo>
                  <a:pt x="238" y="748"/>
                </a:lnTo>
                <a:lnTo>
                  <a:pt x="226" y="742"/>
                </a:lnTo>
                <a:lnTo>
                  <a:pt x="214" y="736"/>
                </a:lnTo>
                <a:lnTo>
                  <a:pt x="207" y="733"/>
                </a:lnTo>
                <a:lnTo>
                  <a:pt x="190" y="734"/>
                </a:lnTo>
                <a:lnTo>
                  <a:pt x="176" y="735"/>
                </a:lnTo>
                <a:lnTo>
                  <a:pt x="169" y="736"/>
                </a:lnTo>
                <a:lnTo>
                  <a:pt x="165" y="736"/>
                </a:lnTo>
                <a:lnTo>
                  <a:pt x="162" y="735"/>
                </a:lnTo>
                <a:lnTo>
                  <a:pt x="159" y="733"/>
                </a:lnTo>
                <a:lnTo>
                  <a:pt x="167" y="646"/>
                </a:lnTo>
                <a:lnTo>
                  <a:pt x="133" y="567"/>
                </a:lnTo>
                <a:lnTo>
                  <a:pt x="122" y="551"/>
                </a:lnTo>
                <a:lnTo>
                  <a:pt x="112" y="539"/>
                </a:lnTo>
                <a:lnTo>
                  <a:pt x="107" y="533"/>
                </a:lnTo>
                <a:lnTo>
                  <a:pt x="103" y="527"/>
                </a:lnTo>
                <a:lnTo>
                  <a:pt x="101" y="520"/>
                </a:lnTo>
                <a:lnTo>
                  <a:pt x="100" y="511"/>
                </a:lnTo>
                <a:lnTo>
                  <a:pt x="85" y="508"/>
                </a:lnTo>
                <a:lnTo>
                  <a:pt x="74" y="505"/>
                </a:lnTo>
                <a:lnTo>
                  <a:pt x="62" y="504"/>
                </a:lnTo>
                <a:lnTo>
                  <a:pt x="51" y="502"/>
                </a:lnTo>
                <a:lnTo>
                  <a:pt x="41" y="498"/>
                </a:lnTo>
                <a:lnTo>
                  <a:pt x="32" y="493"/>
                </a:lnTo>
                <a:lnTo>
                  <a:pt x="23" y="487"/>
                </a:lnTo>
                <a:lnTo>
                  <a:pt x="16" y="479"/>
                </a:lnTo>
                <a:lnTo>
                  <a:pt x="8" y="471"/>
                </a:lnTo>
                <a:lnTo>
                  <a:pt x="0" y="462"/>
                </a:lnTo>
                <a:lnTo>
                  <a:pt x="8" y="458"/>
                </a:lnTo>
                <a:lnTo>
                  <a:pt x="13" y="454"/>
                </a:lnTo>
                <a:lnTo>
                  <a:pt x="19" y="450"/>
                </a:lnTo>
                <a:lnTo>
                  <a:pt x="23" y="445"/>
                </a:lnTo>
                <a:lnTo>
                  <a:pt x="31" y="435"/>
                </a:lnTo>
                <a:lnTo>
                  <a:pt x="38" y="422"/>
                </a:lnTo>
                <a:lnTo>
                  <a:pt x="45" y="397"/>
                </a:lnTo>
                <a:lnTo>
                  <a:pt x="54" y="369"/>
                </a:lnTo>
                <a:lnTo>
                  <a:pt x="58" y="361"/>
                </a:lnTo>
                <a:lnTo>
                  <a:pt x="62" y="351"/>
                </a:lnTo>
                <a:lnTo>
                  <a:pt x="64" y="340"/>
                </a:lnTo>
                <a:lnTo>
                  <a:pt x="65" y="328"/>
                </a:lnTo>
                <a:lnTo>
                  <a:pt x="67" y="302"/>
                </a:lnTo>
                <a:lnTo>
                  <a:pt x="67" y="277"/>
                </a:lnTo>
                <a:lnTo>
                  <a:pt x="67" y="274"/>
                </a:lnTo>
                <a:lnTo>
                  <a:pt x="68" y="272"/>
                </a:lnTo>
                <a:lnTo>
                  <a:pt x="70" y="269"/>
                </a:lnTo>
                <a:lnTo>
                  <a:pt x="73" y="268"/>
                </a:lnTo>
                <a:lnTo>
                  <a:pt x="80" y="265"/>
                </a:lnTo>
                <a:lnTo>
                  <a:pt x="88" y="264"/>
                </a:lnTo>
                <a:lnTo>
                  <a:pt x="96" y="263"/>
                </a:lnTo>
                <a:lnTo>
                  <a:pt x="103" y="262"/>
                </a:lnTo>
                <a:lnTo>
                  <a:pt x="110" y="261"/>
                </a:lnTo>
                <a:lnTo>
                  <a:pt x="113" y="258"/>
                </a:lnTo>
                <a:lnTo>
                  <a:pt x="119" y="253"/>
                </a:lnTo>
                <a:lnTo>
                  <a:pt x="124" y="247"/>
                </a:lnTo>
                <a:lnTo>
                  <a:pt x="129" y="239"/>
                </a:lnTo>
                <a:lnTo>
                  <a:pt x="132" y="231"/>
                </a:lnTo>
                <a:lnTo>
                  <a:pt x="134" y="222"/>
                </a:lnTo>
                <a:lnTo>
                  <a:pt x="136" y="213"/>
                </a:lnTo>
                <a:lnTo>
                  <a:pt x="137" y="202"/>
                </a:lnTo>
                <a:lnTo>
                  <a:pt x="140" y="192"/>
                </a:lnTo>
                <a:lnTo>
                  <a:pt x="141" y="152"/>
                </a:lnTo>
                <a:lnTo>
                  <a:pt x="140" y="117"/>
                </a:lnTo>
                <a:lnTo>
                  <a:pt x="141" y="114"/>
                </a:lnTo>
                <a:lnTo>
                  <a:pt x="143" y="110"/>
                </a:lnTo>
                <a:lnTo>
                  <a:pt x="145" y="107"/>
                </a:lnTo>
                <a:lnTo>
                  <a:pt x="150" y="104"/>
                </a:lnTo>
                <a:lnTo>
                  <a:pt x="159" y="98"/>
                </a:lnTo>
                <a:lnTo>
                  <a:pt x="170" y="91"/>
                </a:lnTo>
                <a:lnTo>
                  <a:pt x="193" y="83"/>
                </a:lnTo>
                <a:lnTo>
                  <a:pt x="207" y="80"/>
                </a:lnTo>
                <a:lnTo>
                  <a:pt x="210" y="77"/>
                </a:lnTo>
                <a:lnTo>
                  <a:pt x="213" y="74"/>
                </a:lnTo>
                <a:lnTo>
                  <a:pt x="217" y="70"/>
                </a:lnTo>
                <a:lnTo>
                  <a:pt x="219" y="66"/>
                </a:lnTo>
                <a:lnTo>
                  <a:pt x="224" y="56"/>
                </a:lnTo>
                <a:lnTo>
                  <a:pt x="227" y="45"/>
                </a:lnTo>
                <a:lnTo>
                  <a:pt x="234" y="21"/>
                </a:lnTo>
                <a:lnTo>
                  <a:pt x="240" y="0"/>
                </a:lnTo>
                <a:lnTo>
                  <a:pt x="251" y="7"/>
                </a:lnTo>
                <a:lnTo>
                  <a:pt x="260" y="15"/>
                </a:lnTo>
                <a:lnTo>
                  <a:pt x="269" y="23"/>
                </a:lnTo>
                <a:lnTo>
                  <a:pt x="277" y="31"/>
                </a:lnTo>
                <a:lnTo>
                  <a:pt x="286" y="39"/>
                </a:lnTo>
                <a:lnTo>
                  <a:pt x="294" y="44"/>
                </a:lnTo>
                <a:lnTo>
                  <a:pt x="300" y="47"/>
                </a:lnTo>
                <a:lnTo>
                  <a:pt x="305" y="48"/>
                </a:lnTo>
                <a:lnTo>
                  <a:pt x="312" y="49"/>
                </a:lnTo>
                <a:lnTo>
                  <a:pt x="320" y="49"/>
                </a:lnTo>
                <a:lnTo>
                  <a:pt x="325" y="75"/>
                </a:lnTo>
                <a:lnTo>
                  <a:pt x="332" y="99"/>
                </a:lnTo>
                <a:lnTo>
                  <a:pt x="335" y="110"/>
                </a:lnTo>
                <a:lnTo>
                  <a:pt x="337" y="122"/>
                </a:lnTo>
                <a:lnTo>
                  <a:pt x="338" y="134"/>
                </a:lnTo>
                <a:lnTo>
                  <a:pt x="339" y="147"/>
                </a:lnTo>
                <a:lnTo>
                  <a:pt x="338" y="155"/>
                </a:lnTo>
                <a:lnTo>
                  <a:pt x="337" y="161"/>
                </a:lnTo>
                <a:lnTo>
                  <a:pt x="335" y="167"/>
                </a:lnTo>
                <a:lnTo>
                  <a:pt x="332" y="173"/>
                </a:lnTo>
                <a:lnTo>
                  <a:pt x="324" y="183"/>
                </a:lnTo>
                <a:lnTo>
                  <a:pt x="316" y="194"/>
                </a:lnTo>
                <a:lnTo>
                  <a:pt x="308" y="204"/>
                </a:lnTo>
                <a:lnTo>
                  <a:pt x="300" y="216"/>
                </a:lnTo>
                <a:lnTo>
                  <a:pt x="297" y="221"/>
                </a:lnTo>
                <a:lnTo>
                  <a:pt x="294" y="227"/>
                </a:lnTo>
                <a:lnTo>
                  <a:pt x="293" y="233"/>
                </a:lnTo>
                <a:lnTo>
                  <a:pt x="292" y="240"/>
                </a:lnTo>
                <a:lnTo>
                  <a:pt x="293" y="245"/>
                </a:lnTo>
                <a:lnTo>
                  <a:pt x="294" y="250"/>
                </a:lnTo>
                <a:lnTo>
                  <a:pt x="297" y="253"/>
                </a:lnTo>
                <a:lnTo>
                  <a:pt x="300" y="256"/>
                </a:lnTo>
                <a:lnTo>
                  <a:pt x="304" y="258"/>
                </a:lnTo>
                <a:lnTo>
                  <a:pt x="309" y="261"/>
                </a:lnTo>
                <a:lnTo>
                  <a:pt x="313" y="262"/>
                </a:lnTo>
                <a:lnTo>
                  <a:pt x="319" y="264"/>
                </a:lnTo>
                <a:lnTo>
                  <a:pt x="330" y="266"/>
                </a:lnTo>
                <a:lnTo>
                  <a:pt x="341" y="268"/>
                </a:lnTo>
                <a:lnTo>
                  <a:pt x="346" y="270"/>
                </a:lnTo>
                <a:lnTo>
                  <a:pt x="350" y="272"/>
                </a:lnTo>
                <a:lnTo>
                  <a:pt x="355" y="274"/>
                </a:lnTo>
                <a:lnTo>
                  <a:pt x="359" y="277"/>
                </a:lnTo>
                <a:lnTo>
                  <a:pt x="366" y="284"/>
                </a:lnTo>
                <a:lnTo>
                  <a:pt x="371" y="291"/>
                </a:lnTo>
                <a:lnTo>
                  <a:pt x="375" y="298"/>
                </a:lnTo>
                <a:lnTo>
                  <a:pt x="378" y="304"/>
                </a:lnTo>
                <a:lnTo>
                  <a:pt x="384" y="319"/>
                </a:lnTo>
                <a:lnTo>
                  <a:pt x="392" y="333"/>
                </a:lnTo>
                <a:lnTo>
                  <a:pt x="398" y="345"/>
                </a:lnTo>
                <a:lnTo>
                  <a:pt x="404" y="359"/>
                </a:lnTo>
                <a:lnTo>
                  <a:pt x="411" y="374"/>
                </a:lnTo>
                <a:lnTo>
                  <a:pt x="420" y="387"/>
                </a:lnTo>
                <a:lnTo>
                  <a:pt x="425" y="394"/>
                </a:lnTo>
                <a:lnTo>
                  <a:pt x="430" y="400"/>
                </a:lnTo>
                <a:lnTo>
                  <a:pt x="436" y="405"/>
                </a:lnTo>
                <a:lnTo>
                  <a:pt x="442" y="409"/>
                </a:lnTo>
                <a:lnTo>
                  <a:pt x="448" y="413"/>
                </a:lnTo>
                <a:lnTo>
                  <a:pt x="456" y="416"/>
                </a:lnTo>
                <a:lnTo>
                  <a:pt x="464" y="418"/>
                </a:lnTo>
                <a:lnTo>
                  <a:pt x="472" y="418"/>
                </a:lnTo>
                <a:lnTo>
                  <a:pt x="477" y="418"/>
                </a:lnTo>
                <a:lnTo>
                  <a:pt x="487" y="418"/>
                </a:lnTo>
                <a:lnTo>
                  <a:pt x="498" y="418"/>
                </a:lnTo>
                <a:lnTo>
                  <a:pt x="505" y="418"/>
                </a:lnTo>
                <a:lnTo>
                  <a:pt x="499" y="439"/>
                </a:lnTo>
                <a:lnTo>
                  <a:pt x="489" y="460"/>
                </a:lnTo>
                <a:lnTo>
                  <a:pt x="483" y="470"/>
                </a:lnTo>
                <a:lnTo>
                  <a:pt x="479" y="482"/>
                </a:lnTo>
                <a:lnTo>
                  <a:pt x="476" y="494"/>
                </a:lnTo>
                <a:lnTo>
                  <a:pt x="472" y="505"/>
                </a:lnTo>
                <a:lnTo>
                  <a:pt x="479" y="499"/>
                </a:lnTo>
                <a:lnTo>
                  <a:pt x="458" y="503"/>
                </a:lnTo>
                <a:lnTo>
                  <a:pt x="437" y="507"/>
                </a:lnTo>
                <a:lnTo>
                  <a:pt x="427" y="510"/>
                </a:lnTo>
                <a:lnTo>
                  <a:pt x="417" y="512"/>
                </a:lnTo>
                <a:lnTo>
                  <a:pt x="408" y="515"/>
                </a:lnTo>
                <a:lnTo>
                  <a:pt x="399" y="519"/>
                </a:lnTo>
                <a:lnTo>
                  <a:pt x="391" y="523"/>
                </a:lnTo>
                <a:lnTo>
                  <a:pt x="383" y="528"/>
                </a:lnTo>
                <a:lnTo>
                  <a:pt x="376" y="534"/>
                </a:lnTo>
                <a:lnTo>
                  <a:pt x="370" y="543"/>
                </a:lnTo>
                <a:lnTo>
                  <a:pt x="366" y="551"/>
                </a:lnTo>
                <a:lnTo>
                  <a:pt x="363" y="561"/>
                </a:lnTo>
                <a:lnTo>
                  <a:pt x="360" y="572"/>
                </a:lnTo>
                <a:lnTo>
                  <a:pt x="359" y="585"/>
                </a:lnTo>
                <a:lnTo>
                  <a:pt x="360" y="601"/>
                </a:lnTo>
                <a:lnTo>
                  <a:pt x="363" y="614"/>
                </a:lnTo>
                <a:lnTo>
                  <a:pt x="366" y="626"/>
                </a:lnTo>
                <a:lnTo>
                  <a:pt x="370" y="637"/>
                </a:lnTo>
                <a:lnTo>
                  <a:pt x="376" y="647"/>
                </a:lnTo>
                <a:lnTo>
                  <a:pt x="382" y="657"/>
                </a:lnTo>
                <a:lnTo>
                  <a:pt x="389" y="666"/>
                </a:lnTo>
                <a:lnTo>
                  <a:pt x="395" y="675"/>
                </a:lnTo>
                <a:lnTo>
                  <a:pt x="402" y="683"/>
                </a:lnTo>
                <a:lnTo>
                  <a:pt x="409" y="692"/>
                </a:lnTo>
                <a:lnTo>
                  <a:pt x="415" y="701"/>
                </a:lnTo>
                <a:lnTo>
                  <a:pt x="421" y="712"/>
                </a:lnTo>
                <a:lnTo>
                  <a:pt x="425" y="723"/>
                </a:lnTo>
                <a:lnTo>
                  <a:pt x="430" y="735"/>
                </a:lnTo>
                <a:lnTo>
                  <a:pt x="432" y="748"/>
                </a:lnTo>
                <a:lnTo>
                  <a:pt x="433" y="764"/>
                </a:lnTo>
                <a:lnTo>
                  <a:pt x="432" y="769"/>
                </a:lnTo>
                <a:lnTo>
                  <a:pt x="431" y="773"/>
                </a:lnTo>
                <a:lnTo>
                  <a:pt x="428" y="776"/>
                </a:lnTo>
                <a:lnTo>
                  <a:pt x="425" y="780"/>
                </a:lnTo>
                <a:lnTo>
                  <a:pt x="423" y="784"/>
                </a:lnTo>
                <a:lnTo>
                  <a:pt x="421" y="789"/>
                </a:lnTo>
                <a:lnTo>
                  <a:pt x="420" y="794"/>
                </a:lnTo>
                <a:lnTo>
                  <a:pt x="419" y="801"/>
                </a:lnTo>
                <a:lnTo>
                  <a:pt x="420" y="809"/>
                </a:lnTo>
                <a:lnTo>
                  <a:pt x="421" y="818"/>
                </a:lnTo>
                <a:lnTo>
                  <a:pt x="423" y="826"/>
                </a:lnTo>
                <a:lnTo>
                  <a:pt x="426" y="834"/>
                </a:lnTo>
                <a:lnTo>
                  <a:pt x="435" y="851"/>
                </a:lnTo>
                <a:lnTo>
                  <a:pt x="445" y="868"/>
                </a:lnTo>
                <a:lnTo>
                  <a:pt x="467" y="903"/>
                </a:lnTo>
                <a:lnTo>
                  <a:pt x="486" y="937"/>
                </a:lnTo>
                <a:lnTo>
                  <a:pt x="486" y="951"/>
                </a:lnTo>
                <a:lnTo>
                  <a:pt x="483" y="965"/>
                </a:lnTo>
                <a:lnTo>
                  <a:pt x="482" y="980"/>
                </a:lnTo>
                <a:lnTo>
                  <a:pt x="479" y="997"/>
                </a:lnTo>
                <a:lnTo>
                  <a:pt x="472" y="1027"/>
                </a:lnTo>
                <a:lnTo>
                  <a:pt x="466" y="1057"/>
                </a:lnTo>
                <a:lnTo>
                  <a:pt x="458" y="1082"/>
                </a:lnTo>
                <a:lnTo>
                  <a:pt x="451" y="1103"/>
                </a:lnTo>
                <a:lnTo>
                  <a:pt x="447" y="1116"/>
                </a:lnTo>
                <a:lnTo>
                  <a:pt x="446" y="1121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65" name="Freeform 263"/>
          <p:cNvSpPr>
            <a:spLocks/>
          </p:cNvSpPr>
          <p:nvPr userDrawn="1">
            <p:custDataLst>
              <p:tags r:id="rId189"/>
            </p:custDataLst>
          </p:nvPr>
        </p:nvSpPr>
        <p:spPr bwMode="auto">
          <a:xfrm>
            <a:off x="3665545" y="2638428"/>
            <a:ext cx="80963" cy="44054"/>
          </a:xfrm>
          <a:custGeom>
            <a:avLst/>
            <a:gdLst>
              <a:gd name="T0" fmla="*/ 36416709 w 180"/>
              <a:gd name="T1" fmla="*/ 1925243 h 112"/>
              <a:gd name="T2" fmla="*/ 34595942 w 180"/>
              <a:gd name="T3" fmla="*/ 6601207 h 112"/>
              <a:gd name="T4" fmla="*/ 32977132 w 180"/>
              <a:gd name="T5" fmla="*/ 10726504 h 112"/>
              <a:gd name="T6" fmla="*/ 30752000 w 180"/>
              <a:gd name="T7" fmla="*/ 14577513 h 112"/>
              <a:gd name="T8" fmla="*/ 28526411 w 180"/>
              <a:gd name="T9" fmla="*/ 18152667 h 112"/>
              <a:gd name="T10" fmla="*/ 26098421 w 180"/>
              <a:gd name="T11" fmla="*/ 22003677 h 112"/>
              <a:gd name="T12" fmla="*/ 23266067 w 180"/>
              <a:gd name="T13" fmla="*/ 25304017 h 112"/>
              <a:gd name="T14" fmla="*/ 20433712 w 180"/>
              <a:gd name="T15" fmla="*/ 28054738 h 112"/>
              <a:gd name="T16" fmla="*/ 17601357 w 180"/>
              <a:gd name="T17" fmla="*/ 30804934 h 112"/>
              <a:gd name="T18" fmla="*/ 16589770 w 180"/>
              <a:gd name="T19" fmla="*/ 29429836 h 112"/>
              <a:gd name="T20" fmla="*/ 15982997 w 180"/>
              <a:gd name="T21" fmla="*/ 27779404 h 112"/>
              <a:gd name="T22" fmla="*/ 15375775 w 180"/>
              <a:gd name="T23" fmla="*/ 26128971 h 112"/>
              <a:gd name="T24" fmla="*/ 14971410 w 180"/>
              <a:gd name="T25" fmla="*/ 24203729 h 112"/>
              <a:gd name="T26" fmla="*/ 14162227 w 180"/>
              <a:gd name="T27" fmla="*/ 22278486 h 112"/>
              <a:gd name="T28" fmla="*/ 13757412 w 180"/>
              <a:gd name="T29" fmla="*/ 20353244 h 112"/>
              <a:gd name="T30" fmla="*/ 13150639 w 180"/>
              <a:gd name="T31" fmla="*/ 18978146 h 112"/>
              <a:gd name="T32" fmla="*/ 12139052 w 180"/>
              <a:gd name="T33" fmla="*/ 17327713 h 112"/>
              <a:gd name="T34" fmla="*/ 9104290 w 180"/>
              <a:gd name="T35" fmla="*/ 13201890 h 112"/>
              <a:gd name="T36" fmla="*/ 7283521 w 180"/>
              <a:gd name="T37" fmla="*/ 10451694 h 112"/>
              <a:gd name="T38" fmla="*/ 6069526 w 180"/>
              <a:gd name="T39" fmla="*/ 9076596 h 112"/>
              <a:gd name="T40" fmla="*/ 5057939 w 180"/>
              <a:gd name="T41" fmla="*/ 8526450 h 112"/>
              <a:gd name="T42" fmla="*/ 3641535 w 180"/>
              <a:gd name="T43" fmla="*/ 8251115 h 112"/>
              <a:gd name="T44" fmla="*/ 0 w 180"/>
              <a:gd name="T45" fmla="*/ 7151352 h 112"/>
              <a:gd name="T46" fmla="*/ 5260346 w 180"/>
              <a:gd name="T47" fmla="*/ 3850486 h 112"/>
              <a:gd name="T48" fmla="*/ 8295110 w 180"/>
              <a:gd name="T49" fmla="*/ 2475387 h 112"/>
              <a:gd name="T50" fmla="*/ 11329422 w 180"/>
              <a:gd name="T51" fmla="*/ 1375099 h 112"/>
              <a:gd name="T52" fmla="*/ 14971410 w 180"/>
              <a:gd name="T53" fmla="*/ 824954 h 112"/>
              <a:gd name="T54" fmla="*/ 18815352 w 180"/>
              <a:gd name="T55" fmla="*/ 274810 h 112"/>
              <a:gd name="T56" fmla="*/ 23064109 w 180"/>
              <a:gd name="T57" fmla="*/ 0 h 112"/>
              <a:gd name="T58" fmla="*/ 27312416 w 180"/>
              <a:gd name="T59" fmla="*/ 274810 h 112"/>
              <a:gd name="T60" fmla="*/ 31763587 w 180"/>
              <a:gd name="T61" fmla="*/ 824954 h 112"/>
              <a:gd name="T62" fmla="*/ 36416709 w 180"/>
              <a:gd name="T63" fmla="*/ 1925243 h 11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80"/>
              <a:gd name="T97" fmla="*/ 0 h 112"/>
              <a:gd name="T98" fmla="*/ 180 w 180"/>
              <a:gd name="T99" fmla="*/ 112 h 112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80" h="112">
                <a:moveTo>
                  <a:pt x="180" y="7"/>
                </a:moveTo>
                <a:lnTo>
                  <a:pt x="171" y="24"/>
                </a:lnTo>
                <a:lnTo>
                  <a:pt x="163" y="39"/>
                </a:lnTo>
                <a:lnTo>
                  <a:pt x="152" y="53"/>
                </a:lnTo>
                <a:lnTo>
                  <a:pt x="141" y="66"/>
                </a:lnTo>
                <a:lnTo>
                  <a:pt x="129" y="80"/>
                </a:lnTo>
                <a:lnTo>
                  <a:pt x="115" y="92"/>
                </a:lnTo>
                <a:lnTo>
                  <a:pt x="101" y="102"/>
                </a:lnTo>
                <a:lnTo>
                  <a:pt x="87" y="112"/>
                </a:lnTo>
                <a:lnTo>
                  <a:pt x="82" y="107"/>
                </a:lnTo>
                <a:lnTo>
                  <a:pt x="79" y="101"/>
                </a:lnTo>
                <a:lnTo>
                  <a:pt x="76" y="95"/>
                </a:lnTo>
                <a:lnTo>
                  <a:pt x="74" y="88"/>
                </a:lnTo>
                <a:lnTo>
                  <a:pt x="70" y="81"/>
                </a:lnTo>
                <a:lnTo>
                  <a:pt x="68" y="74"/>
                </a:lnTo>
                <a:lnTo>
                  <a:pt x="65" y="69"/>
                </a:lnTo>
                <a:lnTo>
                  <a:pt x="60" y="63"/>
                </a:lnTo>
                <a:lnTo>
                  <a:pt x="45" y="48"/>
                </a:lnTo>
                <a:lnTo>
                  <a:pt x="36" y="38"/>
                </a:lnTo>
                <a:lnTo>
                  <a:pt x="30" y="33"/>
                </a:lnTo>
                <a:lnTo>
                  <a:pt x="25" y="31"/>
                </a:lnTo>
                <a:lnTo>
                  <a:pt x="18" y="30"/>
                </a:lnTo>
                <a:lnTo>
                  <a:pt x="0" y="26"/>
                </a:lnTo>
                <a:lnTo>
                  <a:pt x="26" y="14"/>
                </a:lnTo>
                <a:lnTo>
                  <a:pt x="41" y="9"/>
                </a:lnTo>
                <a:lnTo>
                  <a:pt x="56" y="5"/>
                </a:lnTo>
                <a:lnTo>
                  <a:pt x="74" y="3"/>
                </a:lnTo>
                <a:lnTo>
                  <a:pt x="93" y="1"/>
                </a:lnTo>
                <a:lnTo>
                  <a:pt x="114" y="0"/>
                </a:lnTo>
                <a:lnTo>
                  <a:pt x="135" y="1"/>
                </a:lnTo>
                <a:lnTo>
                  <a:pt x="157" y="3"/>
                </a:lnTo>
                <a:lnTo>
                  <a:pt x="180" y="7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66" name="Freeform 264"/>
          <p:cNvSpPr>
            <a:spLocks/>
          </p:cNvSpPr>
          <p:nvPr userDrawn="1">
            <p:custDataLst>
              <p:tags r:id="rId190"/>
            </p:custDataLst>
          </p:nvPr>
        </p:nvSpPr>
        <p:spPr bwMode="auto">
          <a:xfrm>
            <a:off x="3749677" y="2700339"/>
            <a:ext cx="74612" cy="75010"/>
          </a:xfrm>
          <a:custGeom>
            <a:avLst/>
            <a:gdLst>
              <a:gd name="T0" fmla="*/ 0 w 173"/>
              <a:gd name="T1" fmla="*/ 18450838 h 192"/>
              <a:gd name="T2" fmla="*/ 5022293 w 173"/>
              <a:gd name="T3" fmla="*/ 11396273 h 192"/>
              <a:gd name="T4" fmla="*/ 9486075 w 173"/>
              <a:gd name="T5" fmla="*/ 5698137 h 192"/>
              <a:gd name="T6" fmla="*/ 10416352 w 173"/>
              <a:gd name="T7" fmla="*/ 4341190 h 192"/>
              <a:gd name="T8" fmla="*/ 11718396 w 173"/>
              <a:gd name="T9" fmla="*/ 3256152 h 192"/>
              <a:gd name="T10" fmla="*/ 13020440 w 173"/>
              <a:gd name="T11" fmla="*/ 2170595 h 192"/>
              <a:gd name="T12" fmla="*/ 14136604 w 173"/>
              <a:gd name="T13" fmla="*/ 1627816 h 192"/>
              <a:gd name="T14" fmla="*/ 15438647 w 173"/>
              <a:gd name="T15" fmla="*/ 814168 h 192"/>
              <a:gd name="T16" fmla="*/ 16740260 w 173"/>
              <a:gd name="T17" fmla="*/ 542779 h 192"/>
              <a:gd name="T18" fmla="*/ 18228618 w 173"/>
              <a:gd name="T19" fmla="*/ 271389 h 192"/>
              <a:gd name="T20" fmla="*/ 19902427 w 173"/>
              <a:gd name="T21" fmla="*/ 0 h 192"/>
              <a:gd name="T22" fmla="*/ 21576668 w 173"/>
              <a:gd name="T23" fmla="*/ 271389 h 192"/>
              <a:gd name="T24" fmla="*/ 23064595 w 173"/>
              <a:gd name="T25" fmla="*/ 542779 h 192"/>
              <a:gd name="T26" fmla="*/ 24552521 w 173"/>
              <a:gd name="T27" fmla="*/ 1356947 h 192"/>
              <a:gd name="T28" fmla="*/ 25854565 w 173"/>
              <a:gd name="T29" fmla="*/ 2170595 h 192"/>
              <a:gd name="T30" fmla="*/ 26970726 w 173"/>
              <a:gd name="T31" fmla="*/ 3527542 h 192"/>
              <a:gd name="T32" fmla="*/ 28086886 w 173"/>
              <a:gd name="T33" fmla="*/ 5155358 h 192"/>
              <a:gd name="T34" fmla="*/ 28830856 w 173"/>
              <a:gd name="T35" fmla="*/ 6512305 h 192"/>
              <a:gd name="T36" fmla="*/ 29760703 w 173"/>
              <a:gd name="T37" fmla="*/ 8140120 h 192"/>
              <a:gd name="T38" fmla="*/ 30318783 w 173"/>
              <a:gd name="T39" fmla="*/ 10039327 h 192"/>
              <a:gd name="T40" fmla="*/ 30876863 w 173"/>
              <a:gd name="T41" fmla="*/ 11667663 h 192"/>
              <a:gd name="T42" fmla="*/ 31249061 w 173"/>
              <a:gd name="T43" fmla="*/ 13566867 h 192"/>
              <a:gd name="T44" fmla="*/ 31434944 w 173"/>
              <a:gd name="T45" fmla="*/ 15466072 h 192"/>
              <a:gd name="T46" fmla="*/ 31993024 w 173"/>
              <a:gd name="T47" fmla="*/ 19536395 h 192"/>
              <a:gd name="T48" fmla="*/ 32178907 w 173"/>
              <a:gd name="T49" fmla="*/ 23606194 h 192"/>
              <a:gd name="T50" fmla="*/ 29202622 w 173"/>
              <a:gd name="T51" fmla="*/ 30932665 h 192"/>
              <a:gd name="T52" fmla="*/ 27156609 w 173"/>
              <a:gd name="T53" fmla="*/ 37173065 h 192"/>
              <a:gd name="T54" fmla="*/ 25854565 w 173"/>
              <a:gd name="T55" fmla="*/ 40157828 h 192"/>
              <a:gd name="T56" fmla="*/ 24180755 w 173"/>
              <a:gd name="T57" fmla="*/ 43413979 h 192"/>
              <a:gd name="T58" fmla="*/ 21762551 w 173"/>
              <a:gd name="T59" fmla="*/ 47212909 h 192"/>
              <a:gd name="T60" fmla="*/ 18414501 w 173"/>
              <a:gd name="T61" fmla="*/ 52096876 h 192"/>
              <a:gd name="T62" fmla="*/ 15996296 w 173"/>
              <a:gd name="T63" fmla="*/ 49654892 h 192"/>
              <a:gd name="T64" fmla="*/ 13764403 w 173"/>
              <a:gd name="T65" fmla="*/ 47755688 h 192"/>
              <a:gd name="T66" fmla="*/ 11718396 w 173"/>
              <a:gd name="T67" fmla="*/ 45855962 h 192"/>
              <a:gd name="T68" fmla="*/ 10044155 w 173"/>
              <a:gd name="T69" fmla="*/ 44228147 h 192"/>
              <a:gd name="T70" fmla="*/ 8556228 w 173"/>
              <a:gd name="T71" fmla="*/ 42328942 h 192"/>
              <a:gd name="T72" fmla="*/ 7440068 w 173"/>
              <a:gd name="T73" fmla="*/ 40700606 h 192"/>
              <a:gd name="T74" fmla="*/ 6324337 w 173"/>
              <a:gd name="T75" fmla="*/ 39072791 h 192"/>
              <a:gd name="T76" fmla="*/ 5579942 w 173"/>
              <a:gd name="T77" fmla="*/ 37173065 h 192"/>
              <a:gd name="T78" fmla="*/ 4092016 w 173"/>
              <a:gd name="T79" fmla="*/ 33374648 h 192"/>
              <a:gd name="T80" fmla="*/ 2976285 w 173"/>
              <a:gd name="T81" fmla="*/ 29032939 h 192"/>
              <a:gd name="T82" fmla="*/ 1674241 w 173"/>
              <a:gd name="T83" fmla="*/ 24420362 h 192"/>
              <a:gd name="T84" fmla="*/ 0 w 173"/>
              <a:gd name="T85" fmla="*/ 18450838 h 192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173"/>
              <a:gd name="T130" fmla="*/ 0 h 192"/>
              <a:gd name="T131" fmla="*/ 173 w 173"/>
              <a:gd name="T132" fmla="*/ 192 h 192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173" h="192">
                <a:moveTo>
                  <a:pt x="0" y="68"/>
                </a:moveTo>
                <a:lnTo>
                  <a:pt x="27" y="42"/>
                </a:lnTo>
                <a:lnTo>
                  <a:pt x="51" y="21"/>
                </a:lnTo>
                <a:lnTo>
                  <a:pt x="56" y="16"/>
                </a:lnTo>
                <a:lnTo>
                  <a:pt x="63" y="12"/>
                </a:lnTo>
                <a:lnTo>
                  <a:pt x="70" y="8"/>
                </a:lnTo>
                <a:lnTo>
                  <a:pt x="76" y="6"/>
                </a:lnTo>
                <a:lnTo>
                  <a:pt x="83" y="3"/>
                </a:lnTo>
                <a:lnTo>
                  <a:pt x="90" y="2"/>
                </a:lnTo>
                <a:lnTo>
                  <a:pt x="98" y="1"/>
                </a:lnTo>
                <a:lnTo>
                  <a:pt x="107" y="0"/>
                </a:lnTo>
                <a:lnTo>
                  <a:pt x="116" y="1"/>
                </a:lnTo>
                <a:lnTo>
                  <a:pt x="124" y="2"/>
                </a:lnTo>
                <a:lnTo>
                  <a:pt x="132" y="5"/>
                </a:lnTo>
                <a:lnTo>
                  <a:pt x="139" y="8"/>
                </a:lnTo>
                <a:lnTo>
                  <a:pt x="145" y="13"/>
                </a:lnTo>
                <a:lnTo>
                  <a:pt x="151" y="19"/>
                </a:lnTo>
                <a:lnTo>
                  <a:pt x="155" y="24"/>
                </a:lnTo>
                <a:lnTo>
                  <a:pt x="160" y="30"/>
                </a:lnTo>
                <a:lnTo>
                  <a:pt x="163" y="37"/>
                </a:lnTo>
                <a:lnTo>
                  <a:pt x="166" y="43"/>
                </a:lnTo>
                <a:lnTo>
                  <a:pt x="168" y="50"/>
                </a:lnTo>
                <a:lnTo>
                  <a:pt x="169" y="57"/>
                </a:lnTo>
                <a:lnTo>
                  <a:pt x="172" y="72"/>
                </a:lnTo>
                <a:lnTo>
                  <a:pt x="173" y="87"/>
                </a:lnTo>
                <a:lnTo>
                  <a:pt x="157" y="114"/>
                </a:lnTo>
                <a:lnTo>
                  <a:pt x="146" y="137"/>
                </a:lnTo>
                <a:lnTo>
                  <a:pt x="139" y="148"/>
                </a:lnTo>
                <a:lnTo>
                  <a:pt x="130" y="160"/>
                </a:lnTo>
                <a:lnTo>
                  <a:pt x="117" y="174"/>
                </a:lnTo>
                <a:lnTo>
                  <a:pt x="99" y="192"/>
                </a:lnTo>
                <a:lnTo>
                  <a:pt x="86" y="183"/>
                </a:lnTo>
                <a:lnTo>
                  <a:pt x="74" y="176"/>
                </a:lnTo>
                <a:lnTo>
                  <a:pt x="63" y="169"/>
                </a:lnTo>
                <a:lnTo>
                  <a:pt x="54" y="163"/>
                </a:lnTo>
                <a:lnTo>
                  <a:pt x="46" y="156"/>
                </a:lnTo>
                <a:lnTo>
                  <a:pt x="40" y="150"/>
                </a:lnTo>
                <a:lnTo>
                  <a:pt x="34" y="144"/>
                </a:lnTo>
                <a:lnTo>
                  <a:pt x="30" y="137"/>
                </a:lnTo>
                <a:lnTo>
                  <a:pt x="22" y="123"/>
                </a:lnTo>
                <a:lnTo>
                  <a:pt x="16" y="107"/>
                </a:lnTo>
                <a:lnTo>
                  <a:pt x="9" y="90"/>
                </a:lnTo>
                <a:lnTo>
                  <a:pt x="0" y="68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67" name="Freeform 265"/>
          <p:cNvSpPr>
            <a:spLocks/>
          </p:cNvSpPr>
          <p:nvPr userDrawn="1">
            <p:custDataLst>
              <p:tags r:id="rId191"/>
            </p:custDataLst>
          </p:nvPr>
        </p:nvSpPr>
        <p:spPr bwMode="auto">
          <a:xfrm>
            <a:off x="3792540" y="2738438"/>
            <a:ext cx="104775" cy="98822"/>
          </a:xfrm>
          <a:custGeom>
            <a:avLst/>
            <a:gdLst>
              <a:gd name="T0" fmla="*/ 14963492 w 233"/>
              <a:gd name="T1" fmla="*/ 0 h 252"/>
              <a:gd name="T2" fmla="*/ 16783339 w 233"/>
              <a:gd name="T3" fmla="*/ 546921 h 252"/>
              <a:gd name="T4" fmla="*/ 17996570 w 233"/>
              <a:gd name="T5" fmla="*/ 820382 h 252"/>
              <a:gd name="T6" fmla="*/ 19209801 w 233"/>
              <a:gd name="T7" fmla="*/ 820382 h 252"/>
              <a:gd name="T8" fmla="*/ 20018772 w 233"/>
              <a:gd name="T9" fmla="*/ 546921 h 252"/>
              <a:gd name="T10" fmla="*/ 21434358 w 233"/>
              <a:gd name="T11" fmla="*/ 273461 h 252"/>
              <a:gd name="T12" fmla="*/ 22849945 w 233"/>
              <a:gd name="T13" fmla="*/ 0 h 252"/>
              <a:gd name="T14" fmla="*/ 25276407 w 233"/>
              <a:gd name="T15" fmla="*/ 4647784 h 252"/>
              <a:gd name="T16" fmla="*/ 28309485 w 233"/>
              <a:gd name="T17" fmla="*/ 10115426 h 252"/>
              <a:gd name="T18" fmla="*/ 29118456 w 233"/>
              <a:gd name="T19" fmla="*/ 11482728 h 252"/>
              <a:gd name="T20" fmla="*/ 29926984 w 233"/>
              <a:gd name="T21" fmla="*/ 12576047 h 252"/>
              <a:gd name="T22" fmla="*/ 30938310 w 233"/>
              <a:gd name="T23" fmla="*/ 13396429 h 252"/>
              <a:gd name="T24" fmla="*/ 31746831 w 233"/>
              <a:gd name="T25" fmla="*/ 14216287 h 252"/>
              <a:gd name="T26" fmla="*/ 32960512 w 233"/>
              <a:gd name="T27" fmla="*/ 14763208 h 252"/>
              <a:gd name="T28" fmla="*/ 33971388 w 233"/>
              <a:gd name="T29" fmla="*/ 15310129 h 252"/>
              <a:gd name="T30" fmla="*/ 35184619 w 233"/>
              <a:gd name="T31" fmla="*/ 15310129 h 252"/>
              <a:gd name="T32" fmla="*/ 36397850 w 233"/>
              <a:gd name="T33" fmla="*/ 15310129 h 252"/>
              <a:gd name="T34" fmla="*/ 36397850 w 233"/>
              <a:gd name="T35" fmla="*/ 21871615 h 252"/>
              <a:gd name="T36" fmla="*/ 39026668 w 233"/>
              <a:gd name="T37" fmla="*/ 28159637 h 252"/>
              <a:gd name="T38" fmla="*/ 42868717 w 233"/>
              <a:gd name="T39" fmla="*/ 34994065 h 252"/>
              <a:gd name="T40" fmla="*/ 43475332 w 233"/>
              <a:gd name="T41" fmla="*/ 36907765 h 252"/>
              <a:gd name="T42" fmla="*/ 44486208 w 233"/>
              <a:gd name="T43" fmla="*/ 38821465 h 252"/>
              <a:gd name="T44" fmla="*/ 45092824 w 233"/>
              <a:gd name="T45" fmla="*/ 41282086 h 252"/>
              <a:gd name="T46" fmla="*/ 45699440 w 233"/>
              <a:gd name="T47" fmla="*/ 43742707 h 252"/>
              <a:gd name="T48" fmla="*/ 46508410 w 233"/>
              <a:gd name="T49" fmla="*/ 46476789 h 252"/>
              <a:gd name="T50" fmla="*/ 46912671 w 233"/>
              <a:gd name="T51" fmla="*/ 49210348 h 252"/>
              <a:gd name="T52" fmla="*/ 47115026 w 233"/>
              <a:gd name="T53" fmla="*/ 52217890 h 252"/>
              <a:gd name="T54" fmla="*/ 47115026 w 233"/>
              <a:gd name="T55" fmla="*/ 55771830 h 252"/>
              <a:gd name="T56" fmla="*/ 46912671 w 233"/>
              <a:gd name="T57" fmla="*/ 59052832 h 252"/>
              <a:gd name="T58" fmla="*/ 46508410 w 233"/>
              <a:gd name="T59" fmla="*/ 62333312 h 252"/>
              <a:gd name="T60" fmla="*/ 45901795 w 233"/>
              <a:gd name="T61" fmla="*/ 65614314 h 252"/>
              <a:gd name="T62" fmla="*/ 45699440 w 233"/>
              <a:gd name="T63" fmla="*/ 68894810 h 252"/>
              <a:gd name="T64" fmla="*/ 44890918 w 233"/>
              <a:gd name="T65" fmla="*/ 68894810 h 252"/>
              <a:gd name="T66" fmla="*/ 43475332 w 233"/>
              <a:gd name="T67" fmla="*/ 68347873 h 252"/>
              <a:gd name="T68" fmla="*/ 42059746 w 233"/>
              <a:gd name="T69" fmla="*/ 67254554 h 252"/>
              <a:gd name="T70" fmla="*/ 40037544 w 233"/>
              <a:gd name="T71" fmla="*/ 65887252 h 252"/>
              <a:gd name="T72" fmla="*/ 35588880 w 233"/>
              <a:gd name="T73" fmla="*/ 61786391 h 252"/>
              <a:gd name="T74" fmla="*/ 30533600 w 233"/>
              <a:gd name="T75" fmla="*/ 56865672 h 252"/>
              <a:gd name="T76" fmla="*/ 25276407 w 233"/>
              <a:gd name="T77" fmla="*/ 50851110 h 252"/>
              <a:gd name="T78" fmla="*/ 20221127 w 233"/>
              <a:gd name="T79" fmla="*/ 45109487 h 252"/>
              <a:gd name="T80" fmla="*/ 15772463 w 233"/>
              <a:gd name="T81" fmla="*/ 39641846 h 252"/>
              <a:gd name="T82" fmla="*/ 12334671 w 233"/>
              <a:gd name="T83" fmla="*/ 35267525 h 252"/>
              <a:gd name="T84" fmla="*/ 11121440 w 233"/>
              <a:gd name="T85" fmla="*/ 34174198 h 252"/>
              <a:gd name="T86" fmla="*/ 9706303 w 233"/>
              <a:gd name="T87" fmla="*/ 32806896 h 252"/>
              <a:gd name="T88" fmla="*/ 8290717 w 233"/>
              <a:gd name="T89" fmla="*/ 31713577 h 252"/>
              <a:gd name="T90" fmla="*/ 6672774 w 233"/>
              <a:gd name="T91" fmla="*/ 30619735 h 252"/>
              <a:gd name="T92" fmla="*/ 3437789 w 233"/>
              <a:gd name="T93" fmla="*/ 28432574 h 252"/>
              <a:gd name="T94" fmla="*/ 0 w 233"/>
              <a:gd name="T95" fmla="*/ 27065795 h 252"/>
              <a:gd name="T96" fmla="*/ 8088362 w 233"/>
              <a:gd name="T97" fmla="*/ 17223833 h 252"/>
              <a:gd name="T98" fmla="*/ 11930410 w 233"/>
              <a:gd name="T99" fmla="*/ 11755666 h 252"/>
              <a:gd name="T100" fmla="*/ 13143642 w 233"/>
              <a:gd name="T101" fmla="*/ 9022107 h 252"/>
              <a:gd name="T102" fmla="*/ 13952612 w 233"/>
              <a:gd name="T103" fmla="*/ 6834945 h 252"/>
              <a:gd name="T104" fmla="*/ 14559228 w 233"/>
              <a:gd name="T105" fmla="*/ 3827402 h 252"/>
              <a:gd name="T106" fmla="*/ 14963492 w 233"/>
              <a:gd name="T107" fmla="*/ 0 h 25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233"/>
              <a:gd name="T163" fmla="*/ 0 h 252"/>
              <a:gd name="T164" fmla="*/ 233 w 233"/>
              <a:gd name="T165" fmla="*/ 252 h 252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233" h="252">
                <a:moveTo>
                  <a:pt x="74" y="0"/>
                </a:moveTo>
                <a:lnTo>
                  <a:pt x="83" y="2"/>
                </a:lnTo>
                <a:lnTo>
                  <a:pt x="89" y="3"/>
                </a:lnTo>
                <a:lnTo>
                  <a:pt x="95" y="3"/>
                </a:lnTo>
                <a:lnTo>
                  <a:pt x="99" y="2"/>
                </a:lnTo>
                <a:lnTo>
                  <a:pt x="106" y="1"/>
                </a:lnTo>
                <a:lnTo>
                  <a:pt x="113" y="0"/>
                </a:lnTo>
                <a:lnTo>
                  <a:pt x="125" y="17"/>
                </a:lnTo>
                <a:lnTo>
                  <a:pt x="140" y="37"/>
                </a:lnTo>
                <a:lnTo>
                  <a:pt x="144" y="42"/>
                </a:lnTo>
                <a:lnTo>
                  <a:pt x="148" y="46"/>
                </a:lnTo>
                <a:lnTo>
                  <a:pt x="153" y="49"/>
                </a:lnTo>
                <a:lnTo>
                  <a:pt x="157" y="52"/>
                </a:lnTo>
                <a:lnTo>
                  <a:pt x="163" y="54"/>
                </a:lnTo>
                <a:lnTo>
                  <a:pt x="168" y="56"/>
                </a:lnTo>
                <a:lnTo>
                  <a:pt x="174" y="56"/>
                </a:lnTo>
                <a:lnTo>
                  <a:pt x="180" y="56"/>
                </a:lnTo>
                <a:lnTo>
                  <a:pt x="180" y="80"/>
                </a:lnTo>
                <a:lnTo>
                  <a:pt x="193" y="103"/>
                </a:lnTo>
                <a:lnTo>
                  <a:pt x="212" y="128"/>
                </a:lnTo>
                <a:lnTo>
                  <a:pt x="215" y="135"/>
                </a:lnTo>
                <a:lnTo>
                  <a:pt x="220" y="142"/>
                </a:lnTo>
                <a:lnTo>
                  <a:pt x="223" y="151"/>
                </a:lnTo>
                <a:lnTo>
                  <a:pt x="226" y="160"/>
                </a:lnTo>
                <a:lnTo>
                  <a:pt x="230" y="170"/>
                </a:lnTo>
                <a:lnTo>
                  <a:pt x="232" y="180"/>
                </a:lnTo>
                <a:lnTo>
                  <a:pt x="233" y="191"/>
                </a:lnTo>
                <a:lnTo>
                  <a:pt x="233" y="204"/>
                </a:lnTo>
                <a:lnTo>
                  <a:pt x="232" y="216"/>
                </a:lnTo>
                <a:lnTo>
                  <a:pt x="230" y="228"/>
                </a:lnTo>
                <a:lnTo>
                  <a:pt x="227" y="240"/>
                </a:lnTo>
                <a:lnTo>
                  <a:pt x="226" y="252"/>
                </a:lnTo>
                <a:lnTo>
                  <a:pt x="222" y="252"/>
                </a:lnTo>
                <a:lnTo>
                  <a:pt x="215" y="250"/>
                </a:lnTo>
                <a:lnTo>
                  <a:pt x="208" y="246"/>
                </a:lnTo>
                <a:lnTo>
                  <a:pt x="198" y="241"/>
                </a:lnTo>
                <a:lnTo>
                  <a:pt x="176" y="226"/>
                </a:lnTo>
                <a:lnTo>
                  <a:pt x="151" y="208"/>
                </a:lnTo>
                <a:lnTo>
                  <a:pt x="125" y="186"/>
                </a:lnTo>
                <a:lnTo>
                  <a:pt x="100" y="165"/>
                </a:lnTo>
                <a:lnTo>
                  <a:pt x="78" y="145"/>
                </a:lnTo>
                <a:lnTo>
                  <a:pt x="61" y="129"/>
                </a:lnTo>
                <a:lnTo>
                  <a:pt x="55" y="125"/>
                </a:lnTo>
                <a:lnTo>
                  <a:pt x="48" y="120"/>
                </a:lnTo>
                <a:lnTo>
                  <a:pt x="41" y="116"/>
                </a:lnTo>
                <a:lnTo>
                  <a:pt x="33" y="112"/>
                </a:lnTo>
                <a:lnTo>
                  <a:pt x="17" y="104"/>
                </a:lnTo>
                <a:lnTo>
                  <a:pt x="0" y="99"/>
                </a:lnTo>
                <a:lnTo>
                  <a:pt x="40" y="63"/>
                </a:lnTo>
                <a:lnTo>
                  <a:pt x="59" y="43"/>
                </a:lnTo>
                <a:lnTo>
                  <a:pt x="65" y="33"/>
                </a:lnTo>
                <a:lnTo>
                  <a:pt x="69" y="25"/>
                </a:lnTo>
                <a:lnTo>
                  <a:pt x="72" y="14"/>
                </a:lnTo>
                <a:lnTo>
                  <a:pt x="74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68" name="Freeform 266"/>
          <p:cNvSpPr>
            <a:spLocks/>
          </p:cNvSpPr>
          <p:nvPr userDrawn="1">
            <p:custDataLst>
              <p:tags r:id="rId192"/>
            </p:custDataLst>
          </p:nvPr>
        </p:nvSpPr>
        <p:spPr bwMode="auto">
          <a:xfrm>
            <a:off x="4006854" y="2677718"/>
            <a:ext cx="104775" cy="151209"/>
          </a:xfrm>
          <a:custGeom>
            <a:avLst/>
            <a:gdLst>
              <a:gd name="T0" fmla="*/ 2358290 w 246"/>
              <a:gd name="T1" fmla="*/ 105840994 h 380"/>
              <a:gd name="T2" fmla="*/ 2539729 w 246"/>
              <a:gd name="T3" fmla="*/ 103307580 h 380"/>
              <a:gd name="T4" fmla="*/ 2721169 w 246"/>
              <a:gd name="T5" fmla="*/ 101055363 h 380"/>
              <a:gd name="T6" fmla="*/ 3265062 w 246"/>
              <a:gd name="T7" fmla="*/ 98803676 h 380"/>
              <a:gd name="T8" fmla="*/ 3627942 w 246"/>
              <a:gd name="T9" fmla="*/ 96833185 h 380"/>
              <a:gd name="T10" fmla="*/ 4535140 w 246"/>
              <a:gd name="T11" fmla="*/ 93736850 h 380"/>
              <a:gd name="T12" fmla="*/ 4716579 w 246"/>
              <a:gd name="T13" fmla="*/ 92047554 h 380"/>
              <a:gd name="T14" fmla="*/ 4535140 w 246"/>
              <a:gd name="T15" fmla="*/ 90358789 h 380"/>
              <a:gd name="T16" fmla="*/ 4172260 w 246"/>
              <a:gd name="T17" fmla="*/ 88388297 h 380"/>
              <a:gd name="T18" fmla="*/ 3446501 w 246"/>
              <a:gd name="T19" fmla="*/ 85854884 h 380"/>
              <a:gd name="T20" fmla="*/ 2358290 w 246"/>
              <a:gd name="T21" fmla="*/ 83040275 h 380"/>
              <a:gd name="T22" fmla="*/ 1632531 w 246"/>
              <a:gd name="T23" fmla="*/ 80225136 h 380"/>
              <a:gd name="T24" fmla="*/ 725759 w 246"/>
              <a:gd name="T25" fmla="*/ 77409997 h 380"/>
              <a:gd name="T26" fmla="*/ 181440 w 246"/>
              <a:gd name="T27" fmla="*/ 75158310 h 380"/>
              <a:gd name="T28" fmla="*/ 0 w 246"/>
              <a:gd name="T29" fmla="*/ 72906623 h 380"/>
              <a:gd name="T30" fmla="*/ 181440 w 246"/>
              <a:gd name="T31" fmla="*/ 70654405 h 380"/>
              <a:gd name="T32" fmla="*/ 362879 w 246"/>
              <a:gd name="T33" fmla="*/ 68402702 h 380"/>
              <a:gd name="T34" fmla="*/ 544319 w 246"/>
              <a:gd name="T35" fmla="*/ 66432210 h 380"/>
              <a:gd name="T36" fmla="*/ 1088212 w 246"/>
              <a:gd name="T37" fmla="*/ 64742915 h 380"/>
              <a:gd name="T38" fmla="*/ 1995410 w 246"/>
              <a:gd name="T39" fmla="*/ 61365384 h 380"/>
              <a:gd name="T40" fmla="*/ 3446501 w 246"/>
              <a:gd name="T41" fmla="*/ 58268519 h 380"/>
              <a:gd name="T42" fmla="*/ 4716579 w 246"/>
              <a:gd name="T43" fmla="*/ 55453910 h 380"/>
              <a:gd name="T44" fmla="*/ 6167670 w 246"/>
              <a:gd name="T45" fmla="*/ 52075849 h 380"/>
              <a:gd name="T46" fmla="*/ 7437749 w 246"/>
              <a:gd name="T47" fmla="*/ 48698318 h 380"/>
              <a:gd name="T48" fmla="*/ 8525960 w 246"/>
              <a:gd name="T49" fmla="*/ 45038531 h 380"/>
              <a:gd name="T50" fmla="*/ 4716579 w 246"/>
              <a:gd name="T51" fmla="*/ 20549040 h 380"/>
              <a:gd name="T52" fmla="*/ 4716579 w 246"/>
              <a:gd name="T53" fmla="*/ 14074639 h 380"/>
              <a:gd name="T54" fmla="*/ 4353700 w 246"/>
              <a:gd name="T55" fmla="*/ 9289009 h 380"/>
              <a:gd name="T56" fmla="*/ 4353700 w 246"/>
              <a:gd name="T57" fmla="*/ 7037320 h 380"/>
              <a:gd name="T58" fmla="*/ 4353700 w 246"/>
              <a:gd name="T59" fmla="*/ 4503907 h 380"/>
              <a:gd name="T60" fmla="*/ 4535140 w 246"/>
              <a:gd name="T61" fmla="*/ 2251688 h 380"/>
              <a:gd name="T62" fmla="*/ 4716579 w 246"/>
              <a:gd name="T63" fmla="*/ 0 h 380"/>
              <a:gd name="T64" fmla="*/ 32652751 w 246"/>
              <a:gd name="T65" fmla="*/ 0 h 380"/>
              <a:gd name="T66" fmla="*/ 39908631 w 246"/>
              <a:gd name="T67" fmla="*/ 36312448 h 380"/>
              <a:gd name="T68" fmla="*/ 39908631 w 246"/>
              <a:gd name="T69" fmla="*/ 59113167 h 380"/>
              <a:gd name="T70" fmla="*/ 39908631 w 246"/>
              <a:gd name="T71" fmla="*/ 61928306 h 380"/>
              <a:gd name="T72" fmla="*/ 40090070 w 246"/>
              <a:gd name="T73" fmla="*/ 64742915 h 380"/>
              <a:gd name="T74" fmla="*/ 40452949 w 246"/>
              <a:gd name="T75" fmla="*/ 67558054 h 380"/>
              <a:gd name="T76" fmla="*/ 40815828 w 246"/>
              <a:gd name="T77" fmla="*/ 70372679 h 380"/>
              <a:gd name="T78" fmla="*/ 41360147 w 246"/>
              <a:gd name="T79" fmla="*/ 72906623 h 380"/>
              <a:gd name="T80" fmla="*/ 42448359 w 246"/>
              <a:gd name="T81" fmla="*/ 75440036 h 380"/>
              <a:gd name="T82" fmla="*/ 43355557 w 246"/>
              <a:gd name="T83" fmla="*/ 78254645 h 380"/>
              <a:gd name="T84" fmla="*/ 44625208 w 246"/>
              <a:gd name="T85" fmla="*/ 81350980 h 380"/>
              <a:gd name="T86" fmla="*/ 40634389 w 246"/>
              <a:gd name="T87" fmla="*/ 83040275 h 380"/>
              <a:gd name="T88" fmla="*/ 36643570 w 246"/>
              <a:gd name="T89" fmla="*/ 85010236 h 380"/>
              <a:gd name="T90" fmla="*/ 32834190 w 246"/>
              <a:gd name="T91" fmla="*/ 87262454 h 380"/>
              <a:gd name="T92" fmla="*/ 29024385 w 246"/>
              <a:gd name="T93" fmla="*/ 89795867 h 380"/>
              <a:gd name="T94" fmla="*/ 25577878 w 246"/>
              <a:gd name="T95" fmla="*/ 92329280 h 380"/>
              <a:gd name="T96" fmla="*/ 21768498 w 246"/>
              <a:gd name="T97" fmla="*/ 95144419 h 380"/>
              <a:gd name="T98" fmla="*/ 18140132 w 246"/>
              <a:gd name="T99" fmla="*/ 97677832 h 380"/>
              <a:gd name="T100" fmla="*/ 14512192 w 246"/>
              <a:gd name="T101" fmla="*/ 100774167 h 380"/>
              <a:gd name="T102" fmla="*/ 13605417 w 246"/>
              <a:gd name="T103" fmla="*/ 102181737 h 380"/>
              <a:gd name="T104" fmla="*/ 12516779 w 246"/>
              <a:gd name="T105" fmla="*/ 103307580 h 380"/>
              <a:gd name="T106" fmla="*/ 11247128 w 246"/>
              <a:gd name="T107" fmla="*/ 104715150 h 380"/>
              <a:gd name="T108" fmla="*/ 9795612 w 246"/>
              <a:gd name="T109" fmla="*/ 105840994 h 380"/>
              <a:gd name="T110" fmla="*/ 8344521 w 246"/>
              <a:gd name="T111" fmla="*/ 106685111 h 380"/>
              <a:gd name="T112" fmla="*/ 6530549 w 246"/>
              <a:gd name="T113" fmla="*/ 106966837 h 380"/>
              <a:gd name="T114" fmla="*/ 5623351 w 246"/>
              <a:gd name="T115" fmla="*/ 106966837 h 380"/>
              <a:gd name="T116" fmla="*/ 4535140 w 246"/>
              <a:gd name="T117" fmla="*/ 106685111 h 380"/>
              <a:gd name="T118" fmla="*/ 3627942 w 246"/>
              <a:gd name="T119" fmla="*/ 106403915 h 380"/>
              <a:gd name="T120" fmla="*/ 2358290 w 246"/>
              <a:gd name="T121" fmla="*/ 105840994 h 38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246"/>
              <a:gd name="T184" fmla="*/ 0 h 380"/>
              <a:gd name="T185" fmla="*/ 246 w 246"/>
              <a:gd name="T186" fmla="*/ 380 h 380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246" h="380">
                <a:moveTo>
                  <a:pt x="13" y="376"/>
                </a:moveTo>
                <a:lnTo>
                  <a:pt x="14" y="367"/>
                </a:lnTo>
                <a:lnTo>
                  <a:pt x="15" y="359"/>
                </a:lnTo>
                <a:lnTo>
                  <a:pt x="18" y="351"/>
                </a:lnTo>
                <a:lnTo>
                  <a:pt x="20" y="344"/>
                </a:lnTo>
                <a:lnTo>
                  <a:pt x="25" y="333"/>
                </a:lnTo>
                <a:lnTo>
                  <a:pt x="26" y="327"/>
                </a:lnTo>
                <a:lnTo>
                  <a:pt x="25" y="321"/>
                </a:lnTo>
                <a:lnTo>
                  <a:pt x="23" y="314"/>
                </a:lnTo>
                <a:lnTo>
                  <a:pt x="19" y="305"/>
                </a:lnTo>
                <a:lnTo>
                  <a:pt x="13" y="295"/>
                </a:lnTo>
                <a:lnTo>
                  <a:pt x="9" y="285"/>
                </a:lnTo>
                <a:lnTo>
                  <a:pt x="4" y="275"/>
                </a:lnTo>
                <a:lnTo>
                  <a:pt x="1" y="267"/>
                </a:lnTo>
                <a:lnTo>
                  <a:pt x="0" y="259"/>
                </a:lnTo>
                <a:lnTo>
                  <a:pt x="1" y="251"/>
                </a:lnTo>
                <a:lnTo>
                  <a:pt x="2" y="243"/>
                </a:lnTo>
                <a:lnTo>
                  <a:pt x="3" y="236"/>
                </a:lnTo>
                <a:lnTo>
                  <a:pt x="6" y="230"/>
                </a:lnTo>
                <a:lnTo>
                  <a:pt x="11" y="218"/>
                </a:lnTo>
                <a:lnTo>
                  <a:pt x="19" y="207"/>
                </a:lnTo>
                <a:lnTo>
                  <a:pt x="26" y="197"/>
                </a:lnTo>
                <a:lnTo>
                  <a:pt x="34" y="185"/>
                </a:lnTo>
                <a:lnTo>
                  <a:pt x="41" y="173"/>
                </a:lnTo>
                <a:lnTo>
                  <a:pt x="47" y="160"/>
                </a:lnTo>
                <a:lnTo>
                  <a:pt x="26" y="73"/>
                </a:lnTo>
                <a:lnTo>
                  <a:pt x="26" y="50"/>
                </a:lnTo>
                <a:lnTo>
                  <a:pt x="24" y="33"/>
                </a:lnTo>
                <a:lnTo>
                  <a:pt x="24" y="25"/>
                </a:lnTo>
                <a:lnTo>
                  <a:pt x="24" y="16"/>
                </a:lnTo>
                <a:lnTo>
                  <a:pt x="25" y="8"/>
                </a:lnTo>
                <a:lnTo>
                  <a:pt x="26" y="0"/>
                </a:lnTo>
                <a:lnTo>
                  <a:pt x="180" y="0"/>
                </a:lnTo>
                <a:lnTo>
                  <a:pt x="220" y="129"/>
                </a:lnTo>
                <a:lnTo>
                  <a:pt x="220" y="210"/>
                </a:lnTo>
                <a:lnTo>
                  <a:pt x="220" y="220"/>
                </a:lnTo>
                <a:lnTo>
                  <a:pt x="221" y="230"/>
                </a:lnTo>
                <a:lnTo>
                  <a:pt x="223" y="240"/>
                </a:lnTo>
                <a:lnTo>
                  <a:pt x="225" y="250"/>
                </a:lnTo>
                <a:lnTo>
                  <a:pt x="228" y="259"/>
                </a:lnTo>
                <a:lnTo>
                  <a:pt x="234" y="268"/>
                </a:lnTo>
                <a:lnTo>
                  <a:pt x="239" y="278"/>
                </a:lnTo>
                <a:lnTo>
                  <a:pt x="246" y="289"/>
                </a:lnTo>
                <a:lnTo>
                  <a:pt x="224" y="295"/>
                </a:lnTo>
                <a:lnTo>
                  <a:pt x="202" y="302"/>
                </a:lnTo>
                <a:lnTo>
                  <a:pt x="181" y="310"/>
                </a:lnTo>
                <a:lnTo>
                  <a:pt x="160" y="319"/>
                </a:lnTo>
                <a:lnTo>
                  <a:pt x="141" y="328"/>
                </a:lnTo>
                <a:lnTo>
                  <a:pt x="120" y="338"/>
                </a:lnTo>
                <a:lnTo>
                  <a:pt x="100" y="347"/>
                </a:lnTo>
                <a:lnTo>
                  <a:pt x="80" y="358"/>
                </a:lnTo>
                <a:lnTo>
                  <a:pt x="75" y="363"/>
                </a:lnTo>
                <a:lnTo>
                  <a:pt x="69" y="367"/>
                </a:lnTo>
                <a:lnTo>
                  <a:pt x="62" y="372"/>
                </a:lnTo>
                <a:lnTo>
                  <a:pt x="54" y="376"/>
                </a:lnTo>
                <a:lnTo>
                  <a:pt x="46" y="379"/>
                </a:lnTo>
                <a:lnTo>
                  <a:pt x="36" y="380"/>
                </a:lnTo>
                <a:lnTo>
                  <a:pt x="31" y="380"/>
                </a:lnTo>
                <a:lnTo>
                  <a:pt x="25" y="379"/>
                </a:lnTo>
                <a:lnTo>
                  <a:pt x="20" y="378"/>
                </a:lnTo>
                <a:lnTo>
                  <a:pt x="13" y="376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69" name="Freeform 267"/>
          <p:cNvSpPr>
            <a:spLocks/>
          </p:cNvSpPr>
          <p:nvPr userDrawn="1">
            <p:custDataLst>
              <p:tags r:id="rId193"/>
            </p:custDataLst>
          </p:nvPr>
        </p:nvSpPr>
        <p:spPr bwMode="auto">
          <a:xfrm>
            <a:off x="3659197" y="2614615"/>
            <a:ext cx="87313" cy="44054"/>
          </a:xfrm>
          <a:custGeom>
            <a:avLst/>
            <a:gdLst>
              <a:gd name="T0" fmla="*/ 1432748 w 193"/>
              <a:gd name="T1" fmla="*/ 47786447 h 38"/>
              <a:gd name="T2" fmla="*/ 7777192 w 193"/>
              <a:gd name="T3" fmla="*/ 26282165 h 38"/>
              <a:gd name="T4" fmla="*/ 13712664 w 193"/>
              <a:gd name="T5" fmla="*/ 11946998 h 38"/>
              <a:gd name="T6" fmla="*/ 16373225 w 193"/>
              <a:gd name="T7" fmla="*/ 7167582 h 38"/>
              <a:gd name="T8" fmla="*/ 19238719 w 193"/>
              <a:gd name="T9" fmla="*/ 4777872 h 38"/>
              <a:gd name="T10" fmla="*/ 22513182 w 193"/>
              <a:gd name="T11" fmla="*/ 2389709 h 38"/>
              <a:gd name="T12" fmla="*/ 25787645 w 193"/>
              <a:gd name="T13" fmla="*/ 0 h 38"/>
              <a:gd name="T14" fmla="*/ 28243718 w 193"/>
              <a:gd name="T15" fmla="*/ 2389709 h 38"/>
              <a:gd name="T16" fmla="*/ 30494861 w 193"/>
              <a:gd name="T17" fmla="*/ 2389709 h 38"/>
              <a:gd name="T18" fmla="*/ 32746450 w 193"/>
              <a:gd name="T19" fmla="*/ 4777872 h 38"/>
              <a:gd name="T20" fmla="*/ 34588166 w 193"/>
              <a:gd name="T21" fmla="*/ 9557290 h 38"/>
              <a:gd name="T22" fmla="*/ 36430334 w 193"/>
              <a:gd name="T23" fmla="*/ 14335164 h 38"/>
              <a:gd name="T24" fmla="*/ 37658144 w 193"/>
              <a:gd name="T25" fmla="*/ 26282165 h 38"/>
              <a:gd name="T26" fmla="*/ 38272502 w 193"/>
              <a:gd name="T27" fmla="*/ 31061581 h 38"/>
              <a:gd name="T28" fmla="*/ 38681471 w 193"/>
              <a:gd name="T29" fmla="*/ 43007031 h 38"/>
              <a:gd name="T30" fmla="*/ 39090891 w 193"/>
              <a:gd name="T31" fmla="*/ 50174610 h 38"/>
              <a:gd name="T32" fmla="*/ 39500312 w 193"/>
              <a:gd name="T33" fmla="*/ 62121617 h 38"/>
              <a:gd name="T34" fmla="*/ 37453660 w 193"/>
              <a:gd name="T35" fmla="*/ 64511325 h 38"/>
              <a:gd name="T36" fmla="*/ 35407008 w 193"/>
              <a:gd name="T37" fmla="*/ 66901034 h 38"/>
              <a:gd name="T38" fmla="*/ 33769777 w 193"/>
              <a:gd name="T39" fmla="*/ 66901034 h 38"/>
              <a:gd name="T40" fmla="*/ 31927609 w 193"/>
              <a:gd name="T41" fmla="*/ 66901034 h 38"/>
              <a:gd name="T42" fmla="*/ 28243718 w 193"/>
              <a:gd name="T43" fmla="*/ 64511325 h 38"/>
              <a:gd name="T44" fmla="*/ 24559834 w 193"/>
              <a:gd name="T45" fmla="*/ 62121617 h 38"/>
              <a:gd name="T46" fmla="*/ 21080435 w 193"/>
              <a:gd name="T47" fmla="*/ 62121617 h 38"/>
              <a:gd name="T48" fmla="*/ 18215393 w 193"/>
              <a:gd name="T49" fmla="*/ 66901034 h 38"/>
              <a:gd name="T50" fmla="*/ 15554383 w 193"/>
              <a:gd name="T51" fmla="*/ 71678904 h 38"/>
              <a:gd name="T52" fmla="*/ 12893822 w 193"/>
              <a:gd name="T53" fmla="*/ 76458321 h 38"/>
              <a:gd name="T54" fmla="*/ 10028781 w 193"/>
              <a:gd name="T55" fmla="*/ 81236191 h 38"/>
              <a:gd name="T56" fmla="*/ 7163285 w 193"/>
              <a:gd name="T57" fmla="*/ 86015608 h 38"/>
              <a:gd name="T58" fmla="*/ 3888822 w 193"/>
              <a:gd name="T59" fmla="*/ 88403770 h 38"/>
              <a:gd name="T60" fmla="*/ 0 w 193"/>
              <a:gd name="T61" fmla="*/ 90793478 h 38"/>
              <a:gd name="T62" fmla="*/ 0 w 193"/>
              <a:gd name="T63" fmla="*/ 78846483 h 38"/>
              <a:gd name="T64" fmla="*/ 204484 w 193"/>
              <a:gd name="T65" fmla="*/ 69289196 h 38"/>
              <a:gd name="T66" fmla="*/ 613905 w 193"/>
              <a:gd name="T67" fmla="*/ 57343746 h 38"/>
              <a:gd name="T68" fmla="*/ 1432748 w 193"/>
              <a:gd name="T69" fmla="*/ 47786447 h 3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93"/>
              <a:gd name="T106" fmla="*/ 0 h 38"/>
              <a:gd name="T107" fmla="*/ 193 w 193"/>
              <a:gd name="T108" fmla="*/ 38 h 38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93" h="38">
                <a:moveTo>
                  <a:pt x="7" y="20"/>
                </a:moveTo>
                <a:lnTo>
                  <a:pt x="38" y="11"/>
                </a:lnTo>
                <a:lnTo>
                  <a:pt x="67" y="5"/>
                </a:lnTo>
                <a:lnTo>
                  <a:pt x="80" y="3"/>
                </a:lnTo>
                <a:lnTo>
                  <a:pt x="94" y="2"/>
                </a:lnTo>
                <a:lnTo>
                  <a:pt x="110" y="1"/>
                </a:lnTo>
                <a:lnTo>
                  <a:pt x="126" y="0"/>
                </a:lnTo>
                <a:lnTo>
                  <a:pt x="138" y="1"/>
                </a:lnTo>
                <a:lnTo>
                  <a:pt x="149" y="1"/>
                </a:lnTo>
                <a:lnTo>
                  <a:pt x="160" y="2"/>
                </a:lnTo>
                <a:lnTo>
                  <a:pt x="169" y="4"/>
                </a:lnTo>
                <a:lnTo>
                  <a:pt x="178" y="6"/>
                </a:lnTo>
                <a:lnTo>
                  <a:pt x="184" y="11"/>
                </a:lnTo>
                <a:lnTo>
                  <a:pt x="187" y="13"/>
                </a:lnTo>
                <a:lnTo>
                  <a:pt x="189" y="18"/>
                </a:lnTo>
                <a:lnTo>
                  <a:pt x="191" y="21"/>
                </a:lnTo>
                <a:lnTo>
                  <a:pt x="193" y="26"/>
                </a:lnTo>
                <a:lnTo>
                  <a:pt x="183" y="27"/>
                </a:lnTo>
                <a:lnTo>
                  <a:pt x="173" y="28"/>
                </a:lnTo>
                <a:lnTo>
                  <a:pt x="165" y="28"/>
                </a:lnTo>
                <a:lnTo>
                  <a:pt x="156" y="28"/>
                </a:lnTo>
                <a:lnTo>
                  <a:pt x="138" y="27"/>
                </a:lnTo>
                <a:lnTo>
                  <a:pt x="120" y="26"/>
                </a:lnTo>
                <a:lnTo>
                  <a:pt x="103" y="26"/>
                </a:lnTo>
                <a:lnTo>
                  <a:pt x="89" y="28"/>
                </a:lnTo>
                <a:lnTo>
                  <a:pt x="76" y="30"/>
                </a:lnTo>
                <a:lnTo>
                  <a:pt x="63" y="32"/>
                </a:lnTo>
                <a:lnTo>
                  <a:pt x="49" y="34"/>
                </a:lnTo>
                <a:lnTo>
                  <a:pt x="35" y="36"/>
                </a:lnTo>
                <a:lnTo>
                  <a:pt x="19" y="37"/>
                </a:lnTo>
                <a:lnTo>
                  <a:pt x="0" y="38"/>
                </a:lnTo>
                <a:lnTo>
                  <a:pt x="0" y="33"/>
                </a:lnTo>
                <a:lnTo>
                  <a:pt x="1" y="29"/>
                </a:lnTo>
                <a:lnTo>
                  <a:pt x="3" y="24"/>
                </a:lnTo>
                <a:lnTo>
                  <a:pt x="7" y="2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70" name="Freeform 268"/>
          <p:cNvSpPr>
            <a:spLocks/>
          </p:cNvSpPr>
          <p:nvPr userDrawn="1">
            <p:custDataLst>
              <p:tags r:id="rId194"/>
            </p:custDataLst>
          </p:nvPr>
        </p:nvSpPr>
        <p:spPr bwMode="auto">
          <a:xfrm>
            <a:off x="4084647" y="2672959"/>
            <a:ext cx="42863" cy="116681"/>
          </a:xfrm>
          <a:custGeom>
            <a:avLst/>
            <a:gdLst>
              <a:gd name="T0" fmla="*/ 9935124 w 99"/>
              <a:gd name="T1" fmla="*/ 3205568 h 301"/>
              <a:gd name="T2" fmla="*/ 11059953 w 99"/>
              <a:gd name="T3" fmla="*/ 3205568 h 301"/>
              <a:gd name="T4" fmla="*/ 11059953 w 99"/>
              <a:gd name="T5" fmla="*/ 5075570 h 301"/>
              <a:gd name="T6" fmla="*/ 11621934 w 99"/>
              <a:gd name="T7" fmla="*/ 6945570 h 301"/>
              <a:gd name="T8" fmla="*/ 11809406 w 99"/>
              <a:gd name="T9" fmla="*/ 8815573 h 301"/>
              <a:gd name="T10" fmla="*/ 12371820 w 99"/>
              <a:gd name="T11" fmla="*/ 11220006 h 301"/>
              <a:gd name="T12" fmla="*/ 13496649 w 99"/>
              <a:gd name="T13" fmla="*/ 15494441 h 301"/>
              <a:gd name="T14" fmla="*/ 14808952 w 99"/>
              <a:gd name="T15" fmla="*/ 20036096 h 301"/>
              <a:gd name="T16" fmla="*/ 16308291 w 99"/>
              <a:gd name="T17" fmla="*/ 24844447 h 301"/>
              <a:gd name="T18" fmla="*/ 17433120 w 99"/>
              <a:gd name="T19" fmla="*/ 29653315 h 301"/>
              <a:gd name="T20" fmla="*/ 17995534 w 99"/>
              <a:gd name="T21" fmla="*/ 32057232 h 301"/>
              <a:gd name="T22" fmla="*/ 18370477 w 99"/>
              <a:gd name="T23" fmla="*/ 34461674 h 301"/>
              <a:gd name="T24" fmla="*/ 18557948 w 99"/>
              <a:gd name="T25" fmla="*/ 36866108 h 301"/>
              <a:gd name="T26" fmla="*/ 18557948 w 99"/>
              <a:gd name="T27" fmla="*/ 39537241 h 301"/>
              <a:gd name="T28" fmla="*/ 18557948 w 99"/>
              <a:gd name="T29" fmla="*/ 77204999 h 301"/>
              <a:gd name="T30" fmla="*/ 16683234 w 99"/>
              <a:gd name="T31" fmla="*/ 77472216 h 301"/>
              <a:gd name="T32" fmla="*/ 14996424 w 99"/>
              <a:gd name="T33" fmla="*/ 78273349 h 301"/>
              <a:gd name="T34" fmla="*/ 13684120 w 99"/>
              <a:gd name="T35" fmla="*/ 79342216 h 301"/>
              <a:gd name="T36" fmla="*/ 12371820 w 99"/>
              <a:gd name="T37" fmla="*/ 80410567 h 301"/>
              <a:gd name="T38" fmla="*/ 11059953 w 99"/>
              <a:gd name="T39" fmla="*/ 77472216 h 301"/>
              <a:gd name="T40" fmla="*/ 10122596 w 99"/>
              <a:gd name="T41" fmla="*/ 74800565 h 301"/>
              <a:gd name="T42" fmla="*/ 8997767 w 99"/>
              <a:gd name="T43" fmla="*/ 72396131 h 301"/>
              <a:gd name="T44" fmla="*/ 8435353 w 99"/>
              <a:gd name="T45" fmla="*/ 69991698 h 301"/>
              <a:gd name="T46" fmla="*/ 8060410 w 99"/>
              <a:gd name="T47" fmla="*/ 67320548 h 301"/>
              <a:gd name="T48" fmla="*/ 7685467 w 99"/>
              <a:gd name="T49" fmla="*/ 64648897 h 301"/>
              <a:gd name="T50" fmla="*/ 7497995 w 99"/>
              <a:gd name="T51" fmla="*/ 61977763 h 301"/>
              <a:gd name="T52" fmla="*/ 7497995 w 99"/>
              <a:gd name="T53" fmla="*/ 59306112 h 301"/>
              <a:gd name="T54" fmla="*/ 7497995 w 99"/>
              <a:gd name="T55" fmla="*/ 37667241 h 301"/>
              <a:gd name="T56" fmla="*/ 0 w 99"/>
              <a:gd name="T57" fmla="*/ 1602784 h 301"/>
              <a:gd name="T58" fmla="*/ 937358 w 99"/>
              <a:gd name="T59" fmla="*/ 534434 h 301"/>
              <a:gd name="T60" fmla="*/ 1874715 w 99"/>
              <a:gd name="T61" fmla="*/ 0 h 301"/>
              <a:gd name="T62" fmla="*/ 2624168 w 99"/>
              <a:gd name="T63" fmla="*/ 0 h 301"/>
              <a:gd name="T64" fmla="*/ 3748998 w 99"/>
              <a:gd name="T65" fmla="*/ 0 h 301"/>
              <a:gd name="T66" fmla="*/ 4873826 w 99"/>
              <a:gd name="T67" fmla="*/ 0 h 301"/>
              <a:gd name="T68" fmla="*/ 5998655 w 99"/>
              <a:gd name="T69" fmla="*/ 534434 h 301"/>
              <a:gd name="T70" fmla="*/ 6936012 w 99"/>
              <a:gd name="T71" fmla="*/ 1068351 h 301"/>
              <a:gd name="T72" fmla="*/ 7685467 w 99"/>
              <a:gd name="T73" fmla="*/ 1602784 h 301"/>
              <a:gd name="T74" fmla="*/ 8810295 w 99"/>
              <a:gd name="T75" fmla="*/ 2671652 h 301"/>
              <a:gd name="T76" fmla="*/ 9935124 w 99"/>
              <a:gd name="T77" fmla="*/ 3205568 h 301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99"/>
              <a:gd name="T118" fmla="*/ 0 h 301"/>
              <a:gd name="T119" fmla="*/ 99 w 99"/>
              <a:gd name="T120" fmla="*/ 301 h 301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99" h="301">
                <a:moveTo>
                  <a:pt x="53" y="12"/>
                </a:moveTo>
                <a:lnTo>
                  <a:pt x="59" y="12"/>
                </a:lnTo>
                <a:lnTo>
                  <a:pt x="59" y="19"/>
                </a:lnTo>
                <a:lnTo>
                  <a:pt x="62" y="26"/>
                </a:lnTo>
                <a:lnTo>
                  <a:pt x="63" y="33"/>
                </a:lnTo>
                <a:lnTo>
                  <a:pt x="66" y="42"/>
                </a:lnTo>
                <a:lnTo>
                  <a:pt x="72" y="58"/>
                </a:lnTo>
                <a:lnTo>
                  <a:pt x="79" y="75"/>
                </a:lnTo>
                <a:lnTo>
                  <a:pt x="87" y="93"/>
                </a:lnTo>
                <a:lnTo>
                  <a:pt x="93" y="111"/>
                </a:lnTo>
                <a:lnTo>
                  <a:pt x="96" y="120"/>
                </a:lnTo>
                <a:lnTo>
                  <a:pt x="98" y="129"/>
                </a:lnTo>
                <a:lnTo>
                  <a:pt x="99" y="138"/>
                </a:lnTo>
                <a:lnTo>
                  <a:pt x="99" y="148"/>
                </a:lnTo>
                <a:lnTo>
                  <a:pt x="99" y="289"/>
                </a:lnTo>
                <a:lnTo>
                  <a:pt x="89" y="290"/>
                </a:lnTo>
                <a:lnTo>
                  <a:pt x="80" y="293"/>
                </a:lnTo>
                <a:lnTo>
                  <a:pt x="73" y="297"/>
                </a:lnTo>
                <a:lnTo>
                  <a:pt x="66" y="301"/>
                </a:lnTo>
                <a:lnTo>
                  <a:pt x="59" y="290"/>
                </a:lnTo>
                <a:lnTo>
                  <a:pt x="54" y="280"/>
                </a:lnTo>
                <a:lnTo>
                  <a:pt x="48" y="271"/>
                </a:lnTo>
                <a:lnTo>
                  <a:pt x="45" y="262"/>
                </a:lnTo>
                <a:lnTo>
                  <a:pt x="43" y="252"/>
                </a:lnTo>
                <a:lnTo>
                  <a:pt x="41" y="242"/>
                </a:lnTo>
                <a:lnTo>
                  <a:pt x="40" y="232"/>
                </a:lnTo>
                <a:lnTo>
                  <a:pt x="40" y="222"/>
                </a:lnTo>
                <a:lnTo>
                  <a:pt x="40" y="141"/>
                </a:lnTo>
                <a:lnTo>
                  <a:pt x="0" y="6"/>
                </a:lnTo>
                <a:lnTo>
                  <a:pt x="5" y="2"/>
                </a:lnTo>
                <a:lnTo>
                  <a:pt x="10" y="0"/>
                </a:lnTo>
                <a:lnTo>
                  <a:pt x="14" y="0"/>
                </a:lnTo>
                <a:lnTo>
                  <a:pt x="20" y="0"/>
                </a:lnTo>
                <a:lnTo>
                  <a:pt x="26" y="0"/>
                </a:lnTo>
                <a:lnTo>
                  <a:pt x="32" y="2"/>
                </a:lnTo>
                <a:lnTo>
                  <a:pt x="37" y="4"/>
                </a:lnTo>
                <a:lnTo>
                  <a:pt x="41" y="6"/>
                </a:lnTo>
                <a:lnTo>
                  <a:pt x="47" y="10"/>
                </a:lnTo>
                <a:lnTo>
                  <a:pt x="53" y="12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71" name="Freeform 269"/>
          <p:cNvSpPr>
            <a:spLocks/>
          </p:cNvSpPr>
          <p:nvPr userDrawn="1">
            <p:custDataLst>
              <p:tags r:id="rId195"/>
            </p:custDataLst>
          </p:nvPr>
        </p:nvSpPr>
        <p:spPr bwMode="auto">
          <a:xfrm>
            <a:off x="4110038" y="2644379"/>
            <a:ext cx="76200" cy="141684"/>
          </a:xfrm>
          <a:custGeom>
            <a:avLst/>
            <a:gdLst>
              <a:gd name="T0" fmla="*/ 0 w 173"/>
              <a:gd name="T1" fmla="*/ 22401154 h 357"/>
              <a:gd name="T2" fmla="*/ 1745993 w 173"/>
              <a:gd name="T3" fmla="*/ 20161198 h 357"/>
              <a:gd name="T4" fmla="*/ 3298182 w 173"/>
              <a:gd name="T5" fmla="*/ 18201171 h 357"/>
              <a:gd name="T6" fmla="*/ 4850372 w 173"/>
              <a:gd name="T7" fmla="*/ 16800996 h 357"/>
              <a:gd name="T8" fmla="*/ 6402121 w 173"/>
              <a:gd name="T9" fmla="*/ 15680753 h 357"/>
              <a:gd name="T10" fmla="*/ 7760068 w 173"/>
              <a:gd name="T11" fmla="*/ 14000654 h 357"/>
              <a:gd name="T12" fmla="*/ 12998486 w 173"/>
              <a:gd name="T13" fmla="*/ 14000654 h 357"/>
              <a:gd name="T14" fmla="*/ 18236466 w 173"/>
              <a:gd name="T15" fmla="*/ 0 h 357"/>
              <a:gd name="T16" fmla="*/ 19594852 w 173"/>
              <a:gd name="T17" fmla="*/ 839785 h 357"/>
              <a:gd name="T18" fmla="*/ 20952797 w 173"/>
              <a:gd name="T19" fmla="*/ 1960028 h 357"/>
              <a:gd name="T20" fmla="*/ 22504986 w 173"/>
              <a:gd name="T21" fmla="*/ 3360199 h 357"/>
              <a:gd name="T22" fmla="*/ 23862931 w 173"/>
              <a:gd name="T23" fmla="*/ 5040300 h 357"/>
              <a:gd name="T24" fmla="*/ 25415120 w 173"/>
              <a:gd name="T25" fmla="*/ 6160542 h 357"/>
              <a:gd name="T26" fmla="*/ 26966869 w 173"/>
              <a:gd name="T27" fmla="*/ 7560184 h 357"/>
              <a:gd name="T28" fmla="*/ 28131011 w 173"/>
              <a:gd name="T29" fmla="*/ 8120569 h 357"/>
              <a:gd name="T30" fmla="*/ 29683207 w 173"/>
              <a:gd name="T31" fmla="*/ 8400498 h 357"/>
              <a:gd name="T32" fmla="*/ 31623003 w 173"/>
              <a:gd name="T33" fmla="*/ 10920384 h 357"/>
              <a:gd name="T34" fmla="*/ 33563239 w 173"/>
              <a:gd name="T35" fmla="*/ 14000654 h 357"/>
              <a:gd name="T36" fmla="*/ 33563239 w 173"/>
              <a:gd name="T37" fmla="*/ 17080924 h 357"/>
              <a:gd name="T38" fmla="*/ 33563239 w 173"/>
              <a:gd name="T39" fmla="*/ 19320884 h 357"/>
              <a:gd name="T40" fmla="*/ 33563239 w 173"/>
              <a:gd name="T41" fmla="*/ 22401154 h 357"/>
              <a:gd name="T42" fmla="*/ 33563239 w 173"/>
              <a:gd name="T43" fmla="*/ 27441451 h 357"/>
              <a:gd name="T44" fmla="*/ 33563239 w 173"/>
              <a:gd name="T45" fmla="*/ 30521721 h 357"/>
              <a:gd name="T46" fmla="*/ 33175192 w 173"/>
              <a:gd name="T47" fmla="*/ 33041605 h 357"/>
              <a:gd name="T48" fmla="*/ 32399097 w 173"/>
              <a:gd name="T49" fmla="*/ 35562027 h 357"/>
              <a:gd name="T50" fmla="*/ 31623003 w 173"/>
              <a:gd name="T51" fmla="*/ 37801983 h 357"/>
              <a:gd name="T52" fmla="*/ 29488963 w 173"/>
              <a:gd name="T53" fmla="*/ 42282424 h 357"/>
              <a:gd name="T54" fmla="*/ 27161113 w 173"/>
              <a:gd name="T55" fmla="*/ 46762864 h 357"/>
              <a:gd name="T56" fmla="*/ 24832829 w 173"/>
              <a:gd name="T57" fmla="*/ 51242776 h 357"/>
              <a:gd name="T58" fmla="*/ 22698790 w 173"/>
              <a:gd name="T59" fmla="*/ 56003145 h 357"/>
              <a:gd name="T60" fmla="*/ 21728892 w 173"/>
              <a:gd name="T61" fmla="*/ 58523558 h 357"/>
              <a:gd name="T62" fmla="*/ 21146601 w 173"/>
              <a:gd name="T63" fmla="*/ 61323371 h 357"/>
              <a:gd name="T64" fmla="*/ 20952797 w 173"/>
              <a:gd name="T65" fmla="*/ 64123712 h 357"/>
              <a:gd name="T66" fmla="*/ 20758553 w 173"/>
              <a:gd name="T67" fmla="*/ 67203982 h 357"/>
              <a:gd name="T68" fmla="*/ 20952797 w 173"/>
              <a:gd name="T69" fmla="*/ 76444280 h 357"/>
              <a:gd name="T70" fmla="*/ 21146601 w 173"/>
              <a:gd name="T71" fmla="*/ 82044434 h 357"/>
              <a:gd name="T72" fmla="*/ 21340844 w 173"/>
              <a:gd name="T73" fmla="*/ 84564847 h 357"/>
              <a:gd name="T74" fmla="*/ 21146601 w 173"/>
              <a:gd name="T75" fmla="*/ 87645117 h 357"/>
              <a:gd name="T76" fmla="*/ 21146601 w 173"/>
              <a:gd name="T77" fmla="*/ 91565172 h 357"/>
              <a:gd name="T78" fmla="*/ 20758553 w 173"/>
              <a:gd name="T79" fmla="*/ 96605469 h 357"/>
              <a:gd name="T80" fmla="*/ 18818757 w 173"/>
              <a:gd name="T81" fmla="*/ 96885398 h 357"/>
              <a:gd name="T82" fmla="*/ 17072765 w 173"/>
              <a:gd name="T83" fmla="*/ 97165326 h 357"/>
              <a:gd name="T84" fmla="*/ 15326773 w 173"/>
              <a:gd name="T85" fmla="*/ 97725712 h 357"/>
              <a:gd name="T86" fmla="*/ 13774580 w 173"/>
              <a:gd name="T87" fmla="*/ 98285568 h 357"/>
              <a:gd name="T88" fmla="*/ 12222391 w 173"/>
              <a:gd name="T89" fmla="*/ 98845425 h 357"/>
              <a:gd name="T90" fmla="*/ 10670202 w 173"/>
              <a:gd name="T91" fmla="*/ 99405811 h 357"/>
              <a:gd name="T92" fmla="*/ 9312257 w 173"/>
              <a:gd name="T93" fmla="*/ 99965668 h 357"/>
              <a:gd name="T94" fmla="*/ 7760068 w 173"/>
              <a:gd name="T95" fmla="*/ 99965668 h 357"/>
              <a:gd name="T96" fmla="*/ 7760068 w 173"/>
              <a:gd name="T97" fmla="*/ 60483586 h 357"/>
              <a:gd name="T98" fmla="*/ 7760068 w 173"/>
              <a:gd name="T99" fmla="*/ 57683244 h 357"/>
              <a:gd name="T100" fmla="*/ 7566264 w 173"/>
              <a:gd name="T101" fmla="*/ 55163360 h 357"/>
              <a:gd name="T102" fmla="*/ 7178215 w 173"/>
              <a:gd name="T103" fmla="*/ 52642947 h 357"/>
              <a:gd name="T104" fmla="*/ 6596365 w 173"/>
              <a:gd name="T105" fmla="*/ 50123063 h 357"/>
              <a:gd name="T106" fmla="*/ 5432223 w 173"/>
              <a:gd name="T107" fmla="*/ 45082765 h 357"/>
              <a:gd name="T108" fmla="*/ 3880034 w 173"/>
              <a:gd name="T109" fmla="*/ 40042468 h 357"/>
              <a:gd name="T110" fmla="*/ 2522088 w 173"/>
              <a:gd name="T111" fmla="*/ 35282099 h 357"/>
              <a:gd name="T112" fmla="*/ 1357946 w 173"/>
              <a:gd name="T113" fmla="*/ 30801650 h 357"/>
              <a:gd name="T114" fmla="*/ 776095 w 173"/>
              <a:gd name="T115" fmla="*/ 28281765 h 357"/>
              <a:gd name="T116" fmla="*/ 581851 w 173"/>
              <a:gd name="T117" fmla="*/ 26321738 h 357"/>
              <a:gd name="T118" fmla="*/ 0 w 173"/>
              <a:gd name="T119" fmla="*/ 24361181 h 357"/>
              <a:gd name="T120" fmla="*/ 0 w 173"/>
              <a:gd name="T121" fmla="*/ 22401154 h 35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173"/>
              <a:gd name="T184" fmla="*/ 0 h 357"/>
              <a:gd name="T185" fmla="*/ 173 w 173"/>
              <a:gd name="T186" fmla="*/ 357 h 357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173" h="357">
                <a:moveTo>
                  <a:pt x="0" y="80"/>
                </a:moveTo>
                <a:lnTo>
                  <a:pt x="9" y="72"/>
                </a:lnTo>
                <a:lnTo>
                  <a:pt x="17" y="65"/>
                </a:lnTo>
                <a:lnTo>
                  <a:pt x="25" y="60"/>
                </a:lnTo>
                <a:lnTo>
                  <a:pt x="33" y="56"/>
                </a:lnTo>
                <a:lnTo>
                  <a:pt x="40" y="50"/>
                </a:lnTo>
                <a:lnTo>
                  <a:pt x="67" y="50"/>
                </a:lnTo>
                <a:lnTo>
                  <a:pt x="94" y="0"/>
                </a:lnTo>
                <a:lnTo>
                  <a:pt x="101" y="3"/>
                </a:lnTo>
                <a:lnTo>
                  <a:pt x="108" y="7"/>
                </a:lnTo>
                <a:lnTo>
                  <a:pt x="116" y="12"/>
                </a:lnTo>
                <a:lnTo>
                  <a:pt x="123" y="18"/>
                </a:lnTo>
                <a:lnTo>
                  <a:pt x="131" y="22"/>
                </a:lnTo>
                <a:lnTo>
                  <a:pt x="139" y="27"/>
                </a:lnTo>
                <a:lnTo>
                  <a:pt x="145" y="29"/>
                </a:lnTo>
                <a:lnTo>
                  <a:pt x="153" y="30"/>
                </a:lnTo>
                <a:lnTo>
                  <a:pt x="163" y="39"/>
                </a:lnTo>
                <a:lnTo>
                  <a:pt x="173" y="50"/>
                </a:lnTo>
                <a:lnTo>
                  <a:pt x="173" y="61"/>
                </a:lnTo>
                <a:lnTo>
                  <a:pt x="173" y="69"/>
                </a:lnTo>
                <a:lnTo>
                  <a:pt x="173" y="80"/>
                </a:lnTo>
                <a:lnTo>
                  <a:pt x="173" y="98"/>
                </a:lnTo>
                <a:lnTo>
                  <a:pt x="173" y="109"/>
                </a:lnTo>
                <a:lnTo>
                  <a:pt x="171" y="118"/>
                </a:lnTo>
                <a:lnTo>
                  <a:pt x="167" y="127"/>
                </a:lnTo>
                <a:lnTo>
                  <a:pt x="163" y="135"/>
                </a:lnTo>
                <a:lnTo>
                  <a:pt x="152" y="151"/>
                </a:lnTo>
                <a:lnTo>
                  <a:pt x="140" y="167"/>
                </a:lnTo>
                <a:lnTo>
                  <a:pt x="128" y="183"/>
                </a:lnTo>
                <a:lnTo>
                  <a:pt x="117" y="200"/>
                </a:lnTo>
                <a:lnTo>
                  <a:pt x="112" y="209"/>
                </a:lnTo>
                <a:lnTo>
                  <a:pt x="109" y="219"/>
                </a:lnTo>
                <a:lnTo>
                  <a:pt x="108" y="229"/>
                </a:lnTo>
                <a:lnTo>
                  <a:pt x="107" y="240"/>
                </a:lnTo>
                <a:lnTo>
                  <a:pt x="108" y="273"/>
                </a:lnTo>
                <a:lnTo>
                  <a:pt x="109" y="293"/>
                </a:lnTo>
                <a:lnTo>
                  <a:pt x="110" y="302"/>
                </a:lnTo>
                <a:lnTo>
                  <a:pt x="109" y="313"/>
                </a:lnTo>
                <a:lnTo>
                  <a:pt x="109" y="327"/>
                </a:lnTo>
                <a:lnTo>
                  <a:pt x="107" y="345"/>
                </a:lnTo>
                <a:lnTo>
                  <a:pt x="97" y="346"/>
                </a:lnTo>
                <a:lnTo>
                  <a:pt x="88" y="347"/>
                </a:lnTo>
                <a:lnTo>
                  <a:pt x="79" y="349"/>
                </a:lnTo>
                <a:lnTo>
                  <a:pt x="71" y="351"/>
                </a:lnTo>
                <a:lnTo>
                  <a:pt x="63" y="353"/>
                </a:lnTo>
                <a:lnTo>
                  <a:pt x="55" y="355"/>
                </a:lnTo>
                <a:lnTo>
                  <a:pt x="48" y="357"/>
                </a:lnTo>
                <a:lnTo>
                  <a:pt x="40" y="357"/>
                </a:lnTo>
                <a:lnTo>
                  <a:pt x="40" y="216"/>
                </a:lnTo>
                <a:lnTo>
                  <a:pt x="40" y="206"/>
                </a:lnTo>
                <a:lnTo>
                  <a:pt x="39" y="197"/>
                </a:lnTo>
                <a:lnTo>
                  <a:pt x="37" y="188"/>
                </a:lnTo>
                <a:lnTo>
                  <a:pt x="34" y="179"/>
                </a:lnTo>
                <a:lnTo>
                  <a:pt x="28" y="161"/>
                </a:lnTo>
                <a:lnTo>
                  <a:pt x="20" y="143"/>
                </a:lnTo>
                <a:lnTo>
                  <a:pt x="13" y="126"/>
                </a:lnTo>
                <a:lnTo>
                  <a:pt x="7" y="110"/>
                </a:lnTo>
                <a:lnTo>
                  <a:pt x="4" y="101"/>
                </a:lnTo>
                <a:lnTo>
                  <a:pt x="3" y="94"/>
                </a:lnTo>
                <a:lnTo>
                  <a:pt x="0" y="87"/>
                </a:lnTo>
                <a:lnTo>
                  <a:pt x="0" y="8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72" name="Freeform 270"/>
          <p:cNvSpPr>
            <a:spLocks/>
          </p:cNvSpPr>
          <p:nvPr userDrawn="1">
            <p:custDataLst>
              <p:tags r:id="rId196"/>
            </p:custDataLst>
          </p:nvPr>
        </p:nvSpPr>
        <p:spPr bwMode="auto">
          <a:xfrm>
            <a:off x="4838701" y="3548074"/>
            <a:ext cx="25400" cy="45244"/>
          </a:xfrm>
          <a:custGeom>
            <a:avLst/>
            <a:gdLst>
              <a:gd name="T0" fmla="*/ 2580640 w 50"/>
              <a:gd name="T1" fmla="*/ 0 h 74"/>
              <a:gd name="T2" fmla="*/ 1548384 w 50"/>
              <a:gd name="T3" fmla="*/ 9303908 h 74"/>
              <a:gd name="T4" fmla="*/ 516128 w 50"/>
              <a:gd name="T5" fmla="*/ 17278221 h 74"/>
              <a:gd name="T6" fmla="*/ 0 w 50"/>
              <a:gd name="T7" fmla="*/ 23923750 h 74"/>
              <a:gd name="T8" fmla="*/ 0 w 50"/>
              <a:gd name="T9" fmla="*/ 28576116 h 74"/>
              <a:gd name="T10" fmla="*/ 0 w 50"/>
              <a:gd name="T11" fmla="*/ 33227661 h 74"/>
              <a:gd name="T12" fmla="*/ 516128 w 50"/>
              <a:gd name="T13" fmla="*/ 37214816 h 74"/>
              <a:gd name="T14" fmla="*/ 1548384 w 50"/>
              <a:gd name="T15" fmla="*/ 40537581 h 74"/>
              <a:gd name="T16" fmla="*/ 2580640 w 50"/>
              <a:gd name="T17" fmla="*/ 45189941 h 74"/>
              <a:gd name="T18" fmla="*/ 12903200 w 50"/>
              <a:gd name="T19" fmla="*/ 49177095 h 74"/>
              <a:gd name="T20" fmla="*/ 12903200 w 50"/>
              <a:gd name="T21" fmla="*/ 33892051 h 74"/>
              <a:gd name="T22" fmla="*/ 12903200 w 50"/>
              <a:gd name="T23" fmla="*/ 22594970 h 74"/>
              <a:gd name="T24" fmla="*/ 12903200 w 50"/>
              <a:gd name="T25" fmla="*/ 12626673 h 74"/>
              <a:gd name="T26" fmla="*/ 12903200 w 50"/>
              <a:gd name="T27" fmla="*/ 0 h 74"/>
              <a:gd name="T28" fmla="*/ 9806433 w 50"/>
              <a:gd name="T29" fmla="*/ 0 h 74"/>
              <a:gd name="T30" fmla="*/ 6451600 w 50"/>
              <a:gd name="T31" fmla="*/ 0 h 74"/>
              <a:gd name="T32" fmla="*/ 3612896 w 50"/>
              <a:gd name="T33" fmla="*/ 0 h 74"/>
              <a:gd name="T34" fmla="*/ 2580640 w 50"/>
              <a:gd name="T35" fmla="*/ 0 h 74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50"/>
              <a:gd name="T55" fmla="*/ 0 h 74"/>
              <a:gd name="T56" fmla="*/ 50 w 50"/>
              <a:gd name="T57" fmla="*/ 74 h 74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50" h="74">
                <a:moveTo>
                  <a:pt x="10" y="0"/>
                </a:moveTo>
                <a:lnTo>
                  <a:pt x="6" y="14"/>
                </a:lnTo>
                <a:lnTo>
                  <a:pt x="2" y="26"/>
                </a:lnTo>
                <a:lnTo>
                  <a:pt x="0" y="36"/>
                </a:lnTo>
                <a:lnTo>
                  <a:pt x="0" y="43"/>
                </a:lnTo>
                <a:lnTo>
                  <a:pt x="0" y="50"/>
                </a:lnTo>
                <a:lnTo>
                  <a:pt x="2" y="56"/>
                </a:lnTo>
                <a:lnTo>
                  <a:pt x="6" y="61"/>
                </a:lnTo>
                <a:lnTo>
                  <a:pt x="10" y="68"/>
                </a:lnTo>
                <a:lnTo>
                  <a:pt x="50" y="74"/>
                </a:lnTo>
                <a:lnTo>
                  <a:pt x="50" y="51"/>
                </a:lnTo>
                <a:lnTo>
                  <a:pt x="50" y="34"/>
                </a:lnTo>
                <a:lnTo>
                  <a:pt x="50" y="19"/>
                </a:lnTo>
                <a:lnTo>
                  <a:pt x="50" y="0"/>
                </a:lnTo>
                <a:lnTo>
                  <a:pt x="38" y="0"/>
                </a:lnTo>
                <a:lnTo>
                  <a:pt x="25" y="0"/>
                </a:lnTo>
                <a:lnTo>
                  <a:pt x="14" y="0"/>
                </a:lnTo>
                <a:lnTo>
                  <a:pt x="10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73" name="Freeform 271"/>
          <p:cNvSpPr>
            <a:spLocks/>
          </p:cNvSpPr>
          <p:nvPr userDrawn="1">
            <p:custDataLst>
              <p:tags r:id="rId197"/>
            </p:custDataLst>
          </p:nvPr>
        </p:nvSpPr>
        <p:spPr bwMode="auto">
          <a:xfrm>
            <a:off x="4733928" y="3620703"/>
            <a:ext cx="61912" cy="42863"/>
          </a:xfrm>
          <a:custGeom>
            <a:avLst/>
            <a:gdLst>
              <a:gd name="T0" fmla="*/ 631044 w 135"/>
              <a:gd name="T1" fmla="*/ 18704377 h 98"/>
              <a:gd name="T2" fmla="*/ 2313674 w 135"/>
              <a:gd name="T3" fmla="*/ 18364393 h 98"/>
              <a:gd name="T4" fmla="*/ 3785804 w 135"/>
              <a:gd name="T5" fmla="*/ 18024409 h 98"/>
              <a:gd name="T6" fmla="*/ 5047891 w 135"/>
              <a:gd name="T7" fmla="*/ 17003874 h 98"/>
              <a:gd name="T8" fmla="*/ 6520020 w 135"/>
              <a:gd name="T9" fmla="*/ 15983922 h 98"/>
              <a:gd name="T10" fmla="*/ 8833695 w 135"/>
              <a:gd name="T11" fmla="*/ 12922898 h 98"/>
              <a:gd name="T12" fmla="*/ 10936868 w 135"/>
              <a:gd name="T13" fmla="*/ 9522472 h 98"/>
              <a:gd name="T14" fmla="*/ 12829540 w 135"/>
              <a:gd name="T15" fmla="*/ 6121465 h 98"/>
              <a:gd name="T16" fmla="*/ 14932713 w 135"/>
              <a:gd name="T17" fmla="*/ 2720457 h 98"/>
              <a:gd name="T18" fmla="*/ 15984303 w 135"/>
              <a:gd name="T19" fmla="*/ 1700504 h 98"/>
              <a:gd name="T20" fmla="*/ 17246390 w 135"/>
              <a:gd name="T21" fmla="*/ 679968 h 98"/>
              <a:gd name="T22" fmla="*/ 18508018 w 135"/>
              <a:gd name="T23" fmla="*/ 0 h 98"/>
              <a:gd name="T24" fmla="*/ 20190648 w 135"/>
              <a:gd name="T25" fmla="*/ 0 h 98"/>
              <a:gd name="T26" fmla="*/ 21452735 w 135"/>
              <a:gd name="T27" fmla="*/ 0 h 98"/>
              <a:gd name="T28" fmla="*/ 23135365 w 135"/>
              <a:gd name="T29" fmla="*/ 1019953 h 98"/>
              <a:gd name="T30" fmla="*/ 24607494 w 135"/>
              <a:gd name="T31" fmla="*/ 2040488 h 98"/>
              <a:gd name="T32" fmla="*/ 25869581 w 135"/>
              <a:gd name="T33" fmla="*/ 3740992 h 98"/>
              <a:gd name="T34" fmla="*/ 26921167 w 135"/>
              <a:gd name="T35" fmla="*/ 5441497 h 98"/>
              <a:gd name="T36" fmla="*/ 27762253 w 135"/>
              <a:gd name="T37" fmla="*/ 8161953 h 98"/>
              <a:gd name="T38" fmla="*/ 28182795 w 135"/>
              <a:gd name="T39" fmla="*/ 10202443 h 98"/>
              <a:gd name="T40" fmla="*/ 28393296 w 135"/>
              <a:gd name="T41" fmla="*/ 12582914 h 98"/>
              <a:gd name="T42" fmla="*/ 28182795 w 135"/>
              <a:gd name="T43" fmla="*/ 13603450 h 98"/>
              <a:gd name="T44" fmla="*/ 27762253 w 135"/>
              <a:gd name="T45" fmla="*/ 14623402 h 98"/>
              <a:gd name="T46" fmla="*/ 27131209 w 135"/>
              <a:gd name="T47" fmla="*/ 15983922 h 98"/>
              <a:gd name="T48" fmla="*/ 26079623 w 135"/>
              <a:gd name="T49" fmla="*/ 17343858 h 98"/>
              <a:gd name="T50" fmla="*/ 23766408 w 135"/>
              <a:gd name="T51" fmla="*/ 20744869 h 98"/>
              <a:gd name="T52" fmla="*/ 21032192 w 135"/>
              <a:gd name="T53" fmla="*/ 24485861 h 98"/>
              <a:gd name="T54" fmla="*/ 18297976 w 135"/>
              <a:gd name="T55" fmla="*/ 27886285 h 98"/>
              <a:gd name="T56" fmla="*/ 15563760 w 135"/>
              <a:gd name="T57" fmla="*/ 30947308 h 98"/>
              <a:gd name="T58" fmla="*/ 13250083 w 135"/>
              <a:gd name="T59" fmla="*/ 32647811 h 98"/>
              <a:gd name="T60" fmla="*/ 11567453 w 135"/>
              <a:gd name="T61" fmla="*/ 33327779 h 98"/>
              <a:gd name="T62" fmla="*/ 10726367 w 135"/>
              <a:gd name="T63" fmla="*/ 32987795 h 98"/>
              <a:gd name="T64" fmla="*/ 9043738 w 135"/>
              <a:gd name="T65" fmla="*/ 31287292 h 98"/>
              <a:gd name="T66" fmla="*/ 6730062 w 135"/>
              <a:gd name="T67" fmla="*/ 28906820 h 98"/>
              <a:gd name="T68" fmla="*/ 4416848 w 135"/>
              <a:gd name="T69" fmla="*/ 26186364 h 98"/>
              <a:gd name="T70" fmla="*/ 2313674 w 135"/>
              <a:gd name="T71" fmla="*/ 23125341 h 98"/>
              <a:gd name="T72" fmla="*/ 1051587 w 135"/>
              <a:gd name="T73" fmla="*/ 21084854 h 98"/>
              <a:gd name="T74" fmla="*/ 210501 w 135"/>
              <a:gd name="T75" fmla="*/ 20064901 h 98"/>
              <a:gd name="T76" fmla="*/ 0 w 135"/>
              <a:gd name="T77" fmla="*/ 19384350 h 98"/>
              <a:gd name="T78" fmla="*/ 0 w 135"/>
              <a:gd name="T79" fmla="*/ 19044361 h 98"/>
              <a:gd name="T80" fmla="*/ 631044 w 135"/>
              <a:gd name="T81" fmla="*/ 18704377 h 9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135"/>
              <a:gd name="T124" fmla="*/ 0 h 98"/>
              <a:gd name="T125" fmla="*/ 135 w 135"/>
              <a:gd name="T126" fmla="*/ 98 h 98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74" name="Freeform 272"/>
          <p:cNvSpPr>
            <a:spLocks/>
          </p:cNvSpPr>
          <p:nvPr userDrawn="1">
            <p:custDataLst>
              <p:tags r:id="rId198"/>
            </p:custDataLst>
          </p:nvPr>
        </p:nvSpPr>
        <p:spPr bwMode="auto">
          <a:xfrm>
            <a:off x="6951664" y="1906202"/>
            <a:ext cx="120650" cy="128588"/>
          </a:xfrm>
          <a:custGeom>
            <a:avLst/>
            <a:gdLst>
              <a:gd name="T0" fmla="*/ 49374417 w 266"/>
              <a:gd name="T1" fmla="*/ 2489181 h 326"/>
              <a:gd name="T2" fmla="*/ 49374417 w 266"/>
              <a:gd name="T3" fmla="*/ 7744701 h 326"/>
              <a:gd name="T4" fmla="*/ 51225894 w 266"/>
              <a:gd name="T5" fmla="*/ 11617052 h 326"/>
              <a:gd name="T6" fmla="*/ 50403116 w 266"/>
              <a:gd name="T7" fmla="*/ 15212767 h 326"/>
              <a:gd name="T8" fmla="*/ 46288772 w 266"/>
              <a:gd name="T9" fmla="*/ 13829598 h 326"/>
              <a:gd name="T10" fmla="*/ 43202673 w 266"/>
              <a:gd name="T11" fmla="*/ 14106232 h 326"/>
              <a:gd name="T12" fmla="*/ 40116574 w 266"/>
              <a:gd name="T13" fmla="*/ 17978585 h 326"/>
              <a:gd name="T14" fmla="*/ 39705185 w 266"/>
              <a:gd name="T15" fmla="*/ 21574300 h 326"/>
              <a:gd name="T16" fmla="*/ 40733885 w 266"/>
              <a:gd name="T17" fmla="*/ 24616748 h 326"/>
              <a:gd name="T18" fmla="*/ 44231372 w 266"/>
              <a:gd name="T19" fmla="*/ 30425009 h 326"/>
              <a:gd name="T20" fmla="*/ 46082850 w 266"/>
              <a:gd name="T21" fmla="*/ 33744090 h 326"/>
              <a:gd name="T22" fmla="*/ 46288772 w 266"/>
              <a:gd name="T23" fmla="*/ 36786546 h 326"/>
              <a:gd name="T24" fmla="*/ 45671461 w 266"/>
              <a:gd name="T25" fmla="*/ 39552886 h 326"/>
              <a:gd name="T26" fmla="*/ 42585362 w 266"/>
              <a:gd name="T27" fmla="*/ 42595333 h 326"/>
              <a:gd name="T28" fmla="*/ 41145274 w 266"/>
              <a:gd name="T29" fmla="*/ 44254611 h 326"/>
              <a:gd name="T30" fmla="*/ 37236397 w 266"/>
              <a:gd name="T31" fmla="*/ 45914414 h 326"/>
              <a:gd name="T32" fmla="*/ 33739363 w 266"/>
              <a:gd name="T33" fmla="*/ 49233496 h 326"/>
              <a:gd name="T34" fmla="*/ 32916131 w 266"/>
              <a:gd name="T35" fmla="*/ 52829211 h 326"/>
              <a:gd name="T36" fmla="*/ 35590841 w 266"/>
              <a:gd name="T37" fmla="*/ 57254303 h 326"/>
              <a:gd name="T38" fmla="*/ 38882407 w 266"/>
              <a:gd name="T39" fmla="*/ 59467374 h 326"/>
              <a:gd name="T40" fmla="*/ 44025451 w 266"/>
              <a:gd name="T41" fmla="*/ 62786456 h 326"/>
              <a:gd name="T42" fmla="*/ 50403116 w 266"/>
              <a:gd name="T43" fmla="*/ 71637180 h 326"/>
              <a:gd name="T44" fmla="*/ 51637283 w 266"/>
              <a:gd name="T45" fmla="*/ 78828611 h 326"/>
              <a:gd name="T46" fmla="*/ 45260072 w 266"/>
              <a:gd name="T47" fmla="*/ 80488415 h 326"/>
              <a:gd name="T48" fmla="*/ 42585362 w 266"/>
              <a:gd name="T49" fmla="*/ 82424327 h 326"/>
              <a:gd name="T50" fmla="*/ 40733885 w 266"/>
              <a:gd name="T51" fmla="*/ 86296676 h 326"/>
              <a:gd name="T52" fmla="*/ 38882407 w 266"/>
              <a:gd name="T53" fmla="*/ 90169025 h 326"/>
              <a:gd name="T54" fmla="*/ 34973530 w 266"/>
              <a:gd name="T55" fmla="*/ 88785855 h 326"/>
              <a:gd name="T56" fmla="*/ 34356220 w 266"/>
              <a:gd name="T57" fmla="*/ 87403212 h 326"/>
              <a:gd name="T58" fmla="*/ 31681964 w 266"/>
              <a:gd name="T59" fmla="*/ 85743408 h 326"/>
              <a:gd name="T60" fmla="*/ 28595858 w 266"/>
              <a:gd name="T61" fmla="*/ 83254228 h 326"/>
              <a:gd name="T62" fmla="*/ 25921602 w 266"/>
              <a:gd name="T63" fmla="*/ 81594425 h 326"/>
              <a:gd name="T64" fmla="*/ 20161248 w 266"/>
              <a:gd name="T65" fmla="*/ 80211781 h 326"/>
              <a:gd name="T66" fmla="*/ 12960801 w 266"/>
              <a:gd name="T67" fmla="*/ 76616066 h 326"/>
              <a:gd name="T68" fmla="*/ 11109323 w 266"/>
              <a:gd name="T69" fmla="*/ 74126886 h 326"/>
              <a:gd name="T70" fmla="*/ 11314791 w 266"/>
              <a:gd name="T71" fmla="*/ 70807805 h 326"/>
              <a:gd name="T72" fmla="*/ 14400890 w 266"/>
              <a:gd name="T73" fmla="*/ 67488707 h 326"/>
              <a:gd name="T74" fmla="*/ 12138023 w 266"/>
              <a:gd name="T75" fmla="*/ 61126652 h 326"/>
              <a:gd name="T76" fmla="*/ 6994524 w 266"/>
              <a:gd name="T77" fmla="*/ 53659113 h 326"/>
              <a:gd name="T78" fmla="*/ 2674257 w 266"/>
              <a:gd name="T79" fmla="*/ 50339506 h 326"/>
              <a:gd name="T80" fmla="*/ 822778 w 266"/>
              <a:gd name="T81" fmla="*/ 47297058 h 326"/>
              <a:gd name="T82" fmla="*/ 3908879 w 266"/>
              <a:gd name="T83" fmla="*/ 42042065 h 326"/>
              <a:gd name="T84" fmla="*/ 11109323 w 266"/>
              <a:gd name="T85" fmla="*/ 34297358 h 326"/>
              <a:gd name="T86" fmla="*/ 15018204 w 266"/>
              <a:gd name="T87" fmla="*/ 29042365 h 326"/>
              <a:gd name="T88" fmla="*/ 18103849 w 266"/>
              <a:gd name="T89" fmla="*/ 25446650 h 326"/>
              <a:gd name="T90" fmla="*/ 22630036 w 266"/>
              <a:gd name="T91" fmla="*/ 24340114 h 326"/>
              <a:gd name="T92" fmla="*/ 29624558 w 266"/>
              <a:gd name="T93" fmla="*/ 19361229 h 326"/>
              <a:gd name="T94" fmla="*/ 34562141 w 266"/>
              <a:gd name="T95" fmla="*/ 12723062 h 326"/>
              <a:gd name="T96" fmla="*/ 39293796 w 266"/>
              <a:gd name="T97" fmla="*/ 5808263 h 326"/>
              <a:gd name="T98" fmla="*/ 45260072 w 266"/>
              <a:gd name="T99" fmla="*/ 1106536 h 326"/>
              <a:gd name="T100" fmla="*/ 48963027 w 266"/>
              <a:gd name="T101" fmla="*/ 0 h 3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266"/>
              <a:gd name="T154" fmla="*/ 0 h 326"/>
              <a:gd name="T155" fmla="*/ 266 w 266"/>
              <a:gd name="T156" fmla="*/ 326 h 32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266" h="326">
                <a:moveTo>
                  <a:pt x="246" y="0"/>
                </a:moveTo>
                <a:lnTo>
                  <a:pt x="241" y="4"/>
                </a:lnTo>
                <a:lnTo>
                  <a:pt x="240" y="9"/>
                </a:lnTo>
                <a:lnTo>
                  <a:pt x="239" y="16"/>
                </a:lnTo>
                <a:lnTo>
                  <a:pt x="239" y="24"/>
                </a:lnTo>
                <a:lnTo>
                  <a:pt x="240" y="28"/>
                </a:lnTo>
                <a:lnTo>
                  <a:pt x="243" y="33"/>
                </a:lnTo>
                <a:lnTo>
                  <a:pt x="246" y="38"/>
                </a:lnTo>
                <a:lnTo>
                  <a:pt x="249" y="42"/>
                </a:lnTo>
                <a:lnTo>
                  <a:pt x="256" y="50"/>
                </a:lnTo>
                <a:lnTo>
                  <a:pt x="259" y="55"/>
                </a:lnTo>
                <a:lnTo>
                  <a:pt x="245" y="55"/>
                </a:lnTo>
                <a:lnTo>
                  <a:pt x="234" y="54"/>
                </a:lnTo>
                <a:lnTo>
                  <a:pt x="229" y="52"/>
                </a:lnTo>
                <a:lnTo>
                  <a:pt x="225" y="50"/>
                </a:lnTo>
                <a:lnTo>
                  <a:pt x="222" y="47"/>
                </a:lnTo>
                <a:lnTo>
                  <a:pt x="220" y="43"/>
                </a:lnTo>
                <a:lnTo>
                  <a:pt x="210" y="51"/>
                </a:lnTo>
                <a:lnTo>
                  <a:pt x="201" y="58"/>
                </a:lnTo>
                <a:lnTo>
                  <a:pt x="198" y="62"/>
                </a:lnTo>
                <a:lnTo>
                  <a:pt x="195" y="65"/>
                </a:lnTo>
                <a:lnTo>
                  <a:pt x="193" y="69"/>
                </a:lnTo>
                <a:lnTo>
                  <a:pt x="192" y="73"/>
                </a:lnTo>
                <a:lnTo>
                  <a:pt x="193" y="78"/>
                </a:lnTo>
                <a:lnTo>
                  <a:pt x="194" y="82"/>
                </a:lnTo>
                <a:lnTo>
                  <a:pt x="195" y="86"/>
                </a:lnTo>
                <a:lnTo>
                  <a:pt x="198" y="89"/>
                </a:lnTo>
                <a:lnTo>
                  <a:pt x="203" y="97"/>
                </a:lnTo>
                <a:lnTo>
                  <a:pt x="210" y="104"/>
                </a:lnTo>
                <a:lnTo>
                  <a:pt x="215" y="110"/>
                </a:lnTo>
                <a:lnTo>
                  <a:pt x="221" y="116"/>
                </a:lnTo>
                <a:lnTo>
                  <a:pt x="223" y="119"/>
                </a:lnTo>
                <a:lnTo>
                  <a:pt x="224" y="122"/>
                </a:lnTo>
                <a:lnTo>
                  <a:pt x="225" y="125"/>
                </a:lnTo>
                <a:lnTo>
                  <a:pt x="226" y="129"/>
                </a:lnTo>
                <a:lnTo>
                  <a:pt x="225" y="133"/>
                </a:lnTo>
                <a:lnTo>
                  <a:pt x="225" y="137"/>
                </a:lnTo>
                <a:lnTo>
                  <a:pt x="223" y="140"/>
                </a:lnTo>
                <a:lnTo>
                  <a:pt x="222" y="143"/>
                </a:lnTo>
                <a:lnTo>
                  <a:pt x="217" y="148"/>
                </a:lnTo>
                <a:lnTo>
                  <a:pt x="213" y="152"/>
                </a:lnTo>
                <a:lnTo>
                  <a:pt x="207" y="154"/>
                </a:lnTo>
                <a:lnTo>
                  <a:pt x="203" y="156"/>
                </a:lnTo>
                <a:lnTo>
                  <a:pt x="201" y="158"/>
                </a:lnTo>
                <a:lnTo>
                  <a:pt x="200" y="160"/>
                </a:lnTo>
                <a:lnTo>
                  <a:pt x="193" y="161"/>
                </a:lnTo>
                <a:lnTo>
                  <a:pt x="188" y="163"/>
                </a:lnTo>
                <a:lnTo>
                  <a:pt x="181" y="166"/>
                </a:lnTo>
                <a:lnTo>
                  <a:pt x="175" y="170"/>
                </a:lnTo>
                <a:lnTo>
                  <a:pt x="168" y="174"/>
                </a:lnTo>
                <a:lnTo>
                  <a:pt x="164" y="178"/>
                </a:lnTo>
                <a:lnTo>
                  <a:pt x="160" y="181"/>
                </a:lnTo>
                <a:lnTo>
                  <a:pt x="159" y="184"/>
                </a:lnTo>
                <a:lnTo>
                  <a:pt x="160" y="191"/>
                </a:lnTo>
                <a:lnTo>
                  <a:pt x="164" y="197"/>
                </a:lnTo>
                <a:lnTo>
                  <a:pt x="168" y="203"/>
                </a:lnTo>
                <a:lnTo>
                  <a:pt x="173" y="207"/>
                </a:lnTo>
                <a:lnTo>
                  <a:pt x="179" y="211"/>
                </a:lnTo>
                <a:lnTo>
                  <a:pt x="184" y="213"/>
                </a:lnTo>
                <a:lnTo>
                  <a:pt x="189" y="215"/>
                </a:lnTo>
                <a:lnTo>
                  <a:pt x="192" y="215"/>
                </a:lnTo>
                <a:lnTo>
                  <a:pt x="204" y="221"/>
                </a:lnTo>
                <a:lnTo>
                  <a:pt x="214" y="227"/>
                </a:lnTo>
                <a:lnTo>
                  <a:pt x="223" y="234"/>
                </a:lnTo>
                <a:lnTo>
                  <a:pt x="231" y="241"/>
                </a:lnTo>
                <a:lnTo>
                  <a:pt x="245" y="259"/>
                </a:lnTo>
                <a:lnTo>
                  <a:pt x="259" y="277"/>
                </a:lnTo>
                <a:lnTo>
                  <a:pt x="266" y="283"/>
                </a:lnTo>
                <a:lnTo>
                  <a:pt x="251" y="285"/>
                </a:lnTo>
                <a:lnTo>
                  <a:pt x="239" y="286"/>
                </a:lnTo>
                <a:lnTo>
                  <a:pt x="228" y="288"/>
                </a:lnTo>
                <a:lnTo>
                  <a:pt x="220" y="291"/>
                </a:lnTo>
                <a:lnTo>
                  <a:pt x="215" y="293"/>
                </a:lnTo>
                <a:lnTo>
                  <a:pt x="211" y="295"/>
                </a:lnTo>
                <a:lnTo>
                  <a:pt x="207" y="298"/>
                </a:lnTo>
                <a:lnTo>
                  <a:pt x="204" y="302"/>
                </a:lnTo>
                <a:lnTo>
                  <a:pt x="201" y="306"/>
                </a:lnTo>
                <a:lnTo>
                  <a:pt x="198" y="312"/>
                </a:lnTo>
                <a:lnTo>
                  <a:pt x="195" y="319"/>
                </a:lnTo>
                <a:lnTo>
                  <a:pt x="192" y="326"/>
                </a:lnTo>
                <a:lnTo>
                  <a:pt x="189" y="326"/>
                </a:lnTo>
                <a:lnTo>
                  <a:pt x="179" y="325"/>
                </a:lnTo>
                <a:lnTo>
                  <a:pt x="175" y="323"/>
                </a:lnTo>
                <a:lnTo>
                  <a:pt x="170" y="321"/>
                </a:lnTo>
                <a:lnTo>
                  <a:pt x="168" y="320"/>
                </a:lnTo>
                <a:lnTo>
                  <a:pt x="167" y="318"/>
                </a:lnTo>
                <a:lnTo>
                  <a:pt x="167" y="316"/>
                </a:lnTo>
                <a:lnTo>
                  <a:pt x="166" y="314"/>
                </a:lnTo>
                <a:lnTo>
                  <a:pt x="159" y="314"/>
                </a:lnTo>
                <a:lnTo>
                  <a:pt x="154" y="310"/>
                </a:lnTo>
                <a:lnTo>
                  <a:pt x="148" y="308"/>
                </a:lnTo>
                <a:lnTo>
                  <a:pt x="144" y="304"/>
                </a:lnTo>
                <a:lnTo>
                  <a:pt x="139" y="301"/>
                </a:lnTo>
                <a:lnTo>
                  <a:pt x="135" y="298"/>
                </a:lnTo>
                <a:lnTo>
                  <a:pt x="131" y="296"/>
                </a:lnTo>
                <a:lnTo>
                  <a:pt x="126" y="295"/>
                </a:lnTo>
                <a:lnTo>
                  <a:pt x="120" y="295"/>
                </a:lnTo>
                <a:lnTo>
                  <a:pt x="109" y="293"/>
                </a:lnTo>
                <a:lnTo>
                  <a:pt x="98" y="290"/>
                </a:lnTo>
                <a:lnTo>
                  <a:pt x="84" y="287"/>
                </a:lnTo>
                <a:lnTo>
                  <a:pt x="72" y="282"/>
                </a:lnTo>
                <a:lnTo>
                  <a:pt x="63" y="277"/>
                </a:lnTo>
                <a:lnTo>
                  <a:pt x="58" y="274"/>
                </a:lnTo>
                <a:lnTo>
                  <a:pt x="56" y="271"/>
                </a:lnTo>
                <a:lnTo>
                  <a:pt x="54" y="268"/>
                </a:lnTo>
                <a:lnTo>
                  <a:pt x="53" y="265"/>
                </a:lnTo>
                <a:lnTo>
                  <a:pt x="54" y="261"/>
                </a:lnTo>
                <a:lnTo>
                  <a:pt x="55" y="256"/>
                </a:lnTo>
                <a:lnTo>
                  <a:pt x="58" y="252"/>
                </a:lnTo>
                <a:lnTo>
                  <a:pt x="61" y="249"/>
                </a:lnTo>
                <a:lnTo>
                  <a:pt x="70" y="244"/>
                </a:lnTo>
                <a:lnTo>
                  <a:pt x="80" y="240"/>
                </a:lnTo>
                <a:lnTo>
                  <a:pt x="68" y="230"/>
                </a:lnTo>
                <a:lnTo>
                  <a:pt x="59" y="221"/>
                </a:lnTo>
                <a:lnTo>
                  <a:pt x="50" y="211"/>
                </a:lnTo>
                <a:lnTo>
                  <a:pt x="43" y="203"/>
                </a:lnTo>
                <a:lnTo>
                  <a:pt x="34" y="194"/>
                </a:lnTo>
                <a:lnTo>
                  <a:pt x="24" y="187"/>
                </a:lnTo>
                <a:lnTo>
                  <a:pt x="20" y="184"/>
                </a:lnTo>
                <a:lnTo>
                  <a:pt x="13" y="182"/>
                </a:lnTo>
                <a:lnTo>
                  <a:pt x="7" y="180"/>
                </a:lnTo>
                <a:lnTo>
                  <a:pt x="0" y="178"/>
                </a:lnTo>
                <a:lnTo>
                  <a:pt x="4" y="171"/>
                </a:lnTo>
                <a:lnTo>
                  <a:pt x="9" y="164"/>
                </a:lnTo>
                <a:lnTo>
                  <a:pt x="13" y="158"/>
                </a:lnTo>
                <a:lnTo>
                  <a:pt x="19" y="152"/>
                </a:lnTo>
                <a:lnTo>
                  <a:pt x="31" y="141"/>
                </a:lnTo>
                <a:lnTo>
                  <a:pt x="43" y="133"/>
                </a:lnTo>
                <a:lnTo>
                  <a:pt x="54" y="124"/>
                </a:lnTo>
                <a:lnTo>
                  <a:pt x="65" y="115"/>
                </a:lnTo>
                <a:lnTo>
                  <a:pt x="69" y="110"/>
                </a:lnTo>
                <a:lnTo>
                  <a:pt x="73" y="105"/>
                </a:lnTo>
                <a:lnTo>
                  <a:pt x="77" y="99"/>
                </a:lnTo>
                <a:lnTo>
                  <a:pt x="80" y="92"/>
                </a:lnTo>
                <a:lnTo>
                  <a:pt x="88" y="92"/>
                </a:lnTo>
                <a:lnTo>
                  <a:pt x="95" y="90"/>
                </a:lnTo>
                <a:lnTo>
                  <a:pt x="103" y="89"/>
                </a:lnTo>
                <a:lnTo>
                  <a:pt x="110" y="88"/>
                </a:lnTo>
                <a:lnTo>
                  <a:pt x="123" y="83"/>
                </a:lnTo>
                <a:lnTo>
                  <a:pt x="134" y="77"/>
                </a:lnTo>
                <a:lnTo>
                  <a:pt x="144" y="70"/>
                </a:lnTo>
                <a:lnTo>
                  <a:pt x="153" y="63"/>
                </a:lnTo>
                <a:lnTo>
                  <a:pt x="160" y="55"/>
                </a:lnTo>
                <a:lnTo>
                  <a:pt x="168" y="46"/>
                </a:lnTo>
                <a:lnTo>
                  <a:pt x="176" y="38"/>
                </a:lnTo>
                <a:lnTo>
                  <a:pt x="182" y="28"/>
                </a:lnTo>
                <a:lnTo>
                  <a:pt x="191" y="21"/>
                </a:lnTo>
                <a:lnTo>
                  <a:pt x="199" y="14"/>
                </a:lnTo>
                <a:lnTo>
                  <a:pt x="209" y="8"/>
                </a:lnTo>
                <a:lnTo>
                  <a:pt x="220" y="4"/>
                </a:lnTo>
                <a:lnTo>
                  <a:pt x="225" y="2"/>
                </a:lnTo>
                <a:lnTo>
                  <a:pt x="232" y="1"/>
                </a:lnTo>
                <a:lnTo>
                  <a:pt x="238" y="0"/>
                </a:lnTo>
                <a:lnTo>
                  <a:pt x="246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75" name="Freeform 273"/>
          <p:cNvSpPr>
            <a:spLocks/>
          </p:cNvSpPr>
          <p:nvPr userDrawn="1">
            <p:custDataLst>
              <p:tags r:id="rId199"/>
            </p:custDataLst>
          </p:nvPr>
        </p:nvSpPr>
        <p:spPr bwMode="auto">
          <a:xfrm>
            <a:off x="6022984" y="2216956"/>
            <a:ext cx="206375" cy="92869"/>
          </a:xfrm>
          <a:custGeom>
            <a:avLst/>
            <a:gdLst>
              <a:gd name="T0" fmla="*/ 16510879 w 471"/>
              <a:gd name="T1" fmla="*/ 0 h 237"/>
              <a:gd name="T2" fmla="*/ 17662810 w 471"/>
              <a:gd name="T3" fmla="*/ 1910667 h 237"/>
              <a:gd name="T4" fmla="*/ 19582842 w 471"/>
              <a:gd name="T5" fmla="*/ 3548605 h 237"/>
              <a:gd name="T6" fmla="*/ 23998215 w 471"/>
              <a:gd name="T7" fmla="*/ 6278503 h 237"/>
              <a:gd name="T8" fmla="*/ 30525979 w 471"/>
              <a:gd name="T9" fmla="*/ 10099837 h 237"/>
              <a:gd name="T10" fmla="*/ 42812956 w 471"/>
              <a:gd name="T11" fmla="*/ 21018905 h 237"/>
              <a:gd name="T12" fmla="*/ 48572614 w 471"/>
              <a:gd name="T13" fmla="*/ 26478175 h 237"/>
              <a:gd name="T14" fmla="*/ 54332271 w 471"/>
              <a:gd name="T15" fmla="*/ 30846009 h 237"/>
              <a:gd name="T16" fmla="*/ 60668127 w 471"/>
              <a:gd name="T17" fmla="*/ 34667350 h 237"/>
              <a:gd name="T18" fmla="*/ 68155463 w 471"/>
              <a:gd name="T19" fmla="*/ 37943226 h 237"/>
              <a:gd name="T20" fmla="*/ 76602815 w 471"/>
              <a:gd name="T21" fmla="*/ 39853892 h 237"/>
              <a:gd name="T22" fmla="*/ 86586367 w 471"/>
              <a:gd name="T23" fmla="*/ 40399871 h 237"/>
              <a:gd name="T24" fmla="*/ 86778282 w 471"/>
              <a:gd name="T25" fmla="*/ 51046206 h 237"/>
              <a:gd name="T26" fmla="*/ 88122130 w 471"/>
              <a:gd name="T27" fmla="*/ 57597435 h 237"/>
              <a:gd name="T28" fmla="*/ 89657892 w 471"/>
              <a:gd name="T29" fmla="*/ 61964747 h 237"/>
              <a:gd name="T30" fmla="*/ 89657892 w 471"/>
              <a:gd name="T31" fmla="*/ 64421915 h 237"/>
              <a:gd name="T32" fmla="*/ 86586367 w 471"/>
              <a:gd name="T33" fmla="*/ 64421915 h 237"/>
              <a:gd name="T34" fmla="*/ 79866694 w 471"/>
              <a:gd name="T35" fmla="*/ 63056706 h 237"/>
              <a:gd name="T36" fmla="*/ 69499310 w 471"/>
              <a:gd name="T37" fmla="*/ 59781353 h 237"/>
              <a:gd name="T38" fmla="*/ 60476212 w 471"/>
              <a:gd name="T39" fmla="*/ 56505477 h 237"/>
              <a:gd name="T40" fmla="*/ 56444219 w 471"/>
              <a:gd name="T41" fmla="*/ 55413518 h 237"/>
              <a:gd name="T42" fmla="*/ 55100372 w 471"/>
              <a:gd name="T43" fmla="*/ 54321560 h 237"/>
              <a:gd name="T44" fmla="*/ 53180340 w 471"/>
              <a:gd name="T45" fmla="*/ 51864914 h 237"/>
              <a:gd name="T46" fmla="*/ 51260746 w 471"/>
              <a:gd name="T47" fmla="*/ 48589038 h 237"/>
              <a:gd name="T48" fmla="*/ 48956883 w 471"/>
              <a:gd name="T49" fmla="*/ 45313685 h 237"/>
              <a:gd name="T50" fmla="*/ 46076835 w 471"/>
              <a:gd name="T51" fmla="*/ 43402496 h 237"/>
              <a:gd name="T52" fmla="*/ 43581057 w 471"/>
              <a:gd name="T53" fmla="*/ 43402496 h 237"/>
              <a:gd name="T54" fmla="*/ 39357600 w 471"/>
              <a:gd name="T55" fmla="*/ 44494455 h 237"/>
              <a:gd name="T56" fmla="*/ 35133705 w 471"/>
              <a:gd name="T57" fmla="*/ 45586413 h 237"/>
              <a:gd name="T58" fmla="*/ 32446011 w 471"/>
              <a:gd name="T59" fmla="*/ 45859664 h 237"/>
              <a:gd name="T60" fmla="*/ 30334064 w 471"/>
              <a:gd name="T61" fmla="*/ 44767706 h 237"/>
              <a:gd name="T62" fmla="*/ 28414025 w 471"/>
              <a:gd name="T63" fmla="*/ 42311060 h 237"/>
              <a:gd name="T64" fmla="*/ 26686347 w 471"/>
              <a:gd name="T65" fmla="*/ 40399871 h 237"/>
              <a:gd name="T66" fmla="*/ 23422468 w 471"/>
              <a:gd name="T67" fmla="*/ 39581164 h 237"/>
              <a:gd name="T68" fmla="*/ 17662810 w 471"/>
              <a:gd name="T69" fmla="*/ 36851267 h 237"/>
              <a:gd name="T70" fmla="*/ 9215455 w 471"/>
              <a:gd name="T71" fmla="*/ 31937968 h 237"/>
              <a:gd name="T72" fmla="*/ 2303864 w 471"/>
              <a:gd name="T73" fmla="*/ 26205447 h 237"/>
              <a:gd name="T74" fmla="*/ 1343847 w 471"/>
              <a:gd name="T75" fmla="*/ 0 h 23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471"/>
              <a:gd name="T115" fmla="*/ 0 h 237"/>
              <a:gd name="T116" fmla="*/ 471 w 471"/>
              <a:gd name="T117" fmla="*/ 237 h 237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471" h="237">
                <a:moveTo>
                  <a:pt x="7" y="0"/>
                </a:moveTo>
                <a:lnTo>
                  <a:pt x="86" y="0"/>
                </a:lnTo>
                <a:lnTo>
                  <a:pt x="89" y="4"/>
                </a:lnTo>
                <a:lnTo>
                  <a:pt x="92" y="7"/>
                </a:lnTo>
                <a:lnTo>
                  <a:pt x="97" y="10"/>
                </a:lnTo>
                <a:lnTo>
                  <a:pt x="102" y="13"/>
                </a:lnTo>
                <a:lnTo>
                  <a:pt x="113" y="18"/>
                </a:lnTo>
                <a:lnTo>
                  <a:pt x="125" y="23"/>
                </a:lnTo>
                <a:lnTo>
                  <a:pt x="147" y="32"/>
                </a:lnTo>
                <a:lnTo>
                  <a:pt x="159" y="37"/>
                </a:lnTo>
                <a:lnTo>
                  <a:pt x="192" y="58"/>
                </a:lnTo>
                <a:lnTo>
                  <a:pt x="223" y="77"/>
                </a:lnTo>
                <a:lnTo>
                  <a:pt x="237" y="88"/>
                </a:lnTo>
                <a:lnTo>
                  <a:pt x="253" y="97"/>
                </a:lnTo>
                <a:lnTo>
                  <a:pt x="267" y="105"/>
                </a:lnTo>
                <a:lnTo>
                  <a:pt x="283" y="113"/>
                </a:lnTo>
                <a:lnTo>
                  <a:pt x="299" y="121"/>
                </a:lnTo>
                <a:lnTo>
                  <a:pt x="316" y="127"/>
                </a:lnTo>
                <a:lnTo>
                  <a:pt x="335" y="133"/>
                </a:lnTo>
                <a:lnTo>
                  <a:pt x="355" y="139"/>
                </a:lnTo>
                <a:lnTo>
                  <a:pt x="376" y="143"/>
                </a:lnTo>
                <a:lnTo>
                  <a:pt x="399" y="146"/>
                </a:lnTo>
                <a:lnTo>
                  <a:pt x="424" y="148"/>
                </a:lnTo>
                <a:lnTo>
                  <a:pt x="451" y="148"/>
                </a:lnTo>
                <a:lnTo>
                  <a:pt x="451" y="179"/>
                </a:lnTo>
                <a:lnTo>
                  <a:pt x="452" y="187"/>
                </a:lnTo>
                <a:lnTo>
                  <a:pt x="457" y="202"/>
                </a:lnTo>
                <a:lnTo>
                  <a:pt x="459" y="211"/>
                </a:lnTo>
                <a:lnTo>
                  <a:pt x="462" y="219"/>
                </a:lnTo>
                <a:lnTo>
                  <a:pt x="467" y="227"/>
                </a:lnTo>
                <a:lnTo>
                  <a:pt x="471" y="234"/>
                </a:lnTo>
                <a:lnTo>
                  <a:pt x="467" y="236"/>
                </a:lnTo>
                <a:lnTo>
                  <a:pt x="459" y="237"/>
                </a:lnTo>
                <a:lnTo>
                  <a:pt x="451" y="236"/>
                </a:lnTo>
                <a:lnTo>
                  <a:pt x="440" y="235"/>
                </a:lnTo>
                <a:lnTo>
                  <a:pt x="416" y="231"/>
                </a:lnTo>
                <a:lnTo>
                  <a:pt x="390" y="226"/>
                </a:lnTo>
                <a:lnTo>
                  <a:pt x="362" y="219"/>
                </a:lnTo>
                <a:lnTo>
                  <a:pt x="337" y="213"/>
                </a:lnTo>
                <a:lnTo>
                  <a:pt x="315" y="207"/>
                </a:lnTo>
                <a:lnTo>
                  <a:pt x="299" y="204"/>
                </a:lnTo>
                <a:lnTo>
                  <a:pt x="294" y="203"/>
                </a:lnTo>
                <a:lnTo>
                  <a:pt x="290" y="201"/>
                </a:lnTo>
                <a:lnTo>
                  <a:pt x="287" y="199"/>
                </a:lnTo>
                <a:lnTo>
                  <a:pt x="283" y="196"/>
                </a:lnTo>
                <a:lnTo>
                  <a:pt x="277" y="190"/>
                </a:lnTo>
                <a:lnTo>
                  <a:pt x="272" y="184"/>
                </a:lnTo>
                <a:lnTo>
                  <a:pt x="267" y="178"/>
                </a:lnTo>
                <a:lnTo>
                  <a:pt x="261" y="171"/>
                </a:lnTo>
                <a:lnTo>
                  <a:pt x="255" y="166"/>
                </a:lnTo>
                <a:lnTo>
                  <a:pt x="246" y="160"/>
                </a:lnTo>
                <a:lnTo>
                  <a:pt x="240" y="159"/>
                </a:lnTo>
                <a:lnTo>
                  <a:pt x="234" y="158"/>
                </a:lnTo>
                <a:lnTo>
                  <a:pt x="227" y="159"/>
                </a:lnTo>
                <a:lnTo>
                  <a:pt x="221" y="159"/>
                </a:lnTo>
                <a:lnTo>
                  <a:pt x="205" y="163"/>
                </a:lnTo>
                <a:lnTo>
                  <a:pt x="191" y="166"/>
                </a:lnTo>
                <a:lnTo>
                  <a:pt x="183" y="167"/>
                </a:lnTo>
                <a:lnTo>
                  <a:pt x="176" y="168"/>
                </a:lnTo>
                <a:lnTo>
                  <a:pt x="169" y="168"/>
                </a:lnTo>
                <a:lnTo>
                  <a:pt x="164" y="166"/>
                </a:lnTo>
                <a:lnTo>
                  <a:pt x="158" y="164"/>
                </a:lnTo>
                <a:lnTo>
                  <a:pt x="153" y="161"/>
                </a:lnTo>
                <a:lnTo>
                  <a:pt x="148" y="155"/>
                </a:lnTo>
                <a:lnTo>
                  <a:pt x="146" y="148"/>
                </a:lnTo>
                <a:lnTo>
                  <a:pt x="139" y="148"/>
                </a:lnTo>
                <a:lnTo>
                  <a:pt x="131" y="147"/>
                </a:lnTo>
                <a:lnTo>
                  <a:pt x="122" y="145"/>
                </a:lnTo>
                <a:lnTo>
                  <a:pt x="113" y="142"/>
                </a:lnTo>
                <a:lnTo>
                  <a:pt x="92" y="135"/>
                </a:lnTo>
                <a:lnTo>
                  <a:pt x="70" y="126"/>
                </a:lnTo>
                <a:lnTo>
                  <a:pt x="48" y="117"/>
                </a:lnTo>
                <a:lnTo>
                  <a:pt x="29" y="107"/>
                </a:lnTo>
                <a:lnTo>
                  <a:pt x="12" y="96"/>
                </a:lnTo>
                <a:lnTo>
                  <a:pt x="0" y="87"/>
                </a:lnTo>
                <a:lnTo>
                  <a:pt x="7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76" name="Freeform 274"/>
          <p:cNvSpPr>
            <a:spLocks/>
          </p:cNvSpPr>
          <p:nvPr userDrawn="1">
            <p:custDataLst>
              <p:tags r:id="rId200"/>
            </p:custDataLst>
          </p:nvPr>
        </p:nvSpPr>
        <p:spPr bwMode="auto">
          <a:xfrm>
            <a:off x="6238884" y="2258629"/>
            <a:ext cx="73025" cy="48815"/>
          </a:xfrm>
          <a:custGeom>
            <a:avLst/>
            <a:gdLst>
              <a:gd name="T0" fmla="*/ 31932042 w 167"/>
              <a:gd name="T1" fmla="*/ 12040567 h 123"/>
              <a:gd name="T2" fmla="*/ 31358336 w 167"/>
              <a:gd name="T3" fmla="*/ 15120822 h 123"/>
              <a:gd name="T4" fmla="*/ 30784631 w 167"/>
              <a:gd name="T5" fmla="*/ 18481008 h 123"/>
              <a:gd name="T6" fmla="*/ 29637658 w 167"/>
              <a:gd name="T7" fmla="*/ 22121116 h 123"/>
              <a:gd name="T8" fmla="*/ 28681337 w 167"/>
              <a:gd name="T9" fmla="*/ 26041152 h 123"/>
              <a:gd name="T10" fmla="*/ 27916536 w 167"/>
              <a:gd name="T11" fmla="*/ 27721243 h 123"/>
              <a:gd name="T12" fmla="*/ 27151741 w 167"/>
              <a:gd name="T13" fmla="*/ 29401333 h 123"/>
              <a:gd name="T14" fmla="*/ 26386947 w 167"/>
              <a:gd name="T15" fmla="*/ 30801497 h 123"/>
              <a:gd name="T16" fmla="*/ 25239537 w 167"/>
              <a:gd name="T17" fmla="*/ 31921734 h 123"/>
              <a:gd name="T18" fmla="*/ 24283653 w 167"/>
              <a:gd name="T19" fmla="*/ 33041442 h 123"/>
              <a:gd name="T20" fmla="*/ 23136242 w 167"/>
              <a:gd name="T21" fmla="*/ 33881752 h 123"/>
              <a:gd name="T22" fmla="*/ 21989269 w 167"/>
              <a:gd name="T23" fmla="*/ 34161679 h 123"/>
              <a:gd name="T24" fmla="*/ 20459243 w 167"/>
              <a:gd name="T25" fmla="*/ 34441606 h 123"/>
              <a:gd name="T26" fmla="*/ 19121181 w 167"/>
              <a:gd name="T27" fmla="*/ 34161679 h 123"/>
              <a:gd name="T28" fmla="*/ 17591154 w 167"/>
              <a:gd name="T29" fmla="*/ 33321369 h 123"/>
              <a:gd name="T30" fmla="*/ 16635271 w 167"/>
              <a:gd name="T31" fmla="*/ 32481588 h 123"/>
              <a:gd name="T32" fmla="*/ 16061565 w 167"/>
              <a:gd name="T33" fmla="*/ 31641278 h 123"/>
              <a:gd name="T34" fmla="*/ 15679387 w 167"/>
              <a:gd name="T35" fmla="*/ 30521570 h 123"/>
              <a:gd name="T36" fmla="*/ 15487860 w 167"/>
              <a:gd name="T37" fmla="*/ 29401333 h 123"/>
              <a:gd name="T38" fmla="*/ 13576089 w 167"/>
              <a:gd name="T39" fmla="*/ 29121406 h 123"/>
              <a:gd name="T40" fmla="*/ 11663884 w 167"/>
              <a:gd name="T41" fmla="*/ 28841480 h 123"/>
              <a:gd name="T42" fmla="*/ 9751680 w 167"/>
              <a:gd name="T43" fmla="*/ 28281096 h 123"/>
              <a:gd name="T44" fmla="*/ 7839475 w 167"/>
              <a:gd name="T45" fmla="*/ 27441316 h 123"/>
              <a:gd name="T46" fmla="*/ 4015501 w 167"/>
              <a:gd name="T47" fmla="*/ 25761225 h 123"/>
              <a:gd name="T48" fmla="*/ 0 w 167"/>
              <a:gd name="T49" fmla="*/ 24081134 h 123"/>
              <a:gd name="T50" fmla="*/ 382616 w 167"/>
              <a:gd name="T51" fmla="*/ 21561262 h 123"/>
              <a:gd name="T52" fmla="*/ 955884 w 167"/>
              <a:gd name="T53" fmla="*/ 18760934 h 123"/>
              <a:gd name="T54" fmla="*/ 1720679 w 167"/>
              <a:gd name="T55" fmla="*/ 15680676 h 123"/>
              <a:gd name="T56" fmla="*/ 2868089 w 167"/>
              <a:gd name="T57" fmla="*/ 12040567 h 123"/>
              <a:gd name="T58" fmla="*/ 3824411 w 167"/>
              <a:gd name="T59" fmla="*/ 12040567 h 123"/>
              <a:gd name="T60" fmla="*/ 4971384 w 167"/>
              <a:gd name="T61" fmla="*/ 11760640 h 123"/>
              <a:gd name="T62" fmla="*/ 5736179 w 167"/>
              <a:gd name="T63" fmla="*/ 11480713 h 123"/>
              <a:gd name="T64" fmla="*/ 6309884 w 167"/>
              <a:gd name="T65" fmla="*/ 10640403 h 123"/>
              <a:gd name="T66" fmla="*/ 7648386 w 167"/>
              <a:gd name="T67" fmla="*/ 9240239 h 123"/>
              <a:gd name="T68" fmla="*/ 8604269 w 167"/>
              <a:gd name="T69" fmla="*/ 7280219 h 123"/>
              <a:gd name="T70" fmla="*/ 9942769 w 167"/>
              <a:gd name="T71" fmla="*/ 3360183 h 123"/>
              <a:gd name="T72" fmla="*/ 11663884 w 167"/>
              <a:gd name="T73" fmla="*/ 0 h 123"/>
              <a:gd name="T74" fmla="*/ 12237590 w 167"/>
              <a:gd name="T75" fmla="*/ 1120237 h 123"/>
              <a:gd name="T76" fmla="*/ 12810858 w 167"/>
              <a:gd name="T77" fmla="*/ 1960018 h 123"/>
              <a:gd name="T78" fmla="*/ 13958268 w 167"/>
              <a:gd name="T79" fmla="*/ 3080256 h 123"/>
              <a:gd name="T80" fmla="*/ 14914155 w 167"/>
              <a:gd name="T81" fmla="*/ 3920037 h 123"/>
              <a:gd name="T82" fmla="*/ 17591154 w 167"/>
              <a:gd name="T83" fmla="*/ 5880055 h 123"/>
              <a:gd name="T84" fmla="*/ 20459243 w 167"/>
              <a:gd name="T85" fmla="*/ 7840602 h 123"/>
              <a:gd name="T86" fmla="*/ 23327769 w 167"/>
              <a:gd name="T87" fmla="*/ 9800622 h 123"/>
              <a:gd name="T88" fmla="*/ 26578036 w 167"/>
              <a:gd name="T89" fmla="*/ 10920330 h 123"/>
              <a:gd name="T90" fmla="*/ 29255042 w 167"/>
              <a:gd name="T91" fmla="*/ 11760640 h 123"/>
              <a:gd name="T92" fmla="*/ 31932042 w 167"/>
              <a:gd name="T93" fmla="*/ 12040567 h 123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167"/>
              <a:gd name="T142" fmla="*/ 0 h 123"/>
              <a:gd name="T143" fmla="*/ 167 w 167"/>
              <a:gd name="T144" fmla="*/ 123 h 123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167" h="123">
                <a:moveTo>
                  <a:pt x="167" y="43"/>
                </a:moveTo>
                <a:lnTo>
                  <a:pt x="164" y="54"/>
                </a:lnTo>
                <a:lnTo>
                  <a:pt x="161" y="66"/>
                </a:lnTo>
                <a:lnTo>
                  <a:pt x="155" y="79"/>
                </a:lnTo>
                <a:lnTo>
                  <a:pt x="150" y="93"/>
                </a:lnTo>
                <a:lnTo>
                  <a:pt x="146" y="99"/>
                </a:lnTo>
                <a:lnTo>
                  <a:pt x="142" y="105"/>
                </a:lnTo>
                <a:lnTo>
                  <a:pt x="138" y="110"/>
                </a:lnTo>
                <a:lnTo>
                  <a:pt x="132" y="114"/>
                </a:lnTo>
                <a:lnTo>
                  <a:pt x="127" y="118"/>
                </a:lnTo>
                <a:lnTo>
                  <a:pt x="121" y="121"/>
                </a:lnTo>
                <a:lnTo>
                  <a:pt x="115" y="122"/>
                </a:lnTo>
                <a:lnTo>
                  <a:pt x="107" y="123"/>
                </a:lnTo>
                <a:lnTo>
                  <a:pt x="100" y="122"/>
                </a:lnTo>
                <a:lnTo>
                  <a:pt x="92" y="119"/>
                </a:lnTo>
                <a:lnTo>
                  <a:pt x="87" y="116"/>
                </a:lnTo>
                <a:lnTo>
                  <a:pt x="84" y="113"/>
                </a:lnTo>
                <a:lnTo>
                  <a:pt x="82" y="109"/>
                </a:lnTo>
                <a:lnTo>
                  <a:pt x="81" y="105"/>
                </a:lnTo>
                <a:lnTo>
                  <a:pt x="71" y="104"/>
                </a:lnTo>
                <a:lnTo>
                  <a:pt x="61" y="103"/>
                </a:lnTo>
                <a:lnTo>
                  <a:pt x="51" y="101"/>
                </a:lnTo>
                <a:lnTo>
                  <a:pt x="41" y="98"/>
                </a:lnTo>
                <a:lnTo>
                  <a:pt x="21" y="92"/>
                </a:lnTo>
                <a:lnTo>
                  <a:pt x="0" y="86"/>
                </a:lnTo>
                <a:lnTo>
                  <a:pt x="2" y="77"/>
                </a:lnTo>
                <a:lnTo>
                  <a:pt x="5" y="67"/>
                </a:lnTo>
                <a:lnTo>
                  <a:pt x="9" y="56"/>
                </a:lnTo>
                <a:lnTo>
                  <a:pt x="15" y="43"/>
                </a:lnTo>
                <a:lnTo>
                  <a:pt x="20" y="43"/>
                </a:lnTo>
                <a:lnTo>
                  <a:pt x="26" y="42"/>
                </a:lnTo>
                <a:lnTo>
                  <a:pt x="30" y="41"/>
                </a:lnTo>
                <a:lnTo>
                  <a:pt x="33" y="38"/>
                </a:lnTo>
                <a:lnTo>
                  <a:pt x="40" y="33"/>
                </a:lnTo>
                <a:lnTo>
                  <a:pt x="45" y="26"/>
                </a:lnTo>
                <a:lnTo>
                  <a:pt x="52" y="12"/>
                </a:lnTo>
                <a:lnTo>
                  <a:pt x="61" y="0"/>
                </a:lnTo>
                <a:lnTo>
                  <a:pt x="64" y="4"/>
                </a:lnTo>
                <a:lnTo>
                  <a:pt x="67" y="7"/>
                </a:lnTo>
                <a:lnTo>
                  <a:pt x="73" y="11"/>
                </a:lnTo>
                <a:lnTo>
                  <a:pt x="78" y="14"/>
                </a:lnTo>
                <a:lnTo>
                  <a:pt x="92" y="21"/>
                </a:lnTo>
                <a:lnTo>
                  <a:pt x="107" y="28"/>
                </a:lnTo>
                <a:lnTo>
                  <a:pt x="122" y="35"/>
                </a:lnTo>
                <a:lnTo>
                  <a:pt x="139" y="39"/>
                </a:lnTo>
                <a:lnTo>
                  <a:pt x="153" y="42"/>
                </a:lnTo>
                <a:lnTo>
                  <a:pt x="167" y="43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77" name="Freeform 275"/>
          <p:cNvSpPr>
            <a:spLocks/>
          </p:cNvSpPr>
          <p:nvPr userDrawn="1">
            <p:custDataLst>
              <p:tags r:id="rId201"/>
            </p:custDataLst>
          </p:nvPr>
        </p:nvSpPr>
        <p:spPr bwMode="auto">
          <a:xfrm>
            <a:off x="6229350" y="2312194"/>
            <a:ext cx="133350" cy="125016"/>
          </a:xfrm>
          <a:custGeom>
            <a:avLst/>
            <a:gdLst>
              <a:gd name="T0" fmla="*/ 49186098 w 306"/>
              <a:gd name="T1" fmla="*/ 43143632 h 321"/>
              <a:gd name="T2" fmla="*/ 47856956 w 306"/>
              <a:gd name="T3" fmla="*/ 46649271 h 321"/>
              <a:gd name="T4" fmla="*/ 46147811 w 306"/>
              <a:gd name="T5" fmla="*/ 49075853 h 321"/>
              <a:gd name="T6" fmla="*/ 44248664 w 306"/>
              <a:gd name="T7" fmla="*/ 50154910 h 321"/>
              <a:gd name="T8" fmla="*/ 42349516 w 306"/>
              <a:gd name="T9" fmla="*/ 49615382 h 321"/>
              <a:gd name="T10" fmla="*/ 40640371 w 306"/>
              <a:gd name="T11" fmla="*/ 47997314 h 321"/>
              <a:gd name="T12" fmla="*/ 39690797 w 306"/>
              <a:gd name="T13" fmla="*/ 45570733 h 321"/>
              <a:gd name="T14" fmla="*/ 39121227 w 306"/>
              <a:gd name="T15" fmla="*/ 43143632 h 321"/>
              <a:gd name="T16" fmla="*/ 39690797 w 306"/>
              <a:gd name="T17" fmla="*/ 39908016 h 321"/>
              <a:gd name="T18" fmla="*/ 40450369 w 306"/>
              <a:gd name="T19" fmla="*/ 36672401 h 321"/>
              <a:gd name="T20" fmla="*/ 43678658 w 306"/>
              <a:gd name="T21" fmla="*/ 30740172 h 321"/>
              <a:gd name="T22" fmla="*/ 46717381 w 306"/>
              <a:gd name="T23" fmla="*/ 25077455 h 321"/>
              <a:gd name="T24" fmla="*/ 47476953 w 306"/>
              <a:gd name="T25" fmla="*/ 22111345 h 321"/>
              <a:gd name="T26" fmla="*/ 48046522 w 306"/>
              <a:gd name="T27" fmla="*/ 18605705 h 321"/>
              <a:gd name="T28" fmla="*/ 24498048 w 306"/>
              <a:gd name="T29" fmla="*/ 18336200 h 321"/>
              <a:gd name="T30" fmla="*/ 22598901 w 306"/>
              <a:gd name="T31" fmla="*/ 15909095 h 321"/>
              <a:gd name="T32" fmla="*/ 21269759 w 306"/>
              <a:gd name="T33" fmla="*/ 12133951 h 321"/>
              <a:gd name="T34" fmla="*/ 20510187 w 306"/>
              <a:gd name="T35" fmla="*/ 7550290 h 321"/>
              <a:gd name="T36" fmla="*/ 19180610 w 306"/>
              <a:gd name="T37" fmla="*/ 5123190 h 321"/>
              <a:gd name="T38" fmla="*/ 17091897 w 306"/>
              <a:gd name="T39" fmla="*/ 4584180 h 321"/>
              <a:gd name="T40" fmla="*/ 15192749 w 306"/>
              <a:gd name="T41" fmla="*/ 3235616 h 321"/>
              <a:gd name="T42" fmla="*/ 14243172 w 306"/>
              <a:gd name="T43" fmla="*/ 1078539 h 321"/>
              <a:gd name="T44" fmla="*/ 12344025 w 306"/>
              <a:gd name="T45" fmla="*/ 0 h 321"/>
              <a:gd name="T46" fmla="*/ 9305302 w 306"/>
              <a:gd name="T47" fmla="*/ 0 h 321"/>
              <a:gd name="T48" fmla="*/ 6457015 w 306"/>
              <a:gd name="T49" fmla="*/ 269505 h 321"/>
              <a:gd name="T50" fmla="*/ 4177864 w 306"/>
              <a:gd name="T51" fmla="*/ 1348044 h 321"/>
              <a:gd name="T52" fmla="*/ 1899148 w 306"/>
              <a:gd name="T53" fmla="*/ 3775145 h 321"/>
              <a:gd name="T54" fmla="*/ 190002 w 306"/>
              <a:gd name="T55" fmla="*/ 6741257 h 321"/>
              <a:gd name="T56" fmla="*/ 380004 w 306"/>
              <a:gd name="T57" fmla="*/ 9437865 h 321"/>
              <a:gd name="T58" fmla="*/ 2848722 w 306"/>
              <a:gd name="T59" fmla="*/ 12403975 h 321"/>
              <a:gd name="T60" fmla="*/ 6646581 w 306"/>
              <a:gd name="T61" fmla="*/ 15639591 h 321"/>
              <a:gd name="T62" fmla="*/ 10254876 w 306"/>
              <a:gd name="T63" fmla="*/ 18066696 h 321"/>
              <a:gd name="T64" fmla="*/ 8925734 w 306"/>
              <a:gd name="T65" fmla="*/ 21302311 h 321"/>
              <a:gd name="T66" fmla="*/ 4747870 w 306"/>
              <a:gd name="T67" fmla="*/ 26155994 h 321"/>
              <a:gd name="T68" fmla="*/ 3228290 w 306"/>
              <a:gd name="T69" fmla="*/ 28852599 h 321"/>
              <a:gd name="T70" fmla="*/ 2658720 w 306"/>
              <a:gd name="T71" fmla="*/ 30740172 h 321"/>
              <a:gd name="T72" fmla="*/ 2658720 w 306"/>
              <a:gd name="T73" fmla="*/ 32897248 h 321"/>
              <a:gd name="T74" fmla="*/ 3418292 w 306"/>
              <a:gd name="T75" fmla="*/ 34784829 h 321"/>
              <a:gd name="T76" fmla="*/ 5317440 w 306"/>
              <a:gd name="T77" fmla="*/ 38020444 h 321"/>
              <a:gd name="T78" fmla="*/ 8925734 w 306"/>
              <a:gd name="T79" fmla="*/ 42065093 h 321"/>
              <a:gd name="T80" fmla="*/ 12154023 w 306"/>
              <a:gd name="T81" fmla="*/ 44222170 h 321"/>
              <a:gd name="T82" fmla="*/ 14243172 w 306"/>
              <a:gd name="T83" fmla="*/ 44761699 h 321"/>
              <a:gd name="T84" fmla="*/ 20320185 w 306"/>
              <a:gd name="T85" fmla="*/ 73074778 h 321"/>
              <a:gd name="T86" fmla="*/ 20510187 w 306"/>
              <a:gd name="T87" fmla="*/ 70917701 h 321"/>
              <a:gd name="T88" fmla="*/ 21269759 w 306"/>
              <a:gd name="T89" fmla="*/ 69030129 h 321"/>
              <a:gd name="T90" fmla="*/ 24118480 w 306"/>
              <a:gd name="T91" fmla="*/ 66333507 h 321"/>
              <a:gd name="T92" fmla="*/ 28106341 w 306"/>
              <a:gd name="T93" fmla="*/ 64715959 h 321"/>
              <a:gd name="T94" fmla="*/ 33043782 w 306"/>
              <a:gd name="T95" fmla="*/ 63367396 h 321"/>
              <a:gd name="T96" fmla="*/ 33043782 w 306"/>
              <a:gd name="T97" fmla="*/ 56626141 h 321"/>
              <a:gd name="T98" fmla="*/ 34753363 w 306"/>
              <a:gd name="T99" fmla="*/ 57165670 h 321"/>
              <a:gd name="T100" fmla="*/ 36652074 w 306"/>
              <a:gd name="T101" fmla="*/ 57165670 h 321"/>
              <a:gd name="T102" fmla="*/ 40450369 w 306"/>
              <a:gd name="T103" fmla="*/ 56626141 h 321"/>
              <a:gd name="T104" fmla="*/ 44058662 w 306"/>
              <a:gd name="T105" fmla="*/ 70378172 h 321"/>
              <a:gd name="T106" fmla="*/ 49186098 w 306"/>
              <a:gd name="T107" fmla="*/ 86557287 h 321"/>
              <a:gd name="T108" fmla="*/ 51654815 w 306"/>
              <a:gd name="T109" fmla="*/ 83860681 h 321"/>
              <a:gd name="T110" fmla="*/ 53553962 w 306"/>
              <a:gd name="T111" fmla="*/ 81434100 h 321"/>
              <a:gd name="T112" fmla="*/ 56022680 w 306"/>
              <a:gd name="T113" fmla="*/ 75501879 h 321"/>
              <a:gd name="T114" fmla="*/ 58111842 w 306"/>
              <a:gd name="T115" fmla="*/ 63367396 h 321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306"/>
              <a:gd name="T175" fmla="*/ 0 h 321"/>
              <a:gd name="T176" fmla="*/ 306 w 306"/>
              <a:gd name="T177" fmla="*/ 321 h 321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306" h="321">
                <a:moveTo>
                  <a:pt x="306" y="235"/>
                </a:moveTo>
                <a:lnTo>
                  <a:pt x="259" y="160"/>
                </a:lnTo>
                <a:lnTo>
                  <a:pt x="257" y="164"/>
                </a:lnTo>
                <a:lnTo>
                  <a:pt x="252" y="173"/>
                </a:lnTo>
                <a:lnTo>
                  <a:pt x="247" y="178"/>
                </a:lnTo>
                <a:lnTo>
                  <a:pt x="243" y="182"/>
                </a:lnTo>
                <a:lnTo>
                  <a:pt x="238" y="185"/>
                </a:lnTo>
                <a:lnTo>
                  <a:pt x="233" y="186"/>
                </a:lnTo>
                <a:lnTo>
                  <a:pt x="227" y="185"/>
                </a:lnTo>
                <a:lnTo>
                  <a:pt x="223" y="184"/>
                </a:lnTo>
                <a:lnTo>
                  <a:pt x="219" y="181"/>
                </a:lnTo>
                <a:lnTo>
                  <a:pt x="214" y="178"/>
                </a:lnTo>
                <a:lnTo>
                  <a:pt x="211" y="173"/>
                </a:lnTo>
                <a:lnTo>
                  <a:pt x="209" y="169"/>
                </a:lnTo>
                <a:lnTo>
                  <a:pt x="206" y="165"/>
                </a:lnTo>
                <a:lnTo>
                  <a:pt x="206" y="160"/>
                </a:lnTo>
                <a:lnTo>
                  <a:pt x="206" y="154"/>
                </a:lnTo>
                <a:lnTo>
                  <a:pt x="209" y="148"/>
                </a:lnTo>
                <a:lnTo>
                  <a:pt x="211" y="142"/>
                </a:lnTo>
                <a:lnTo>
                  <a:pt x="213" y="136"/>
                </a:lnTo>
                <a:lnTo>
                  <a:pt x="221" y="125"/>
                </a:lnTo>
                <a:lnTo>
                  <a:pt x="230" y="114"/>
                </a:lnTo>
                <a:lnTo>
                  <a:pt x="238" y="104"/>
                </a:lnTo>
                <a:lnTo>
                  <a:pt x="246" y="93"/>
                </a:lnTo>
                <a:lnTo>
                  <a:pt x="248" y="87"/>
                </a:lnTo>
                <a:lnTo>
                  <a:pt x="250" y="82"/>
                </a:lnTo>
                <a:lnTo>
                  <a:pt x="253" y="75"/>
                </a:lnTo>
                <a:lnTo>
                  <a:pt x="253" y="69"/>
                </a:lnTo>
                <a:lnTo>
                  <a:pt x="133" y="69"/>
                </a:lnTo>
                <a:lnTo>
                  <a:pt x="129" y="68"/>
                </a:lnTo>
                <a:lnTo>
                  <a:pt x="123" y="65"/>
                </a:lnTo>
                <a:lnTo>
                  <a:pt x="119" y="59"/>
                </a:lnTo>
                <a:lnTo>
                  <a:pt x="115" y="53"/>
                </a:lnTo>
                <a:lnTo>
                  <a:pt x="112" y="45"/>
                </a:lnTo>
                <a:lnTo>
                  <a:pt x="109" y="37"/>
                </a:lnTo>
                <a:lnTo>
                  <a:pt x="108" y="28"/>
                </a:lnTo>
                <a:lnTo>
                  <a:pt x="107" y="19"/>
                </a:lnTo>
                <a:lnTo>
                  <a:pt x="101" y="19"/>
                </a:lnTo>
                <a:lnTo>
                  <a:pt x="96" y="18"/>
                </a:lnTo>
                <a:lnTo>
                  <a:pt x="90" y="17"/>
                </a:lnTo>
                <a:lnTo>
                  <a:pt x="85" y="15"/>
                </a:lnTo>
                <a:lnTo>
                  <a:pt x="80" y="12"/>
                </a:lnTo>
                <a:lnTo>
                  <a:pt x="77" y="9"/>
                </a:lnTo>
                <a:lnTo>
                  <a:pt x="75" y="4"/>
                </a:lnTo>
                <a:lnTo>
                  <a:pt x="74" y="0"/>
                </a:lnTo>
                <a:lnTo>
                  <a:pt x="65" y="0"/>
                </a:lnTo>
                <a:lnTo>
                  <a:pt x="57" y="0"/>
                </a:lnTo>
                <a:lnTo>
                  <a:pt x="49" y="0"/>
                </a:lnTo>
                <a:lnTo>
                  <a:pt x="41" y="0"/>
                </a:lnTo>
                <a:lnTo>
                  <a:pt x="34" y="1"/>
                </a:lnTo>
                <a:lnTo>
                  <a:pt x="29" y="2"/>
                </a:lnTo>
                <a:lnTo>
                  <a:pt x="22" y="5"/>
                </a:lnTo>
                <a:lnTo>
                  <a:pt x="15" y="9"/>
                </a:lnTo>
                <a:lnTo>
                  <a:pt x="10" y="14"/>
                </a:lnTo>
                <a:lnTo>
                  <a:pt x="4" y="19"/>
                </a:lnTo>
                <a:lnTo>
                  <a:pt x="1" y="25"/>
                </a:lnTo>
                <a:lnTo>
                  <a:pt x="0" y="31"/>
                </a:lnTo>
                <a:lnTo>
                  <a:pt x="2" y="35"/>
                </a:lnTo>
                <a:lnTo>
                  <a:pt x="8" y="40"/>
                </a:lnTo>
                <a:lnTo>
                  <a:pt x="15" y="46"/>
                </a:lnTo>
                <a:lnTo>
                  <a:pt x="25" y="52"/>
                </a:lnTo>
                <a:lnTo>
                  <a:pt x="35" y="58"/>
                </a:lnTo>
                <a:lnTo>
                  <a:pt x="45" y="63"/>
                </a:lnTo>
                <a:lnTo>
                  <a:pt x="54" y="67"/>
                </a:lnTo>
                <a:lnTo>
                  <a:pt x="60" y="69"/>
                </a:lnTo>
                <a:lnTo>
                  <a:pt x="47" y="79"/>
                </a:lnTo>
                <a:lnTo>
                  <a:pt x="32" y="91"/>
                </a:lnTo>
                <a:lnTo>
                  <a:pt x="25" y="97"/>
                </a:lnTo>
                <a:lnTo>
                  <a:pt x="19" y="104"/>
                </a:lnTo>
                <a:lnTo>
                  <a:pt x="17" y="107"/>
                </a:lnTo>
                <a:lnTo>
                  <a:pt x="15" y="110"/>
                </a:lnTo>
                <a:lnTo>
                  <a:pt x="14" y="114"/>
                </a:lnTo>
                <a:lnTo>
                  <a:pt x="13" y="117"/>
                </a:lnTo>
                <a:lnTo>
                  <a:pt x="14" y="122"/>
                </a:lnTo>
                <a:lnTo>
                  <a:pt x="15" y="125"/>
                </a:lnTo>
                <a:lnTo>
                  <a:pt x="18" y="129"/>
                </a:lnTo>
                <a:lnTo>
                  <a:pt x="20" y="133"/>
                </a:lnTo>
                <a:lnTo>
                  <a:pt x="28" y="141"/>
                </a:lnTo>
                <a:lnTo>
                  <a:pt x="37" y="149"/>
                </a:lnTo>
                <a:lnTo>
                  <a:pt x="47" y="156"/>
                </a:lnTo>
                <a:lnTo>
                  <a:pt x="58" y="162"/>
                </a:lnTo>
                <a:lnTo>
                  <a:pt x="64" y="164"/>
                </a:lnTo>
                <a:lnTo>
                  <a:pt x="69" y="165"/>
                </a:lnTo>
                <a:lnTo>
                  <a:pt x="75" y="166"/>
                </a:lnTo>
                <a:lnTo>
                  <a:pt x="80" y="167"/>
                </a:lnTo>
                <a:lnTo>
                  <a:pt x="107" y="271"/>
                </a:lnTo>
                <a:lnTo>
                  <a:pt x="107" y="267"/>
                </a:lnTo>
                <a:lnTo>
                  <a:pt x="108" y="263"/>
                </a:lnTo>
                <a:lnTo>
                  <a:pt x="110" y="260"/>
                </a:lnTo>
                <a:lnTo>
                  <a:pt x="112" y="256"/>
                </a:lnTo>
                <a:lnTo>
                  <a:pt x="119" y="251"/>
                </a:lnTo>
                <a:lnTo>
                  <a:pt x="127" y="246"/>
                </a:lnTo>
                <a:lnTo>
                  <a:pt x="137" y="243"/>
                </a:lnTo>
                <a:lnTo>
                  <a:pt x="148" y="240"/>
                </a:lnTo>
                <a:lnTo>
                  <a:pt x="160" y="237"/>
                </a:lnTo>
                <a:lnTo>
                  <a:pt x="174" y="235"/>
                </a:lnTo>
                <a:lnTo>
                  <a:pt x="174" y="222"/>
                </a:lnTo>
                <a:lnTo>
                  <a:pt x="174" y="210"/>
                </a:lnTo>
                <a:lnTo>
                  <a:pt x="178" y="212"/>
                </a:lnTo>
                <a:lnTo>
                  <a:pt x="183" y="212"/>
                </a:lnTo>
                <a:lnTo>
                  <a:pt x="188" y="213"/>
                </a:lnTo>
                <a:lnTo>
                  <a:pt x="193" y="212"/>
                </a:lnTo>
                <a:lnTo>
                  <a:pt x="203" y="211"/>
                </a:lnTo>
                <a:lnTo>
                  <a:pt x="213" y="210"/>
                </a:lnTo>
                <a:lnTo>
                  <a:pt x="220" y="233"/>
                </a:lnTo>
                <a:lnTo>
                  <a:pt x="232" y="261"/>
                </a:lnTo>
                <a:lnTo>
                  <a:pt x="245" y="292"/>
                </a:lnTo>
                <a:lnTo>
                  <a:pt x="259" y="321"/>
                </a:lnTo>
                <a:lnTo>
                  <a:pt x="267" y="316"/>
                </a:lnTo>
                <a:lnTo>
                  <a:pt x="272" y="311"/>
                </a:lnTo>
                <a:lnTo>
                  <a:pt x="278" y="307"/>
                </a:lnTo>
                <a:lnTo>
                  <a:pt x="282" y="302"/>
                </a:lnTo>
                <a:lnTo>
                  <a:pt x="290" y="291"/>
                </a:lnTo>
                <a:lnTo>
                  <a:pt x="295" y="280"/>
                </a:lnTo>
                <a:lnTo>
                  <a:pt x="301" y="258"/>
                </a:lnTo>
                <a:lnTo>
                  <a:pt x="306" y="235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78" name="Freeform 276"/>
          <p:cNvSpPr>
            <a:spLocks/>
          </p:cNvSpPr>
          <p:nvPr userDrawn="1">
            <p:custDataLst>
              <p:tags r:id="rId202"/>
            </p:custDataLst>
          </p:nvPr>
        </p:nvSpPr>
        <p:spPr bwMode="auto">
          <a:xfrm>
            <a:off x="6546851" y="2399120"/>
            <a:ext cx="201612" cy="202406"/>
          </a:xfrm>
          <a:custGeom>
            <a:avLst/>
            <a:gdLst>
              <a:gd name="T0" fmla="*/ 17223489 w 471"/>
              <a:gd name="T1" fmla="*/ 3257255 h 518"/>
              <a:gd name="T2" fmla="*/ 12276074 w 471"/>
              <a:gd name="T3" fmla="*/ 8686015 h 518"/>
              <a:gd name="T4" fmla="*/ 7329090 w 471"/>
              <a:gd name="T5" fmla="*/ 13300459 h 518"/>
              <a:gd name="T6" fmla="*/ 4946985 w 471"/>
              <a:gd name="T7" fmla="*/ 22257912 h 518"/>
              <a:gd name="T8" fmla="*/ 1465647 w 471"/>
              <a:gd name="T9" fmla="*/ 32029154 h 518"/>
              <a:gd name="T10" fmla="*/ 1282441 w 471"/>
              <a:gd name="T11" fmla="*/ 36915044 h 518"/>
              <a:gd name="T12" fmla="*/ 5497031 w 471"/>
              <a:gd name="T13" fmla="*/ 41529487 h 518"/>
              <a:gd name="T14" fmla="*/ 9161576 w 471"/>
              <a:gd name="T15" fmla="*/ 45601055 h 518"/>
              <a:gd name="T16" fmla="*/ 11360045 w 471"/>
              <a:gd name="T17" fmla="*/ 46686806 h 518"/>
              <a:gd name="T18" fmla="*/ 13742148 w 471"/>
              <a:gd name="T19" fmla="*/ 57272883 h 518"/>
              <a:gd name="T20" fmla="*/ 15391003 w 471"/>
              <a:gd name="T21" fmla="*/ 73830087 h 518"/>
              <a:gd name="T22" fmla="*/ 17223489 w 471"/>
              <a:gd name="T23" fmla="*/ 81158909 h 518"/>
              <a:gd name="T24" fmla="*/ 19055546 w 471"/>
              <a:gd name="T25" fmla="*/ 81973223 h 518"/>
              <a:gd name="T26" fmla="*/ 20521620 w 471"/>
              <a:gd name="T27" fmla="*/ 80616033 h 518"/>
              <a:gd name="T28" fmla="*/ 23453341 w 471"/>
              <a:gd name="T29" fmla="*/ 72744336 h 518"/>
              <a:gd name="T30" fmla="*/ 26567838 w 471"/>
              <a:gd name="T31" fmla="*/ 71115709 h 518"/>
              <a:gd name="T32" fmla="*/ 29316360 w 471"/>
              <a:gd name="T33" fmla="*/ 73830087 h 518"/>
              <a:gd name="T34" fmla="*/ 31698463 w 471"/>
              <a:gd name="T35" fmla="*/ 75187276 h 518"/>
              <a:gd name="T36" fmla="*/ 33530520 w 471"/>
              <a:gd name="T37" fmla="*/ 74372963 h 518"/>
              <a:gd name="T38" fmla="*/ 35179800 w 471"/>
              <a:gd name="T39" fmla="*/ 70301916 h 518"/>
              <a:gd name="T40" fmla="*/ 37195063 w 471"/>
              <a:gd name="T41" fmla="*/ 66230332 h 518"/>
              <a:gd name="T42" fmla="*/ 38844343 w 471"/>
              <a:gd name="T43" fmla="*/ 65416018 h 518"/>
              <a:gd name="T44" fmla="*/ 44157738 w 471"/>
              <a:gd name="T45" fmla="*/ 67044645 h 518"/>
              <a:gd name="T46" fmla="*/ 47455870 w 471"/>
              <a:gd name="T47" fmla="*/ 73558649 h 518"/>
              <a:gd name="T48" fmla="*/ 56434250 w 471"/>
              <a:gd name="T49" fmla="*/ 91202110 h 518"/>
              <a:gd name="T50" fmla="*/ 62480468 w 471"/>
              <a:gd name="T51" fmla="*/ 103688251 h 518"/>
              <a:gd name="T52" fmla="*/ 65595394 w 471"/>
              <a:gd name="T53" fmla="*/ 113731452 h 518"/>
              <a:gd name="T54" fmla="*/ 67061468 w 471"/>
              <a:gd name="T55" fmla="*/ 124045569 h 518"/>
              <a:gd name="T56" fmla="*/ 65778600 w 471"/>
              <a:gd name="T57" fmla="*/ 127574261 h 518"/>
              <a:gd name="T58" fmla="*/ 62114057 w 471"/>
              <a:gd name="T59" fmla="*/ 132188705 h 518"/>
              <a:gd name="T60" fmla="*/ 66511851 w 471"/>
              <a:gd name="T61" fmla="*/ 134631646 h 518"/>
              <a:gd name="T62" fmla="*/ 71825246 w 471"/>
              <a:gd name="T63" fmla="*/ 140603311 h 518"/>
              <a:gd name="T64" fmla="*/ 73474098 w 471"/>
              <a:gd name="T65" fmla="*/ 135445959 h 518"/>
              <a:gd name="T66" fmla="*/ 75672995 w 471"/>
              <a:gd name="T67" fmla="*/ 132731581 h 518"/>
              <a:gd name="T68" fmla="*/ 81353230 w 471"/>
              <a:gd name="T69" fmla="*/ 131102953 h 518"/>
              <a:gd name="T70" fmla="*/ 85750596 w 471"/>
              <a:gd name="T71" fmla="*/ 118888250 h 518"/>
              <a:gd name="T72" fmla="*/ 82269259 w 471"/>
              <a:gd name="T73" fmla="*/ 105045440 h 518"/>
              <a:gd name="T74" fmla="*/ 77138641 w 471"/>
              <a:gd name="T75" fmla="*/ 94187926 h 518"/>
              <a:gd name="T76" fmla="*/ 63213719 w 471"/>
              <a:gd name="T77" fmla="*/ 75187276 h 518"/>
              <a:gd name="T78" fmla="*/ 51120414 w 471"/>
              <a:gd name="T79" fmla="*/ 59172948 h 518"/>
              <a:gd name="T80" fmla="*/ 41042812 w 471"/>
              <a:gd name="T81" fmla="*/ 43972428 h 518"/>
              <a:gd name="T82" fmla="*/ 32797697 w 471"/>
              <a:gd name="T83" fmla="*/ 28500462 h 518"/>
              <a:gd name="T84" fmla="*/ 23269707 w 471"/>
              <a:gd name="T85" fmla="*/ 10857518 h 518"/>
              <a:gd name="T86" fmla="*/ 21071238 w 471"/>
              <a:gd name="T87" fmla="*/ 3800131 h 518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471"/>
              <a:gd name="T133" fmla="*/ 0 h 518"/>
              <a:gd name="T134" fmla="*/ 471 w 471"/>
              <a:gd name="T135" fmla="*/ 518 h 518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471" h="518">
                <a:moveTo>
                  <a:pt x="113" y="0"/>
                </a:moveTo>
                <a:lnTo>
                  <a:pt x="104" y="5"/>
                </a:lnTo>
                <a:lnTo>
                  <a:pt x="94" y="12"/>
                </a:lnTo>
                <a:lnTo>
                  <a:pt x="85" y="18"/>
                </a:lnTo>
                <a:lnTo>
                  <a:pt x="76" y="25"/>
                </a:lnTo>
                <a:lnTo>
                  <a:pt x="67" y="32"/>
                </a:lnTo>
                <a:lnTo>
                  <a:pt x="59" y="38"/>
                </a:lnTo>
                <a:lnTo>
                  <a:pt x="50" y="44"/>
                </a:lnTo>
                <a:lnTo>
                  <a:pt x="40" y="49"/>
                </a:lnTo>
                <a:lnTo>
                  <a:pt x="37" y="59"/>
                </a:lnTo>
                <a:lnTo>
                  <a:pt x="32" y="71"/>
                </a:lnTo>
                <a:lnTo>
                  <a:pt x="27" y="82"/>
                </a:lnTo>
                <a:lnTo>
                  <a:pt x="20" y="93"/>
                </a:lnTo>
                <a:lnTo>
                  <a:pt x="14" y="106"/>
                </a:lnTo>
                <a:lnTo>
                  <a:pt x="8" y="118"/>
                </a:lnTo>
                <a:lnTo>
                  <a:pt x="4" y="131"/>
                </a:lnTo>
                <a:lnTo>
                  <a:pt x="0" y="142"/>
                </a:lnTo>
                <a:lnTo>
                  <a:pt x="7" y="136"/>
                </a:lnTo>
                <a:lnTo>
                  <a:pt x="16" y="141"/>
                </a:lnTo>
                <a:lnTo>
                  <a:pt x="23" y="147"/>
                </a:lnTo>
                <a:lnTo>
                  <a:pt x="30" y="153"/>
                </a:lnTo>
                <a:lnTo>
                  <a:pt x="37" y="159"/>
                </a:lnTo>
                <a:lnTo>
                  <a:pt x="43" y="164"/>
                </a:lnTo>
                <a:lnTo>
                  <a:pt x="50" y="168"/>
                </a:lnTo>
                <a:lnTo>
                  <a:pt x="53" y="170"/>
                </a:lnTo>
                <a:lnTo>
                  <a:pt x="57" y="171"/>
                </a:lnTo>
                <a:lnTo>
                  <a:pt x="62" y="172"/>
                </a:lnTo>
                <a:lnTo>
                  <a:pt x="66" y="172"/>
                </a:lnTo>
                <a:lnTo>
                  <a:pt x="71" y="191"/>
                </a:lnTo>
                <a:lnTo>
                  <a:pt x="75" y="211"/>
                </a:lnTo>
                <a:lnTo>
                  <a:pt x="77" y="233"/>
                </a:lnTo>
                <a:lnTo>
                  <a:pt x="80" y="254"/>
                </a:lnTo>
                <a:lnTo>
                  <a:pt x="84" y="272"/>
                </a:lnTo>
                <a:lnTo>
                  <a:pt x="88" y="289"/>
                </a:lnTo>
                <a:lnTo>
                  <a:pt x="90" y="294"/>
                </a:lnTo>
                <a:lnTo>
                  <a:pt x="94" y="299"/>
                </a:lnTo>
                <a:lnTo>
                  <a:pt x="96" y="302"/>
                </a:lnTo>
                <a:lnTo>
                  <a:pt x="100" y="302"/>
                </a:lnTo>
                <a:lnTo>
                  <a:pt x="104" y="302"/>
                </a:lnTo>
                <a:lnTo>
                  <a:pt x="107" y="301"/>
                </a:lnTo>
                <a:lnTo>
                  <a:pt x="110" y="299"/>
                </a:lnTo>
                <a:lnTo>
                  <a:pt x="112" y="297"/>
                </a:lnTo>
                <a:lnTo>
                  <a:pt x="118" y="291"/>
                </a:lnTo>
                <a:lnTo>
                  <a:pt x="121" y="283"/>
                </a:lnTo>
                <a:lnTo>
                  <a:pt x="128" y="268"/>
                </a:lnTo>
                <a:lnTo>
                  <a:pt x="133" y="259"/>
                </a:lnTo>
                <a:lnTo>
                  <a:pt x="140" y="260"/>
                </a:lnTo>
                <a:lnTo>
                  <a:pt x="145" y="262"/>
                </a:lnTo>
                <a:lnTo>
                  <a:pt x="151" y="265"/>
                </a:lnTo>
                <a:lnTo>
                  <a:pt x="155" y="268"/>
                </a:lnTo>
                <a:lnTo>
                  <a:pt x="160" y="272"/>
                </a:lnTo>
                <a:lnTo>
                  <a:pt x="164" y="274"/>
                </a:lnTo>
                <a:lnTo>
                  <a:pt x="168" y="277"/>
                </a:lnTo>
                <a:lnTo>
                  <a:pt x="173" y="277"/>
                </a:lnTo>
                <a:lnTo>
                  <a:pt x="176" y="277"/>
                </a:lnTo>
                <a:lnTo>
                  <a:pt x="179" y="276"/>
                </a:lnTo>
                <a:lnTo>
                  <a:pt x="183" y="274"/>
                </a:lnTo>
                <a:lnTo>
                  <a:pt x="185" y="272"/>
                </a:lnTo>
                <a:lnTo>
                  <a:pt x="189" y="266"/>
                </a:lnTo>
                <a:lnTo>
                  <a:pt x="192" y="259"/>
                </a:lnTo>
                <a:lnTo>
                  <a:pt x="197" y="252"/>
                </a:lnTo>
                <a:lnTo>
                  <a:pt x="201" y="247"/>
                </a:lnTo>
                <a:lnTo>
                  <a:pt x="203" y="244"/>
                </a:lnTo>
                <a:lnTo>
                  <a:pt x="206" y="243"/>
                </a:lnTo>
                <a:lnTo>
                  <a:pt x="209" y="241"/>
                </a:lnTo>
                <a:lnTo>
                  <a:pt x="212" y="241"/>
                </a:lnTo>
                <a:lnTo>
                  <a:pt x="224" y="242"/>
                </a:lnTo>
                <a:lnTo>
                  <a:pt x="233" y="244"/>
                </a:lnTo>
                <a:lnTo>
                  <a:pt x="241" y="247"/>
                </a:lnTo>
                <a:lnTo>
                  <a:pt x="246" y="252"/>
                </a:lnTo>
                <a:lnTo>
                  <a:pt x="254" y="261"/>
                </a:lnTo>
                <a:lnTo>
                  <a:pt x="259" y="271"/>
                </a:lnTo>
                <a:lnTo>
                  <a:pt x="274" y="293"/>
                </a:lnTo>
                <a:lnTo>
                  <a:pt x="290" y="314"/>
                </a:lnTo>
                <a:lnTo>
                  <a:pt x="308" y="336"/>
                </a:lnTo>
                <a:lnTo>
                  <a:pt x="325" y="359"/>
                </a:lnTo>
                <a:lnTo>
                  <a:pt x="333" y="371"/>
                </a:lnTo>
                <a:lnTo>
                  <a:pt x="341" y="382"/>
                </a:lnTo>
                <a:lnTo>
                  <a:pt x="347" y="394"/>
                </a:lnTo>
                <a:lnTo>
                  <a:pt x="354" y="407"/>
                </a:lnTo>
                <a:lnTo>
                  <a:pt x="358" y="419"/>
                </a:lnTo>
                <a:lnTo>
                  <a:pt x="363" y="431"/>
                </a:lnTo>
                <a:lnTo>
                  <a:pt x="365" y="443"/>
                </a:lnTo>
                <a:lnTo>
                  <a:pt x="366" y="457"/>
                </a:lnTo>
                <a:lnTo>
                  <a:pt x="365" y="461"/>
                </a:lnTo>
                <a:lnTo>
                  <a:pt x="363" y="466"/>
                </a:lnTo>
                <a:lnTo>
                  <a:pt x="359" y="470"/>
                </a:lnTo>
                <a:lnTo>
                  <a:pt x="355" y="474"/>
                </a:lnTo>
                <a:lnTo>
                  <a:pt x="346" y="481"/>
                </a:lnTo>
                <a:lnTo>
                  <a:pt x="339" y="487"/>
                </a:lnTo>
                <a:lnTo>
                  <a:pt x="348" y="490"/>
                </a:lnTo>
                <a:lnTo>
                  <a:pt x="356" y="493"/>
                </a:lnTo>
                <a:lnTo>
                  <a:pt x="363" y="496"/>
                </a:lnTo>
                <a:lnTo>
                  <a:pt x="368" y="500"/>
                </a:lnTo>
                <a:lnTo>
                  <a:pt x="379" y="508"/>
                </a:lnTo>
                <a:lnTo>
                  <a:pt x="392" y="518"/>
                </a:lnTo>
                <a:lnTo>
                  <a:pt x="395" y="511"/>
                </a:lnTo>
                <a:lnTo>
                  <a:pt x="398" y="504"/>
                </a:lnTo>
                <a:lnTo>
                  <a:pt x="401" y="499"/>
                </a:lnTo>
                <a:lnTo>
                  <a:pt x="404" y="495"/>
                </a:lnTo>
                <a:lnTo>
                  <a:pt x="409" y="491"/>
                </a:lnTo>
                <a:lnTo>
                  <a:pt x="413" y="489"/>
                </a:lnTo>
                <a:lnTo>
                  <a:pt x="418" y="487"/>
                </a:lnTo>
                <a:lnTo>
                  <a:pt x="422" y="485"/>
                </a:lnTo>
                <a:lnTo>
                  <a:pt x="444" y="483"/>
                </a:lnTo>
                <a:lnTo>
                  <a:pt x="471" y="481"/>
                </a:lnTo>
                <a:lnTo>
                  <a:pt x="471" y="459"/>
                </a:lnTo>
                <a:lnTo>
                  <a:pt x="468" y="438"/>
                </a:lnTo>
                <a:lnTo>
                  <a:pt x="464" y="420"/>
                </a:lnTo>
                <a:lnTo>
                  <a:pt x="457" y="403"/>
                </a:lnTo>
                <a:lnTo>
                  <a:pt x="449" y="387"/>
                </a:lnTo>
                <a:lnTo>
                  <a:pt x="441" y="372"/>
                </a:lnTo>
                <a:lnTo>
                  <a:pt x="431" y="359"/>
                </a:lnTo>
                <a:lnTo>
                  <a:pt x="421" y="347"/>
                </a:lnTo>
                <a:lnTo>
                  <a:pt x="397" y="322"/>
                </a:lnTo>
                <a:lnTo>
                  <a:pt x="371" y="300"/>
                </a:lnTo>
                <a:lnTo>
                  <a:pt x="345" y="277"/>
                </a:lnTo>
                <a:lnTo>
                  <a:pt x="319" y="253"/>
                </a:lnTo>
                <a:lnTo>
                  <a:pt x="299" y="237"/>
                </a:lnTo>
                <a:lnTo>
                  <a:pt x="279" y="218"/>
                </a:lnTo>
                <a:lnTo>
                  <a:pt x="261" y="200"/>
                </a:lnTo>
                <a:lnTo>
                  <a:pt x="242" y="182"/>
                </a:lnTo>
                <a:lnTo>
                  <a:pt x="224" y="162"/>
                </a:lnTo>
                <a:lnTo>
                  <a:pt x="208" y="143"/>
                </a:lnTo>
                <a:lnTo>
                  <a:pt x="192" y="124"/>
                </a:lnTo>
                <a:lnTo>
                  <a:pt x="179" y="105"/>
                </a:lnTo>
                <a:lnTo>
                  <a:pt x="158" y="79"/>
                </a:lnTo>
                <a:lnTo>
                  <a:pt x="136" y="52"/>
                </a:lnTo>
                <a:lnTo>
                  <a:pt x="127" y="40"/>
                </a:lnTo>
                <a:lnTo>
                  <a:pt x="120" y="27"/>
                </a:lnTo>
                <a:lnTo>
                  <a:pt x="117" y="21"/>
                </a:lnTo>
                <a:lnTo>
                  <a:pt x="115" y="14"/>
                </a:lnTo>
                <a:lnTo>
                  <a:pt x="113" y="7"/>
                </a:lnTo>
                <a:lnTo>
                  <a:pt x="113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79" name="Freeform 277"/>
          <p:cNvSpPr>
            <a:spLocks/>
          </p:cNvSpPr>
          <p:nvPr userDrawn="1">
            <p:custDataLst>
              <p:tags r:id="rId203"/>
            </p:custDataLst>
          </p:nvPr>
        </p:nvSpPr>
        <p:spPr bwMode="auto">
          <a:xfrm>
            <a:off x="6629400" y="2587235"/>
            <a:ext cx="133350" cy="97631"/>
          </a:xfrm>
          <a:custGeom>
            <a:avLst/>
            <a:gdLst>
              <a:gd name="T0" fmla="*/ 31484255 w 293"/>
              <a:gd name="T1" fmla="*/ 5320242 h 246"/>
              <a:gd name="T2" fmla="*/ 37076760 w 293"/>
              <a:gd name="T3" fmla="*/ 8400521 h 246"/>
              <a:gd name="T4" fmla="*/ 40598018 w 293"/>
              <a:gd name="T5" fmla="*/ 8400521 h 246"/>
              <a:gd name="T6" fmla="*/ 41840949 w 293"/>
              <a:gd name="T7" fmla="*/ 5040313 h 246"/>
              <a:gd name="T8" fmla="*/ 43498038 w 293"/>
              <a:gd name="T9" fmla="*/ 2800350 h 246"/>
              <a:gd name="T10" fmla="*/ 45362206 w 293"/>
              <a:gd name="T11" fmla="*/ 1680104 h 246"/>
              <a:gd name="T12" fmla="*/ 50747633 w 293"/>
              <a:gd name="T13" fmla="*/ 559858 h 246"/>
              <a:gd name="T14" fmla="*/ 60690182 w 293"/>
              <a:gd name="T15" fmla="*/ 22401215 h 246"/>
              <a:gd name="T16" fmla="*/ 55097663 w 293"/>
              <a:gd name="T17" fmla="*/ 29961947 h 246"/>
              <a:gd name="T18" fmla="*/ 49090543 w 293"/>
              <a:gd name="T19" fmla="*/ 39482719 h 246"/>
              <a:gd name="T20" fmla="*/ 46605137 w 293"/>
              <a:gd name="T21" fmla="*/ 44523030 h 246"/>
              <a:gd name="T22" fmla="*/ 44533889 w 293"/>
              <a:gd name="T23" fmla="*/ 49843271 h 246"/>
              <a:gd name="T24" fmla="*/ 43290959 w 293"/>
              <a:gd name="T25" fmla="*/ 55163511 h 246"/>
              <a:gd name="T26" fmla="*/ 42669721 w 293"/>
              <a:gd name="T27" fmla="*/ 60483752 h 246"/>
              <a:gd name="T28" fmla="*/ 40598018 w 293"/>
              <a:gd name="T29" fmla="*/ 60763681 h 246"/>
              <a:gd name="T30" fmla="*/ 38526770 w 293"/>
              <a:gd name="T31" fmla="*/ 61603997 h 246"/>
              <a:gd name="T32" fmla="*/ 35212592 w 293"/>
              <a:gd name="T33" fmla="*/ 64123888 h 246"/>
              <a:gd name="T34" fmla="*/ 31898413 w 293"/>
              <a:gd name="T35" fmla="*/ 66924237 h 246"/>
              <a:gd name="T36" fmla="*/ 27548831 w 293"/>
              <a:gd name="T37" fmla="*/ 68884270 h 246"/>
              <a:gd name="T38" fmla="*/ 21127554 w 293"/>
              <a:gd name="T39" fmla="*/ 67204167 h 246"/>
              <a:gd name="T40" fmla="*/ 14706272 w 293"/>
              <a:gd name="T41" fmla="*/ 64964205 h 246"/>
              <a:gd name="T42" fmla="*/ 12220866 w 293"/>
              <a:gd name="T43" fmla="*/ 63284101 h 246"/>
              <a:gd name="T44" fmla="*/ 10149618 w 293"/>
              <a:gd name="T45" fmla="*/ 61603997 h 246"/>
              <a:gd name="T46" fmla="*/ 8906688 w 293"/>
              <a:gd name="T47" fmla="*/ 59363506 h 246"/>
              <a:gd name="T48" fmla="*/ 8492529 w 293"/>
              <a:gd name="T49" fmla="*/ 57123544 h 246"/>
              <a:gd name="T50" fmla="*/ 9735460 w 293"/>
              <a:gd name="T51" fmla="*/ 49843271 h 246"/>
              <a:gd name="T52" fmla="*/ 9320846 w 293"/>
              <a:gd name="T53" fmla="*/ 45362818 h 246"/>
              <a:gd name="T54" fmla="*/ 8285450 w 293"/>
              <a:gd name="T55" fmla="*/ 41162823 h 246"/>
              <a:gd name="T56" fmla="*/ 4971270 w 293"/>
              <a:gd name="T57" fmla="*/ 33322154 h 246"/>
              <a:gd name="T58" fmla="*/ 1657090 w 293"/>
              <a:gd name="T59" fmla="*/ 25481494 h 246"/>
              <a:gd name="T60" fmla="*/ 414159 w 293"/>
              <a:gd name="T61" fmla="*/ 20721111 h 246"/>
              <a:gd name="T62" fmla="*/ 0 w 293"/>
              <a:gd name="T63" fmla="*/ 15400867 h 246"/>
              <a:gd name="T64" fmla="*/ 414159 w 293"/>
              <a:gd name="T65" fmla="*/ 12601047 h 246"/>
              <a:gd name="T66" fmla="*/ 1657090 w 293"/>
              <a:gd name="T67" fmla="*/ 10080627 h 246"/>
              <a:gd name="T68" fmla="*/ 3521259 w 293"/>
              <a:gd name="T69" fmla="*/ 8120592 h 246"/>
              <a:gd name="T70" fmla="*/ 5385428 w 293"/>
              <a:gd name="T71" fmla="*/ 6160559 h 246"/>
              <a:gd name="T72" fmla="*/ 9942539 w 293"/>
              <a:gd name="T73" fmla="*/ 3920067 h 246"/>
              <a:gd name="T74" fmla="*/ 13877955 w 293"/>
              <a:gd name="T75" fmla="*/ 3360209 h 246"/>
              <a:gd name="T76" fmla="*/ 19884623 w 293"/>
              <a:gd name="T77" fmla="*/ 3360209 h 246"/>
              <a:gd name="T78" fmla="*/ 27548831 w 293"/>
              <a:gd name="T79" fmla="*/ 3360209 h 24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293"/>
              <a:gd name="T121" fmla="*/ 0 h 246"/>
              <a:gd name="T122" fmla="*/ 293 w 293"/>
              <a:gd name="T123" fmla="*/ 246 h 24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293" h="246">
                <a:moveTo>
                  <a:pt x="133" y="12"/>
                </a:moveTo>
                <a:lnTo>
                  <a:pt x="152" y="19"/>
                </a:lnTo>
                <a:lnTo>
                  <a:pt x="166" y="24"/>
                </a:lnTo>
                <a:lnTo>
                  <a:pt x="179" y="30"/>
                </a:lnTo>
                <a:lnTo>
                  <a:pt x="193" y="37"/>
                </a:lnTo>
                <a:lnTo>
                  <a:pt x="196" y="30"/>
                </a:lnTo>
                <a:lnTo>
                  <a:pt x="199" y="23"/>
                </a:lnTo>
                <a:lnTo>
                  <a:pt x="202" y="18"/>
                </a:lnTo>
                <a:lnTo>
                  <a:pt x="205" y="14"/>
                </a:lnTo>
                <a:lnTo>
                  <a:pt x="210" y="10"/>
                </a:lnTo>
                <a:lnTo>
                  <a:pt x="214" y="8"/>
                </a:lnTo>
                <a:lnTo>
                  <a:pt x="219" y="6"/>
                </a:lnTo>
                <a:lnTo>
                  <a:pt x="223" y="4"/>
                </a:lnTo>
                <a:lnTo>
                  <a:pt x="245" y="2"/>
                </a:lnTo>
                <a:lnTo>
                  <a:pt x="272" y="0"/>
                </a:lnTo>
                <a:lnTo>
                  <a:pt x="293" y="80"/>
                </a:lnTo>
                <a:lnTo>
                  <a:pt x="279" y="93"/>
                </a:lnTo>
                <a:lnTo>
                  <a:pt x="266" y="107"/>
                </a:lnTo>
                <a:lnTo>
                  <a:pt x="250" y="123"/>
                </a:lnTo>
                <a:lnTo>
                  <a:pt x="237" y="141"/>
                </a:lnTo>
                <a:lnTo>
                  <a:pt x="231" y="150"/>
                </a:lnTo>
                <a:lnTo>
                  <a:pt x="225" y="159"/>
                </a:lnTo>
                <a:lnTo>
                  <a:pt x="220" y="169"/>
                </a:lnTo>
                <a:lnTo>
                  <a:pt x="215" y="178"/>
                </a:lnTo>
                <a:lnTo>
                  <a:pt x="212" y="187"/>
                </a:lnTo>
                <a:lnTo>
                  <a:pt x="209" y="197"/>
                </a:lnTo>
                <a:lnTo>
                  <a:pt x="206" y="207"/>
                </a:lnTo>
                <a:lnTo>
                  <a:pt x="206" y="216"/>
                </a:lnTo>
                <a:lnTo>
                  <a:pt x="201" y="216"/>
                </a:lnTo>
                <a:lnTo>
                  <a:pt x="196" y="217"/>
                </a:lnTo>
                <a:lnTo>
                  <a:pt x="190" y="218"/>
                </a:lnTo>
                <a:lnTo>
                  <a:pt x="186" y="220"/>
                </a:lnTo>
                <a:lnTo>
                  <a:pt x="178" y="224"/>
                </a:lnTo>
                <a:lnTo>
                  <a:pt x="170" y="229"/>
                </a:lnTo>
                <a:lnTo>
                  <a:pt x="163" y="234"/>
                </a:lnTo>
                <a:lnTo>
                  <a:pt x="154" y="239"/>
                </a:lnTo>
                <a:lnTo>
                  <a:pt x="145" y="243"/>
                </a:lnTo>
                <a:lnTo>
                  <a:pt x="133" y="246"/>
                </a:lnTo>
                <a:lnTo>
                  <a:pt x="118" y="243"/>
                </a:lnTo>
                <a:lnTo>
                  <a:pt x="102" y="240"/>
                </a:lnTo>
                <a:lnTo>
                  <a:pt x="87" y="236"/>
                </a:lnTo>
                <a:lnTo>
                  <a:pt x="71" y="232"/>
                </a:lnTo>
                <a:lnTo>
                  <a:pt x="65" y="229"/>
                </a:lnTo>
                <a:lnTo>
                  <a:pt x="59" y="226"/>
                </a:lnTo>
                <a:lnTo>
                  <a:pt x="54" y="223"/>
                </a:lnTo>
                <a:lnTo>
                  <a:pt x="49" y="220"/>
                </a:lnTo>
                <a:lnTo>
                  <a:pt x="45" y="216"/>
                </a:lnTo>
                <a:lnTo>
                  <a:pt x="43" y="212"/>
                </a:lnTo>
                <a:lnTo>
                  <a:pt x="41" y="208"/>
                </a:lnTo>
                <a:lnTo>
                  <a:pt x="41" y="204"/>
                </a:lnTo>
                <a:lnTo>
                  <a:pt x="44" y="193"/>
                </a:lnTo>
                <a:lnTo>
                  <a:pt x="47" y="178"/>
                </a:lnTo>
                <a:lnTo>
                  <a:pt x="46" y="170"/>
                </a:lnTo>
                <a:lnTo>
                  <a:pt x="45" y="162"/>
                </a:lnTo>
                <a:lnTo>
                  <a:pt x="43" y="154"/>
                </a:lnTo>
                <a:lnTo>
                  <a:pt x="40" y="147"/>
                </a:lnTo>
                <a:lnTo>
                  <a:pt x="32" y="132"/>
                </a:lnTo>
                <a:lnTo>
                  <a:pt x="24" y="119"/>
                </a:lnTo>
                <a:lnTo>
                  <a:pt x="15" y="106"/>
                </a:lnTo>
                <a:lnTo>
                  <a:pt x="8" y="91"/>
                </a:lnTo>
                <a:lnTo>
                  <a:pt x="4" y="83"/>
                </a:lnTo>
                <a:lnTo>
                  <a:pt x="2" y="74"/>
                </a:lnTo>
                <a:lnTo>
                  <a:pt x="1" y="65"/>
                </a:lnTo>
                <a:lnTo>
                  <a:pt x="0" y="55"/>
                </a:lnTo>
                <a:lnTo>
                  <a:pt x="1" y="50"/>
                </a:lnTo>
                <a:lnTo>
                  <a:pt x="2" y="45"/>
                </a:lnTo>
                <a:lnTo>
                  <a:pt x="4" y="40"/>
                </a:lnTo>
                <a:lnTo>
                  <a:pt x="8" y="36"/>
                </a:lnTo>
                <a:lnTo>
                  <a:pt x="12" y="32"/>
                </a:lnTo>
                <a:lnTo>
                  <a:pt x="17" y="29"/>
                </a:lnTo>
                <a:lnTo>
                  <a:pt x="21" y="25"/>
                </a:lnTo>
                <a:lnTo>
                  <a:pt x="26" y="22"/>
                </a:lnTo>
                <a:lnTo>
                  <a:pt x="37" y="17"/>
                </a:lnTo>
                <a:lnTo>
                  <a:pt x="48" y="14"/>
                </a:lnTo>
                <a:lnTo>
                  <a:pt x="58" y="13"/>
                </a:lnTo>
                <a:lnTo>
                  <a:pt x="67" y="12"/>
                </a:lnTo>
                <a:lnTo>
                  <a:pt x="79" y="12"/>
                </a:lnTo>
                <a:lnTo>
                  <a:pt x="96" y="12"/>
                </a:lnTo>
                <a:lnTo>
                  <a:pt x="113" y="12"/>
                </a:lnTo>
                <a:lnTo>
                  <a:pt x="133" y="12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80" name="Freeform 278"/>
          <p:cNvSpPr>
            <a:spLocks/>
          </p:cNvSpPr>
          <p:nvPr userDrawn="1">
            <p:custDataLst>
              <p:tags r:id="rId204"/>
            </p:custDataLst>
          </p:nvPr>
        </p:nvSpPr>
        <p:spPr bwMode="auto">
          <a:xfrm>
            <a:off x="7031043" y="2014550"/>
            <a:ext cx="85725" cy="97631"/>
          </a:xfrm>
          <a:custGeom>
            <a:avLst/>
            <a:gdLst>
              <a:gd name="T0" fmla="*/ 3306842 w 200"/>
              <a:gd name="T1" fmla="*/ 11480801 h 246"/>
              <a:gd name="T2" fmla="*/ 5143929 w 200"/>
              <a:gd name="T3" fmla="*/ 7280275 h 246"/>
              <a:gd name="T4" fmla="*/ 6981444 w 200"/>
              <a:gd name="T5" fmla="*/ 4480455 h 246"/>
              <a:gd name="T6" fmla="*/ 9185863 w 200"/>
              <a:gd name="T7" fmla="*/ 2520421 h 246"/>
              <a:gd name="T8" fmla="*/ 13411676 w 200"/>
              <a:gd name="T9" fmla="*/ 279929 h 246"/>
              <a:gd name="T10" fmla="*/ 16167308 w 200"/>
              <a:gd name="T11" fmla="*/ 3360209 h 246"/>
              <a:gd name="T12" fmla="*/ 19841481 w 200"/>
              <a:gd name="T13" fmla="*/ 9520768 h 246"/>
              <a:gd name="T14" fmla="*/ 22964870 w 200"/>
              <a:gd name="T15" fmla="*/ 14000692 h 246"/>
              <a:gd name="T16" fmla="*/ 25537048 w 200"/>
              <a:gd name="T17" fmla="*/ 16241183 h 246"/>
              <a:gd name="T18" fmla="*/ 27925346 w 200"/>
              <a:gd name="T19" fmla="*/ 17921291 h 246"/>
              <a:gd name="T20" fmla="*/ 30497530 w 200"/>
              <a:gd name="T21" fmla="*/ 18761079 h 246"/>
              <a:gd name="T22" fmla="*/ 33804371 w 200"/>
              <a:gd name="T23" fmla="*/ 26881668 h 246"/>
              <a:gd name="T24" fmla="*/ 35825337 w 200"/>
              <a:gd name="T25" fmla="*/ 38362474 h 246"/>
              <a:gd name="T26" fmla="*/ 36560000 w 200"/>
              <a:gd name="T27" fmla="*/ 46203134 h 246"/>
              <a:gd name="T28" fmla="*/ 36743880 w 200"/>
              <a:gd name="T29" fmla="*/ 51803304 h 246"/>
              <a:gd name="T30" fmla="*/ 36376549 w 200"/>
              <a:gd name="T31" fmla="*/ 55163511 h 246"/>
              <a:gd name="T32" fmla="*/ 35825337 w 200"/>
              <a:gd name="T33" fmla="*/ 57963860 h 246"/>
              <a:gd name="T34" fmla="*/ 34722914 w 200"/>
              <a:gd name="T35" fmla="*/ 59923893 h 246"/>
              <a:gd name="T36" fmla="*/ 32885828 w 200"/>
              <a:gd name="T37" fmla="*/ 61603997 h 246"/>
              <a:gd name="T38" fmla="*/ 30130199 w 200"/>
              <a:gd name="T39" fmla="*/ 62723713 h 246"/>
              <a:gd name="T40" fmla="*/ 25720928 w 200"/>
              <a:gd name="T41" fmla="*/ 62723713 h 246"/>
              <a:gd name="T42" fmla="*/ 21678995 w 200"/>
              <a:gd name="T43" fmla="*/ 64123888 h 246"/>
              <a:gd name="T44" fmla="*/ 20392692 w 200"/>
              <a:gd name="T45" fmla="*/ 65803992 h 246"/>
              <a:gd name="T46" fmla="*/ 19841481 w 200"/>
              <a:gd name="T47" fmla="*/ 67764025 h 246"/>
              <a:gd name="T48" fmla="*/ 18004394 w 200"/>
              <a:gd name="T49" fmla="*/ 68604341 h 246"/>
              <a:gd name="T50" fmla="*/ 15616097 w 200"/>
              <a:gd name="T51" fmla="*/ 67204167 h 246"/>
              <a:gd name="T52" fmla="*/ 14146342 w 200"/>
              <a:gd name="T53" fmla="*/ 64403817 h 246"/>
              <a:gd name="T54" fmla="*/ 13411676 w 200"/>
              <a:gd name="T55" fmla="*/ 60483752 h 246"/>
              <a:gd name="T56" fmla="*/ 13227795 w 200"/>
              <a:gd name="T57" fmla="*/ 53763337 h 246"/>
              <a:gd name="T58" fmla="*/ 13043915 w 200"/>
              <a:gd name="T59" fmla="*/ 47042922 h 246"/>
              <a:gd name="T60" fmla="*/ 12676584 w 200"/>
              <a:gd name="T61" fmla="*/ 43122856 h 246"/>
              <a:gd name="T62" fmla="*/ 11758041 w 200"/>
              <a:gd name="T63" fmla="*/ 39762648 h 246"/>
              <a:gd name="T64" fmla="*/ 10288286 w 200"/>
              <a:gd name="T65" fmla="*/ 37522157 h 246"/>
              <a:gd name="T66" fmla="*/ 7348777 w 200"/>
              <a:gd name="T67" fmla="*/ 35002266 h 246"/>
              <a:gd name="T68" fmla="*/ 3306842 w 200"/>
              <a:gd name="T69" fmla="*/ 32201909 h 246"/>
              <a:gd name="T70" fmla="*/ 1102424 w 200"/>
              <a:gd name="T71" fmla="*/ 29682018 h 246"/>
              <a:gd name="T72" fmla="*/ 183880 w 200"/>
              <a:gd name="T73" fmla="*/ 27441526 h 246"/>
              <a:gd name="T74" fmla="*/ 183880 w 200"/>
              <a:gd name="T75" fmla="*/ 24361777 h 246"/>
              <a:gd name="T76" fmla="*/ 918544 w 200"/>
              <a:gd name="T77" fmla="*/ 21841357 h 246"/>
              <a:gd name="T78" fmla="*/ 1837087 w 200"/>
              <a:gd name="T79" fmla="*/ 19041008 h 246"/>
              <a:gd name="T80" fmla="*/ 2388299 w 200"/>
              <a:gd name="T81" fmla="*/ 15680796 h 24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200"/>
              <a:gd name="T124" fmla="*/ 0 h 246"/>
              <a:gd name="T125" fmla="*/ 200 w 200"/>
              <a:gd name="T126" fmla="*/ 246 h 24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200" h="246">
                <a:moveTo>
                  <a:pt x="13" y="49"/>
                </a:moveTo>
                <a:lnTo>
                  <a:pt x="18" y="41"/>
                </a:lnTo>
                <a:lnTo>
                  <a:pt x="22" y="32"/>
                </a:lnTo>
                <a:lnTo>
                  <a:pt x="28" y="26"/>
                </a:lnTo>
                <a:lnTo>
                  <a:pt x="33" y="20"/>
                </a:lnTo>
                <a:lnTo>
                  <a:pt x="38" y="16"/>
                </a:lnTo>
                <a:lnTo>
                  <a:pt x="44" y="12"/>
                </a:lnTo>
                <a:lnTo>
                  <a:pt x="50" y="9"/>
                </a:lnTo>
                <a:lnTo>
                  <a:pt x="54" y="6"/>
                </a:lnTo>
                <a:lnTo>
                  <a:pt x="73" y="1"/>
                </a:lnTo>
                <a:lnTo>
                  <a:pt x="80" y="0"/>
                </a:lnTo>
                <a:lnTo>
                  <a:pt x="88" y="12"/>
                </a:lnTo>
                <a:lnTo>
                  <a:pt x="98" y="23"/>
                </a:lnTo>
                <a:lnTo>
                  <a:pt x="108" y="34"/>
                </a:lnTo>
                <a:lnTo>
                  <a:pt x="119" y="46"/>
                </a:lnTo>
                <a:lnTo>
                  <a:pt x="125" y="50"/>
                </a:lnTo>
                <a:lnTo>
                  <a:pt x="132" y="54"/>
                </a:lnTo>
                <a:lnTo>
                  <a:pt x="139" y="58"/>
                </a:lnTo>
                <a:lnTo>
                  <a:pt x="145" y="61"/>
                </a:lnTo>
                <a:lnTo>
                  <a:pt x="152" y="64"/>
                </a:lnTo>
                <a:lnTo>
                  <a:pt x="158" y="66"/>
                </a:lnTo>
                <a:lnTo>
                  <a:pt x="166" y="67"/>
                </a:lnTo>
                <a:lnTo>
                  <a:pt x="174" y="67"/>
                </a:lnTo>
                <a:lnTo>
                  <a:pt x="184" y="96"/>
                </a:lnTo>
                <a:lnTo>
                  <a:pt x="191" y="123"/>
                </a:lnTo>
                <a:lnTo>
                  <a:pt x="195" y="137"/>
                </a:lnTo>
                <a:lnTo>
                  <a:pt x="198" y="151"/>
                </a:lnTo>
                <a:lnTo>
                  <a:pt x="199" y="165"/>
                </a:lnTo>
                <a:lnTo>
                  <a:pt x="200" y="178"/>
                </a:lnTo>
                <a:lnTo>
                  <a:pt x="200" y="185"/>
                </a:lnTo>
                <a:lnTo>
                  <a:pt x="199" y="192"/>
                </a:lnTo>
                <a:lnTo>
                  <a:pt x="198" y="197"/>
                </a:lnTo>
                <a:lnTo>
                  <a:pt x="196" y="202"/>
                </a:lnTo>
                <a:lnTo>
                  <a:pt x="195" y="207"/>
                </a:lnTo>
                <a:lnTo>
                  <a:pt x="192" y="211"/>
                </a:lnTo>
                <a:lnTo>
                  <a:pt x="189" y="214"/>
                </a:lnTo>
                <a:lnTo>
                  <a:pt x="186" y="216"/>
                </a:lnTo>
                <a:lnTo>
                  <a:pt x="179" y="220"/>
                </a:lnTo>
                <a:lnTo>
                  <a:pt x="173" y="222"/>
                </a:lnTo>
                <a:lnTo>
                  <a:pt x="164" y="224"/>
                </a:lnTo>
                <a:lnTo>
                  <a:pt x="156" y="224"/>
                </a:lnTo>
                <a:lnTo>
                  <a:pt x="140" y="224"/>
                </a:lnTo>
                <a:lnTo>
                  <a:pt x="124" y="226"/>
                </a:lnTo>
                <a:lnTo>
                  <a:pt x="118" y="229"/>
                </a:lnTo>
                <a:lnTo>
                  <a:pt x="112" y="232"/>
                </a:lnTo>
                <a:lnTo>
                  <a:pt x="111" y="235"/>
                </a:lnTo>
                <a:lnTo>
                  <a:pt x="109" y="238"/>
                </a:lnTo>
                <a:lnTo>
                  <a:pt x="108" y="242"/>
                </a:lnTo>
                <a:lnTo>
                  <a:pt x="107" y="246"/>
                </a:lnTo>
                <a:lnTo>
                  <a:pt x="98" y="245"/>
                </a:lnTo>
                <a:lnTo>
                  <a:pt x="90" y="243"/>
                </a:lnTo>
                <a:lnTo>
                  <a:pt x="85" y="240"/>
                </a:lnTo>
                <a:lnTo>
                  <a:pt x="80" y="235"/>
                </a:lnTo>
                <a:lnTo>
                  <a:pt x="77" y="230"/>
                </a:lnTo>
                <a:lnTo>
                  <a:pt x="75" y="223"/>
                </a:lnTo>
                <a:lnTo>
                  <a:pt x="73" y="216"/>
                </a:lnTo>
                <a:lnTo>
                  <a:pt x="72" y="209"/>
                </a:lnTo>
                <a:lnTo>
                  <a:pt x="72" y="192"/>
                </a:lnTo>
                <a:lnTo>
                  <a:pt x="72" y="176"/>
                </a:lnTo>
                <a:lnTo>
                  <a:pt x="71" y="168"/>
                </a:lnTo>
                <a:lnTo>
                  <a:pt x="71" y="161"/>
                </a:lnTo>
                <a:lnTo>
                  <a:pt x="69" y="154"/>
                </a:lnTo>
                <a:lnTo>
                  <a:pt x="67" y="148"/>
                </a:lnTo>
                <a:lnTo>
                  <a:pt x="64" y="142"/>
                </a:lnTo>
                <a:lnTo>
                  <a:pt x="61" y="137"/>
                </a:lnTo>
                <a:lnTo>
                  <a:pt x="56" y="134"/>
                </a:lnTo>
                <a:lnTo>
                  <a:pt x="51" y="130"/>
                </a:lnTo>
                <a:lnTo>
                  <a:pt x="40" y="125"/>
                </a:lnTo>
                <a:lnTo>
                  <a:pt x="29" y="120"/>
                </a:lnTo>
                <a:lnTo>
                  <a:pt x="18" y="115"/>
                </a:lnTo>
                <a:lnTo>
                  <a:pt x="9" y="110"/>
                </a:lnTo>
                <a:lnTo>
                  <a:pt x="6" y="106"/>
                </a:lnTo>
                <a:lnTo>
                  <a:pt x="3" y="103"/>
                </a:lnTo>
                <a:lnTo>
                  <a:pt x="1" y="98"/>
                </a:lnTo>
                <a:lnTo>
                  <a:pt x="0" y="93"/>
                </a:lnTo>
                <a:lnTo>
                  <a:pt x="1" y="87"/>
                </a:lnTo>
                <a:lnTo>
                  <a:pt x="3" y="83"/>
                </a:lnTo>
                <a:lnTo>
                  <a:pt x="5" y="78"/>
                </a:lnTo>
                <a:lnTo>
                  <a:pt x="7" y="73"/>
                </a:lnTo>
                <a:lnTo>
                  <a:pt x="10" y="68"/>
                </a:lnTo>
                <a:lnTo>
                  <a:pt x="12" y="62"/>
                </a:lnTo>
                <a:lnTo>
                  <a:pt x="13" y="56"/>
                </a:lnTo>
                <a:lnTo>
                  <a:pt x="13" y="49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81" name="Freeform 279"/>
          <p:cNvSpPr>
            <a:spLocks/>
          </p:cNvSpPr>
          <p:nvPr userDrawn="1">
            <p:custDataLst>
              <p:tags r:id="rId205"/>
            </p:custDataLst>
          </p:nvPr>
        </p:nvSpPr>
        <p:spPr bwMode="auto">
          <a:xfrm>
            <a:off x="7599372" y="2987279"/>
            <a:ext cx="231775" cy="190500"/>
          </a:xfrm>
          <a:custGeom>
            <a:avLst/>
            <a:gdLst>
              <a:gd name="T0" fmla="*/ 16889417 w 538"/>
              <a:gd name="T1" fmla="*/ 5712654 h 487"/>
              <a:gd name="T2" fmla="*/ 29695203 w 538"/>
              <a:gd name="T3" fmla="*/ 12785015 h 487"/>
              <a:gd name="T4" fmla="*/ 37490249 w 538"/>
              <a:gd name="T5" fmla="*/ 19041658 h 487"/>
              <a:gd name="T6" fmla="*/ 46955970 w 538"/>
              <a:gd name="T7" fmla="*/ 29922974 h 487"/>
              <a:gd name="T8" fmla="*/ 55678978 w 538"/>
              <a:gd name="T9" fmla="*/ 36995342 h 487"/>
              <a:gd name="T10" fmla="*/ 55493299 w 538"/>
              <a:gd name="T11" fmla="*/ 43795968 h 487"/>
              <a:gd name="T12" fmla="*/ 64401999 w 538"/>
              <a:gd name="T13" fmla="*/ 55765259 h 487"/>
              <a:gd name="T14" fmla="*/ 72939328 w 538"/>
              <a:gd name="T15" fmla="*/ 67462295 h 487"/>
              <a:gd name="T16" fmla="*/ 70340692 w 538"/>
              <a:gd name="T17" fmla="*/ 68006283 h 487"/>
              <a:gd name="T18" fmla="*/ 69041805 w 538"/>
              <a:gd name="T19" fmla="*/ 69638783 h 487"/>
              <a:gd name="T20" fmla="*/ 69041805 w 538"/>
              <a:gd name="T21" fmla="*/ 75623168 h 487"/>
              <a:gd name="T22" fmla="*/ 69969766 w 538"/>
              <a:gd name="T23" fmla="*/ 81879807 h 487"/>
              <a:gd name="T24" fmla="*/ 72197045 w 538"/>
              <a:gd name="T25" fmla="*/ 88408179 h 487"/>
              <a:gd name="T26" fmla="*/ 75537533 w 538"/>
              <a:gd name="T27" fmla="*/ 94664818 h 487"/>
              <a:gd name="T28" fmla="*/ 79435056 w 538"/>
              <a:gd name="T29" fmla="*/ 99561227 h 487"/>
              <a:gd name="T30" fmla="*/ 83703936 w 538"/>
              <a:gd name="T31" fmla="*/ 102281687 h 487"/>
              <a:gd name="T32" fmla="*/ 85559859 w 538"/>
              <a:gd name="T33" fmla="*/ 106090121 h 487"/>
              <a:gd name="T34" fmla="*/ 87601459 w 538"/>
              <a:gd name="T35" fmla="*/ 110442543 h 487"/>
              <a:gd name="T36" fmla="*/ 90756269 w 538"/>
              <a:gd name="T37" fmla="*/ 113434735 h 487"/>
              <a:gd name="T38" fmla="*/ 95210827 w 538"/>
              <a:gd name="T39" fmla="*/ 117514903 h 487"/>
              <a:gd name="T40" fmla="*/ 96138789 w 538"/>
              <a:gd name="T41" fmla="*/ 120779349 h 487"/>
              <a:gd name="T42" fmla="*/ 97437676 w 538"/>
              <a:gd name="T43" fmla="*/ 122411312 h 487"/>
              <a:gd name="T44" fmla="*/ 99850633 w 538"/>
              <a:gd name="T45" fmla="*/ 124043796 h 487"/>
              <a:gd name="T46" fmla="*/ 99108351 w 538"/>
              <a:gd name="T47" fmla="*/ 128396218 h 487"/>
              <a:gd name="T48" fmla="*/ 96324467 w 538"/>
              <a:gd name="T49" fmla="*/ 131660143 h 487"/>
              <a:gd name="T50" fmla="*/ 90941947 w 538"/>
              <a:gd name="T51" fmla="*/ 132476385 h 487"/>
              <a:gd name="T52" fmla="*/ 83146901 w 538"/>
              <a:gd name="T53" fmla="*/ 130572168 h 487"/>
              <a:gd name="T54" fmla="*/ 76836851 w 538"/>
              <a:gd name="T55" fmla="*/ 126763734 h 487"/>
              <a:gd name="T56" fmla="*/ 71640010 w 538"/>
              <a:gd name="T57" fmla="*/ 121323337 h 487"/>
              <a:gd name="T58" fmla="*/ 65886564 w 538"/>
              <a:gd name="T59" fmla="*/ 112890748 h 487"/>
              <a:gd name="T60" fmla="*/ 57905839 w 538"/>
              <a:gd name="T61" fmla="*/ 99289494 h 487"/>
              <a:gd name="T62" fmla="*/ 50853493 w 538"/>
              <a:gd name="T63" fmla="*/ 89768408 h 487"/>
              <a:gd name="T64" fmla="*/ 45656652 w 538"/>
              <a:gd name="T65" fmla="*/ 85959974 h 487"/>
              <a:gd name="T66" fmla="*/ 39346171 w 538"/>
              <a:gd name="T67" fmla="*/ 84055757 h 487"/>
              <a:gd name="T68" fmla="*/ 33407478 w 538"/>
              <a:gd name="T69" fmla="*/ 84328011 h 487"/>
              <a:gd name="T70" fmla="*/ 28396315 w 538"/>
              <a:gd name="T71" fmla="*/ 86232229 h 487"/>
              <a:gd name="T72" fmla="*/ 20972188 w 538"/>
              <a:gd name="T73" fmla="*/ 93848576 h 487"/>
              <a:gd name="T74" fmla="*/ 25241068 w 538"/>
              <a:gd name="T75" fmla="*/ 98200998 h 487"/>
              <a:gd name="T76" fmla="*/ 25983351 w 538"/>
              <a:gd name="T77" fmla="*/ 100649202 h 487"/>
              <a:gd name="T78" fmla="*/ 23013789 w 538"/>
              <a:gd name="T79" fmla="*/ 109082313 h 487"/>
              <a:gd name="T80" fmla="*/ 20972188 w 538"/>
              <a:gd name="T81" fmla="*/ 112618493 h 487"/>
              <a:gd name="T82" fmla="*/ 8723011 w 538"/>
              <a:gd name="T83" fmla="*/ 109626301 h 487"/>
              <a:gd name="T84" fmla="*/ 3711846 w 538"/>
              <a:gd name="T85" fmla="*/ 70454504 h 487"/>
              <a:gd name="T86" fmla="*/ 3711846 w 538"/>
              <a:gd name="T87" fmla="*/ 0 h 4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538"/>
              <a:gd name="T133" fmla="*/ 0 h 487"/>
              <a:gd name="T134" fmla="*/ 538 w 538"/>
              <a:gd name="T135" fmla="*/ 487 h 487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538" h="487">
                <a:moveTo>
                  <a:pt x="20" y="0"/>
                </a:moveTo>
                <a:lnTo>
                  <a:pt x="58" y="10"/>
                </a:lnTo>
                <a:lnTo>
                  <a:pt x="91" y="21"/>
                </a:lnTo>
                <a:lnTo>
                  <a:pt x="119" y="30"/>
                </a:lnTo>
                <a:lnTo>
                  <a:pt x="142" y="38"/>
                </a:lnTo>
                <a:lnTo>
                  <a:pt x="160" y="47"/>
                </a:lnTo>
                <a:lnTo>
                  <a:pt x="177" y="55"/>
                </a:lnTo>
                <a:lnTo>
                  <a:pt x="190" y="62"/>
                </a:lnTo>
                <a:lnTo>
                  <a:pt x="202" y="70"/>
                </a:lnTo>
                <a:lnTo>
                  <a:pt x="222" y="86"/>
                </a:lnTo>
                <a:lnTo>
                  <a:pt x="242" y="102"/>
                </a:lnTo>
                <a:lnTo>
                  <a:pt x="253" y="110"/>
                </a:lnTo>
                <a:lnTo>
                  <a:pt x="266" y="118"/>
                </a:lnTo>
                <a:lnTo>
                  <a:pt x="281" y="127"/>
                </a:lnTo>
                <a:lnTo>
                  <a:pt x="300" y="136"/>
                </a:lnTo>
                <a:lnTo>
                  <a:pt x="297" y="152"/>
                </a:lnTo>
                <a:lnTo>
                  <a:pt x="297" y="158"/>
                </a:lnTo>
                <a:lnTo>
                  <a:pt x="299" y="161"/>
                </a:lnTo>
                <a:lnTo>
                  <a:pt x="300" y="167"/>
                </a:lnTo>
                <a:lnTo>
                  <a:pt x="314" y="178"/>
                </a:lnTo>
                <a:lnTo>
                  <a:pt x="347" y="205"/>
                </a:lnTo>
                <a:lnTo>
                  <a:pt x="381" y="231"/>
                </a:lnTo>
                <a:lnTo>
                  <a:pt x="399" y="247"/>
                </a:lnTo>
                <a:lnTo>
                  <a:pt x="393" y="248"/>
                </a:lnTo>
                <a:lnTo>
                  <a:pt x="386" y="250"/>
                </a:lnTo>
                <a:lnTo>
                  <a:pt x="382" y="250"/>
                </a:lnTo>
                <a:lnTo>
                  <a:pt x="379" y="250"/>
                </a:lnTo>
                <a:lnTo>
                  <a:pt x="376" y="249"/>
                </a:lnTo>
                <a:lnTo>
                  <a:pt x="372" y="247"/>
                </a:lnTo>
                <a:lnTo>
                  <a:pt x="372" y="256"/>
                </a:lnTo>
                <a:lnTo>
                  <a:pt x="372" y="265"/>
                </a:lnTo>
                <a:lnTo>
                  <a:pt x="372" y="272"/>
                </a:lnTo>
                <a:lnTo>
                  <a:pt x="372" y="278"/>
                </a:lnTo>
                <a:lnTo>
                  <a:pt x="373" y="285"/>
                </a:lnTo>
                <a:lnTo>
                  <a:pt x="375" y="292"/>
                </a:lnTo>
                <a:lnTo>
                  <a:pt x="377" y="301"/>
                </a:lnTo>
                <a:lnTo>
                  <a:pt x="380" y="309"/>
                </a:lnTo>
                <a:lnTo>
                  <a:pt x="384" y="317"/>
                </a:lnTo>
                <a:lnTo>
                  <a:pt x="389" y="325"/>
                </a:lnTo>
                <a:lnTo>
                  <a:pt x="394" y="333"/>
                </a:lnTo>
                <a:lnTo>
                  <a:pt x="401" y="341"/>
                </a:lnTo>
                <a:lnTo>
                  <a:pt x="407" y="348"/>
                </a:lnTo>
                <a:lnTo>
                  <a:pt x="414" y="355"/>
                </a:lnTo>
                <a:lnTo>
                  <a:pt x="421" y="361"/>
                </a:lnTo>
                <a:lnTo>
                  <a:pt x="428" y="366"/>
                </a:lnTo>
                <a:lnTo>
                  <a:pt x="436" y="371"/>
                </a:lnTo>
                <a:lnTo>
                  <a:pt x="444" y="374"/>
                </a:lnTo>
                <a:lnTo>
                  <a:pt x="451" y="376"/>
                </a:lnTo>
                <a:lnTo>
                  <a:pt x="459" y="376"/>
                </a:lnTo>
                <a:lnTo>
                  <a:pt x="459" y="384"/>
                </a:lnTo>
                <a:lnTo>
                  <a:pt x="461" y="390"/>
                </a:lnTo>
                <a:lnTo>
                  <a:pt x="465" y="396"/>
                </a:lnTo>
                <a:lnTo>
                  <a:pt x="468" y="401"/>
                </a:lnTo>
                <a:lnTo>
                  <a:pt x="472" y="406"/>
                </a:lnTo>
                <a:lnTo>
                  <a:pt x="478" y="411"/>
                </a:lnTo>
                <a:lnTo>
                  <a:pt x="483" y="414"/>
                </a:lnTo>
                <a:lnTo>
                  <a:pt x="489" y="417"/>
                </a:lnTo>
                <a:lnTo>
                  <a:pt x="500" y="423"/>
                </a:lnTo>
                <a:lnTo>
                  <a:pt x="510" y="429"/>
                </a:lnTo>
                <a:lnTo>
                  <a:pt x="513" y="432"/>
                </a:lnTo>
                <a:lnTo>
                  <a:pt x="516" y="436"/>
                </a:lnTo>
                <a:lnTo>
                  <a:pt x="518" y="440"/>
                </a:lnTo>
                <a:lnTo>
                  <a:pt x="518" y="444"/>
                </a:lnTo>
                <a:lnTo>
                  <a:pt x="519" y="446"/>
                </a:lnTo>
                <a:lnTo>
                  <a:pt x="522" y="448"/>
                </a:lnTo>
                <a:lnTo>
                  <a:pt x="525" y="450"/>
                </a:lnTo>
                <a:lnTo>
                  <a:pt x="528" y="452"/>
                </a:lnTo>
                <a:lnTo>
                  <a:pt x="536" y="455"/>
                </a:lnTo>
                <a:lnTo>
                  <a:pt x="538" y="456"/>
                </a:lnTo>
                <a:lnTo>
                  <a:pt x="538" y="461"/>
                </a:lnTo>
                <a:lnTo>
                  <a:pt x="536" y="467"/>
                </a:lnTo>
                <a:lnTo>
                  <a:pt x="534" y="472"/>
                </a:lnTo>
                <a:lnTo>
                  <a:pt x="529" y="477"/>
                </a:lnTo>
                <a:lnTo>
                  <a:pt x="525" y="481"/>
                </a:lnTo>
                <a:lnTo>
                  <a:pt x="519" y="484"/>
                </a:lnTo>
                <a:lnTo>
                  <a:pt x="513" y="487"/>
                </a:lnTo>
                <a:lnTo>
                  <a:pt x="505" y="487"/>
                </a:lnTo>
                <a:lnTo>
                  <a:pt x="490" y="487"/>
                </a:lnTo>
                <a:lnTo>
                  <a:pt x="474" y="485"/>
                </a:lnTo>
                <a:lnTo>
                  <a:pt x="461" y="483"/>
                </a:lnTo>
                <a:lnTo>
                  <a:pt x="448" y="480"/>
                </a:lnTo>
                <a:lnTo>
                  <a:pt x="436" y="476"/>
                </a:lnTo>
                <a:lnTo>
                  <a:pt x="425" y="471"/>
                </a:lnTo>
                <a:lnTo>
                  <a:pt x="414" y="466"/>
                </a:lnTo>
                <a:lnTo>
                  <a:pt x="404" y="459"/>
                </a:lnTo>
                <a:lnTo>
                  <a:pt x="395" y="453"/>
                </a:lnTo>
                <a:lnTo>
                  <a:pt x="386" y="446"/>
                </a:lnTo>
                <a:lnTo>
                  <a:pt x="378" y="438"/>
                </a:lnTo>
                <a:lnTo>
                  <a:pt x="369" y="431"/>
                </a:lnTo>
                <a:lnTo>
                  <a:pt x="355" y="415"/>
                </a:lnTo>
                <a:lnTo>
                  <a:pt x="341" y="398"/>
                </a:lnTo>
                <a:lnTo>
                  <a:pt x="326" y="381"/>
                </a:lnTo>
                <a:lnTo>
                  <a:pt x="312" y="365"/>
                </a:lnTo>
                <a:lnTo>
                  <a:pt x="298" y="350"/>
                </a:lnTo>
                <a:lnTo>
                  <a:pt x="282" y="336"/>
                </a:lnTo>
                <a:lnTo>
                  <a:pt x="274" y="330"/>
                </a:lnTo>
                <a:lnTo>
                  <a:pt x="265" y="325"/>
                </a:lnTo>
                <a:lnTo>
                  <a:pt x="256" y="320"/>
                </a:lnTo>
                <a:lnTo>
                  <a:pt x="246" y="316"/>
                </a:lnTo>
                <a:lnTo>
                  <a:pt x="235" y="313"/>
                </a:lnTo>
                <a:lnTo>
                  <a:pt x="224" y="311"/>
                </a:lnTo>
                <a:lnTo>
                  <a:pt x="212" y="309"/>
                </a:lnTo>
                <a:lnTo>
                  <a:pt x="200" y="309"/>
                </a:lnTo>
                <a:lnTo>
                  <a:pt x="189" y="309"/>
                </a:lnTo>
                <a:lnTo>
                  <a:pt x="180" y="310"/>
                </a:lnTo>
                <a:lnTo>
                  <a:pt x="171" y="311"/>
                </a:lnTo>
                <a:lnTo>
                  <a:pt x="165" y="313"/>
                </a:lnTo>
                <a:lnTo>
                  <a:pt x="153" y="317"/>
                </a:lnTo>
                <a:lnTo>
                  <a:pt x="144" y="322"/>
                </a:lnTo>
                <a:lnTo>
                  <a:pt x="130" y="334"/>
                </a:lnTo>
                <a:lnTo>
                  <a:pt x="113" y="345"/>
                </a:lnTo>
                <a:lnTo>
                  <a:pt x="126" y="352"/>
                </a:lnTo>
                <a:lnTo>
                  <a:pt x="134" y="358"/>
                </a:lnTo>
                <a:lnTo>
                  <a:pt x="136" y="361"/>
                </a:lnTo>
                <a:lnTo>
                  <a:pt x="138" y="363"/>
                </a:lnTo>
                <a:lnTo>
                  <a:pt x="140" y="366"/>
                </a:lnTo>
                <a:lnTo>
                  <a:pt x="140" y="370"/>
                </a:lnTo>
                <a:lnTo>
                  <a:pt x="136" y="380"/>
                </a:lnTo>
                <a:lnTo>
                  <a:pt x="130" y="394"/>
                </a:lnTo>
                <a:lnTo>
                  <a:pt x="124" y="401"/>
                </a:lnTo>
                <a:lnTo>
                  <a:pt x="120" y="407"/>
                </a:lnTo>
                <a:lnTo>
                  <a:pt x="117" y="412"/>
                </a:lnTo>
                <a:lnTo>
                  <a:pt x="113" y="414"/>
                </a:lnTo>
                <a:lnTo>
                  <a:pt x="93" y="395"/>
                </a:lnTo>
                <a:lnTo>
                  <a:pt x="70" y="399"/>
                </a:lnTo>
                <a:lnTo>
                  <a:pt x="47" y="403"/>
                </a:lnTo>
                <a:lnTo>
                  <a:pt x="28" y="406"/>
                </a:lnTo>
                <a:lnTo>
                  <a:pt x="20" y="407"/>
                </a:lnTo>
                <a:lnTo>
                  <a:pt x="20" y="259"/>
                </a:lnTo>
                <a:lnTo>
                  <a:pt x="0" y="234"/>
                </a:lnTo>
                <a:lnTo>
                  <a:pt x="20" y="222"/>
                </a:lnTo>
                <a:lnTo>
                  <a:pt x="20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82" name="Freeform 280"/>
          <p:cNvSpPr>
            <a:spLocks/>
          </p:cNvSpPr>
          <p:nvPr userDrawn="1">
            <p:custDataLst>
              <p:tags r:id="rId206"/>
            </p:custDataLst>
          </p:nvPr>
        </p:nvSpPr>
        <p:spPr bwMode="auto">
          <a:xfrm>
            <a:off x="7791452" y="2975377"/>
            <a:ext cx="106362" cy="96440"/>
          </a:xfrm>
          <a:custGeom>
            <a:avLst/>
            <a:gdLst>
              <a:gd name="T0" fmla="*/ 24036552 w 253"/>
              <a:gd name="T1" fmla="*/ 273378 h 246"/>
              <a:gd name="T2" fmla="*/ 27747876 w 253"/>
              <a:gd name="T3" fmla="*/ 2185979 h 246"/>
              <a:gd name="T4" fmla="*/ 31636184 w 253"/>
              <a:gd name="T5" fmla="*/ 5737803 h 246"/>
              <a:gd name="T6" fmla="*/ 35170933 w 253"/>
              <a:gd name="T7" fmla="*/ 10109240 h 246"/>
              <a:gd name="T8" fmla="*/ 38529113 w 253"/>
              <a:gd name="T9" fmla="*/ 15574186 h 246"/>
              <a:gd name="T10" fmla="*/ 41356744 w 253"/>
              <a:gd name="T11" fmla="*/ 20765235 h 246"/>
              <a:gd name="T12" fmla="*/ 43301108 w 253"/>
              <a:gd name="T13" fmla="*/ 25683426 h 246"/>
              <a:gd name="T14" fmla="*/ 44538354 w 253"/>
              <a:gd name="T15" fmla="*/ 30328238 h 246"/>
              <a:gd name="T16" fmla="*/ 44538354 w 253"/>
              <a:gd name="T17" fmla="*/ 34973058 h 246"/>
              <a:gd name="T18" fmla="*/ 42947549 w 253"/>
              <a:gd name="T19" fmla="*/ 41257093 h 246"/>
              <a:gd name="T20" fmla="*/ 40473057 w 253"/>
              <a:gd name="T21" fmla="*/ 47541650 h 246"/>
              <a:gd name="T22" fmla="*/ 36938308 w 253"/>
              <a:gd name="T23" fmla="*/ 53279452 h 246"/>
              <a:gd name="T24" fmla="*/ 32519871 w 253"/>
              <a:gd name="T25" fmla="*/ 58470497 h 246"/>
              <a:gd name="T26" fmla="*/ 27747876 w 253"/>
              <a:gd name="T27" fmla="*/ 62569076 h 246"/>
              <a:gd name="T28" fmla="*/ 22799305 w 253"/>
              <a:gd name="T29" fmla="*/ 65574666 h 246"/>
              <a:gd name="T30" fmla="*/ 17673751 w 253"/>
              <a:gd name="T31" fmla="*/ 66940510 h 246"/>
              <a:gd name="T32" fmla="*/ 13078743 w 253"/>
              <a:gd name="T33" fmla="*/ 66940510 h 246"/>
              <a:gd name="T34" fmla="*/ 9367004 w 253"/>
              <a:gd name="T35" fmla="*/ 65574666 h 246"/>
              <a:gd name="T36" fmla="*/ 5832253 w 253"/>
              <a:gd name="T37" fmla="*/ 63934920 h 246"/>
              <a:gd name="T38" fmla="*/ 1943945 w 253"/>
              <a:gd name="T39" fmla="*/ 62569076 h 246"/>
              <a:gd name="T40" fmla="*/ 530128 w 253"/>
              <a:gd name="T41" fmla="*/ 59836864 h 246"/>
              <a:gd name="T42" fmla="*/ 1767375 w 253"/>
              <a:gd name="T43" fmla="*/ 56011663 h 246"/>
              <a:gd name="T44" fmla="*/ 3888310 w 253"/>
              <a:gd name="T45" fmla="*/ 53552307 h 246"/>
              <a:gd name="T46" fmla="*/ 6539371 w 253"/>
              <a:gd name="T47" fmla="*/ 52186462 h 246"/>
              <a:gd name="T48" fmla="*/ 8836876 w 253"/>
              <a:gd name="T49" fmla="*/ 53825685 h 246"/>
              <a:gd name="T50" fmla="*/ 10604250 w 253"/>
              <a:gd name="T51" fmla="*/ 56557897 h 246"/>
              <a:gd name="T52" fmla="*/ 12018066 w 253"/>
              <a:gd name="T53" fmla="*/ 54918674 h 246"/>
              <a:gd name="T54" fmla="*/ 13255312 w 253"/>
              <a:gd name="T55" fmla="*/ 51913084 h 246"/>
              <a:gd name="T56" fmla="*/ 14846120 w 253"/>
              <a:gd name="T57" fmla="*/ 49180873 h 246"/>
              <a:gd name="T58" fmla="*/ 16083366 w 253"/>
              <a:gd name="T59" fmla="*/ 49454251 h 246"/>
              <a:gd name="T60" fmla="*/ 17320613 w 253"/>
              <a:gd name="T61" fmla="*/ 48907495 h 246"/>
              <a:gd name="T62" fmla="*/ 18734428 w 253"/>
              <a:gd name="T63" fmla="*/ 48634639 h 246"/>
              <a:gd name="T64" fmla="*/ 21208500 w 253"/>
              <a:gd name="T65" fmla="*/ 47541650 h 246"/>
              <a:gd name="T66" fmla="*/ 26334054 w 253"/>
              <a:gd name="T67" fmla="*/ 44809438 h 246"/>
              <a:gd name="T68" fmla="*/ 31636184 w 253"/>
              <a:gd name="T69" fmla="*/ 40164626 h 246"/>
              <a:gd name="T70" fmla="*/ 34817374 w 253"/>
              <a:gd name="T71" fmla="*/ 36885659 h 246"/>
              <a:gd name="T72" fmla="*/ 37115297 w 253"/>
              <a:gd name="T73" fmla="*/ 33607205 h 246"/>
              <a:gd name="T74" fmla="*/ 38529113 w 253"/>
              <a:gd name="T75" fmla="*/ 30328238 h 246"/>
              <a:gd name="T76" fmla="*/ 38705682 w 253"/>
              <a:gd name="T77" fmla="*/ 26776415 h 246"/>
              <a:gd name="T78" fmla="*/ 37821995 w 253"/>
              <a:gd name="T79" fmla="*/ 24044203 h 246"/>
              <a:gd name="T80" fmla="*/ 37115297 w 253"/>
              <a:gd name="T81" fmla="*/ 21858225 h 246"/>
              <a:gd name="T82" fmla="*/ 36584749 w 253"/>
              <a:gd name="T83" fmla="*/ 19672246 h 246"/>
              <a:gd name="T84" fmla="*/ 35524492 w 253"/>
              <a:gd name="T85" fmla="*/ 18306402 h 246"/>
              <a:gd name="T86" fmla="*/ 33757118 w 253"/>
              <a:gd name="T87" fmla="*/ 17759646 h 246"/>
              <a:gd name="T88" fmla="*/ 32519871 w 253"/>
              <a:gd name="T89" fmla="*/ 16666652 h 246"/>
              <a:gd name="T90" fmla="*/ 31813174 w 253"/>
              <a:gd name="T91" fmla="*/ 14754052 h 246"/>
              <a:gd name="T92" fmla="*/ 24743249 w 253"/>
              <a:gd name="T93" fmla="*/ 13388207 h 246"/>
              <a:gd name="T94" fmla="*/ 24036552 w 253"/>
              <a:gd name="T95" fmla="*/ 12021840 h 246"/>
              <a:gd name="T96" fmla="*/ 24036552 w 253"/>
              <a:gd name="T97" fmla="*/ 9836384 h 246"/>
              <a:gd name="T98" fmla="*/ 24743249 w 253"/>
              <a:gd name="T99" fmla="*/ 4918192 h 246"/>
              <a:gd name="T100" fmla="*/ 19441126 w 253"/>
              <a:gd name="T101" fmla="*/ 3005591 h 246"/>
              <a:gd name="T102" fmla="*/ 17143623 w 253"/>
              <a:gd name="T103" fmla="*/ 3278969 h 246"/>
              <a:gd name="T104" fmla="*/ 15199679 w 253"/>
              <a:gd name="T105" fmla="*/ 4918192 h 246"/>
              <a:gd name="T106" fmla="*/ 18380869 w 253"/>
              <a:gd name="T107" fmla="*/ 1366368 h 246"/>
              <a:gd name="T108" fmla="*/ 19971674 w 253"/>
              <a:gd name="T109" fmla="*/ 273378 h 246"/>
              <a:gd name="T110" fmla="*/ 22445746 w 253"/>
              <a:gd name="T111" fmla="*/ 0 h 24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253"/>
              <a:gd name="T169" fmla="*/ 0 h 246"/>
              <a:gd name="T170" fmla="*/ 253 w 253"/>
              <a:gd name="T171" fmla="*/ 246 h 24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253" h="246">
                <a:moveTo>
                  <a:pt x="127" y="0"/>
                </a:moveTo>
                <a:lnTo>
                  <a:pt x="136" y="1"/>
                </a:lnTo>
                <a:lnTo>
                  <a:pt x="146" y="4"/>
                </a:lnTo>
                <a:lnTo>
                  <a:pt x="157" y="8"/>
                </a:lnTo>
                <a:lnTo>
                  <a:pt x="168" y="14"/>
                </a:lnTo>
                <a:lnTo>
                  <a:pt x="179" y="21"/>
                </a:lnTo>
                <a:lnTo>
                  <a:pt x="189" y="28"/>
                </a:lnTo>
                <a:lnTo>
                  <a:pt x="199" y="37"/>
                </a:lnTo>
                <a:lnTo>
                  <a:pt x="209" y="47"/>
                </a:lnTo>
                <a:lnTo>
                  <a:pt x="218" y="57"/>
                </a:lnTo>
                <a:lnTo>
                  <a:pt x="227" y="66"/>
                </a:lnTo>
                <a:lnTo>
                  <a:pt x="234" y="76"/>
                </a:lnTo>
                <a:lnTo>
                  <a:pt x="240" y="85"/>
                </a:lnTo>
                <a:lnTo>
                  <a:pt x="245" y="94"/>
                </a:lnTo>
                <a:lnTo>
                  <a:pt x="250" y="103"/>
                </a:lnTo>
                <a:lnTo>
                  <a:pt x="252" y="111"/>
                </a:lnTo>
                <a:lnTo>
                  <a:pt x="253" y="117"/>
                </a:lnTo>
                <a:lnTo>
                  <a:pt x="252" y="128"/>
                </a:lnTo>
                <a:lnTo>
                  <a:pt x="248" y="140"/>
                </a:lnTo>
                <a:lnTo>
                  <a:pt x="243" y="151"/>
                </a:lnTo>
                <a:lnTo>
                  <a:pt x="236" y="163"/>
                </a:lnTo>
                <a:lnTo>
                  <a:pt x="229" y="174"/>
                </a:lnTo>
                <a:lnTo>
                  <a:pt x="219" y="185"/>
                </a:lnTo>
                <a:lnTo>
                  <a:pt x="209" y="195"/>
                </a:lnTo>
                <a:lnTo>
                  <a:pt x="197" y="204"/>
                </a:lnTo>
                <a:lnTo>
                  <a:pt x="184" y="214"/>
                </a:lnTo>
                <a:lnTo>
                  <a:pt x="171" y="222"/>
                </a:lnTo>
                <a:lnTo>
                  <a:pt x="157" y="229"/>
                </a:lnTo>
                <a:lnTo>
                  <a:pt x="143" y="235"/>
                </a:lnTo>
                <a:lnTo>
                  <a:pt x="129" y="240"/>
                </a:lnTo>
                <a:lnTo>
                  <a:pt x="115" y="243"/>
                </a:lnTo>
                <a:lnTo>
                  <a:pt x="100" y="245"/>
                </a:lnTo>
                <a:lnTo>
                  <a:pt x="86" y="246"/>
                </a:lnTo>
                <a:lnTo>
                  <a:pt x="74" y="245"/>
                </a:lnTo>
                <a:lnTo>
                  <a:pt x="64" y="243"/>
                </a:lnTo>
                <a:lnTo>
                  <a:pt x="53" y="240"/>
                </a:lnTo>
                <a:lnTo>
                  <a:pt x="43" y="237"/>
                </a:lnTo>
                <a:lnTo>
                  <a:pt x="33" y="234"/>
                </a:lnTo>
                <a:lnTo>
                  <a:pt x="22" y="231"/>
                </a:lnTo>
                <a:lnTo>
                  <a:pt x="11" y="229"/>
                </a:lnTo>
                <a:lnTo>
                  <a:pt x="0" y="228"/>
                </a:lnTo>
                <a:lnTo>
                  <a:pt x="3" y="219"/>
                </a:lnTo>
                <a:lnTo>
                  <a:pt x="6" y="212"/>
                </a:lnTo>
                <a:lnTo>
                  <a:pt x="10" y="205"/>
                </a:lnTo>
                <a:lnTo>
                  <a:pt x="16" y="200"/>
                </a:lnTo>
                <a:lnTo>
                  <a:pt x="22" y="196"/>
                </a:lnTo>
                <a:lnTo>
                  <a:pt x="29" y="193"/>
                </a:lnTo>
                <a:lnTo>
                  <a:pt x="37" y="191"/>
                </a:lnTo>
                <a:lnTo>
                  <a:pt x="46" y="191"/>
                </a:lnTo>
                <a:lnTo>
                  <a:pt x="50" y="197"/>
                </a:lnTo>
                <a:lnTo>
                  <a:pt x="53" y="209"/>
                </a:lnTo>
                <a:lnTo>
                  <a:pt x="60" y="207"/>
                </a:lnTo>
                <a:lnTo>
                  <a:pt x="65" y="204"/>
                </a:lnTo>
                <a:lnTo>
                  <a:pt x="68" y="201"/>
                </a:lnTo>
                <a:lnTo>
                  <a:pt x="72" y="198"/>
                </a:lnTo>
                <a:lnTo>
                  <a:pt x="75" y="190"/>
                </a:lnTo>
                <a:lnTo>
                  <a:pt x="79" y="179"/>
                </a:lnTo>
                <a:lnTo>
                  <a:pt x="84" y="180"/>
                </a:lnTo>
                <a:lnTo>
                  <a:pt x="88" y="181"/>
                </a:lnTo>
                <a:lnTo>
                  <a:pt x="91" y="181"/>
                </a:lnTo>
                <a:lnTo>
                  <a:pt x="95" y="181"/>
                </a:lnTo>
                <a:lnTo>
                  <a:pt x="98" y="179"/>
                </a:lnTo>
                <a:lnTo>
                  <a:pt x="99" y="179"/>
                </a:lnTo>
                <a:lnTo>
                  <a:pt x="106" y="178"/>
                </a:lnTo>
                <a:lnTo>
                  <a:pt x="112" y="177"/>
                </a:lnTo>
                <a:lnTo>
                  <a:pt x="120" y="174"/>
                </a:lnTo>
                <a:lnTo>
                  <a:pt x="130" y="171"/>
                </a:lnTo>
                <a:lnTo>
                  <a:pt x="149" y="164"/>
                </a:lnTo>
                <a:lnTo>
                  <a:pt x="169" y="153"/>
                </a:lnTo>
                <a:lnTo>
                  <a:pt x="179" y="147"/>
                </a:lnTo>
                <a:lnTo>
                  <a:pt x="188" y="141"/>
                </a:lnTo>
                <a:lnTo>
                  <a:pt x="197" y="135"/>
                </a:lnTo>
                <a:lnTo>
                  <a:pt x="205" y="129"/>
                </a:lnTo>
                <a:lnTo>
                  <a:pt x="210" y="123"/>
                </a:lnTo>
                <a:lnTo>
                  <a:pt x="216" y="117"/>
                </a:lnTo>
                <a:lnTo>
                  <a:pt x="218" y="111"/>
                </a:lnTo>
                <a:lnTo>
                  <a:pt x="219" y="105"/>
                </a:lnTo>
                <a:lnTo>
                  <a:pt x="219" y="98"/>
                </a:lnTo>
                <a:lnTo>
                  <a:pt x="217" y="92"/>
                </a:lnTo>
                <a:lnTo>
                  <a:pt x="214" y="88"/>
                </a:lnTo>
                <a:lnTo>
                  <a:pt x="212" y="84"/>
                </a:lnTo>
                <a:lnTo>
                  <a:pt x="210" y="80"/>
                </a:lnTo>
                <a:lnTo>
                  <a:pt x="208" y="76"/>
                </a:lnTo>
                <a:lnTo>
                  <a:pt x="207" y="72"/>
                </a:lnTo>
                <a:lnTo>
                  <a:pt x="206" y="68"/>
                </a:lnTo>
                <a:lnTo>
                  <a:pt x="201" y="67"/>
                </a:lnTo>
                <a:lnTo>
                  <a:pt x="196" y="67"/>
                </a:lnTo>
                <a:lnTo>
                  <a:pt x="191" y="65"/>
                </a:lnTo>
                <a:lnTo>
                  <a:pt x="188" y="63"/>
                </a:lnTo>
                <a:lnTo>
                  <a:pt x="184" y="61"/>
                </a:lnTo>
                <a:lnTo>
                  <a:pt x="182" y="57"/>
                </a:lnTo>
                <a:lnTo>
                  <a:pt x="180" y="54"/>
                </a:lnTo>
                <a:lnTo>
                  <a:pt x="179" y="49"/>
                </a:lnTo>
                <a:lnTo>
                  <a:pt x="140" y="49"/>
                </a:lnTo>
                <a:lnTo>
                  <a:pt x="138" y="47"/>
                </a:lnTo>
                <a:lnTo>
                  <a:pt x="136" y="44"/>
                </a:lnTo>
                <a:lnTo>
                  <a:pt x="136" y="39"/>
                </a:lnTo>
                <a:lnTo>
                  <a:pt x="136" y="36"/>
                </a:lnTo>
                <a:lnTo>
                  <a:pt x="139" y="27"/>
                </a:lnTo>
                <a:lnTo>
                  <a:pt x="140" y="18"/>
                </a:lnTo>
                <a:lnTo>
                  <a:pt x="124" y="14"/>
                </a:lnTo>
                <a:lnTo>
                  <a:pt x="110" y="11"/>
                </a:lnTo>
                <a:lnTo>
                  <a:pt x="104" y="11"/>
                </a:lnTo>
                <a:lnTo>
                  <a:pt x="97" y="12"/>
                </a:lnTo>
                <a:lnTo>
                  <a:pt x="91" y="15"/>
                </a:lnTo>
                <a:lnTo>
                  <a:pt x="86" y="18"/>
                </a:lnTo>
                <a:lnTo>
                  <a:pt x="96" y="10"/>
                </a:lnTo>
                <a:lnTo>
                  <a:pt x="104" y="5"/>
                </a:lnTo>
                <a:lnTo>
                  <a:pt x="108" y="3"/>
                </a:lnTo>
                <a:lnTo>
                  <a:pt x="113" y="1"/>
                </a:lnTo>
                <a:lnTo>
                  <a:pt x="119" y="0"/>
                </a:lnTo>
                <a:lnTo>
                  <a:pt x="127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283" name="Freeform 281"/>
          <p:cNvSpPr>
            <a:spLocks/>
          </p:cNvSpPr>
          <p:nvPr userDrawn="1">
            <p:custDataLst>
              <p:tags r:id="rId207"/>
            </p:custDataLst>
          </p:nvPr>
        </p:nvSpPr>
        <p:spPr bwMode="auto">
          <a:xfrm>
            <a:off x="6091238" y="2700340"/>
            <a:ext cx="63500" cy="89297"/>
          </a:xfrm>
          <a:custGeom>
            <a:avLst/>
            <a:gdLst>
              <a:gd name="T0" fmla="*/ 8315798 w 141"/>
              <a:gd name="T1" fmla="*/ 62175429 h 228"/>
              <a:gd name="T2" fmla="*/ 7301598 w 141"/>
              <a:gd name="T3" fmla="*/ 59993653 h 228"/>
              <a:gd name="T4" fmla="*/ 5881630 w 141"/>
              <a:gd name="T5" fmla="*/ 56721510 h 228"/>
              <a:gd name="T6" fmla="*/ 4462113 w 141"/>
              <a:gd name="T7" fmla="*/ 52903662 h 228"/>
              <a:gd name="T8" fmla="*/ 3245255 w 141"/>
              <a:gd name="T9" fmla="*/ 48540631 h 228"/>
              <a:gd name="T10" fmla="*/ 2028397 w 141"/>
              <a:gd name="T11" fmla="*/ 44450191 h 228"/>
              <a:gd name="T12" fmla="*/ 1014199 w 141"/>
              <a:gd name="T13" fmla="*/ 40359751 h 228"/>
              <a:gd name="T14" fmla="*/ 405769 w 141"/>
              <a:gd name="T15" fmla="*/ 36814495 h 228"/>
              <a:gd name="T16" fmla="*/ 0 w 141"/>
              <a:gd name="T17" fmla="*/ 33541822 h 228"/>
              <a:gd name="T18" fmla="*/ 405769 w 141"/>
              <a:gd name="T19" fmla="*/ 28360494 h 228"/>
              <a:gd name="T20" fmla="*/ 811089 w 141"/>
              <a:gd name="T21" fmla="*/ 23724871 h 228"/>
              <a:gd name="T22" fmla="*/ 1216858 w 141"/>
              <a:gd name="T23" fmla="*/ 19088726 h 228"/>
              <a:gd name="T24" fmla="*/ 1825287 w 141"/>
              <a:gd name="T25" fmla="*/ 14998283 h 228"/>
              <a:gd name="T26" fmla="*/ 3650574 w 141"/>
              <a:gd name="T27" fmla="*/ 7635698 h 228"/>
              <a:gd name="T28" fmla="*/ 5678971 w 141"/>
              <a:gd name="T29" fmla="*/ 0 h 228"/>
              <a:gd name="T30" fmla="*/ 9126886 w 141"/>
              <a:gd name="T31" fmla="*/ 4363033 h 228"/>
              <a:gd name="T32" fmla="*/ 12574799 w 141"/>
              <a:gd name="T33" fmla="*/ 7635698 h 228"/>
              <a:gd name="T34" fmla="*/ 15414288 w 141"/>
              <a:gd name="T35" fmla="*/ 10090068 h 228"/>
              <a:gd name="T36" fmla="*/ 18051113 w 141"/>
              <a:gd name="T37" fmla="*/ 13089620 h 228"/>
              <a:gd name="T38" fmla="*/ 19267970 w 141"/>
              <a:gd name="T39" fmla="*/ 14998283 h 228"/>
              <a:gd name="T40" fmla="*/ 20484828 w 141"/>
              <a:gd name="T41" fmla="*/ 17180063 h 228"/>
              <a:gd name="T42" fmla="*/ 21701686 w 141"/>
              <a:gd name="T43" fmla="*/ 20179615 h 228"/>
              <a:gd name="T44" fmla="*/ 23121203 w 141"/>
              <a:gd name="T45" fmla="*/ 23452280 h 228"/>
              <a:gd name="T46" fmla="*/ 24338511 w 141"/>
              <a:gd name="T47" fmla="*/ 27270128 h 228"/>
              <a:gd name="T48" fmla="*/ 25758028 w 141"/>
              <a:gd name="T49" fmla="*/ 31905750 h 228"/>
              <a:gd name="T50" fmla="*/ 26974885 w 141"/>
              <a:gd name="T51" fmla="*/ 37632270 h 228"/>
              <a:gd name="T52" fmla="*/ 28597512 w 141"/>
              <a:gd name="T53" fmla="*/ 43904486 h 228"/>
              <a:gd name="T54" fmla="*/ 28394853 w 141"/>
              <a:gd name="T55" fmla="*/ 46086262 h 228"/>
              <a:gd name="T56" fmla="*/ 27989084 w 141"/>
              <a:gd name="T57" fmla="*/ 48267517 h 228"/>
              <a:gd name="T58" fmla="*/ 27380655 w 141"/>
              <a:gd name="T59" fmla="*/ 50721885 h 228"/>
              <a:gd name="T60" fmla="*/ 26569116 w 141"/>
              <a:gd name="T61" fmla="*/ 52358479 h 228"/>
              <a:gd name="T62" fmla="*/ 25758028 w 141"/>
              <a:gd name="T63" fmla="*/ 54267142 h 228"/>
              <a:gd name="T64" fmla="*/ 24541170 w 141"/>
              <a:gd name="T65" fmla="*/ 55630622 h 228"/>
              <a:gd name="T66" fmla="*/ 23324313 w 141"/>
              <a:gd name="T67" fmla="*/ 56994101 h 228"/>
              <a:gd name="T68" fmla="*/ 21904345 w 141"/>
              <a:gd name="T69" fmla="*/ 58084990 h 228"/>
              <a:gd name="T70" fmla="*/ 20281718 w 141"/>
              <a:gd name="T71" fmla="*/ 59175878 h 228"/>
              <a:gd name="T72" fmla="*/ 18862201 w 141"/>
              <a:gd name="T73" fmla="*/ 59993653 h 228"/>
              <a:gd name="T74" fmla="*/ 17239574 w 141"/>
              <a:gd name="T75" fmla="*/ 60811949 h 228"/>
              <a:gd name="T76" fmla="*/ 15414288 w 141"/>
              <a:gd name="T77" fmla="*/ 61357133 h 228"/>
              <a:gd name="T78" fmla="*/ 11966371 w 141"/>
              <a:gd name="T79" fmla="*/ 61902838 h 228"/>
              <a:gd name="T80" fmla="*/ 8315798 w 141"/>
              <a:gd name="T81" fmla="*/ 62175429 h 22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141"/>
              <a:gd name="T124" fmla="*/ 0 h 228"/>
              <a:gd name="T125" fmla="*/ 141 w 141"/>
              <a:gd name="T126" fmla="*/ 228 h 228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141" h="228">
                <a:moveTo>
                  <a:pt x="41" y="228"/>
                </a:moveTo>
                <a:lnTo>
                  <a:pt x="36" y="220"/>
                </a:lnTo>
                <a:lnTo>
                  <a:pt x="29" y="208"/>
                </a:lnTo>
                <a:lnTo>
                  <a:pt x="22" y="194"/>
                </a:lnTo>
                <a:lnTo>
                  <a:pt x="16" y="178"/>
                </a:lnTo>
                <a:lnTo>
                  <a:pt x="10" y="163"/>
                </a:lnTo>
                <a:lnTo>
                  <a:pt x="5" y="148"/>
                </a:lnTo>
                <a:lnTo>
                  <a:pt x="2" y="135"/>
                </a:lnTo>
                <a:lnTo>
                  <a:pt x="0" y="123"/>
                </a:lnTo>
                <a:lnTo>
                  <a:pt x="2" y="104"/>
                </a:lnTo>
                <a:lnTo>
                  <a:pt x="4" y="87"/>
                </a:lnTo>
                <a:lnTo>
                  <a:pt x="6" y="70"/>
                </a:lnTo>
                <a:lnTo>
                  <a:pt x="9" y="55"/>
                </a:lnTo>
                <a:lnTo>
                  <a:pt x="18" y="28"/>
                </a:lnTo>
                <a:lnTo>
                  <a:pt x="28" y="0"/>
                </a:lnTo>
                <a:lnTo>
                  <a:pt x="45" y="16"/>
                </a:lnTo>
                <a:lnTo>
                  <a:pt x="62" y="28"/>
                </a:lnTo>
                <a:lnTo>
                  <a:pt x="76" y="37"/>
                </a:lnTo>
                <a:lnTo>
                  <a:pt x="89" y="48"/>
                </a:lnTo>
                <a:lnTo>
                  <a:pt x="95" y="55"/>
                </a:lnTo>
                <a:lnTo>
                  <a:pt x="101" y="63"/>
                </a:lnTo>
                <a:lnTo>
                  <a:pt x="107" y="74"/>
                </a:lnTo>
                <a:lnTo>
                  <a:pt x="114" y="86"/>
                </a:lnTo>
                <a:lnTo>
                  <a:pt x="120" y="100"/>
                </a:lnTo>
                <a:lnTo>
                  <a:pt x="127" y="117"/>
                </a:lnTo>
                <a:lnTo>
                  <a:pt x="133" y="138"/>
                </a:lnTo>
                <a:lnTo>
                  <a:pt x="141" y="161"/>
                </a:lnTo>
                <a:lnTo>
                  <a:pt x="140" y="169"/>
                </a:lnTo>
                <a:lnTo>
                  <a:pt x="138" y="177"/>
                </a:lnTo>
                <a:lnTo>
                  <a:pt x="135" y="186"/>
                </a:lnTo>
                <a:lnTo>
                  <a:pt x="131" y="192"/>
                </a:lnTo>
                <a:lnTo>
                  <a:pt x="127" y="199"/>
                </a:lnTo>
                <a:lnTo>
                  <a:pt x="121" y="204"/>
                </a:lnTo>
                <a:lnTo>
                  <a:pt x="115" y="209"/>
                </a:lnTo>
                <a:lnTo>
                  <a:pt x="108" y="213"/>
                </a:lnTo>
                <a:lnTo>
                  <a:pt x="100" y="217"/>
                </a:lnTo>
                <a:lnTo>
                  <a:pt x="93" y="220"/>
                </a:lnTo>
                <a:lnTo>
                  <a:pt x="85" y="223"/>
                </a:lnTo>
                <a:lnTo>
                  <a:pt x="76" y="225"/>
                </a:lnTo>
                <a:lnTo>
                  <a:pt x="59" y="227"/>
                </a:lnTo>
                <a:lnTo>
                  <a:pt x="41" y="228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grpSp>
        <p:nvGrpSpPr>
          <p:cNvPr id="120" name="Group 282"/>
          <p:cNvGrpSpPr>
            <a:grpSpLocks/>
          </p:cNvGrpSpPr>
          <p:nvPr userDrawn="1">
            <p:custDataLst>
              <p:tags r:id="rId208"/>
            </p:custDataLst>
          </p:nvPr>
        </p:nvGrpSpPr>
        <p:grpSpPr bwMode="auto">
          <a:xfrm>
            <a:off x="7007226" y="2483650"/>
            <a:ext cx="233362" cy="329804"/>
            <a:chOff x="5062" y="2295"/>
            <a:chExt cx="177" cy="279"/>
          </a:xfrm>
          <a:solidFill>
            <a:sysClr val="window" lastClr="FFFFFF">
              <a:lumMod val="85000"/>
            </a:sysClr>
          </a:solidFill>
        </p:grpSpPr>
        <p:sp>
          <p:nvSpPr>
            <p:cNvPr id="285" name="Freeform 283"/>
            <p:cNvSpPr>
              <a:spLocks/>
            </p:cNvSpPr>
            <p:nvPr/>
          </p:nvSpPr>
          <p:spPr bwMode="auto">
            <a:xfrm>
              <a:off x="5154" y="2449"/>
              <a:ext cx="19" cy="37"/>
            </a:xfrm>
            <a:custGeom>
              <a:avLst/>
              <a:gdLst>
                <a:gd name="T0" fmla="*/ 4 w 60"/>
                <a:gd name="T1" fmla="*/ 12 h 110"/>
                <a:gd name="T2" fmla="*/ 4 w 60"/>
                <a:gd name="T3" fmla="*/ 12 h 110"/>
                <a:gd name="T4" fmla="*/ 5 w 60"/>
                <a:gd name="T5" fmla="*/ 12 h 110"/>
                <a:gd name="T6" fmla="*/ 5 w 60"/>
                <a:gd name="T7" fmla="*/ 11 h 110"/>
                <a:gd name="T8" fmla="*/ 5 w 60"/>
                <a:gd name="T9" fmla="*/ 11 h 110"/>
                <a:gd name="T10" fmla="*/ 5 w 60"/>
                <a:gd name="T11" fmla="*/ 10 h 110"/>
                <a:gd name="T12" fmla="*/ 6 w 60"/>
                <a:gd name="T13" fmla="*/ 9 h 110"/>
                <a:gd name="T14" fmla="*/ 6 w 60"/>
                <a:gd name="T15" fmla="*/ 9 h 110"/>
                <a:gd name="T16" fmla="*/ 6 w 60"/>
                <a:gd name="T17" fmla="*/ 8 h 110"/>
                <a:gd name="T18" fmla="*/ 6 w 60"/>
                <a:gd name="T19" fmla="*/ 7 h 110"/>
                <a:gd name="T20" fmla="*/ 6 w 60"/>
                <a:gd name="T21" fmla="*/ 5 h 110"/>
                <a:gd name="T22" fmla="*/ 6 w 60"/>
                <a:gd name="T23" fmla="*/ 4 h 110"/>
                <a:gd name="T24" fmla="*/ 5 w 60"/>
                <a:gd name="T25" fmla="*/ 3 h 110"/>
                <a:gd name="T26" fmla="*/ 5 w 60"/>
                <a:gd name="T27" fmla="*/ 2 h 110"/>
                <a:gd name="T28" fmla="*/ 5 w 60"/>
                <a:gd name="T29" fmla="*/ 1 h 110"/>
                <a:gd name="T30" fmla="*/ 4 w 60"/>
                <a:gd name="T31" fmla="*/ 1 h 110"/>
                <a:gd name="T32" fmla="*/ 4 w 60"/>
                <a:gd name="T33" fmla="*/ 0 h 110"/>
                <a:gd name="T34" fmla="*/ 3 w 60"/>
                <a:gd name="T35" fmla="*/ 0 h 110"/>
                <a:gd name="T36" fmla="*/ 3 w 60"/>
                <a:gd name="T37" fmla="*/ 1 h 110"/>
                <a:gd name="T38" fmla="*/ 3 w 60"/>
                <a:gd name="T39" fmla="*/ 1 h 110"/>
                <a:gd name="T40" fmla="*/ 3 w 60"/>
                <a:gd name="T41" fmla="*/ 2 h 110"/>
                <a:gd name="T42" fmla="*/ 2 w 60"/>
                <a:gd name="T43" fmla="*/ 3 h 110"/>
                <a:gd name="T44" fmla="*/ 2 w 60"/>
                <a:gd name="T45" fmla="*/ 4 h 110"/>
                <a:gd name="T46" fmla="*/ 1 w 60"/>
                <a:gd name="T47" fmla="*/ 6 h 110"/>
                <a:gd name="T48" fmla="*/ 1 w 60"/>
                <a:gd name="T49" fmla="*/ 7 h 110"/>
                <a:gd name="T50" fmla="*/ 1 w 60"/>
                <a:gd name="T51" fmla="*/ 7 h 110"/>
                <a:gd name="T52" fmla="*/ 0 w 60"/>
                <a:gd name="T53" fmla="*/ 8 h 110"/>
                <a:gd name="T54" fmla="*/ 0 w 60"/>
                <a:gd name="T55" fmla="*/ 8 h 110"/>
                <a:gd name="T56" fmla="*/ 0 w 60"/>
                <a:gd name="T57" fmla="*/ 8 h 110"/>
                <a:gd name="T58" fmla="*/ 0 w 60"/>
                <a:gd name="T59" fmla="*/ 9 h 110"/>
                <a:gd name="T60" fmla="*/ 0 w 60"/>
                <a:gd name="T61" fmla="*/ 9 h 110"/>
                <a:gd name="T62" fmla="*/ 1 w 60"/>
                <a:gd name="T63" fmla="*/ 10 h 110"/>
                <a:gd name="T64" fmla="*/ 1 w 60"/>
                <a:gd name="T65" fmla="*/ 11 h 110"/>
                <a:gd name="T66" fmla="*/ 2 w 60"/>
                <a:gd name="T67" fmla="*/ 11 h 110"/>
                <a:gd name="T68" fmla="*/ 3 w 60"/>
                <a:gd name="T69" fmla="*/ 12 h 110"/>
                <a:gd name="T70" fmla="*/ 3 w 60"/>
                <a:gd name="T71" fmla="*/ 12 h 110"/>
                <a:gd name="T72" fmla="*/ 4 w 60"/>
                <a:gd name="T73" fmla="*/ 12 h 11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60"/>
                <a:gd name="T112" fmla="*/ 0 h 110"/>
                <a:gd name="T113" fmla="*/ 60 w 60"/>
                <a:gd name="T114" fmla="*/ 110 h 11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60" h="110">
                  <a:moveTo>
                    <a:pt x="39" y="110"/>
                  </a:moveTo>
                  <a:lnTo>
                    <a:pt x="42" y="109"/>
                  </a:lnTo>
                  <a:lnTo>
                    <a:pt x="46" y="106"/>
                  </a:lnTo>
                  <a:lnTo>
                    <a:pt x="49" y="101"/>
                  </a:lnTo>
                  <a:lnTo>
                    <a:pt x="52" y="96"/>
                  </a:lnTo>
                  <a:lnTo>
                    <a:pt x="54" y="90"/>
                  </a:lnTo>
                  <a:lnTo>
                    <a:pt x="57" y="84"/>
                  </a:lnTo>
                  <a:lnTo>
                    <a:pt x="59" y="78"/>
                  </a:lnTo>
                  <a:lnTo>
                    <a:pt x="60" y="73"/>
                  </a:lnTo>
                  <a:lnTo>
                    <a:pt x="59" y="60"/>
                  </a:lnTo>
                  <a:lnTo>
                    <a:pt x="58" y="48"/>
                  </a:lnTo>
                  <a:lnTo>
                    <a:pt x="57" y="38"/>
                  </a:lnTo>
                  <a:lnTo>
                    <a:pt x="54" y="29"/>
                  </a:lnTo>
                  <a:lnTo>
                    <a:pt x="51" y="21"/>
                  </a:lnTo>
                  <a:lnTo>
                    <a:pt x="48" y="13"/>
                  </a:lnTo>
                  <a:lnTo>
                    <a:pt x="45" y="6"/>
                  </a:lnTo>
                  <a:lnTo>
                    <a:pt x="39" y="0"/>
                  </a:lnTo>
                  <a:lnTo>
                    <a:pt x="35" y="3"/>
                  </a:lnTo>
                  <a:lnTo>
                    <a:pt x="30" y="8"/>
                  </a:lnTo>
                  <a:lnTo>
                    <a:pt x="27" y="13"/>
                  </a:lnTo>
                  <a:lnTo>
                    <a:pt x="24" y="18"/>
                  </a:lnTo>
                  <a:lnTo>
                    <a:pt x="18" y="29"/>
                  </a:lnTo>
                  <a:lnTo>
                    <a:pt x="15" y="40"/>
                  </a:lnTo>
                  <a:lnTo>
                    <a:pt x="10" y="51"/>
                  </a:lnTo>
                  <a:lnTo>
                    <a:pt x="7" y="62"/>
                  </a:lnTo>
                  <a:lnTo>
                    <a:pt x="6" y="66"/>
                  </a:lnTo>
                  <a:lnTo>
                    <a:pt x="4" y="69"/>
                  </a:lnTo>
                  <a:lnTo>
                    <a:pt x="2" y="72"/>
                  </a:lnTo>
                  <a:lnTo>
                    <a:pt x="0" y="73"/>
                  </a:lnTo>
                  <a:lnTo>
                    <a:pt x="1" y="78"/>
                  </a:lnTo>
                  <a:lnTo>
                    <a:pt x="3" y="84"/>
                  </a:lnTo>
                  <a:lnTo>
                    <a:pt x="7" y="90"/>
                  </a:lnTo>
                  <a:lnTo>
                    <a:pt x="12" y="96"/>
                  </a:lnTo>
                  <a:lnTo>
                    <a:pt x="18" y="101"/>
                  </a:lnTo>
                  <a:lnTo>
                    <a:pt x="25" y="106"/>
                  </a:lnTo>
                  <a:lnTo>
                    <a:pt x="32" y="109"/>
                  </a:lnTo>
                  <a:lnTo>
                    <a:pt x="39" y="110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86" name="Freeform 284"/>
            <p:cNvSpPr>
              <a:spLocks/>
            </p:cNvSpPr>
            <p:nvPr/>
          </p:nvSpPr>
          <p:spPr bwMode="auto">
            <a:xfrm>
              <a:off x="5189" y="2422"/>
              <a:ext cx="24" cy="25"/>
            </a:xfrm>
            <a:custGeom>
              <a:avLst/>
              <a:gdLst>
                <a:gd name="T0" fmla="*/ 0 w 72"/>
                <a:gd name="T1" fmla="*/ 1 h 75"/>
                <a:gd name="T2" fmla="*/ 1 w 72"/>
                <a:gd name="T3" fmla="*/ 2 h 75"/>
                <a:gd name="T4" fmla="*/ 2 w 72"/>
                <a:gd name="T5" fmla="*/ 3 h 75"/>
                <a:gd name="T6" fmla="*/ 3 w 72"/>
                <a:gd name="T7" fmla="*/ 4 h 75"/>
                <a:gd name="T8" fmla="*/ 3 w 72"/>
                <a:gd name="T9" fmla="*/ 4 h 75"/>
                <a:gd name="T10" fmla="*/ 4 w 72"/>
                <a:gd name="T11" fmla="*/ 5 h 75"/>
                <a:gd name="T12" fmla="*/ 5 w 72"/>
                <a:gd name="T13" fmla="*/ 6 h 75"/>
                <a:gd name="T14" fmla="*/ 5 w 72"/>
                <a:gd name="T15" fmla="*/ 7 h 75"/>
                <a:gd name="T16" fmla="*/ 5 w 72"/>
                <a:gd name="T17" fmla="*/ 8 h 75"/>
                <a:gd name="T18" fmla="*/ 8 w 72"/>
                <a:gd name="T19" fmla="*/ 8 h 75"/>
                <a:gd name="T20" fmla="*/ 7 w 72"/>
                <a:gd name="T21" fmla="*/ 6 h 75"/>
                <a:gd name="T22" fmla="*/ 7 w 72"/>
                <a:gd name="T23" fmla="*/ 4 h 75"/>
                <a:gd name="T24" fmla="*/ 7 w 72"/>
                <a:gd name="T25" fmla="*/ 3 h 75"/>
                <a:gd name="T26" fmla="*/ 7 w 72"/>
                <a:gd name="T27" fmla="*/ 2 h 75"/>
                <a:gd name="T28" fmla="*/ 7 w 72"/>
                <a:gd name="T29" fmla="*/ 1 h 75"/>
                <a:gd name="T30" fmla="*/ 8 w 72"/>
                <a:gd name="T31" fmla="*/ 0 h 75"/>
                <a:gd name="T32" fmla="*/ 6 w 72"/>
                <a:gd name="T33" fmla="*/ 0 h 75"/>
                <a:gd name="T34" fmla="*/ 4 w 72"/>
                <a:gd name="T35" fmla="*/ 0 h 75"/>
                <a:gd name="T36" fmla="*/ 2 w 72"/>
                <a:gd name="T37" fmla="*/ 0 h 75"/>
                <a:gd name="T38" fmla="*/ 1 w 72"/>
                <a:gd name="T39" fmla="*/ 0 h 75"/>
                <a:gd name="T40" fmla="*/ 1 w 72"/>
                <a:gd name="T41" fmla="*/ 1 h 75"/>
                <a:gd name="T42" fmla="*/ 1 w 72"/>
                <a:gd name="T43" fmla="*/ 1 h 75"/>
                <a:gd name="T44" fmla="*/ 0 w 72"/>
                <a:gd name="T45" fmla="*/ 1 h 75"/>
                <a:gd name="T46" fmla="*/ 0 w 72"/>
                <a:gd name="T47" fmla="*/ 1 h 7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72"/>
                <a:gd name="T73" fmla="*/ 0 h 75"/>
                <a:gd name="T74" fmla="*/ 72 w 72"/>
                <a:gd name="T75" fmla="*/ 75 h 75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72" h="75">
                  <a:moveTo>
                    <a:pt x="0" y="13"/>
                  </a:moveTo>
                  <a:lnTo>
                    <a:pt x="8" y="18"/>
                  </a:lnTo>
                  <a:lnTo>
                    <a:pt x="15" y="25"/>
                  </a:lnTo>
                  <a:lnTo>
                    <a:pt x="23" y="32"/>
                  </a:lnTo>
                  <a:lnTo>
                    <a:pt x="31" y="40"/>
                  </a:lnTo>
                  <a:lnTo>
                    <a:pt x="37" y="48"/>
                  </a:lnTo>
                  <a:lnTo>
                    <a:pt x="42" y="57"/>
                  </a:lnTo>
                  <a:lnTo>
                    <a:pt x="45" y="65"/>
                  </a:lnTo>
                  <a:lnTo>
                    <a:pt x="46" y="75"/>
                  </a:lnTo>
                  <a:lnTo>
                    <a:pt x="72" y="75"/>
                  </a:lnTo>
                  <a:lnTo>
                    <a:pt x="65" y="50"/>
                  </a:lnTo>
                  <a:lnTo>
                    <a:pt x="60" y="34"/>
                  </a:lnTo>
                  <a:lnTo>
                    <a:pt x="60" y="27"/>
                  </a:lnTo>
                  <a:lnTo>
                    <a:pt x="63" y="19"/>
                  </a:lnTo>
                  <a:lnTo>
                    <a:pt x="67" y="11"/>
                  </a:lnTo>
                  <a:lnTo>
                    <a:pt x="72" y="1"/>
                  </a:lnTo>
                  <a:lnTo>
                    <a:pt x="52" y="0"/>
                  </a:lnTo>
                  <a:lnTo>
                    <a:pt x="32" y="0"/>
                  </a:lnTo>
                  <a:lnTo>
                    <a:pt x="22" y="1"/>
                  </a:lnTo>
                  <a:lnTo>
                    <a:pt x="13" y="3"/>
                  </a:lnTo>
                  <a:lnTo>
                    <a:pt x="9" y="5"/>
                  </a:lnTo>
                  <a:lnTo>
                    <a:pt x="6" y="7"/>
                  </a:lnTo>
                  <a:lnTo>
                    <a:pt x="2" y="10"/>
                  </a:lnTo>
                  <a:lnTo>
                    <a:pt x="0" y="13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87" name="Freeform 285"/>
            <p:cNvSpPr>
              <a:spLocks/>
            </p:cNvSpPr>
            <p:nvPr/>
          </p:nvSpPr>
          <p:spPr bwMode="auto">
            <a:xfrm>
              <a:off x="5160" y="2389"/>
              <a:ext cx="5" cy="16"/>
            </a:xfrm>
            <a:custGeom>
              <a:avLst/>
              <a:gdLst>
                <a:gd name="T0" fmla="*/ 2 w 15"/>
                <a:gd name="T1" fmla="*/ 5 h 49"/>
                <a:gd name="T2" fmla="*/ 2 w 15"/>
                <a:gd name="T3" fmla="*/ 4 h 49"/>
                <a:gd name="T4" fmla="*/ 2 w 15"/>
                <a:gd name="T5" fmla="*/ 2 h 49"/>
                <a:gd name="T6" fmla="*/ 2 w 15"/>
                <a:gd name="T7" fmla="*/ 1 h 49"/>
                <a:gd name="T8" fmla="*/ 1 w 15"/>
                <a:gd name="T9" fmla="*/ 1 h 49"/>
                <a:gd name="T10" fmla="*/ 1 w 15"/>
                <a:gd name="T11" fmla="*/ 0 h 49"/>
                <a:gd name="T12" fmla="*/ 1 w 15"/>
                <a:gd name="T13" fmla="*/ 0 h 49"/>
                <a:gd name="T14" fmla="*/ 0 w 15"/>
                <a:gd name="T15" fmla="*/ 1 h 49"/>
                <a:gd name="T16" fmla="*/ 0 w 15"/>
                <a:gd name="T17" fmla="*/ 2 h 49"/>
                <a:gd name="T18" fmla="*/ 0 w 15"/>
                <a:gd name="T19" fmla="*/ 3 h 49"/>
                <a:gd name="T20" fmla="*/ 0 w 15"/>
                <a:gd name="T21" fmla="*/ 3 h 49"/>
                <a:gd name="T22" fmla="*/ 0 w 15"/>
                <a:gd name="T23" fmla="*/ 4 h 49"/>
                <a:gd name="T24" fmla="*/ 0 w 15"/>
                <a:gd name="T25" fmla="*/ 5 h 49"/>
                <a:gd name="T26" fmla="*/ 1 w 15"/>
                <a:gd name="T27" fmla="*/ 5 h 49"/>
                <a:gd name="T28" fmla="*/ 1 w 15"/>
                <a:gd name="T29" fmla="*/ 5 h 49"/>
                <a:gd name="T30" fmla="*/ 1 w 15"/>
                <a:gd name="T31" fmla="*/ 5 h 49"/>
                <a:gd name="T32" fmla="*/ 2 w 15"/>
                <a:gd name="T33" fmla="*/ 5 h 4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5"/>
                <a:gd name="T52" fmla="*/ 0 h 49"/>
                <a:gd name="T53" fmla="*/ 15 w 15"/>
                <a:gd name="T54" fmla="*/ 49 h 4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5" h="49">
                  <a:moveTo>
                    <a:pt x="15" y="49"/>
                  </a:moveTo>
                  <a:lnTo>
                    <a:pt x="15" y="33"/>
                  </a:lnTo>
                  <a:lnTo>
                    <a:pt x="15" y="19"/>
                  </a:lnTo>
                  <a:lnTo>
                    <a:pt x="14" y="13"/>
                  </a:lnTo>
                  <a:lnTo>
                    <a:pt x="13" y="7"/>
                  </a:lnTo>
                  <a:lnTo>
                    <a:pt x="11" y="3"/>
                  </a:lnTo>
                  <a:lnTo>
                    <a:pt x="9" y="0"/>
                  </a:lnTo>
                  <a:lnTo>
                    <a:pt x="4" y="7"/>
                  </a:lnTo>
                  <a:lnTo>
                    <a:pt x="2" y="15"/>
                  </a:lnTo>
                  <a:lnTo>
                    <a:pt x="0" y="23"/>
                  </a:lnTo>
                  <a:lnTo>
                    <a:pt x="0" y="30"/>
                  </a:lnTo>
                  <a:lnTo>
                    <a:pt x="1" y="36"/>
                  </a:lnTo>
                  <a:lnTo>
                    <a:pt x="4" y="42"/>
                  </a:lnTo>
                  <a:lnTo>
                    <a:pt x="7" y="44"/>
                  </a:lnTo>
                  <a:lnTo>
                    <a:pt x="9" y="46"/>
                  </a:lnTo>
                  <a:lnTo>
                    <a:pt x="12" y="48"/>
                  </a:lnTo>
                  <a:lnTo>
                    <a:pt x="15" y="49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88" name="Freeform 286"/>
            <p:cNvSpPr>
              <a:spLocks/>
            </p:cNvSpPr>
            <p:nvPr/>
          </p:nvSpPr>
          <p:spPr bwMode="auto">
            <a:xfrm>
              <a:off x="5139" y="2387"/>
              <a:ext cx="15" cy="13"/>
            </a:xfrm>
            <a:custGeom>
              <a:avLst/>
              <a:gdLst>
                <a:gd name="T0" fmla="*/ 2 w 47"/>
                <a:gd name="T1" fmla="*/ 1 h 40"/>
                <a:gd name="T2" fmla="*/ 0 w 47"/>
                <a:gd name="T3" fmla="*/ 4 h 40"/>
                <a:gd name="T4" fmla="*/ 1 w 47"/>
                <a:gd name="T5" fmla="*/ 4 h 40"/>
                <a:gd name="T6" fmla="*/ 1 w 47"/>
                <a:gd name="T7" fmla="*/ 4 h 40"/>
                <a:gd name="T8" fmla="*/ 2 w 47"/>
                <a:gd name="T9" fmla="*/ 4 h 40"/>
                <a:gd name="T10" fmla="*/ 3 w 47"/>
                <a:gd name="T11" fmla="*/ 4 h 40"/>
                <a:gd name="T12" fmla="*/ 3 w 47"/>
                <a:gd name="T13" fmla="*/ 4 h 40"/>
                <a:gd name="T14" fmla="*/ 4 w 47"/>
                <a:gd name="T15" fmla="*/ 4 h 40"/>
                <a:gd name="T16" fmla="*/ 4 w 47"/>
                <a:gd name="T17" fmla="*/ 3 h 40"/>
                <a:gd name="T18" fmla="*/ 5 w 47"/>
                <a:gd name="T19" fmla="*/ 3 h 40"/>
                <a:gd name="T20" fmla="*/ 5 w 47"/>
                <a:gd name="T21" fmla="*/ 0 h 40"/>
                <a:gd name="T22" fmla="*/ 4 w 47"/>
                <a:gd name="T23" fmla="*/ 0 h 40"/>
                <a:gd name="T24" fmla="*/ 4 w 47"/>
                <a:gd name="T25" fmla="*/ 0 h 40"/>
                <a:gd name="T26" fmla="*/ 3 w 47"/>
                <a:gd name="T27" fmla="*/ 0 h 40"/>
                <a:gd name="T28" fmla="*/ 2 w 47"/>
                <a:gd name="T29" fmla="*/ 1 h 4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7"/>
                <a:gd name="T46" fmla="*/ 0 h 40"/>
                <a:gd name="T47" fmla="*/ 47 w 47"/>
                <a:gd name="T48" fmla="*/ 40 h 4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7" h="40">
                  <a:moveTo>
                    <a:pt x="20" y="6"/>
                  </a:moveTo>
                  <a:lnTo>
                    <a:pt x="0" y="37"/>
                  </a:lnTo>
                  <a:lnTo>
                    <a:pt x="6" y="39"/>
                  </a:lnTo>
                  <a:lnTo>
                    <a:pt x="12" y="40"/>
                  </a:lnTo>
                  <a:lnTo>
                    <a:pt x="19" y="39"/>
                  </a:lnTo>
                  <a:lnTo>
                    <a:pt x="26" y="38"/>
                  </a:lnTo>
                  <a:lnTo>
                    <a:pt x="32" y="36"/>
                  </a:lnTo>
                  <a:lnTo>
                    <a:pt x="39" y="33"/>
                  </a:lnTo>
                  <a:lnTo>
                    <a:pt x="43" y="30"/>
                  </a:lnTo>
                  <a:lnTo>
                    <a:pt x="47" y="25"/>
                  </a:lnTo>
                  <a:lnTo>
                    <a:pt x="47" y="0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6" y="3"/>
                  </a:lnTo>
                  <a:lnTo>
                    <a:pt x="20" y="6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89" name="Freeform 287"/>
            <p:cNvSpPr>
              <a:spLocks/>
            </p:cNvSpPr>
            <p:nvPr/>
          </p:nvSpPr>
          <p:spPr bwMode="auto">
            <a:xfrm>
              <a:off x="5184" y="2465"/>
              <a:ext cx="13" cy="10"/>
            </a:xfrm>
            <a:custGeom>
              <a:avLst/>
              <a:gdLst>
                <a:gd name="T0" fmla="*/ 0 w 39"/>
                <a:gd name="T1" fmla="*/ 0 h 31"/>
                <a:gd name="T2" fmla="*/ 0 w 39"/>
                <a:gd name="T3" fmla="*/ 1 h 31"/>
                <a:gd name="T4" fmla="*/ 1 w 39"/>
                <a:gd name="T5" fmla="*/ 1 h 31"/>
                <a:gd name="T6" fmla="*/ 1 w 39"/>
                <a:gd name="T7" fmla="*/ 2 h 31"/>
                <a:gd name="T8" fmla="*/ 2 w 39"/>
                <a:gd name="T9" fmla="*/ 2 h 31"/>
                <a:gd name="T10" fmla="*/ 3 w 39"/>
                <a:gd name="T11" fmla="*/ 3 h 31"/>
                <a:gd name="T12" fmla="*/ 3 w 39"/>
                <a:gd name="T13" fmla="*/ 3 h 31"/>
                <a:gd name="T14" fmla="*/ 4 w 39"/>
                <a:gd name="T15" fmla="*/ 3 h 31"/>
                <a:gd name="T16" fmla="*/ 4 w 39"/>
                <a:gd name="T17" fmla="*/ 3 h 31"/>
                <a:gd name="T18" fmla="*/ 4 w 39"/>
                <a:gd name="T19" fmla="*/ 2 h 31"/>
                <a:gd name="T20" fmla="*/ 3 w 39"/>
                <a:gd name="T21" fmla="*/ 2 h 31"/>
                <a:gd name="T22" fmla="*/ 2 w 39"/>
                <a:gd name="T23" fmla="*/ 1 h 31"/>
                <a:gd name="T24" fmla="*/ 1 w 39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9"/>
                <a:gd name="T40" fmla="*/ 0 h 31"/>
                <a:gd name="T41" fmla="*/ 39 w 39"/>
                <a:gd name="T42" fmla="*/ 31 h 3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9" h="31">
                  <a:moveTo>
                    <a:pt x="0" y="0"/>
                  </a:moveTo>
                  <a:lnTo>
                    <a:pt x="3" y="8"/>
                  </a:lnTo>
                  <a:lnTo>
                    <a:pt x="6" y="13"/>
                  </a:lnTo>
                  <a:lnTo>
                    <a:pt x="12" y="19"/>
                  </a:lnTo>
                  <a:lnTo>
                    <a:pt x="17" y="23"/>
                  </a:lnTo>
                  <a:lnTo>
                    <a:pt x="23" y="26"/>
                  </a:lnTo>
                  <a:lnTo>
                    <a:pt x="28" y="29"/>
                  </a:lnTo>
                  <a:lnTo>
                    <a:pt x="34" y="31"/>
                  </a:lnTo>
                  <a:lnTo>
                    <a:pt x="39" y="31"/>
                  </a:lnTo>
                  <a:lnTo>
                    <a:pt x="33" y="22"/>
                  </a:lnTo>
                  <a:lnTo>
                    <a:pt x="25" y="14"/>
                  </a:lnTo>
                  <a:lnTo>
                    <a:pt x="16" y="7"/>
                  </a:lnTo>
                  <a:lnTo>
                    <a:pt x="6" y="0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0" name="Freeform 288"/>
            <p:cNvSpPr>
              <a:spLocks/>
            </p:cNvSpPr>
            <p:nvPr/>
          </p:nvSpPr>
          <p:spPr bwMode="auto">
            <a:xfrm>
              <a:off x="5172" y="2410"/>
              <a:ext cx="10" cy="6"/>
            </a:xfrm>
            <a:custGeom>
              <a:avLst/>
              <a:gdLst>
                <a:gd name="T0" fmla="*/ 0 w 34"/>
                <a:gd name="T1" fmla="*/ 0 h 19"/>
                <a:gd name="T2" fmla="*/ 3 w 34"/>
                <a:gd name="T3" fmla="*/ 2 h 19"/>
                <a:gd name="T4" fmla="*/ 3 w 34"/>
                <a:gd name="T5" fmla="*/ 0 h 19"/>
                <a:gd name="T6" fmla="*/ 2 w 34"/>
                <a:gd name="T7" fmla="*/ 0 h 19"/>
                <a:gd name="T8" fmla="*/ 1 w 34"/>
                <a:gd name="T9" fmla="*/ 0 h 19"/>
                <a:gd name="T10" fmla="*/ 1 w 34"/>
                <a:gd name="T11" fmla="*/ 0 h 19"/>
                <a:gd name="T12" fmla="*/ 0 w 34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4"/>
                <a:gd name="T22" fmla="*/ 0 h 19"/>
                <a:gd name="T23" fmla="*/ 34 w 34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4" h="19">
                  <a:moveTo>
                    <a:pt x="0" y="0"/>
                  </a:moveTo>
                  <a:lnTo>
                    <a:pt x="34" y="19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4" y="0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1" name="Freeform 289"/>
            <p:cNvSpPr>
              <a:spLocks/>
            </p:cNvSpPr>
            <p:nvPr/>
          </p:nvSpPr>
          <p:spPr bwMode="auto">
            <a:xfrm>
              <a:off x="5180" y="2471"/>
              <a:ext cx="6" cy="4"/>
            </a:xfrm>
            <a:custGeom>
              <a:avLst/>
              <a:gdLst>
                <a:gd name="T0" fmla="*/ 0 w 19"/>
                <a:gd name="T1" fmla="*/ 0 h 12"/>
                <a:gd name="T2" fmla="*/ 2 w 19"/>
                <a:gd name="T3" fmla="*/ 1 h 12"/>
                <a:gd name="T4" fmla="*/ 1 w 19"/>
                <a:gd name="T5" fmla="*/ 1 h 12"/>
                <a:gd name="T6" fmla="*/ 1 w 19"/>
                <a:gd name="T7" fmla="*/ 1 h 1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9"/>
                <a:gd name="T13" fmla="*/ 0 h 12"/>
                <a:gd name="T14" fmla="*/ 19 w 19"/>
                <a:gd name="T15" fmla="*/ 12 h 1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9" h="12">
                  <a:moveTo>
                    <a:pt x="0" y="0"/>
                  </a:moveTo>
                  <a:lnTo>
                    <a:pt x="19" y="12"/>
                  </a:lnTo>
                  <a:lnTo>
                    <a:pt x="13" y="6"/>
                  </a:lnTo>
                  <a:lnTo>
                    <a:pt x="6" y="6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2" name="Freeform 290"/>
            <p:cNvSpPr>
              <a:spLocks/>
            </p:cNvSpPr>
            <p:nvPr/>
          </p:nvSpPr>
          <p:spPr bwMode="auto">
            <a:xfrm>
              <a:off x="5062" y="2447"/>
              <a:ext cx="42" cy="55"/>
            </a:xfrm>
            <a:custGeom>
              <a:avLst/>
              <a:gdLst>
                <a:gd name="T0" fmla="*/ 13 w 126"/>
                <a:gd name="T1" fmla="*/ 0 h 166"/>
                <a:gd name="T2" fmla="*/ 13 w 126"/>
                <a:gd name="T3" fmla="*/ 1 h 166"/>
                <a:gd name="T4" fmla="*/ 13 w 126"/>
                <a:gd name="T5" fmla="*/ 1 h 166"/>
                <a:gd name="T6" fmla="*/ 14 w 126"/>
                <a:gd name="T7" fmla="*/ 1 h 166"/>
                <a:gd name="T8" fmla="*/ 14 w 126"/>
                <a:gd name="T9" fmla="*/ 2 h 166"/>
                <a:gd name="T10" fmla="*/ 14 w 126"/>
                <a:gd name="T11" fmla="*/ 2 h 166"/>
                <a:gd name="T12" fmla="*/ 14 w 126"/>
                <a:gd name="T13" fmla="*/ 3 h 166"/>
                <a:gd name="T14" fmla="*/ 14 w 126"/>
                <a:gd name="T15" fmla="*/ 4 h 166"/>
                <a:gd name="T16" fmla="*/ 13 w 126"/>
                <a:gd name="T17" fmla="*/ 5 h 166"/>
                <a:gd name="T18" fmla="*/ 13 w 126"/>
                <a:gd name="T19" fmla="*/ 6 h 166"/>
                <a:gd name="T20" fmla="*/ 12 w 126"/>
                <a:gd name="T21" fmla="*/ 7 h 166"/>
                <a:gd name="T22" fmla="*/ 10 w 126"/>
                <a:gd name="T23" fmla="*/ 9 h 166"/>
                <a:gd name="T24" fmla="*/ 8 w 126"/>
                <a:gd name="T25" fmla="*/ 11 h 166"/>
                <a:gd name="T26" fmla="*/ 6 w 126"/>
                <a:gd name="T27" fmla="*/ 14 h 166"/>
                <a:gd name="T28" fmla="*/ 4 w 126"/>
                <a:gd name="T29" fmla="*/ 16 h 166"/>
                <a:gd name="T30" fmla="*/ 3 w 126"/>
                <a:gd name="T31" fmla="*/ 17 h 166"/>
                <a:gd name="T32" fmla="*/ 2 w 126"/>
                <a:gd name="T33" fmla="*/ 17 h 166"/>
                <a:gd name="T34" fmla="*/ 1 w 126"/>
                <a:gd name="T35" fmla="*/ 18 h 166"/>
                <a:gd name="T36" fmla="*/ 0 w 126"/>
                <a:gd name="T37" fmla="*/ 18 h 166"/>
                <a:gd name="T38" fmla="*/ 0 w 126"/>
                <a:gd name="T39" fmla="*/ 18 h 166"/>
                <a:gd name="T40" fmla="*/ 0 w 126"/>
                <a:gd name="T41" fmla="*/ 17 h 166"/>
                <a:gd name="T42" fmla="*/ 0 w 126"/>
                <a:gd name="T43" fmla="*/ 16 h 166"/>
                <a:gd name="T44" fmla="*/ 0 w 126"/>
                <a:gd name="T45" fmla="*/ 15 h 166"/>
                <a:gd name="T46" fmla="*/ 0 w 126"/>
                <a:gd name="T47" fmla="*/ 14 h 166"/>
                <a:gd name="T48" fmla="*/ 1 w 126"/>
                <a:gd name="T49" fmla="*/ 14 h 166"/>
                <a:gd name="T50" fmla="*/ 1 w 126"/>
                <a:gd name="T51" fmla="*/ 14 h 166"/>
                <a:gd name="T52" fmla="*/ 2 w 126"/>
                <a:gd name="T53" fmla="*/ 13 h 166"/>
                <a:gd name="T54" fmla="*/ 3 w 126"/>
                <a:gd name="T55" fmla="*/ 13 h 166"/>
                <a:gd name="T56" fmla="*/ 4 w 126"/>
                <a:gd name="T57" fmla="*/ 12 h 166"/>
                <a:gd name="T58" fmla="*/ 4 w 126"/>
                <a:gd name="T59" fmla="*/ 11 h 166"/>
                <a:gd name="T60" fmla="*/ 5 w 126"/>
                <a:gd name="T61" fmla="*/ 11 h 166"/>
                <a:gd name="T62" fmla="*/ 6 w 126"/>
                <a:gd name="T63" fmla="*/ 10 h 166"/>
                <a:gd name="T64" fmla="*/ 6 w 126"/>
                <a:gd name="T65" fmla="*/ 9 h 166"/>
                <a:gd name="T66" fmla="*/ 7 w 126"/>
                <a:gd name="T67" fmla="*/ 7 h 166"/>
                <a:gd name="T68" fmla="*/ 8 w 126"/>
                <a:gd name="T69" fmla="*/ 6 h 166"/>
                <a:gd name="T70" fmla="*/ 9 w 126"/>
                <a:gd name="T71" fmla="*/ 4 h 166"/>
                <a:gd name="T72" fmla="*/ 10 w 126"/>
                <a:gd name="T73" fmla="*/ 3 h 166"/>
                <a:gd name="T74" fmla="*/ 10 w 126"/>
                <a:gd name="T75" fmla="*/ 2 h 166"/>
                <a:gd name="T76" fmla="*/ 11 w 126"/>
                <a:gd name="T77" fmla="*/ 1 h 166"/>
                <a:gd name="T78" fmla="*/ 12 w 126"/>
                <a:gd name="T79" fmla="*/ 1 h 166"/>
                <a:gd name="T80" fmla="*/ 13 w 126"/>
                <a:gd name="T81" fmla="*/ 0 h 16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26"/>
                <a:gd name="T124" fmla="*/ 0 h 166"/>
                <a:gd name="T125" fmla="*/ 126 w 126"/>
                <a:gd name="T126" fmla="*/ 166 h 16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26" h="166">
                  <a:moveTo>
                    <a:pt x="113" y="0"/>
                  </a:moveTo>
                  <a:lnTo>
                    <a:pt x="117" y="5"/>
                  </a:lnTo>
                  <a:lnTo>
                    <a:pt x="121" y="10"/>
                  </a:lnTo>
                  <a:lnTo>
                    <a:pt x="124" y="13"/>
                  </a:lnTo>
                  <a:lnTo>
                    <a:pt x="125" y="17"/>
                  </a:lnTo>
                  <a:lnTo>
                    <a:pt x="126" y="20"/>
                  </a:lnTo>
                  <a:lnTo>
                    <a:pt x="126" y="25"/>
                  </a:lnTo>
                  <a:lnTo>
                    <a:pt x="123" y="32"/>
                  </a:lnTo>
                  <a:lnTo>
                    <a:pt x="118" y="41"/>
                  </a:lnTo>
                  <a:lnTo>
                    <a:pt x="113" y="50"/>
                  </a:lnTo>
                  <a:lnTo>
                    <a:pt x="106" y="61"/>
                  </a:lnTo>
                  <a:lnTo>
                    <a:pt x="91" y="83"/>
                  </a:lnTo>
                  <a:lnTo>
                    <a:pt x="72" y="104"/>
                  </a:lnTo>
                  <a:lnTo>
                    <a:pt x="53" y="126"/>
                  </a:lnTo>
                  <a:lnTo>
                    <a:pt x="34" y="144"/>
                  </a:lnTo>
                  <a:lnTo>
                    <a:pt x="25" y="152"/>
                  </a:lnTo>
                  <a:lnTo>
                    <a:pt x="16" y="158"/>
                  </a:lnTo>
                  <a:lnTo>
                    <a:pt x="7" y="163"/>
                  </a:lnTo>
                  <a:lnTo>
                    <a:pt x="0" y="166"/>
                  </a:lnTo>
                  <a:lnTo>
                    <a:pt x="0" y="160"/>
                  </a:lnTo>
                  <a:lnTo>
                    <a:pt x="0" y="153"/>
                  </a:lnTo>
                  <a:lnTo>
                    <a:pt x="0" y="145"/>
                  </a:lnTo>
                  <a:lnTo>
                    <a:pt x="0" y="136"/>
                  </a:lnTo>
                  <a:lnTo>
                    <a:pt x="3" y="131"/>
                  </a:lnTo>
                  <a:lnTo>
                    <a:pt x="6" y="128"/>
                  </a:lnTo>
                  <a:lnTo>
                    <a:pt x="12" y="124"/>
                  </a:lnTo>
                  <a:lnTo>
                    <a:pt x="16" y="121"/>
                  </a:lnTo>
                  <a:lnTo>
                    <a:pt x="26" y="116"/>
                  </a:lnTo>
                  <a:lnTo>
                    <a:pt x="33" y="110"/>
                  </a:lnTo>
                  <a:lnTo>
                    <a:pt x="40" y="104"/>
                  </a:lnTo>
                  <a:lnTo>
                    <a:pt x="48" y="96"/>
                  </a:lnTo>
                  <a:lnTo>
                    <a:pt x="53" y="89"/>
                  </a:lnTo>
                  <a:lnTo>
                    <a:pt x="58" y="82"/>
                  </a:lnTo>
                  <a:lnTo>
                    <a:pt x="67" y="66"/>
                  </a:lnTo>
                  <a:lnTo>
                    <a:pt x="72" y="50"/>
                  </a:lnTo>
                  <a:lnTo>
                    <a:pt x="79" y="36"/>
                  </a:lnTo>
                  <a:lnTo>
                    <a:pt x="87" y="23"/>
                  </a:lnTo>
                  <a:lnTo>
                    <a:pt x="92" y="16"/>
                  </a:lnTo>
                  <a:lnTo>
                    <a:pt x="97" y="11"/>
                  </a:lnTo>
                  <a:lnTo>
                    <a:pt x="104" y="5"/>
                  </a:lnTo>
                  <a:lnTo>
                    <a:pt x="113" y="0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3" name="Freeform 291"/>
            <p:cNvSpPr>
              <a:spLocks/>
            </p:cNvSpPr>
            <p:nvPr/>
          </p:nvSpPr>
          <p:spPr bwMode="auto">
            <a:xfrm>
              <a:off x="5154" y="2465"/>
              <a:ext cx="85" cy="86"/>
            </a:xfrm>
            <a:custGeom>
              <a:avLst/>
              <a:gdLst>
                <a:gd name="T0" fmla="*/ 1 w 259"/>
                <a:gd name="T1" fmla="*/ 20 h 259"/>
                <a:gd name="T2" fmla="*/ 0 w 259"/>
                <a:gd name="T3" fmla="*/ 18 h 259"/>
                <a:gd name="T4" fmla="*/ 0 w 259"/>
                <a:gd name="T5" fmla="*/ 16 h 259"/>
                <a:gd name="T6" fmla="*/ 1 w 259"/>
                <a:gd name="T7" fmla="*/ 14 h 259"/>
                <a:gd name="T8" fmla="*/ 2 w 259"/>
                <a:gd name="T9" fmla="*/ 14 h 259"/>
                <a:gd name="T10" fmla="*/ 4 w 259"/>
                <a:gd name="T11" fmla="*/ 13 h 259"/>
                <a:gd name="T12" fmla="*/ 5 w 259"/>
                <a:gd name="T13" fmla="*/ 11 h 259"/>
                <a:gd name="T14" fmla="*/ 7 w 259"/>
                <a:gd name="T15" fmla="*/ 10 h 259"/>
                <a:gd name="T16" fmla="*/ 7 w 259"/>
                <a:gd name="T17" fmla="*/ 10 h 259"/>
                <a:gd name="T18" fmla="*/ 9 w 259"/>
                <a:gd name="T19" fmla="*/ 10 h 259"/>
                <a:gd name="T20" fmla="*/ 10 w 259"/>
                <a:gd name="T21" fmla="*/ 10 h 259"/>
                <a:gd name="T22" fmla="*/ 11 w 259"/>
                <a:gd name="T23" fmla="*/ 12 h 259"/>
                <a:gd name="T24" fmla="*/ 11 w 259"/>
                <a:gd name="T25" fmla="*/ 12 h 259"/>
                <a:gd name="T26" fmla="*/ 13 w 259"/>
                <a:gd name="T27" fmla="*/ 12 h 259"/>
                <a:gd name="T28" fmla="*/ 14 w 259"/>
                <a:gd name="T29" fmla="*/ 12 h 259"/>
                <a:gd name="T30" fmla="*/ 16 w 259"/>
                <a:gd name="T31" fmla="*/ 10 h 259"/>
                <a:gd name="T32" fmla="*/ 17 w 259"/>
                <a:gd name="T33" fmla="*/ 9 h 259"/>
                <a:gd name="T34" fmla="*/ 19 w 259"/>
                <a:gd name="T35" fmla="*/ 6 h 259"/>
                <a:gd name="T36" fmla="*/ 20 w 259"/>
                <a:gd name="T37" fmla="*/ 2 h 259"/>
                <a:gd name="T38" fmla="*/ 21 w 259"/>
                <a:gd name="T39" fmla="*/ 0 h 259"/>
                <a:gd name="T40" fmla="*/ 22 w 259"/>
                <a:gd name="T41" fmla="*/ 1 h 259"/>
                <a:gd name="T42" fmla="*/ 23 w 259"/>
                <a:gd name="T43" fmla="*/ 2 h 259"/>
                <a:gd name="T44" fmla="*/ 24 w 259"/>
                <a:gd name="T45" fmla="*/ 4 h 259"/>
                <a:gd name="T46" fmla="*/ 24 w 259"/>
                <a:gd name="T47" fmla="*/ 6 h 259"/>
                <a:gd name="T48" fmla="*/ 24 w 259"/>
                <a:gd name="T49" fmla="*/ 7 h 259"/>
                <a:gd name="T50" fmla="*/ 25 w 259"/>
                <a:gd name="T51" fmla="*/ 8 h 259"/>
                <a:gd name="T52" fmla="*/ 25 w 259"/>
                <a:gd name="T53" fmla="*/ 10 h 259"/>
                <a:gd name="T54" fmla="*/ 25 w 259"/>
                <a:gd name="T55" fmla="*/ 12 h 259"/>
                <a:gd name="T56" fmla="*/ 26 w 259"/>
                <a:gd name="T57" fmla="*/ 12 h 259"/>
                <a:gd name="T58" fmla="*/ 26 w 259"/>
                <a:gd name="T59" fmla="*/ 13 h 259"/>
                <a:gd name="T60" fmla="*/ 27 w 259"/>
                <a:gd name="T61" fmla="*/ 15 h 259"/>
                <a:gd name="T62" fmla="*/ 27 w 259"/>
                <a:gd name="T63" fmla="*/ 18 h 259"/>
                <a:gd name="T64" fmla="*/ 26 w 259"/>
                <a:gd name="T65" fmla="*/ 26 h 259"/>
                <a:gd name="T66" fmla="*/ 26 w 259"/>
                <a:gd name="T67" fmla="*/ 25 h 259"/>
                <a:gd name="T68" fmla="*/ 26 w 259"/>
                <a:gd name="T69" fmla="*/ 23 h 259"/>
                <a:gd name="T70" fmla="*/ 26 w 259"/>
                <a:gd name="T71" fmla="*/ 21 h 259"/>
                <a:gd name="T72" fmla="*/ 24 w 259"/>
                <a:gd name="T73" fmla="*/ 21 h 259"/>
                <a:gd name="T74" fmla="*/ 22 w 259"/>
                <a:gd name="T75" fmla="*/ 20 h 259"/>
                <a:gd name="T76" fmla="*/ 21 w 259"/>
                <a:gd name="T77" fmla="*/ 22 h 259"/>
                <a:gd name="T78" fmla="*/ 20 w 259"/>
                <a:gd name="T79" fmla="*/ 24 h 259"/>
                <a:gd name="T80" fmla="*/ 20 w 259"/>
                <a:gd name="T81" fmla="*/ 29 h 259"/>
                <a:gd name="T82" fmla="*/ 13 w 259"/>
                <a:gd name="T83" fmla="*/ 27 h 259"/>
                <a:gd name="T84" fmla="*/ 12 w 259"/>
                <a:gd name="T85" fmla="*/ 24 h 259"/>
                <a:gd name="T86" fmla="*/ 11 w 259"/>
                <a:gd name="T87" fmla="*/ 23 h 259"/>
                <a:gd name="T88" fmla="*/ 11 w 259"/>
                <a:gd name="T89" fmla="*/ 22 h 259"/>
                <a:gd name="T90" fmla="*/ 11 w 259"/>
                <a:gd name="T91" fmla="*/ 21 h 259"/>
                <a:gd name="T92" fmla="*/ 12 w 259"/>
                <a:gd name="T93" fmla="*/ 20 h 259"/>
                <a:gd name="T94" fmla="*/ 12 w 259"/>
                <a:gd name="T95" fmla="*/ 19 h 259"/>
                <a:gd name="T96" fmla="*/ 10 w 259"/>
                <a:gd name="T97" fmla="*/ 17 h 259"/>
                <a:gd name="T98" fmla="*/ 3 w 259"/>
                <a:gd name="T99" fmla="*/ 17 h 259"/>
                <a:gd name="T100" fmla="*/ 2 w 259"/>
                <a:gd name="T101" fmla="*/ 18 h 259"/>
                <a:gd name="T102" fmla="*/ 2 w 259"/>
                <a:gd name="T103" fmla="*/ 19 h 259"/>
                <a:gd name="T104" fmla="*/ 1 w 259"/>
                <a:gd name="T105" fmla="*/ 21 h 25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59"/>
                <a:gd name="T160" fmla="*/ 0 h 259"/>
                <a:gd name="T161" fmla="*/ 259 w 259"/>
                <a:gd name="T162" fmla="*/ 259 h 259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59" h="259">
                  <a:moveTo>
                    <a:pt x="13" y="192"/>
                  </a:moveTo>
                  <a:lnTo>
                    <a:pt x="8" y="182"/>
                  </a:lnTo>
                  <a:lnTo>
                    <a:pt x="4" y="173"/>
                  </a:lnTo>
                  <a:lnTo>
                    <a:pt x="1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6" y="130"/>
                  </a:lnTo>
                  <a:lnTo>
                    <a:pt x="13" y="128"/>
                  </a:lnTo>
                  <a:lnTo>
                    <a:pt x="19" y="126"/>
                  </a:lnTo>
                  <a:lnTo>
                    <a:pt x="24" y="123"/>
                  </a:lnTo>
                  <a:lnTo>
                    <a:pt x="34" y="117"/>
                  </a:lnTo>
                  <a:lnTo>
                    <a:pt x="41" y="108"/>
                  </a:lnTo>
                  <a:lnTo>
                    <a:pt x="48" y="100"/>
                  </a:lnTo>
                  <a:lnTo>
                    <a:pt x="56" y="93"/>
                  </a:lnTo>
                  <a:lnTo>
                    <a:pt x="60" y="91"/>
                  </a:lnTo>
                  <a:lnTo>
                    <a:pt x="63" y="89"/>
                  </a:lnTo>
                  <a:lnTo>
                    <a:pt x="68" y="87"/>
                  </a:lnTo>
                  <a:lnTo>
                    <a:pt x="73" y="87"/>
                  </a:lnTo>
                  <a:lnTo>
                    <a:pt x="83" y="87"/>
                  </a:lnTo>
                  <a:lnTo>
                    <a:pt x="93" y="87"/>
                  </a:lnTo>
                  <a:lnTo>
                    <a:pt x="94" y="93"/>
                  </a:lnTo>
                  <a:lnTo>
                    <a:pt x="97" y="101"/>
                  </a:lnTo>
                  <a:lnTo>
                    <a:pt x="101" y="105"/>
                  </a:lnTo>
                  <a:lnTo>
                    <a:pt x="104" y="108"/>
                  </a:lnTo>
                  <a:lnTo>
                    <a:pt x="108" y="110"/>
                  </a:lnTo>
                  <a:lnTo>
                    <a:pt x="113" y="111"/>
                  </a:lnTo>
                  <a:lnTo>
                    <a:pt x="120" y="110"/>
                  </a:lnTo>
                  <a:lnTo>
                    <a:pt x="127" y="108"/>
                  </a:lnTo>
                  <a:lnTo>
                    <a:pt x="135" y="104"/>
                  </a:lnTo>
                  <a:lnTo>
                    <a:pt x="141" y="99"/>
                  </a:lnTo>
                  <a:lnTo>
                    <a:pt x="148" y="93"/>
                  </a:lnTo>
                  <a:lnTo>
                    <a:pt x="153" y="86"/>
                  </a:lnTo>
                  <a:lnTo>
                    <a:pt x="160" y="78"/>
                  </a:lnTo>
                  <a:lnTo>
                    <a:pt x="165" y="70"/>
                  </a:lnTo>
                  <a:lnTo>
                    <a:pt x="174" y="51"/>
                  </a:lnTo>
                  <a:lnTo>
                    <a:pt x="183" y="33"/>
                  </a:lnTo>
                  <a:lnTo>
                    <a:pt x="188" y="16"/>
                  </a:lnTo>
                  <a:lnTo>
                    <a:pt x="193" y="0"/>
                  </a:lnTo>
                  <a:lnTo>
                    <a:pt x="195" y="4"/>
                  </a:lnTo>
                  <a:lnTo>
                    <a:pt x="198" y="9"/>
                  </a:lnTo>
                  <a:lnTo>
                    <a:pt x="202" y="12"/>
                  </a:lnTo>
                  <a:lnTo>
                    <a:pt x="206" y="15"/>
                  </a:lnTo>
                  <a:lnTo>
                    <a:pt x="213" y="18"/>
                  </a:lnTo>
                  <a:lnTo>
                    <a:pt x="219" y="19"/>
                  </a:lnTo>
                  <a:lnTo>
                    <a:pt x="219" y="32"/>
                  </a:lnTo>
                  <a:lnTo>
                    <a:pt x="219" y="44"/>
                  </a:lnTo>
                  <a:lnTo>
                    <a:pt x="219" y="52"/>
                  </a:lnTo>
                  <a:lnTo>
                    <a:pt x="219" y="55"/>
                  </a:lnTo>
                  <a:lnTo>
                    <a:pt x="227" y="61"/>
                  </a:lnTo>
                  <a:lnTo>
                    <a:pt x="231" y="66"/>
                  </a:lnTo>
                  <a:lnTo>
                    <a:pt x="234" y="70"/>
                  </a:lnTo>
                  <a:lnTo>
                    <a:pt x="239" y="75"/>
                  </a:lnTo>
                  <a:lnTo>
                    <a:pt x="234" y="88"/>
                  </a:lnTo>
                  <a:lnTo>
                    <a:pt x="233" y="100"/>
                  </a:lnTo>
                  <a:lnTo>
                    <a:pt x="234" y="104"/>
                  </a:lnTo>
                  <a:lnTo>
                    <a:pt x="234" y="108"/>
                  </a:lnTo>
                  <a:lnTo>
                    <a:pt x="237" y="110"/>
                  </a:lnTo>
                  <a:lnTo>
                    <a:pt x="239" y="111"/>
                  </a:lnTo>
                  <a:lnTo>
                    <a:pt x="243" y="121"/>
                  </a:lnTo>
                  <a:lnTo>
                    <a:pt x="247" y="129"/>
                  </a:lnTo>
                  <a:lnTo>
                    <a:pt x="249" y="137"/>
                  </a:lnTo>
                  <a:lnTo>
                    <a:pt x="251" y="145"/>
                  </a:lnTo>
                  <a:lnTo>
                    <a:pt x="254" y="161"/>
                  </a:lnTo>
                  <a:lnTo>
                    <a:pt x="259" y="179"/>
                  </a:lnTo>
                  <a:lnTo>
                    <a:pt x="245" y="235"/>
                  </a:lnTo>
                  <a:lnTo>
                    <a:pt x="241" y="230"/>
                  </a:lnTo>
                  <a:lnTo>
                    <a:pt x="239" y="222"/>
                  </a:lnTo>
                  <a:lnTo>
                    <a:pt x="238" y="215"/>
                  </a:lnTo>
                  <a:lnTo>
                    <a:pt x="237" y="208"/>
                  </a:lnTo>
                  <a:lnTo>
                    <a:pt x="238" y="196"/>
                  </a:lnTo>
                  <a:lnTo>
                    <a:pt x="239" y="192"/>
                  </a:lnTo>
                  <a:lnTo>
                    <a:pt x="231" y="191"/>
                  </a:lnTo>
                  <a:lnTo>
                    <a:pt x="222" y="188"/>
                  </a:lnTo>
                  <a:lnTo>
                    <a:pt x="213" y="184"/>
                  </a:lnTo>
                  <a:lnTo>
                    <a:pt x="206" y="179"/>
                  </a:lnTo>
                  <a:lnTo>
                    <a:pt x="199" y="189"/>
                  </a:lnTo>
                  <a:lnTo>
                    <a:pt x="194" y="199"/>
                  </a:lnTo>
                  <a:lnTo>
                    <a:pt x="191" y="209"/>
                  </a:lnTo>
                  <a:lnTo>
                    <a:pt x="188" y="219"/>
                  </a:lnTo>
                  <a:lnTo>
                    <a:pt x="186" y="240"/>
                  </a:lnTo>
                  <a:lnTo>
                    <a:pt x="185" y="259"/>
                  </a:lnTo>
                  <a:lnTo>
                    <a:pt x="132" y="259"/>
                  </a:lnTo>
                  <a:lnTo>
                    <a:pt x="124" y="242"/>
                  </a:lnTo>
                  <a:lnTo>
                    <a:pt x="115" y="226"/>
                  </a:lnTo>
                  <a:lnTo>
                    <a:pt x="110" y="220"/>
                  </a:lnTo>
                  <a:lnTo>
                    <a:pt x="105" y="214"/>
                  </a:lnTo>
                  <a:lnTo>
                    <a:pt x="99" y="209"/>
                  </a:lnTo>
                  <a:lnTo>
                    <a:pt x="93" y="204"/>
                  </a:lnTo>
                  <a:lnTo>
                    <a:pt x="97" y="196"/>
                  </a:lnTo>
                  <a:lnTo>
                    <a:pt x="102" y="190"/>
                  </a:lnTo>
                  <a:lnTo>
                    <a:pt x="105" y="186"/>
                  </a:lnTo>
                  <a:lnTo>
                    <a:pt x="108" y="183"/>
                  </a:lnTo>
                  <a:lnTo>
                    <a:pt x="112" y="180"/>
                  </a:lnTo>
                  <a:lnTo>
                    <a:pt x="114" y="177"/>
                  </a:lnTo>
                  <a:lnTo>
                    <a:pt x="117" y="173"/>
                  </a:lnTo>
                  <a:lnTo>
                    <a:pt x="119" y="166"/>
                  </a:lnTo>
                  <a:lnTo>
                    <a:pt x="93" y="154"/>
                  </a:lnTo>
                  <a:lnTo>
                    <a:pt x="32" y="154"/>
                  </a:lnTo>
                  <a:lnTo>
                    <a:pt x="28" y="155"/>
                  </a:lnTo>
                  <a:lnTo>
                    <a:pt x="24" y="158"/>
                  </a:lnTo>
                  <a:lnTo>
                    <a:pt x="20" y="163"/>
                  </a:lnTo>
                  <a:lnTo>
                    <a:pt x="18" y="168"/>
                  </a:lnTo>
                  <a:lnTo>
                    <a:pt x="16" y="175"/>
                  </a:lnTo>
                  <a:lnTo>
                    <a:pt x="14" y="181"/>
                  </a:lnTo>
                  <a:lnTo>
                    <a:pt x="13" y="187"/>
                  </a:lnTo>
                  <a:lnTo>
                    <a:pt x="13" y="192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4" name="Freeform 292"/>
            <p:cNvSpPr>
              <a:spLocks/>
            </p:cNvSpPr>
            <p:nvPr/>
          </p:nvSpPr>
          <p:spPr bwMode="auto">
            <a:xfrm>
              <a:off x="5104" y="2395"/>
              <a:ext cx="23" cy="31"/>
            </a:xfrm>
            <a:custGeom>
              <a:avLst/>
              <a:gdLst>
                <a:gd name="T0" fmla="*/ 7 w 72"/>
                <a:gd name="T1" fmla="*/ 5 h 92"/>
                <a:gd name="T2" fmla="*/ 7 w 72"/>
                <a:gd name="T3" fmla="*/ 10 h 92"/>
                <a:gd name="T4" fmla="*/ 7 w 72"/>
                <a:gd name="T5" fmla="*/ 10 h 92"/>
                <a:gd name="T6" fmla="*/ 6 w 72"/>
                <a:gd name="T7" fmla="*/ 9 h 92"/>
                <a:gd name="T8" fmla="*/ 5 w 72"/>
                <a:gd name="T9" fmla="*/ 8 h 92"/>
                <a:gd name="T10" fmla="*/ 5 w 72"/>
                <a:gd name="T11" fmla="*/ 8 h 92"/>
                <a:gd name="T12" fmla="*/ 4 w 72"/>
                <a:gd name="T13" fmla="*/ 7 h 92"/>
                <a:gd name="T14" fmla="*/ 3 w 72"/>
                <a:gd name="T15" fmla="*/ 5 h 92"/>
                <a:gd name="T16" fmla="*/ 3 w 72"/>
                <a:gd name="T17" fmla="*/ 4 h 92"/>
                <a:gd name="T18" fmla="*/ 2 w 72"/>
                <a:gd name="T19" fmla="*/ 3 h 92"/>
                <a:gd name="T20" fmla="*/ 1 w 72"/>
                <a:gd name="T21" fmla="*/ 1 h 92"/>
                <a:gd name="T22" fmla="*/ 0 w 72"/>
                <a:gd name="T23" fmla="*/ 0 h 92"/>
                <a:gd name="T24" fmla="*/ 3 w 72"/>
                <a:gd name="T25" fmla="*/ 1 h 92"/>
                <a:gd name="T26" fmla="*/ 4 w 72"/>
                <a:gd name="T27" fmla="*/ 2 h 92"/>
                <a:gd name="T28" fmla="*/ 5 w 72"/>
                <a:gd name="T29" fmla="*/ 3 h 92"/>
                <a:gd name="T30" fmla="*/ 6 w 72"/>
                <a:gd name="T31" fmla="*/ 3 h 92"/>
                <a:gd name="T32" fmla="*/ 7 w 72"/>
                <a:gd name="T33" fmla="*/ 4 h 92"/>
                <a:gd name="T34" fmla="*/ 7 w 72"/>
                <a:gd name="T35" fmla="*/ 5 h 9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72"/>
                <a:gd name="T55" fmla="*/ 0 h 92"/>
                <a:gd name="T56" fmla="*/ 72 w 72"/>
                <a:gd name="T57" fmla="*/ 92 h 9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72" h="92">
                  <a:moveTo>
                    <a:pt x="72" y="43"/>
                  </a:moveTo>
                  <a:lnTo>
                    <a:pt x="72" y="92"/>
                  </a:lnTo>
                  <a:lnTo>
                    <a:pt x="65" y="86"/>
                  </a:lnTo>
                  <a:lnTo>
                    <a:pt x="58" y="81"/>
                  </a:lnTo>
                  <a:lnTo>
                    <a:pt x="51" y="75"/>
                  </a:lnTo>
                  <a:lnTo>
                    <a:pt x="46" y="69"/>
                  </a:lnTo>
                  <a:lnTo>
                    <a:pt x="38" y="58"/>
                  </a:lnTo>
                  <a:lnTo>
                    <a:pt x="32" y="46"/>
                  </a:lnTo>
                  <a:lnTo>
                    <a:pt x="25" y="34"/>
                  </a:lnTo>
                  <a:lnTo>
                    <a:pt x="19" y="23"/>
                  </a:lnTo>
                  <a:lnTo>
                    <a:pt x="11" y="12"/>
                  </a:lnTo>
                  <a:lnTo>
                    <a:pt x="0" y="0"/>
                  </a:lnTo>
                  <a:lnTo>
                    <a:pt x="25" y="12"/>
                  </a:lnTo>
                  <a:lnTo>
                    <a:pt x="44" y="21"/>
                  </a:lnTo>
                  <a:lnTo>
                    <a:pt x="51" y="26"/>
                  </a:lnTo>
                  <a:lnTo>
                    <a:pt x="58" y="31"/>
                  </a:lnTo>
                  <a:lnTo>
                    <a:pt x="66" y="36"/>
                  </a:lnTo>
                  <a:lnTo>
                    <a:pt x="72" y="43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5" name="Freeform 293"/>
            <p:cNvSpPr>
              <a:spLocks/>
            </p:cNvSpPr>
            <p:nvPr/>
          </p:nvSpPr>
          <p:spPr bwMode="auto">
            <a:xfrm>
              <a:off x="5143" y="2436"/>
              <a:ext cx="16" cy="21"/>
            </a:xfrm>
            <a:custGeom>
              <a:avLst/>
              <a:gdLst>
                <a:gd name="T0" fmla="*/ 1 w 46"/>
                <a:gd name="T1" fmla="*/ 1 h 62"/>
                <a:gd name="T2" fmla="*/ 2 w 46"/>
                <a:gd name="T3" fmla="*/ 1 h 62"/>
                <a:gd name="T4" fmla="*/ 4 w 46"/>
                <a:gd name="T5" fmla="*/ 0 h 62"/>
                <a:gd name="T6" fmla="*/ 5 w 46"/>
                <a:gd name="T7" fmla="*/ 0 h 62"/>
                <a:gd name="T8" fmla="*/ 6 w 46"/>
                <a:gd name="T9" fmla="*/ 0 h 62"/>
                <a:gd name="T10" fmla="*/ 6 w 46"/>
                <a:gd name="T11" fmla="*/ 1 h 62"/>
                <a:gd name="T12" fmla="*/ 6 w 46"/>
                <a:gd name="T13" fmla="*/ 2 h 62"/>
                <a:gd name="T14" fmla="*/ 6 w 46"/>
                <a:gd name="T15" fmla="*/ 3 h 62"/>
                <a:gd name="T16" fmla="*/ 6 w 46"/>
                <a:gd name="T17" fmla="*/ 4 h 62"/>
                <a:gd name="T18" fmla="*/ 6 w 46"/>
                <a:gd name="T19" fmla="*/ 5 h 62"/>
                <a:gd name="T20" fmla="*/ 5 w 46"/>
                <a:gd name="T21" fmla="*/ 6 h 62"/>
                <a:gd name="T22" fmla="*/ 5 w 46"/>
                <a:gd name="T23" fmla="*/ 6 h 62"/>
                <a:gd name="T24" fmla="*/ 5 w 46"/>
                <a:gd name="T25" fmla="*/ 7 h 62"/>
                <a:gd name="T26" fmla="*/ 4 w 46"/>
                <a:gd name="T27" fmla="*/ 7 h 62"/>
                <a:gd name="T28" fmla="*/ 4 w 46"/>
                <a:gd name="T29" fmla="*/ 7 h 62"/>
                <a:gd name="T30" fmla="*/ 3 w 46"/>
                <a:gd name="T31" fmla="*/ 7 h 62"/>
                <a:gd name="T32" fmla="*/ 3 w 46"/>
                <a:gd name="T33" fmla="*/ 7 h 62"/>
                <a:gd name="T34" fmla="*/ 2 w 46"/>
                <a:gd name="T35" fmla="*/ 7 h 62"/>
                <a:gd name="T36" fmla="*/ 2 w 46"/>
                <a:gd name="T37" fmla="*/ 6 h 62"/>
                <a:gd name="T38" fmla="*/ 1 w 46"/>
                <a:gd name="T39" fmla="*/ 6 h 62"/>
                <a:gd name="T40" fmla="*/ 1 w 46"/>
                <a:gd name="T41" fmla="*/ 6 h 62"/>
                <a:gd name="T42" fmla="*/ 1 w 46"/>
                <a:gd name="T43" fmla="*/ 5 h 62"/>
                <a:gd name="T44" fmla="*/ 0 w 46"/>
                <a:gd name="T45" fmla="*/ 5 h 62"/>
                <a:gd name="T46" fmla="*/ 0 w 46"/>
                <a:gd name="T47" fmla="*/ 4 h 62"/>
                <a:gd name="T48" fmla="*/ 0 w 46"/>
                <a:gd name="T49" fmla="*/ 3 h 62"/>
                <a:gd name="T50" fmla="*/ 0 w 46"/>
                <a:gd name="T51" fmla="*/ 2 h 62"/>
                <a:gd name="T52" fmla="*/ 0 w 46"/>
                <a:gd name="T53" fmla="*/ 1 h 62"/>
                <a:gd name="T54" fmla="*/ 1 w 46"/>
                <a:gd name="T55" fmla="*/ 1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46"/>
                <a:gd name="T85" fmla="*/ 0 h 62"/>
                <a:gd name="T86" fmla="*/ 46 w 46"/>
                <a:gd name="T87" fmla="*/ 62 h 62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46" h="62">
                  <a:moveTo>
                    <a:pt x="6" y="6"/>
                  </a:moveTo>
                  <a:lnTo>
                    <a:pt x="19" y="5"/>
                  </a:lnTo>
                  <a:lnTo>
                    <a:pt x="31" y="3"/>
                  </a:lnTo>
                  <a:lnTo>
                    <a:pt x="39" y="1"/>
                  </a:lnTo>
                  <a:lnTo>
                    <a:pt x="46" y="0"/>
                  </a:lnTo>
                  <a:lnTo>
                    <a:pt x="46" y="9"/>
                  </a:lnTo>
                  <a:lnTo>
                    <a:pt x="46" y="18"/>
                  </a:lnTo>
                  <a:lnTo>
                    <a:pt x="46" y="27"/>
                  </a:lnTo>
                  <a:lnTo>
                    <a:pt x="46" y="38"/>
                  </a:lnTo>
                  <a:lnTo>
                    <a:pt x="45" y="46"/>
                  </a:lnTo>
                  <a:lnTo>
                    <a:pt x="41" y="54"/>
                  </a:lnTo>
                  <a:lnTo>
                    <a:pt x="39" y="57"/>
                  </a:lnTo>
                  <a:lnTo>
                    <a:pt x="37" y="60"/>
                  </a:lnTo>
                  <a:lnTo>
                    <a:pt x="35" y="61"/>
                  </a:lnTo>
                  <a:lnTo>
                    <a:pt x="33" y="62"/>
                  </a:lnTo>
                  <a:lnTo>
                    <a:pt x="27" y="61"/>
                  </a:lnTo>
                  <a:lnTo>
                    <a:pt x="22" y="60"/>
                  </a:lnTo>
                  <a:lnTo>
                    <a:pt x="17" y="59"/>
                  </a:lnTo>
                  <a:lnTo>
                    <a:pt x="14" y="57"/>
                  </a:lnTo>
                  <a:lnTo>
                    <a:pt x="11" y="54"/>
                  </a:lnTo>
                  <a:lnTo>
                    <a:pt x="7" y="51"/>
                  </a:lnTo>
                  <a:lnTo>
                    <a:pt x="5" y="47"/>
                  </a:lnTo>
                  <a:lnTo>
                    <a:pt x="4" y="44"/>
                  </a:lnTo>
                  <a:lnTo>
                    <a:pt x="1" y="34"/>
                  </a:lnTo>
                  <a:lnTo>
                    <a:pt x="0" y="25"/>
                  </a:lnTo>
                  <a:lnTo>
                    <a:pt x="0" y="16"/>
                  </a:lnTo>
                  <a:lnTo>
                    <a:pt x="0" y="6"/>
                  </a:lnTo>
                  <a:lnTo>
                    <a:pt x="6" y="6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6" name="Freeform 294"/>
            <p:cNvSpPr>
              <a:spLocks/>
            </p:cNvSpPr>
            <p:nvPr/>
          </p:nvSpPr>
          <p:spPr bwMode="auto">
            <a:xfrm>
              <a:off x="5089" y="2295"/>
              <a:ext cx="50" cy="98"/>
            </a:xfrm>
            <a:custGeom>
              <a:avLst/>
              <a:gdLst>
                <a:gd name="T0" fmla="*/ 6 w 152"/>
                <a:gd name="T1" fmla="*/ 0 h 296"/>
                <a:gd name="T2" fmla="*/ 7 w 152"/>
                <a:gd name="T3" fmla="*/ 1 h 296"/>
                <a:gd name="T4" fmla="*/ 8 w 152"/>
                <a:gd name="T5" fmla="*/ 2 h 296"/>
                <a:gd name="T6" fmla="*/ 10 w 152"/>
                <a:gd name="T7" fmla="*/ 3 h 296"/>
                <a:gd name="T8" fmla="*/ 11 w 152"/>
                <a:gd name="T9" fmla="*/ 3 h 296"/>
                <a:gd name="T10" fmla="*/ 12 w 152"/>
                <a:gd name="T11" fmla="*/ 2 h 296"/>
                <a:gd name="T12" fmla="*/ 13 w 152"/>
                <a:gd name="T13" fmla="*/ 1 h 296"/>
                <a:gd name="T14" fmla="*/ 13 w 152"/>
                <a:gd name="T15" fmla="*/ 4 h 296"/>
                <a:gd name="T16" fmla="*/ 14 w 152"/>
                <a:gd name="T17" fmla="*/ 7 h 296"/>
                <a:gd name="T18" fmla="*/ 15 w 152"/>
                <a:gd name="T19" fmla="*/ 9 h 296"/>
                <a:gd name="T20" fmla="*/ 16 w 152"/>
                <a:gd name="T21" fmla="*/ 10 h 296"/>
                <a:gd name="T22" fmla="*/ 16 w 152"/>
                <a:gd name="T23" fmla="*/ 11 h 296"/>
                <a:gd name="T24" fmla="*/ 15 w 152"/>
                <a:gd name="T25" fmla="*/ 13 h 296"/>
                <a:gd name="T26" fmla="*/ 14 w 152"/>
                <a:gd name="T27" fmla="*/ 15 h 296"/>
                <a:gd name="T28" fmla="*/ 13 w 152"/>
                <a:gd name="T29" fmla="*/ 17 h 296"/>
                <a:gd name="T30" fmla="*/ 12 w 152"/>
                <a:gd name="T31" fmla="*/ 19 h 296"/>
                <a:gd name="T32" fmla="*/ 13 w 152"/>
                <a:gd name="T33" fmla="*/ 22 h 296"/>
                <a:gd name="T34" fmla="*/ 13 w 152"/>
                <a:gd name="T35" fmla="*/ 23 h 296"/>
                <a:gd name="T36" fmla="*/ 12 w 152"/>
                <a:gd name="T37" fmla="*/ 24 h 296"/>
                <a:gd name="T38" fmla="*/ 13 w 152"/>
                <a:gd name="T39" fmla="*/ 24 h 296"/>
                <a:gd name="T40" fmla="*/ 16 w 152"/>
                <a:gd name="T41" fmla="*/ 24 h 296"/>
                <a:gd name="T42" fmla="*/ 15 w 152"/>
                <a:gd name="T43" fmla="*/ 27 h 296"/>
                <a:gd name="T44" fmla="*/ 15 w 152"/>
                <a:gd name="T45" fmla="*/ 29 h 296"/>
                <a:gd name="T46" fmla="*/ 16 w 152"/>
                <a:gd name="T47" fmla="*/ 31 h 296"/>
                <a:gd name="T48" fmla="*/ 13 w 152"/>
                <a:gd name="T49" fmla="*/ 32 h 296"/>
                <a:gd name="T50" fmla="*/ 12 w 152"/>
                <a:gd name="T51" fmla="*/ 32 h 296"/>
                <a:gd name="T52" fmla="*/ 9 w 152"/>
                <a:gd name="T53" fmla="*/ 32 h 296"/>
                <a:gd name="T54" fmla="*/ 8 w 152"/>
                <a:gd name="T55" fmla="*/ 31 h 296"/>
                <a:gd name="T56" fmla="*/ 7 w 152"/>
                <a:gd name="T57" fmla="*/ 31 h 296"/>
                <a:gd name="T58" fmla="*/ 7 w 152"/>
                <a:gd name="T59" fmla="*/ 30 h 296"/>
                <a:gd name="T60" fmla="*/ 9 w 152"/>
                <a:gd name="T61" fmla="*/ 28 h 296"/>
                <a:gd name="T62" fmla="*/ 8 w 152"/>
                <a:gd name="T63" fmla="*/ 27 h 296"/>
                <a:gd name="T64" fmla="*/ 6 w 152"/>
                <a:gd name="T65" fmla="*/ 26 h 296"/>
                <a:gd name="T66" fmla="*/ 4 w 152"/>
                <a:gd name="T67" fmla="*/ 25 h 296"/>
                <a:gd name="T68" fmla="*/ 3 w 152"/>
                <a:gd name="T69" fmla="*/ 24 h 296"/>
                <a:gd name="T70" fmla="*/ 2 w 152"/>
                <a:gd name="T71" fmla="*/ 23 h 296"/>
                <a:gd name="T72" fmla="*/ 1 w 152"/>
                <a:gd name="T73" fmla="*/ 21 h 296"/>
                <a:gd name="T74" fmla="*/ 0 w 152"/>
                <a:gd name="T75" fmla="*/ 19 h 296"/>
                <a:gd name="T76" fmla="*/ 0 w 152"/>
                <a:gd name="T77" fmla="*/ 17 h 296"/>
                <a:gd name="T78" fmla="*/ 0 w 152"/>
                <a:gd name="T79" fmla="*/ 14 h 296"/>
                <a:gd name="T80" fmla="*/ 3 w 152"/>
                <a:gd name="T81" fmla="*/ 12 h 296"/>
                <a:gd name="T82" fmla="*/ 4 w 152"/>
                <a:gd name="T83" fmla="*/ 5 h 296"/>
                <a:gd name="T84" fmla="*/ 3 w 152"/>
                <a:gd name="T85" fmla="*/ 2 h 296"/>
                <a:gd name="T86" fmla="*/ 3 w 152"/>
                <a:gd name="T87" fmla="*/ 0 h 29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52"/>
                <a:gd name="T133" fmla="*/ 0 h 296"/>
                <a:gd name="T134" fmla="*/ 152 w 152"/>
                <a:gd name="T135" fmla="*/ 296 h 29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52" h="296">
                  <a:moveTo>
                    <a:pt x="26" y="0"/>
                  </a:moveTo>
                  <a:lnTo>
                    <a:pt x="59" y="0"/>
                  </a:lnTo>
                  <a:lnTo>
                    <a:pt x="62" y="4"/>
                  </a:lnTo>
                  <a:lnTo>
                    <a:pt x="66" y="9"/>
                  </a:lnTo>
                  <a:lnTo>
                    <a:pt x="71" y="13"/>
                  </a:lnTo>
                  <a:lnTo>
                    <a:pt x="77" y="17"/>
                  </a:lnTo>
                  <a:lnTo>
                    <a:pt x="82" y="21"/>
                  </a:lnTo>
                  <a:lnTo>
                    <a:pt x="88" y="23"/>
                  </a:lnTo>
                  <a:lnTo>
                    <a:pt x="93" y="24"/>
                  </a:lnTo>
                  <a:lnTo>
                    <a:pt x="99" y="25"/>
                  </a:lnTo>
                  <a:lnTo>
                    <a:pt x="104" y="24"/>
                  </a:lnTo>
                  <a:lnTo>
                    <a:pt x="108" y="21"/>
                  </a:lnTo>
                  <a:lnTo>
                    <a:pt x="114" y="17"/>
                  </a:lnTo>
                  <a:lnTo>
                    <a:pt x="118" y="12"/>
                  </a:lnTo>
                  <a:lnTo>
                    <a:pt x="119" y="23"/>
                  </a:lnTo>
                  <a:lnTo>
                    <a:pt x="122" y="35"/>
                  </a:lnTo>
                  <a:lnTo>
                    <a:pt x="126" y="49"/>
                  </a:lnTo>
                  <a:lnTo>
                    <a:pt x="130" y="62"/>
                  </a:lnTo>
                  <a:lnTo>
                    <a:pt x="136" y="76"/>
                  </a:lnTo>
                  <a:lnTo>
                    <a:pt x="141" y="86"/>
                  </a:lnTo>
                  <a:lnTo>
                    <a:pt x="144" y="91"/>
                  </a:lnTo>
                  <a:lnTo>
                    <a:pt x="147" y="94"/>
                  </a:lnTo>
                  <a:lnTo>
                    <a:pt x="149" y="97"/>
                  </a:lnTo>
                  <a:lnTo>
                    <a:pt x="152" y="99"/>
                  </a:lnTo>
                  <a:lnTo>
                    <a:pt x="148" y="110"/>
                  </a:lnTo>
                  <a:lnTo>
                    <a:pt x="143" y="120"/>
                  </a:lnTo>
                  <a:lnTo>
                    <a:pt x="137" y="131"/>
                  </a:lnTo>
                  <a:lnTo>
                    <a:pt x="129" y="140"/>
                  </a:lnTo>
                  <a:lnTo>
                    <a:pt x="123" y="149"/>
                  </a:lnTo>
                  <a:lnTo>
                    <a:pt x="117" y="157"/>
                  </a:lnTo>
                  <a:lnTo>
                    <a:pt x="114" y="165"/>
                  </a:lnTo>
                  <a:lnTo>
                    <a:pt x="112" y="172"/>
                  </a:lnTo>
                  <a:lnTo>
                    <a:pt x="113" y="187"/>
                  </a:lnTo>
                  <a:lnTo>
                    <a:pt x="115" y="197"/>
                  </a:lnTo>
                  <a:lnTo>
                    <a:pt x="115" y="201"/>
                  </a:lnTo>
                  <a:lnTo>
                    <a:pt x="115" y="205"/>
                  </a:lnTo>
                  <a:lnTo>
                    <a:pt x="114" y="210"/>
                  </a:lnTo>
                  <a:lnTo>
                    <a:pt x="112" y="216"/>
                  </a:lnTo>
                  <a:lnTo>
                    <a:pt x="118" y="216"/>
                  </a:lnTo>
                  <a:lnTo>
                    <a:pt x="126" y="216"/>
                  </a:lnTo>
                  <a:lnTo>
                    <a:pt x="136" y="216"/>
                  </a:lnTo>
                  <a:lnTo>
                    <a:pt x="146" y="216"/>
                  </a:lnTo>
                  <a:lnTo>
                    <a:pt x="139" y="235"/>
                  </a:lnTo>
                  <a:lnTo>
                    <a:pt x="136" y="252"/>
                  </a:lnTo>
                  <a:lnTo>
                    <a:pt x="135" y="259"/>
                  </a:lnTo>
                  <a:lnTo>
                    <a:pt x="136" y="267"/>
                  </a:lnTo>
                  <a:lnTo>
                    <a:pt x="139" y="275"/>
                  </a:lnTo>
                  <a:lnTo>
                    <a:pt x="146" y="283"/>
                  </a:lnTo>
                  <a:lnTo>
                    <a:pt x="136" y="288"/>
                  </a:lnTo>
                  <a:lnTo>
                    <a:pt x="125" y="291"/>
                  </a:lnTo>
                  <a:lnTo>
                    <a:pt x="115" y="295"/>
                  </a:lnTo>
                  <a:lnTo>
                    <a:pt x="105" y="296"/>
                  </a:lnTo>
                  <a:lnTo>
                    <a:pt x="94" y="296"/>
                  </a:lnTo>
                  <a:lnTo>
                    <a:pt x="85" y="294"/>
                  </a:lnTo>
                  <a:lnTo>
                    <a:pt x="79" y="291"/>
                  </a:lnTo>
                  <a:lnTo>
                    <a:pt x="73" y="288"/>
                  </a:lnTo>
                  <a:lnTo>
                    <a:pt x="70" y="284"/>
                  </a:lnTo>
                  <a:lnTo>
                    <a:pt x="67" y="280"/>
                  </a:lnTo>
                  <a:lnTo>
                    <a:pt x="66" y="276"/>
                  </a:lnTo>
                  <a:lnTo>
                    <a:pt x="66" y="271"/>
                  </a:lnTo>
                  <a:lnTo>
                    <a:pt x="76" y="262"/>
                  </a:lnTo>
                  <a:lnTo>
                    <a:pt x="85" y="253"/>
                  </a:lnTo>
                  <a:lnTo>
                    <a:pt x="77" y="251"/>
                  </a:lnTo>
                  <a:lnTo>
                    <a:pt x="69" y="249"/>
                  </a:lnTo>
                  <a:lnTo>
                    <a:pt x="60" y="246"/>
                  </a:lnTo>
                  <a:lnTo>
                    <a:pt x="52" y="242"/>
                  </a:lnTo>
                  <a:lnTo>
                    <a:pt x="45" y="236"/>
                  </a:lnTo>
                  <a:lnTo>
                    <a:pt x="38" y="231"/>
                  </a:lnTo>
                  <a:lnTo>
                    <a:pt x="32" y="226"/>
                  </a:lnTo>
                  <a:lnTo>
                    <a:pt x="25" y="219"/>
                  </a:lnTo>
                  <a:lnTo>
                    <a:pt x="20" y="213"/>
                  </a:lnTo>
                  <a:lnTo>
                    <a:pt x="14" y="205"/>
                  </a:lnTo>
                  <a:lnTo>
                    <a:pt x="10" y="198"/>
                  </a:lnTo>
                  <a:lnTo>
                    <a:pt x="6" y="190"/>
                  </a:lnTo>
                  <a:lnTo>
                    <a:pt x="3" y="180"/>
                  </a:lnTo>
                  <a:lnTo>
                    <a:pt x="1" y="172"/>
                  </a:lnTo>
                  <a:lnTo>
                    <a:pt x="0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26" y="130"/>
                  </a:lnTo>
                  <a:lnTo>
                    <a:pt x="27" y="106"/>
                  </a:lnTo>
                  <a:lnTo>
                    <a:pt x="31" y="67"/>
                  </a:lnTo>
                  <a:lnTo>
                    <a:pt x="32" y="46"/>
                  </a:lnTo>
                  <a:lnTo>
                    <a:pt x="32" y="27"/>
                  </a:lnTo>
                  <a:lnTo>
                    <a:pt x="31" y="18"/>
                  </a:lnTo>
                  <a:lnTo>
                    <a:pt x="29" y="10"/>
                  </a:lnTo>
                  <a:lnTo>
                    <a:pt x="28" y="4"/>
                  </a:lnTo>
                  <a:lnTo>
                    <a:pt x="26" y="0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7" name="Freeform 295"/>
            <p:cNvSpPr>
              <a:spLocks/>
            </p:cNvSpPr>
            <p:nvPr/>
          </p:nvSpPr>
          <p:spPr bwMode="auto">
            <a:xfrm>
              <a:off x="5189" y="2442"/>
              <a:ext cx="8" cy="13"/>
            </a:xfrm>
            <a:custGeom>
              <a:avLst/>
              <a:gdLst>
                <a:gd name="T0" fmla="*/ 2 w 26"/>
                <a:gd name="T1" fmla="*/ 4 h 38"/>
                <a:gd name="T2" fmla="*/ 2 w 26"/>
                <a:gd name="T3" fmla="*/ 0 h 38"/>
                <a:gd name="T4" fmla="*/ 2 w 26"/>
                <a:gd name="T5" fmla="*/ 0 h 38"/>
                <a:gd name="T6" fmla="*/ 1 w 26"/>
                <a:gd name="T7" fmla="*/ 0 h 38"/>
                <a:gd name="T8" fmla="*/ 1 w 26"/>
                <a:gd name="T9" fmla="*/ 1 h 38"/>
                <a:gd name="T10" fmla="*/ 0 w 26"/>
                <a:gd name="T11" fmla="*/ 1 h 38"/>
                <a:gd name="T12" fmla="*/ 2 w 26"/>
                <a:gd name="T13" fmla="*/ 3 h 38"/>
                <a:gd name="T14" fmla="*/ 2 w 26"/>
                <a:gd name="T15" fmla="*/ 4 h 3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6"/>
                <a:gd name="T25" fmla="*/ 0 h 38"/>
                <a:gd name="T26" fmla="*/ 26 w 26"/>
                <a:gd name="T27" fmla="*/ 38 h 3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6" h="38">
                  <a:moveTo>
                    <a:pt x="26" y="38"/>
                  </a:moveTo>
                  <a:lnTo>
                    <a:pt x="26" y="0"/>
                  </a:lnTo>
                  <a:lnTo>
                    <a:pt x="21" y="1"/>
                  </a:lnTo>
                  <a:lnTo>
                    <a:pt x="13" y="4"/>
                  </a:lnTo>
                  <a:lnTo>
                    <a:pt x="6" y="8"/>
                  </a:lnTo>
                  <a:lnTo>
                    <a:pt x="0" y="13"/>
                  </a:lnTo>
                  <a:lnTo>
                    <a:pt x="18" y="30"/>
                  </a:lnTo>
                  <a:lnTo>
                    <a:pt x="26" y="38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8" name="Freeform 296"/>
            <p:cNvSpPr>
              <a:spLocks/>
            </p:cNvSpPr>
            <p:nvPr/>
          </p:nvSpPr>
          <p:spPr bwMode="auto">
            <a:xfrm>
              <a:off x="5165" y="2420"/>
              <a:ext cx="10" cy="10"/>
            </a:xfrm>
            <a:custGeom>
              <a:avLst/>
              <a:gdLst>
                <a:gd name="T0" fmla="*/ 0 w 34"/>
                <a:gd name="T1" fmla="*/ 2 h 31"/>
                <a:gd name="T2" fmla="*/ 1 w 34"/>
                <a:gd name="T3" fmla="*/ 2 h 31"/>
                <a:gd name="T4" fmla="*/ 1 w 34"/>
                <a:gd name="T5" fmla="*/ 3 h 31"/>
                <a:gd name="T6" fmla="*/ 2 w 34"/>
                <a:gd name="T7" fmla="*/ 3 h 31"/>
                <a:gd name="T8" fmla="*/ 3 w 34"/>
                <a:gd name="T9" fmla="*/ 3 h 31"/>
                <a:gd name="T10" fmla="*/ 3 w 34"/>
                <a:gd name="T11" fmla="*/ 3 h 31"/>
                <a:gd name="T12" fmla="*/ 3 w 34"/>
                <a:gd name="T13" fmla="*/ 2 h 31"/>
                <a:gd name="T14" fmla="*/ 2 w 34"/>
                <a:gd name="T15" fmla="*/ 1 h 31"/>
                <a:gd name="T16" fmla="*/ 2 w 34"/>
                <a:gd name="T17" fmla="*/ 0 h 31"/>
                <a:gd name="T18" fmla="*/ 1 w 34"/>
                <a:gd name="T19" fmla="*/ 1 h 31"/>
                <a:gd name="T20" fmla="*/ 1 w 34"/>
                <a:gd name="T21" fmla="*/ 1 h 31"/>
                <a:gd name="T22" fmla="*/ 1 w 34"/>
                <a:gd name="T23" fmla="*/ 2 h 31"/>
                <a:gd name="T24" fmla="*/ 1 w 34"/>
                <a:gd name="T25" fmla="*/ 2 h 31"/>
                <a:gd name="T26" fmla="*/ 0 w 34"/>
                <a:gd name="T27" fmla="*/ 2 h 31"/>
                <a:gd name="T28" fmla="*/ 0 w 34"/>
                <a:gd name="T29" fmla="*/ 2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4"/>
                <a:gd name="T46" fmla="*/ 0 h 31"/>
                <a:gd name="T47" fmla="*/ 34 w 34"/>
                <a:gd name="T48" fmla="*/ 31 h 31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4" h="31">
                  <a:moveTo>
                    <a:pt x="0" y="18"/>
                  </a:moveTo>
                  <a:lnTo>
                    <a:pt x="8" y="22"/>
                  </a:lnTo>
                  <a:lnTo>
                    <a:pt x="17" y="26"/>
                  </a:lnTo>
                  <a:lnTo>
                    <a:pt x="27" y="30"/>
                  </a:lnTo>
                  <a:lnTo>
                    <a:pt x="34" y="31"/>
                  </a:lnTo>
                  <a:lnTo>
                    <a:pt x="33" y="24"/>
                  </a:lnTo>
                  <a:lnTo>
                    <a:pt x="30" y="15"/>
                  </a:lnTo>
                  <a:lnTo>
                    <a:pt x="26" y="6"/>
                  </a:lnTo>
                  <a:lnTo>
                    <a:pt x="20" y="0"/>
                  </a:lnTo>
                  <a:lnTo>
                    <a:pt x="16" y="5"/>
                  </a:lnTo>
                  <a:lnTo>
                    <a:pt x="10" y="11"/>
                  </a:lnTo>
                  <a:lnTo>
                    <a:pt x="8" y="14"/>
                  </a:lnTo>
                  <a:lnTo>
                    <a:pt x="6" y="16"/>
                  </a:lnTo>
                  <a:lnTo>
                    <a:pt x="4" y="18"/>
                  </a:lnTo>
                  <a:lnTo>
                    <a:pt x="0" y="18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9" name="Freeform 297"/>
            <p:cNvSpPr>
              <a:spLocks/>
            </p:cNvSpPr>
            <p:nvPr/>
          </p:nvSpPr>
          <p:spPr bwMode="auto">
            <a:xfrm>
              <a:off x="5139" y="2418"/>
              <a:ext cx="6" cy="12"/>
            </a:xfrm>
            <a:custGeom>
              <a:avLst/>
              <a:gdLst>
                <a:gd name="T0" fmla="*/ 0 w 20"/>
                <a:gd name="T1" fmla="*/ 1 h 37"/>
                <a:gd name="T2" fmla="*/ 0 w 20"/>
                <a:gd name="T3" fmla="*/ 4 h 37"/>
                <a:gd name="T4" fmla="*/ 1 w 20"/>
                <a:gd name="T5" fmla="*/ 4 h 37"/>
                <a:gd name="T6" fmla="*/ 2 w 20"/>
                <a:gd name="T7" fmla="*/ 3 h 37"/>
                <a:gd name="T8" fmla="*/ 2 w 20"/>
                <a:gd name="T9" fmla="*/ 0 h 37"/>
                <a:gd name="T10" fmla="*/ 0 w 20"/>
                <a:gd name="T11" fmla="*/ 1 h 3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0"/>
                <a:gd name="T19" fmla="*/ 0 h 37"/>
                <a:gd name="T20" fmla="*/ 20 w 20"/>
                <a:gd name="T21" fmla="*/ 37 h 3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0" h="37">
                  <a:moveTo>
                    <a:pt x="0" y="6"/>
                  </a:moveTo>
                  <a:lnTo>
                    <a:pt x="0" y="37"/>
                  </a:lnTo>
                  <a:lnTo>
                    <a:pt x="7" y="33"/>
                  </a:lnTo>
                  <a:lnTo>
                    <a:pt x="20" y="30"/>
                  </a:lnTo>
                  <a:lnTo>
                    <a:pt x="20" y="0"/>
                  </a:lnTo>
                  <a:lnTo>
                    <a:pt x="0" y="6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0" name="Line 298"/>
            <p:cNvSpPr>
              <a:spLocks noChangeShapeType="1"/>
            </p:cNvSpPr>
            <p:nvPr/>
          </p:nvSpPr>
          <p:spPr bwMode="auto">
            <a:xfrm>
              <a:off x="5180" y="2449"/>
              <a:ext cx="1" cy="10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1" name="Freeform 299"/>
            <p:cNvSpPr>
              <a:spLocks/>
            </p:cNvSpPr>
            <p:nvPr/>
          </p:nvSpPr>
          <p:spPr bwMode="auto">
            <a:xfrm>
              <a:off x="5180" y="2453"/>
              <a:ext cx="4" cy="6"/>
            </a:xfrm>
            <a:custGeom>
              <a:avLst/>
              <a:gdLst>
                <a:gd name="T0" fmla="*/ 0 w 13"/>
                <a:gd name="T1" fmla="*/ 2 h 18"/>
                <a:gd name="T2" fmla="*/ 0 w 13"/>
                <a:gd name="T3" fmla="*/ 1 h 18"/>
                <a:gd name="T4" fmla="*/ 0 w 13"/>
                <a:gd name="T5" fmla="*/ 1 h 18"/>
                <a:gd name="T6" fmla="*/ 1 w 13"/>
                <a:gd name="T7" fmla="*/ 0 h 18"/>
                <a:gd name="T8" fmla="*/ 1 w 13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"/>
                <a:gd name="T16" fmla="*/ 0 h 18"/>
                <a:gd name="T17" fmla="*/ 13 w 13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" h="18">
                  <a:moveTo>
                    <a:pt x="0" y="18"/>
                  </a:moveTo>
                  <a:lnTo>
                    <a:pt x="1" y="13"/>
                  </a:lnTo>
                  <a:lnTo>
                    <a:pt x="3" y="9"/>
                  </a:lnTo>
                  <a:lnTo>
                    <a:pt x="7" y="4"/>
                  </a:lnTo>
                  <a:lnTo>
                    <a:pt x="13" y="0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2" name="Line 300"/>
            <p:cNvSpPr>
              <a:spLocks noChangeShapeType="1"/>
            </p:cNvSpPr>
            <p:nvPr/>
          </p:nvSpPr>
          <p:spPr bwMode="auto">
            <a:xfrm flipH="1" flipV="1">
              <a:off x="5178" y="2447"/>
              <a:ext cx="6" cy="6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3" name="Freeform 301"/>
            <p:cNvSpPr>
              <a:spLocks/>
            </p:cNvSpPr>
            <p:nvPr/>
          </p:nvSpPr>
          <p:spPr bwMode="auto">
            <a:xfrm>
              <a:off x="5116" y="2564"/>
              <a:ext cx="9" cy="10"/>
            </a:xfrm>
            <a:custGeom>
              <a:avLst/>
              <a:gdLst>
                <a:gd name="T0" fmla="*/ 0 w 27"/>
                <a:gd name="T1" fmla="*/ 0 h 31"/>
                <a:gd name="T2" fmla="*/ 2 w 27"/>
                <a:gd name="T3" fmla="*/ 3 h 31"/>
                <a:gd name="T4" fmla="*/ 3 w 27"/>
                <a:gd name="T5" fmla="*/ 1 h 31"/>
                <a:gd name="T6" fmla="*/ 0 60000 65536"/>
                <a:gd name="T7" fmla="*/ 0 60000 65536"/>
                <a:gd name="T8" fmla="*/ 0 60000 65536"/>
                <a:gd name="T9" fmla="*/ 0 w 27"/>
                <a:gd name="T10" fmla="*/ 0 h 31"/>
                <a:gd name="T11" fmla="*/ 27 w 27"/>
                <a:gd name="T12" fmla="*/ 31 h 3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" h="31">
                  <a:moveTo>
                    <a:pt x="0" y="0"/>
                  </a:moveTo>
                  <a:lnTo>
                    <a:pt x="20" y="31"/>
                  </a:lnTo>
                  <a:lnTo>
                    <a:pt x="27" y="13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4" name="Freeform 302"/>
            <p:cNvSpPr>
              <a:spLocks/>
            </p:cNvSpPr>
            <p:nvPr/>
          </p:nvSpPr>
          <p:spPr bwMode="auto">
            <a:xfrm>
              <a:off x="5119" y="2568"/>
              <a:ext cx="6" cy="1"/>
            </a:xfrm>
            <a:custGeom>
              <a:avLst/>
              <a:gdLst>
                <a:gd name="T0" fmla="*/ 2 w 20"/>
                <a:gd name="T1" fmla="*/ 0 h 1"/>
                <a:gd name="T2" fmla="*/ 1 w 20"/>
                <a:gd name="T3" fmla="*/ 0 h 1"/>
                <a:gd name="T4" fmla="*/ 0 w 20"/>
                <a:gd name="T5" fmla="*/ 0 h 1"/>
                <a:gd name="T6" fmla="*/ 0 60000 65536"/>
                <a:gd name="T7" fmla="*/ 0 60000 65536"/>
                <a:gd name="T8" fmla="*/ 0 60000 65536"/>
                <a:gd name="T9" fmla="*/ 0 w 20"/>
                <a:gd name="T10" fmla="*/ 0 h 1"/>
                <a:gd name="T11" fmla="*/ 20 w 20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0" h="1">
                  <a:moveTo>
                    <a:pt x="20" y="0"/>
                  </a:move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5" name="Freeform 303"/>
            <p:cNvSpPr>
              <a:spLocks/>
            </p:cNvSpPr>
            <p:nvPr/>
          </p:nvSpPr>
          <p:spPr bwMode="auto">
            <a:xfrm>
              <a:off x="5127" y="2557"/>
              <a:ext cx="12" cy="5"/>
            </a:xfrm>
            <a:custGeom>
              <a:avLst/>
              <a:gdLst>
                <a:gd name="T0" fmla="*/ 0 w 34"/>
                <a:gd name="T1" fmla="*/ 2 h 13"/>
                <a:gd name="T2" fmla="*/ 1 w 34"/>
                <a:gd name="T3" fmla="*/ 2 h 13"/>
                <a:gd name="T4" fmla="*/ 1 w 34"/>
                <a:gd name="T5" fmla="*/ 2 h 13"/>
                <a:gd name="T6" fmla="*/ 2 w 34"/>
                <a:gd name="T7" fmla="*/ 2 h 13"/>
                <a:gd name="T8" fmla="*/ 2 w 34"/>
                <a:gd name="T9" fmla="*/ 1 h 13"/>
                <a:gd name="T10" fmla="*/ 4 w 34"/>
                <a:gd name="T11" fmla="*/ 0 h 13"/>
                <a:gd name="T12" fmla="*/ 4 w 34"/>
                <a:gd name="T13" fmla="*/ 0 h 13"/>
                <a:gd name="T14" fmla="*/ 3 w 34"/>
                <a:gd name="T15" fmla="*/ 0 h 13"/>
                <a:gd name="T16" fmla="*/ 2 w 34"/>
                <a:gd name="T17" fmla="*/ 0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4"/>
                <a:gd name="T28" fmla="*/ 0 h 13"/>
                <a:gd name="T29" fmla="*/ 34 w 34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4" h="13">
                  <a:moveTo>
                    <a:pt x="0" y="13"/>
                  </a:moveTo>
                  <a:lnTo>
                    <a:pt x="6" y="13"/>
                  </a:lnTo>
                  <a:lnTo>
                    <a:pt x="10" y="11"/>
                  </a:lnTo>
                  <a:lnTo>
                    <a:pt x="16" y="10"/>
                  </a:lnTo>
                  <a:lnTo>
                    <a:pt x="20" y="7"/>
                  </a:lnTo>
                  <a:lnTo>
                    <a:pt x="28" y="2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15" y="0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6" name="Freeform 304"/>
            <p:cNvSpPr>
              <a:spLocks/>
            </p:cNvSpPr>
            <p:nvPr/>
          </p:nvSpPr>
          <p:spPr bwMode="auto">
            <a:xfrm>
              <a:off x="5127" y="2547"/>
              <a:ext cx="12" cy="6"/>
            </a:xfrm>
            <a:custGeom>
              <a:avLst/>
              <a:gdLst>
                <a:gd name="T0" fmla="*/ 4 w 34"/>
                <a:gd name="T1" fmla="*/ 2 h 18"/>
                <a:gd name="T2" fmla="*/ 4 w 34"/>
                <a:gd name="T3" fmla="*/ 0 h 18"/>
                <a:gd name="T4" fmla="*/ 4 w 34"/>
                <a:gd name="T5" fmla="*/ 0 h 18"/>
                <a:gd name="T6" fmla="*/ 2 w 34"/>
                <a:gd name="T7" fmla="*/ 0 h 18"/>
                <a:gd name="T8" fmla="*/ 1 w 34"/>
                <a:gd name="T9" fmla="*/ 0 h 18"/>
                <a:gd name="T10" fmla="*/ 0 w 34"/>
                <a:gd name="T11" fmla="*/ 0 h 18"/>
                <a:gd name="T12" fmla="*/ 4 w 34"/>
                <a:gd name="T13" fmla="*/ 2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4"/>
                <a:gd name="T22" fmla="*/ 0 h 18"/>
                <a:gd name="T23" fmla="*/ 34 w 34"/>
                <a:gd name="T24" fmla="*/ 18 h 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4" h="18">
                  <a:moveTo>
                    <a:pt x="34" y="18"/>
                  </a:moveTo>
                  <a:lnTo>
                    <a:pt x="34" y="0"/>
                  </a:lnTo>
                  <a:lnTo>
                    <a:pt x="28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34" y="18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7" name="Freeform 305"/>
            <p:cNvSpPr>
              <a:spLocks/>
            </p:cNvSpPr>
            <p:nvPr/>
          </p:nvSpPr>
          <p:spPr bwMode="auto">
            <a:xfrm>
              <a:off x="5141" y="2535"/>
              <a:ext cx="20" cy="8"/>
            </a:xfrm>
            <a:custGeom>
              <a:avLst/>
              <a:gdLst>
                <a:gd name="T0" fmla="*/ 6 w 59"/>
                <a:gd name="T1" fmla="*/ 3 h 25"/>
                <a:gd name="T2" fmla="*/ 6 w 59"/>
                <a:gd name="T3" fmla="*/ 1 h 25"/>
                <a:gd name="T4" fmla="*/ 7 w 59"/>
                <a:gd name="T5" fmla="*/ 0 h 25"/>
                <a:gd name="T6" fmla="*/ 5 w 59"/>
                <a:gd name="T7" fmla="*/ 0 h 25"/>
                <a:gd name="T8" fmla="*/ 3 w 59"/>
                <a:gd name="T9" fmla="*/ 0 h 25"/>
                <a:gd name="T10" fmla="*/ 2 w 59"/>
                <a:gd name="T11" fmla="*/ 0 h 25"/>
                <a:gd name="T12" fmla="*/ 1 w 59"/>
                <a:gd name="T13" fmla="*/ 0 h 25"/>
                <a:gd name="T14" fmla="*/ 1 w 59"/>
                <a:gd name="T15" fmla="*/ 0 h 25"/>
                <a:gd name="T16" fmla="*/ 0 w 59"/>
                <a:gd name="T17" fmla="*/ 1 h 25"/>
                <a:gd name="T18" fmla="*/ 1 w 59"/>
                <a:gd name="T19" fmla="*/ 1 h 25"/>
                <a:gd name="T20" fmla="*/ 3 w 59"/>
                <a:gd name="T21" fmla="*/ 2 h 25"/>
                <a:gd name="T22" fmla="*/ 4 w 59"/>
                <a:gd name="T23" fmla="*/ 2 h 25"/>
                <a:gd name="T24" fmla="*/ 4 w 59"/>
                <a:gd name="T25" fmla="*/ 3 h 25"/>
                <a:gd name="T26" fmla="*/ 5 w 59"/>
                <a:gd name="T27" fmla="*/ 3 h 25"/>
                <a:gd name="T28" fmla="*/ 6 w 59"/>
                <a:gd name="T29" fmla="*/ 3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9"/>
                <a:gd name="T46" fmla="*/ 0 h 25"/>
                <a:gd name="T47" fmla="*/ 59 w 59"/>
                <a:gd name="T48" fmla="*/ 25 h 2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9" h="25">
                  <a:moveTo>
                    <a:pt x="53" y="25"/>
                  </a:moveTo>
                  <a:lnTo>
                    <a:pt x="56" y="12"/>
                  </a:lnTo>
                  <a:lnTo>
                    <a:pt x="59" y="0"/>
                  </a:lnTo>
                  <a:lnTo>
                    <a:pt x="44" y="0"/>
                  </a:lnTo>
                  <a:lnTo>
                    <a:pt x="27" y="0"/>
                  </a:lnTo>
                  <a:lnTo>
                    <a:pt x="19" y="1"/>
                  </a:lnTo>
                  <a:lnTo>
                    <a:pt x="12" y="2"/>
                  </a:lnTo>
                  <a:lnTo>
                    <a:pt x="5" y="4"/>
                  </a:lnTo>
                  <a:lnTo>
                    <a:pt x="0" y="6"/>
                  </a:lnTo>
                  <a:lnTo>
                    <a:pt x="13" y="14"/>
                  </a:lnTo>
                  <a:lnTo>
                    <a:pt x="26" y="20"/>
                  </a:lnTo>
                  <a:lnTo>
                    <a:pt x="33" y="22"/>
                  </a:lnTo>
                  <a:lnTo>
                    <a:pt x="38" y="24"/>
                  </a:lnTo>
                  <a:lnTo>
                    <a:pt x="46" y="25"/>
                  </a:lnTo>
                  <a:lnTo>
                    <a:pt x="53" y="25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8" name="Line 306"/>
            <p:cNvSpPr>
              <a:spLocks noChangeShapeType="1"/>
            </p:cNvSpPr>
            <p:nvPr/>
          </p:nvSpPr>
          <p:spPr bwMode="auto">
            <a:xfrm flipV="1">
              <a:off x="5191" y="2516"/>
              <a:ext cx="6" cy="2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309" name="Freeform 307"/>
          <p:cNvSpPr>
            <a:spLocks/>
          </p:cNvSpPr>
          <p:nvPr userDrawn="1">
            <p:custDataLst>
              <p:tags r:id="rId209"/>
            </p:custDataLst>
          </p:nvPr>
        </p:nvSpPr>
        <p:spPr bwMode="auto">
          <a:xfrm>
            <a:off x="7351714" y="3098008"/>
            <a:ext cx="14288" cy="41672"/>
          </a:xfrm>
          <a:custGeom>
            <a:avLst/>
            <a:gdLst>
              <a:gd name="T0" fmla="*/ 0 w 33"/>
              <a:gd name="T1" fmla="*/ 71796436 h 43"/>
              <a:gd name="T2" fmla="*/ 187476 w 33"/>
              <a:gd name="T3" fmla="*/ 56769880 h 43"/>
              <a:gd name="T4" fmla="*/ 374952 w 33"/>
              <a:gd name="T5" fmla="*/ 45080980 h 43"/>
              <a:gd name="T6" fmla="*/ 937379 w 33"/>
              <a:gd name="T7" fmla="*/ 35062835 h 43"/>
              <a:gd name="T8" fmla="*/ 1687283 w 33"/>
              <a:gd name="T9" fmla="*/ 25044700 h 43"/>
              <a:gd name="T10" fmla="*/ 2624662 w 33"/>
              <a:gd name="T11" fmla="*/ 15026561 h 43"/>
              <a:gd name="T12" fmla="*/ 3749085 w 33"/>
              <a:gd name="T13" fmla="*/ 8348663 h 43"/>
              <a:gd name="T14" fmla="*/ 4873939 w 33"/>
              <a:gd name="T15" fmla="*/ 3338949 h 43"/>
              <a:gd name="T16" fmla="*/ 6186270 w 33"/>
              <a:gd name="T17" fmla="*/ 0 h 43"/>
              <a:gd name="T18" fmla="*/ 6186270 w 33"/>
              <a:gd name="T19" fmla="*/ 41742022 h 43"/>
              <a:gd name="T20" fmla="*/ 4311512 w 33"/>
              <a:gd name="T21" fmla="*/ 45080980 h 43"/>
              <a:gd name="T22" fmla="*/ 3374132 w 33"/>
              <a:gd name="T23" fmla="*/ 48421219 h 43"/>
              <a:gd name="T24" fmla="*/ 2999614 w 33"/>
              <a:gd name="T25" fmla="*/ 53429640 h 43"/>
              <a:gd name="T26" fmla="*/ 2999614 w 33"/>
              <a:gd name="T27" fmla="*/ 56769880 h 43"/>
              <a:gd name="T28" fmla="*/ 2999614 w 33"/>
              <a:gd name="T29" fmla="*/ 60108828 h 43"/>
              <a:gd name="T30" fmla="*/ 2624662 w 33"/>
              <a:gd name="T31" fmla="*/ 63447775 h 43"/>
              <a:gd name="T32" fmla="*/ 1874759 w 33"/>
              <a:gd name="T33" fmla="*/ 68457488 h 43"/>
              <a:gd name="T34" fmla="*/ 0 w 33"/>
              <a:gd name="T35" fmla="*/ 71796436 h 43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33"/>
              <a:gd name="T55" fmla="*/ 0 h 43"/>
              <a:gd name="T56" fmla="*/ 33 w 33"/>
              <a:gd name="T57" fmla="*/ 43 h 43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33" h="43">
                <a:moveTo>
                  <a:pt x="0" y="43"/>
                </a:moveTo>
                <a:lnTo>
                  <a:pt x="1" y="34"/>
                </a:lnTo>
                <a:lnTo>
                  <a:pt x="2" y="27"/>
                </a:lnTo>
                <a:lnTo>
                  <a:pt x="5" y="21"/>
                </a:lnTo>
                <a:lnTo>
                  <a:pt x="9" y="15"/>
                </a:lnTo>
                <a:lnTo>
                  <a:pt x="14" y="9"/>
                </a:lnTo>
                <a:lnTo>
                  <a:pt x="20" y="5"/>
                </a:lnTo>
                <a:lnTo>
                  <a:pt x="26" y="2"/>
                </a:lnTo>
                <a:lnTo>
                  <a:pt x="33" y="0"/>
                </a:lnTo>
                <a:lnTo>
                  <a:pt x="33" y="25"/>
                </a:lnTo>
                <a:lnTo>
                  <a:pt x="23" y="27"/>
                </a:lnTo>
                <a:lnTo>
                  <a:pt x="18" y="29"/>
                </a:lnTo>
                <a:lnTo>
                  <a:pt x="16" y="32"/>
                </a:lnTo>
                <a:lnTo>
                  <a:pt x="16" y="34"/>
                </a:lnTo>
                <a:lnTo>
                  <a:pt x="16" y="36"/>
                </a:lnTo>
                <a:lnTo>
                  <a:pt x="14" y="38"/>
                </a:lnTo>
                <a:lnTo>
                  <a:pt x="10" y="41"/>
                </a:lnTo>
                <a:lnTo>
                  <a:pt x="0" y="43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10" name="Freeform 308"/>
          <p:cNvSpPr>
            <a:spLocks/>
          </p:cNvSpPr>
          <p:nvPr userDrawn="1">
            <p:custDataLst>
              <p:tags r:id="rId210"/>
            </p:custDataLst>
          </p:nvPr>
        </p:nvSpPr>
        <p:spPr bwMode="auto">
          <a:xfrm>
            <a:off x="7427921" y="3052762"/>
            <a:ext cx="22225" cy="44054"/>
          </a:xfrm>
          <a:custGeom>
            <a:avLst/>
            <a:gdLst>
              <a:gd name="T0" fmla="*/ 0 w 54"/>
              <a:gd name="T1" fmla="*/ 22419403 h 92"/>
              <a:gd name="T2" fmla="*/ 169569 w 54"/>
              <a:gd name="T3" fmla="*/ 20788781 h 92"/>
              <a:gd name="T4" fmla="*/ 338725 w 54"/>
              <a:gd name="T5" fmla="*/ 18750828 h 92"/>
              <a:gd name="T6" fmla="*/ 508294 w 54"/>
              <a:gd name="T7" fmla="*/ 17120211 h 92"/>
              <a:gd name="T8" fmla="*/ 1016177 w 54"/>
              <a:gd name="T9" fmla="*/ 15082258 h 92"/>
              <a:gd name="T10" fmla="*/ 1863196 w 54"/>
              <a:gd name="T11" fmla="*/ 11821024 h 92"/>
              <a:gd name="T12" fmla="*/ 3048941 w 54"/>
              <a:gd name="T13" fmla="*/ 8560425 h 92"/>
              <a:gd name="T14" fmla="*/ 5251274 w 54"/>
              <a:gd name="T15" fmla="*/ 2853262 h 92"/>
              <a:gd name="T16" fmla="*/ 6945314 w 54"/>
              <a:gd name="T17" fmla="*/ 0 h 92"/>
              <a:gd name="T18" fmla="*/ 9147234 w 54"/>
              <a:gd name="T19" fmla="*/ 4891215 h 92"/>
              <a:gd name="T20" fmla="*/ 8638941 w 54"/>
              <a:gd name="T21" fmla="*/ 8560425 h 92"/>
              <a:gd name="T22" fmla="*/ 7961490 w 54"/>
              <a:gd name="T23" fmla="*/ 11821024 h 92"/>
              <a:gd name="T24" fmla="*/ 7453196 w 54"/>
              <a:gd name="T25" fmla="*/ 14266950 h 92"/>
              <a:gd name="T26" fmla="*/ 6945314 w 54"/>
              <a:gd name="T27" fmla="*/ 16712876 h 92"/>
              <a:gd name="T28" fmla="*/ 5589999 w 54"/>
              <a:gd name="T29" fmla="*/ 19973472 h 92"/>
              <a:gd name="T30" fmla="*/ 4742980 w 54"/>
              <a:gd name="T31" fmla="*/ 22419403 h 92"/>
              <a:gd name="T32" fmla="*/ 4404255 w 54"/>
              <a:gd name="T33" fmla="*/ 26087973 h 92"/>
              <a:gd name="T34" fmla="*/ 4404255 w 54"/>
              <a:gd name="T35" fmla="*/ 30164517 h 92"/>
              <a:gd name="T36" fmla="*/ 4065529 w 54"/>
              <a:gd name="T37" fmla="*/ 33833087 h 92"/>
              <a:gd name="T38" fmla="*/ 3387667 w 54"/>
              <a:gd name="T39" fmla="*/ 37501657 h 92"/>
              <a:gd name="T40" fmla="*/ 2371490 w 54"/>
              <a:gd name="T41" fmla="*/ 33833087 h 92"/>
              <a:gd name="T42" fmla="*/ 1355313 w 54"/>
              <a:gd name="T43" fmla="*/ 30164517 h 92"/>
              <a:gd name="T44" fmla="*/ 847020 w 54"/>
              <a:gd name="T45" fmla="*/ 28533899 h 92"/>
              <a:gd name="T46" fmla="*/ 338725 w 54"/>
              <a:gd name="T47" fmla="*/ 26087973 h 92"/>
              <a:gd name="T48" fmla="*/ 169569 w 54"/>
              <a:gd name="T49" fmla="*/ 24457356 h 92"/>
              <a:gd name="T50" fmla="*/ 0 w 54"/>
              <a:gd name="T51" fmla="*/ 22419403 h 92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54"/>
              <a:gd name="T79" fmla="*/ 0 h 92"/>
              <a:gd name="T80" fmla="*/ 54 w 54"/>
              <a:gd name="T81" fmla="*/ 92 h 92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54" h="92">
                <a:moveTo>
                  <a:pt x="0" y="55"/>
                </a:moveTo>
                <a:lnTo>
                  <a:pt x="1" y="51"/>
                </a:lnTo>
                <a:lnTo>
                  <a:pt x="2" y="46"/>
                </a:lnTo>
                <a:lnTo>
                  <a:pt x="3" y="42"/>
                </a:lnTo>
                <a:lnTo>
                  <a:pt x="6" y="37"/>
                </a:lnTo>
                <a:lnTo>
                  <a:pt x="11" y="29"/>
                </a:lnTo>
                <a:lnTo>
                  <a:pt x="18" y="21"/>
                </a:lnTo>
                <a:lnTo>
                  <a:pt x="31" y="7"/>
                </a:lnTo>
                <a:lnTo>
                  <a:pt x="41" y="0"/>
                </a:lnTo>
                <a:lnTo>
                  <a:pt x="54" y="12"/>
                </a:lnTo>
                <a:lnTo>
                  <a:pt x="51" y="21"/>
                </a:lnTo>
                <a:lnTo>
                  <a:pt x="47" y="29"/>
                </a:lnTo>
                <a:lnTo>
                  <a:pt x="44" y="35"/>
                </a:lnTo>
                <a:lnTo>
                  <a:pt x="41" y="41"/>
                </a:lnTo>
                <a:lnTo>
                  <a:pt x="33" y="49"/>
                </a:lnTo>
                <a:lnTo>
                  <a:pt x="28" y="55"/>
                </a:lnTo>
                <a:lnTo>
                  <a:pt x="26" y="64"/>
                </a:lnTo>
                <a:lnTo>
                  <a:pt x="26" y="74"/>
                </a:lnTo>
                <a:lnTo>
                  <a:pt x="24" y="83"/>
                </a:lnTo>
                <a:lnTo>
                  <a:pt x="20" y="92"/>
                </a:lnTo>
                <a:lnTo>
                  <a:pt x="14" y="83"/>
                </a:lnTo>
                <a:lnTo>
                  <a:pt x="8" y="74"/>
                </a:lnTo>
                <a:lnTo>
                  <a:pt x="5" y="70"/>
                </a:lnTo>
                <a:lnTo>
                  <a:pt x="2" y="64"/>
                </a:lnTo>
                <a:lnTo>
                  <a:pt x="1" y="60"/>
                </a:lnTo>
                <a:lnTo>
                  <a:pt x="0" y="55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11" name="Freeform 309"/>
          <p:cNvSpPr>
            <a:spLocks/>
          </p:cNvSpPr>
          <p:nvPr userDrawn="1">
            <p:custDataLst>
              <p:tags r:id="rId211"/>
            </p:custDataLst>
          </p:nvPr>
        </p:nvSpPr>
        <p:spPr bwMode="auto">
          <a:xfrm>
            <a:off x="7475545" y="2962279"/>
            <a:ext cx="23813" cy="42863"/>
          </a:xfrm>
          <a:custGeom>
            <a:avLst/>
            <a:gdLst>
              <a:gd name="T0" fmla="*/ 0 w 60"/>
              <a:gd name="T1" fmla="*/ 0 h 18"/>
              <a:gd name="T2" fmla="*/ 2992897 w 60"/>
              <a:gd name="T3" fmla="*/ 40322495 h 18"/>
              <a:gd name="T4" fmla="*/ 5828232 w 60"/>
              <a:gd name="T5" fmla="*/ 90725611 h 18"/>
              <a:gd name="T6" fmla="*/ 7088338 w 60"/>
              <a:gd name="T7" fmla="*/ 110886878 h 18"/>
              <a:gd name="T8" fmla="*/ 8033317 w 60"/>
              <a:gd name="T9" fmla="*/ 131048119 h 18"/>
              <a:gd name="T10" fmla="*/ 8820733 w 60"/>
              <a:gd name="T11" fmla="*/ 161289981 h 18"/>
              <a:gd name="T12" fmla="*/ 9450984 w 60"/>
              <a:gd name="T13" fmla="*/ 181451223 h 18"/>
              <a:gd name="T14" fmla="*/ 5985794 w 60"/>
              <a:gd name="T15" fmla="*/ 181451223 h 18"/>
              <a:gd name="T16" fmla="*/ 3622752 w 60"/>
              <a:gd name="T17" fmla="*/ 181451223 h 18"/>
              <a:gd name="T18" fmla="*/ 1575230 w 60"/>
              <a:gd name="T19" fmla="*/ 181451223 h 18"/>
              <a:gd name="T20" fmla="*/ 0 w 60"/>
              <a:gd name="T21" fmla="*/ 181451223 h 18"/>
              <a:gd name="T22" fmla="*/ 0 w 60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60"/>
              <a:gd name="T37" fmla="*/ 0 h 18"/>
              <a:gd name="T38" fmla="*/ 60 w 60"/>
              <a:gd name="T39" fmla="*/ 18 h 18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60" h="18">
                <a:moveTo>
                  <a:pt x="0" y="0"/>
                </a:moveTo>
                <a:lnTo>
                  <a:pt x="19" y="4"/>
                </a:lnTo>
                <a:lnTo>
                  <a:pt x="37" y="9"/>
                </a:lnTo>
                <a:lnTo>
                  <a:pt x="45" y="11"/>
                </a:lnTo>
                <a:lnTo>
                  <a:pt x="51" y="13"/>
                </a:lnTo>
                <a:lnTo>
                  <a:pt x="56" y="16"/>
                </a:lnTo>
                <a:lnTo>
                  <a:pt x="60" y="18"/>
                </a:lnTo>
                <a:lnTo>
                  <a:pt x="38" y="18"/>
                </a:lnTo>
                <a:lnTo>
                  <a:pt x="23" y="18"/>
                </a:lnTo>
                <a:lnTo>
                  <a:pt x="10" y="18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12" name="Freeform 310"/>
          <p:cNvSpPr>
            <a:spLocks/>
          </p:cNvSpPr>
          <p:nvPr userDrawn="1">
            <p:custDataLst>
              <p:tags r:id="rId212"/>
            </p:custDataLst>
          </p:nvPr>
        </p:nvSpPr>
        <p:spPr bwMode="auto">
          <a:xfrm>
            <a:off x="7459666" y="2939660"/>
            <a:ext cx="25400" cy="42863"/>
          </a:xfrm>
          <a:custGeom>
            <a:avLst/>
            <a:gdLst>
              <a:gd name="T0" fmla="*/ 0 w 66"/>
              <a:gd name="T1" fmla="*/ 181451223 h 18"/>
              <a:gd name="T2" fmla="*/ 9775150 w 66"/>
              <a:gd name="T3" fmla="*/ 181451223 h 18"/>
              <a:gd name="T4" fmla="*/ 7701587 w 66"/>
              <a:gd name="T5" fmla="*/ 131048119 h 18"/>
              <a:gd name="T6" fmla="*/ 5924356 w 66"/>
              <a:gd name="T7" fmla="*/ 70564370 h 18"/>
              <a:gd name="T8" fmla="*/ 5183908 w 66"/>
              <a:gd name="T9" fmla="*/ 40322495 h 18"/>
              <a:gd name="T10" fmla="*/ 4295293 w 66"/>
              <a:gd name="T11" fmla="*/ 20161248 h 18"/>
              <a:gd name="T12" fmla="*/ 3702627 w 66"/>
              <a:gd name="T13" fmla="*/ 10080624 h 18"/>
              <a:gd name="T14" fmla="*/ 2814012 w 66"/>
              <a:gd name="T15" fmla="*/ 0 h 18"/>
              <a:gd name="T16" fmla="*/ 0 w 66"/>
              <a:gd name="T17" fmla="*/ 181451223 h 1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66"/>
              <a:gd name="T28" fmla="*/ 0 h 18"/>
              <a:gd name="T29" fmla="*/ 66 w 66"/>
              <a:gd name="T30" fmla="*/ 18 h 18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66" h="18">
                <a:moveTo>
                  <a:pt x="0" y="18"/>
                </a:moveTo>
                <a:lnTo>
                  <a:pt x="66" y="18"/>
                </a:lnTo>
                <a:lnTo>
                  <a:pt x="52" y="13"/>
                </a:lnTo>
                <a:lnTo>
                  <a:pt x="40" y="7"/>
                </a:lnTo>
                <a:lnTo>
                  <a:pt x="35" y="4"/>
                </a:lnTo>
                <a:lnTo>
                  <a:pt x="29" y="2"/>
                </a:lnTo>
                <a:lnTo>
                  <a:pt x="25" y="1"/>
                </a:lnTo>
                <a:lnTo>
                  <a:pt x="19" y="0"/>
                </a:lnTo>
                <a:lnTo>
                  <a:pt x="0" y="18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13" name="Freeform 311"/>
          <p:cNvSpPr>
            <a:spLocks/>
          </p:cNvSpPr>
          <p:nvPr userDrawn="1">
            <p:custDataLst>
              <p:tags r:id="rId213"/>
            </p:custDataLst>
          </p:nvPr>
        </p:nvSpPr>
        <p:spPr bwMode="auto">
          <a:xfrm>
            <a:off x="7285037" y="2862264"/>
            <a:ext cx="7938" cy="42863"/>
          </a:xfrm>
          <a:custGeom>
            <a:avLst/>
            <a:gdLst>
              <a:gd name="T0" fmla="*/ 0 w 17"/>
              <a:gd name="T1" fmla="*/ 66655947 h 42"/>
              <a:gd name="T2" fmla="*/ 2834333 w 17"/>
              <a:gd name="T3" fmla="*/ 77764814 h 42"/>
              <a:gd name="T4" fmla="*/ 3052394 w 17"/>
              <a:gd name="T5" fmla="*/ 61101513 h 42"/>
              <a:gd name="T6" fmla="*/ 3488517 w 17"/>
              <a:gd name="T7" fmla="*/ 42584909 h 42"/>
              <a:gd name="T8" fmla="*/ 3706578 w 17"/>
              <a:gd name="T9" fmla="*/ 33327974 h 42"/>
              <a:gd name="T10" fmla="*/ 3488517 w 17"/>
              <a:gd name="T11" fmla="*/ 22219101 h 42"/>
              <a:gd name="T12" fmla="*/ 3488517 w 17"/>
              <a:gd name="T13" fmla="*/ 11108870 h 42"/>
              <a:gd name="T14" fmla="*/ 2834333 w 17"/>
              <a:gd name="T15" fmla="*/ 0 h 42"/>
              <a:gd name="T16" fmla="*/ 0 w 17"/>
              <a:gd name="T17" fmla="*/ 66655947 h 4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7"/>
              <a:gd name="T28" fmla="*/ 0 h 42"/>
              <a:gd name="T29" fmla="*/ 17 w 17"/>
              <a:gd name="T30" fmla="*/ 42 h 4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7" h="42">
                <a:moveTo>
                  <a:pt x="0" y="36"/>
                </a:moveTo>
                <a:lnTo>
                  <a:pt x="13" y="42"/>
                </a:lnTo>
                <a:lnTo>
                  <a:pt x="14" y="33"/>
                </a:lnTo>
                <a:lnTo>
                  <a:pt x="16" y="23"/>
                </a:lnTo>
                <a:lnTo>
                  <a:pt x="17" y="18"/>
                </a:lnTo>
                <a:lnTo>
                  <a:pt x="16" y="12"/>
                </a:lnTo>
                <a:lnTo>
                  <a:pt x="16" y="6"/>
                </a:lnTo>
                <a:lnTo>
                  <a:pt x="13" y="0"/>
                </a:lnTo>
                <a:lnTo>
                  <a:pt x="0" y="36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14" name="Freeform 312"/>
          <p:cNvSpPr>
            <a:spLocks/>
          </p:cNvSpPr>
          <p:nvPr userDrawn="1">
            <p:custDataLst>
              <p:tags r:id="rId214"/>
            </p:custDataLst>
          </p:nvPr>
        </p:nvSpPr>
        <p:spPr bwMode="auto">
          <a:xfrm>
            <a:off x="7212021" y="2963469"/>
            <a:ext cx="30163" cy="44053"/>
          </a:xfrm>
          <a:custGeom>
            <a:avLst/>
            <a:gdLst>
              <a:gd name="T0" fmla="*/ 1053191 w 72"/>
              <a:gd name="T1" fmla="*/ 118966730 h 29"/>
              <a:gd name="T2" fmla="*/ 2632559 w 72"/>
              <a:gd name="T3" fmla="*/ 106660319 h 29"/>
              <a:gd name="T4" fmla="*/ 4211928 w 72"/>
              <a:gd name="T5" fmla="*/ 98455370 h 29"/>
              <a:gd name="T6" fmla="*/ 5616182 w 72"/>
              <a:gd name="T7" fmla="*/ 98455370 h 29"/>
              <a:gd name="T8" fmla="*/ 6844486 w 72"/>
              <a:gd name="T9" fmla="*/ 98455370 h 29"/>
              <a:gd name="T10" fmla="*/ 9652578 w 72"/>
              <a:gd name="T11" fmla="*/ 110761781 h 29"/>
              <a:gd name="T12" fmla="*/ 12636200 w 72"/>
              <a:gd name="T13" fmla="*/ 118966730 h 29"/>
              <a:gd name="T14" fmla="*/ 12636200 w 72"/>
              <a:gd name="T15" fmla="*/ 16409902 h 29"/>
              <a:gd name="T16" fmla="*/ 10179174 w 72"/>
              <a:gd name="T17" fmla="*/ 4101463 h 29"/>
              <a:gd name="T18" fmla="*/ 8248742 w 72"/>
              <a:gd name="T19" fmla="*/ 0 h 29"/>
              <a:gd name="T20" fmla="*/ 6844486 w 72"/>
              <a:gd name="T21" fmla="*/ 0 h 29"/>
              <a:gd name="T22" fmla="*/ 5967246 w 72"/>
              <a:gd name="T23" fmla="*/ 8204951 h 29"/>
              <a:gd name="T24" fmla="*/ 4738523 w 72"/>
              <a:gd name="T25" fmla="*/ 12306415 h 29"/>
              <a:gd name="T26" fmla="*/ 3685751 w 72"/>
              <a:gd name="T27" fmla="*/ 20511368 h 29"/>
              <a:gd name="T28" fmla="*/ 2105964 w 72"/>
              <a:gd name="T29" fmla="*/ 20511368 h 29"/>
              <a:gd name="T30" fmla="*/ 0 w 72"/>
              <a:gd name="T31" fmla="*/ 16409902 h 29"/>
              <a:gd name="T32" fmla="*/ 526596 w 72"/>
              <a:gd name="T33" fmla="*/ 65637583 h 29"/>
              <a:gd name="T34" fmla="*/ 1053191 w 72"/>
              <a:gd name="T35" fmla="*/ 118966730 h 29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72"/>
              <a:gd name="T55" fmla="*/ 0 h 29"/>
              <a:gd name="T56" fmla="*/ 72 w 72"/>
              <a:gd name="T57" fmla="*/ 29 h 29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72" h="29">
                <a:moveTo>
                  <a:pt x="6" y="29"/>
                </a:moveTo>
                <a:lnTo>
                  <a:pt x="15" y="26"/>
                </a:lnTo>
                <a:lnTo>
                  <a:pt x="24" y="24"/>
                </a:lnTo>
                <a:lnTo>
                  <a:pt x="32" y="24"/>
                </a:lnTo>
                <a:lnTo>
                  <a:pt x="39" y="24"/>
                </a:lnTo>
                <a:lnTo>
                  <a:pt x="55" y="27"/>
                </a:lnTo>
                <a:lnTo>
                  <a:pt x="72" y="29"/>
                </a:lnTo>
                <a:lnTo>
                  <a:pt x="72" y="4"/>
                </a:lnTo>
                <a:lnTo>
                  <a:pt x="58" y="1"/>
                </a:lnTo>
                <a:lnTo>
                  <a:pt x="47" y="0"/>
                </a:lnTo>
                <a:lnTo>
                  <a:pt x="39" y="0"/>
                </a:lnTo>
                <a:lnTo>
                  <a:pt x="34" y="2"/>
                </a:lnTo>
                <a:lnTo>
                  <a:pt x="27" y="3"/>
                </a:lnTo>
                <a:lnTo>
                  <a:pt x="21" y="5"/>
                </a:lnTo>
                <a:lnTo>
                  <a:pt x="12" y="5"/>
                </a:lnTo>
                <a:lnTo>
                  <a:pt x="0" y="4"/>
                </a:lnTo>
                <a:lnTo>
                  <a:pt x="3" y="16"/>
                </a:lnTo>
                <a:lnTo>
                  <a:pt x="6" y="29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15" name="Freeform 313"/>
          <p:cNvSpPr>
            <a:spLocks/>
          </p:cNvSpPr>
          <p:nvPr userDrawn="1">
            <p:custDataLst>
              <p:tags r:id="rId215"/>
            </p:custDataLst>
          </p:nvPr>
        </p:nvSpPr>
        <p:spPr bwMode="auto">
          <a:xfrm>
            <a:off x="7219952" y="3102775"/>
            <a:ext cx="19050" cy="41672"/>
          </a:xfrm>
          <a:custGeom>
            <a:avLst/>
            <a:gdLst>
              <a:gd name="T0" fmla="*/ 0 w 46"/>
              <a:gd name="T1" fmla="*/ 0 h 37"/>
              <a:gd name="T2" fmla="*/ 1543464 w 46"/>
              <a:gd name="T3" fmla="*/ 20295510 h 37"/>
              <a:gd name="T4" fmla="*/ 3430243 w 46"/>
              <a:gd name="T5" fmla="*/ 33827353 h 37"/>
              <a:gd name="T6" fmla="*/ 5316606 w 46"/>
              <a:gd name="T7" fmla="*/ 45102132 h 37"/>
              <a:gd name="T8" fmla="*/ 7889185 w 46"/>
              <a:gd name="T9" fmla="*/ 56378425 h 37"/>
              <a:gd name="T10" fmla="*/ 6345720 w 46"/>
              <a:gd name="T11" fmla="*/ 65397647 h 37"/>
              <a:gd name="T12" fmla="*/ 4973706 w 46"/>
              <a:gd name="T13" fmla="*/ 74418372 h 37"/>
              <a:gd name="T14" fmla="*/ 3601693 w 46"/>
              <a:gd name="T15" fmla="*/ 81183540 h 37"/>
              <a:gd name="T16" fmla="*/ 2229678 w 46"/>
              <a:gd name="T17" fmla="*/ 83439096 h 37"/>
              <a:gd name="T18" fmla="*/ 1543464 w 46"/>
              <a:gd name="T19" fmla="*/ 81183540 h 37"/>
              <a:gd name="T20" fmla="*/ 1200564 w 46"/>
              <a:gd name="T21" fmla="*/ 74418372 h 37"/>
              <a:gd name="T22" fmla="*/ 857664 w 46"/>
              <a:gd name="T23" fmla="*/ 65397647 h 37"/>
              <a:gd name="T24" fmla="*/ 514350 w 46"/>
              <a:gd name="T25" fmla="*/ 51867312 h 37"/>
              <a:gd name="T26" fmla="*/ 171450 w 46"/>
              <a:gd name="T27" fmla="*/ 27060683 h 37"/>
              <a:gd name="T28" fmla="*/ 0 w 46"/>
              <a:gd name="T29" fmla="*/ 0 h 37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46"/>
              <a:gd name="T46" fmla="*/ 0 h 37"/>
              <a:gd name="T47" fmla="*/ 46 w 46"/>
              <a:gd name="T48" fmla="*/ 37 h 37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46" h="37">
                <a:moveTo>
                  <a:pt x="0" y="0"/>
                </a:moveTo>
                <a:lnTo>
                  <a:pt x="9" y="9"/>
                </a:lnTo>
                <a:lnTo>
                  <a:pt x="20" y="15"/>
                </a:lnTo>
                <a:lnTo>
                  <a:pt x="31" y="20"/>
                </a:lnTo>
                <a:lnTo>
                  <a:pt x="46" y="25"/>
                </a:lnTo>
                <a:lnTo>
                  <a:pt x="37" y="29"/>
                </a:lnTo>
                <a:lnTo>
                  <a:pt x="29" y="33"/>
                </a:lnTo>
                <a:lnTo>
                  <a:pt x="21" y="36"/>
                </a:lnTo>
                <a:lnTo>
                  <a:pt x="13" y="37"/>
                </a:lnTo>
                <a:lnTo>
                  <a:pt x="9" y="36"/>
                </a:lnTo>
                <a:lnTo>
                  <a:pt x="7" y="33"/>
                </a:lnTo>
                <a:lnTo>
                  <a:pt x="5" y="29"/>
                </a:lnTo>
                <a:lnTo>
                  <a:pt x="3" y="23"/>
                </a:lnTo>
                <a:lnTo>
                  <a:pt x="1" y="12"/>
                </a:lnTo>
                <a:lnTo>
                  <a:pt x="0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16" name="Freeform 314"/>
          <p:cNvSpPr>
            <a:spLocks/>
          </p:cNvSpPr>
          <p:nvPr userDrawn="1">
            <p:custDataLst>
              <p:tags r:id="rId216"/>
            </p:custDataLst>
          </p:nvPr>
        </p:nvSpPr>
        <p:spPr bwMode="auto">
          <a:xfrm>
            <a:off x="7332671" y="2967039"/>
            <a:ext cx="11113" cy="42863"/>
          </a:xfrm>
          <a:custGeom>
            <a:avLst/>
            <a:gdLst>
              <a:gd name="T0" fmla="*/ 0 w 26"/>
              <a:gd name="T1" fmla="*/ 0 h 19"/>
              <a:gd name="T2" fmla="*/ 4749953 w 26"/>
              <a:gd name="T3" fmla="*/ 171901162 h 19"/>
              <a:gd name="T4" fmla="*/ 4749953 w 26"/>
              <a:gd name="T5" fmla="*/ 81426709 h 19"/>
              <a:gd name="T6" fmla="*/ 4749953 w 26"/>
              <a:gd name="T7" fmla="*/ 0 h 19"/>
              <a:gd name="T8" fmla="*/ 2740209 w 26"/>
              <a:gd name="T9" fmla="*/ 0 h 19"/>
              <a:gd name="T10" fmla="*/ 0 w 26"/>
              <a:gd name="T11" fmla="*/ 0 h 1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6"/>
              <a:gd name="T19" fmla="*/ 0 h 19"/>
              <a:gd name="T20" fmla="*/ 26 w 26"/>
              <a:gd name="T21" fmla="*/ 19 h 1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6" h="19">
                <a:moveTo>
                  <a:pt x="0" y="0"/>
                </a:moveTo>
                <a:lnTo>
                  <a:pt x="26" y="19"/>
                </a:lnTo>
                <a:lnTo>
                  <a:pt x="26" y="9"/>
                </a:lnTo>
                <a:lnTo>
                  <a:pt x="26" y="0"/>
                </a:lnTo>
                <a:lnTo>
                  <a:pt x="15" y="0"/>
                </a:lnTo>
                <a:lnTo>
                  <a:pt x="0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17" name="Freeform 315"/>
          <p:cNvSpPr>
            <a:spLocks/>
          </p:cNvSpPr>
          <p:nvPr userDrawn="1">
            <p:custDataLst>
              <p:tags r:id="rId217"/>
            </p:custDataLst>
          </p:nvPr>
        </p:nvSpPr>
        <p:spPr bwMode="auto">
          <a:xfrm>
            <a:off x="7192964" y="2963469"/>
            <a:ext cx="19050" cy="44053"/>
          </a:xfrm>
          <a:custGeom>
            <a:avLst/>
            <a:gdLst>
              <a:gd name="T0" fmla="*/ 392519 w 43"/>
              <a:gd name="T1" fmla="*/ 0 h 31"/>
              <a:gd name="T2" fmla="*/ 196259 w 43"/>
              <a:gd name="T3" fmla="*/ 43080752 h 31"/>
              <a:gd name="T4" fmla="*/ 0 w 43"/>
              <a:gd name="T5" fmla="*/ 82570968 h 31"/>
              <a:gd name="T6" fmla="*/ 0 w 43"/>
              <a:gd name="T7" fmla="*/ 93340679 h 31"/>
              <a:gd name="T8" fmla="*/ 0 w 43"/>
              <a:gd name="T9" fmla="*/ 104112284 h 31"/>
              <a:gd name="T10" fmla="*/ 0 w 43"/>
              <a:gd name="T11" fmla="*/ 111291459 h 31"/>
              <a:gd name="T12" fmla="*/ 392519 w 43"/>
              <a:gd name="T13" fmla="*/ 111291459 h 31"/>
              <a:gd name="T14" fmla="*/ 2551371 w 43"/>
              <a:gd name="T15" fmla="*/ 78980433 h 31"/>
              <a:gd name="T16" fmla="*/ 4906926 w 43"/>
              <a:gd name="T17" fmla="*/ 46671287 h 31"/>
              <a:gd name="T18" fmla="*/ 6869518 w 43"/>
              <a:gd name="T19" fmla="*/ 17950788 h 31"/>
              <a:gd name="T20" fmla="*/ 8439593 w 43"/>
              <a:gd name="T21" fmla="*/ 0 h 31"/>
              <a:gd name="T22" fmla="*/ 392519 w 43"/>
              <a:gd name="T23" fmla="*/ 0 h 3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43"/>
              <a:gd name="T37" fmla="*/ 0 h 31"/>
              <a:gd name="T38" fmla="*/ 43 w 43"/>
              <a:gd name="T39" fmla="*/ 31 h 31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43" h="31">
                <a:moveTo>
                  <a:pt x="2" y="0"/>
                </a:moveTo>
                <a:lnTo>
                  <a:pt x="1" y="12"/>
                </a:lnTo>
                <a:lnTo>
                  <a:pt x="0" y="23"/>
                </a:lnTo>
                <a:lnTo>
                  <a:pt x="0" y="26"/>
                </a:lnTo>
                <a:lnTo>
                  <a:pt x="0" y="29"/>
                </a:lnTo>
                <a:lnTo>
                  <a:pt x="0" y="31"/>
                </a:lnTo>
                <a:lnTo>
                  <a:pt x="2" y="31"/>
                </a:lnTo>
                <a:lnTo>
                  <a:pt x="13" y="22"/>
                </a:lnTo>
                <a:lnTo>
                  <a:pt x="25" y="13"/>
                </a:lnTo>
                <a:lnTo>
                  <a:pt x="35" y="5"/>
                </a:lnTo>
                <a:lnTo>
                  <a:pt x="43" y="0"/>
                </a:lnTo>
                <a:lnTo>
                  <a:pt x="2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18" name="Freeform 316"/>
          <p:cNvSpPr>
            <a:spLocks/>
          </p:cNvSpPr>
          <p:nvPr userDrawn="1">
            <p:custDataLst>
              <p:tags r:id="rId218"/>
            </p:custDataLst>
          </p:nvPr>
        </p:nvSpPr>
        <p:spPr bwMode="auto">
          <a:xfrm>
            <a:off x="7237421" y="2999191"/>
            <a:ext cx="30163" cy="42863"/>
          </a:xfrm>
          <a:custGeom>
            <a:avLst/>
            <a:gdLst>
              <a:gd name="T0" fmla="*/ 721788 w 71"/>
              <a:gd name="T1" fmla="*/ 16323906 h 49"/>
              <a:gd name="T2" fmla="*/ 721788 w 71"/>
              <a:gd name="T3" fmla="*/ 24485861 h 49"/>
              <a:gd name="T4" fmla="*/ 902341 w 71"/>
              <a:gd name="T5" fmla="*/ 34007748 h 49"/>
              <a:gd name="T6" fmla="*/ 1263447 w 71"/>
              <a:gd name="T7" fmla="*/ 42169707 h 49"/>
              <a:gd name="T8" fmla="*/ 1624129 w 71"/>
              <a:gd name="T9" fmla="*/ 50331658 h 49"/>
              <a:gd name="T10" fmla="*/ 2526894 w 71"/>
              <a:gd name="T11" fmla="*/ 55772569 h 49"/>
              <a:gd name="T12" fmla="*/ 3248682 w 71"/>
              <a:gd name="T13" fmla="*/ 62574583 h 49"/>
              <a:gd name="T14" fmla="*/ 4151023 w 71"/>
              <a:gd name="T15" fmla="*/ 65295622 h 49"/>
              <a:gd name="T16" fmla="*/ 5414470 w 71"/>
              <a:gd name="T17" fmla="*/ 66655559 h 49"/>
              <a:gd name="T18" fmla="*/ 6316811 w 71"/>
              <a:gd name="T19" fmla="*/ 65295622 h 49"/>
              <a:gd name="T20" fmla="*/ 7219153 w 71"/>
              <a:gd name="T21" fmla="*/ 62574583 h 49"/>
              <a:gd name="T22" fmla="*/ 8121494 w 71"/>
              <a:gd name="T23" fmla="*/ 57133672 h 49"/>
              <a:gd name="T24" fmla="*/ 9024259 w 71"/>
              <a:gd name="T25" fmla="*/ 50331658 h 49"/>
              <a:gd name="T26" fmla="*/ 10828940 w 71"/>
              <a:gd name="T27" fmla="*/ 38088723 h 49"/>
              <a:gd name="T28" fmla="*/ 12814175 w 71"/>
              <a:gd name="T29" fmla="*/ 24485861 h 49"/>
              <a:gd name="T30" fmla="*/ 11009494 w 71"/>
              <a:gd name="T31" fmla="*/ 16323906 h 49"/>
              <a:gd name="T32" fmla="*/ 9384941 w 71"/>
              <a:gd name="T33" fmla="*/ 12242930 h 49"/>
              <a:gd name="T34" fmla="*/ 7941366 w 71"/>
              <a:gd name="T35" fmla="*/ 9521889 h 49"/>
              <a:gd name="T36" fmla="*/ 6677917 w 71"/>
              <a:gd name="T37" fmla="*/ 8161953 h 49"/>
              <a:gd name="T38" fmla="*/ 5233917 w 71"/>
              <a:gd name="T39" fmla="*/ 8161953 h 49"/>
              <a:gd name="T40" fmla="*/ 3789917 w 71"/>
              <a:gd name="T41" fmla="*/ 6802016 h 49"/>
              <a:gd name="T42" fmla="*/ 2526894 w 71"/>
              <a:gd name="T43" fmla="*/ 4080976 h 49"/>
              <a:gd name="T44" fmla="*/ 721788 w 71"/>
              <a:gd name="T45" fmla="*/ 0 h 49"/>
              <a:gd name="T46" fmla="*/ 541235 w 71"/>
              <a:gd name="T47" fmla="*/ 1359937 h 49"/>
              <a:gd name="T48" fmla="*/ 180553 w 71"/>
              <a:gd name="T49" fmla="*/ 8161953 h 49"/>
              <a:gd name="T50" fmla="*/ 0 w 71"/>
              <a:gd name="T51" fmla="*/ 10882994 h 49"/>
              <a:gd name="T52" fmla="*/ 0 w 71"/>
              <a:gd name="T53" fmla="*/ 13602867 h 49"/>
              <a:gd name="T54" fmla="*/ 180553 w 71"/>
              <a:gd name="T55" fmla="*/ 14963969 h 49"/>
              <a:gd name="T56" fmla="*/ 721788 w 71"/>
              <a:gd name="T57" fmla="*/ 16323906 h 49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71"/>
              <a:gd name="T88" fmla="*/ 0 h 49"/>
              <a:gd name="T89" fmla="*/ 71 w 71"/>
              <a:gd name="T90" fmla="*/ 49 h 49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71" h="49">
                <a:moveTo>
                  <a:pt x="4" y="12"/>
                </a:moveTo>
                <a:lnTo>
                  <a:pt x="4" y="18"/>
                </a:lnTo>
                <a:lnTo>
                  <a:pt x="5" y="25"/>
                </a:lnTo>
                <a:lnTo>
                  <a:pt x="7" y="31"/>
                </a:lnTo>
                <a:lnTo>
                  <a:pt x="9" y="37"/>
                </a:lnTo>
                <a:lnTo>
                  <a:pt x="14" y="41"/>
                </a:lnTo>
                <a:lnTo>
                  <a:pt x="18" y="46"/>
                </a:lnTo>
                <a:lnTo>
                  <a:pt x="23" y="48"/>
                </a:lnTo>
                <a:lnTo>
                  <a:pt x="30" y="49"/>
                </a:lnTo>
                <a:lnTo>
                  <a:pt x="35" y="48"/>
                </a:lnTo>
                <a:lnTo>
                  <a:pt x="40" y="46"/>
                </a:lnTo>
                <a:lnTo>
                  <a:pt x="45" y="42"/>
                </a:lnTo>
                <a:lnTo>
                  <a:pt x="50" y="37"/>
                </a:lnTo>
                <a:lnTo>
                  <a:pt x="60" y="28"/>
                </a:lnTo>
                <a:lnTo>
                  <a:pt x="71" y="18"/>
                </a:lnTo>
                <a:lnTo>
                  <a:pt x="61" y="12"/>
                </a:lnTo>
                <a:lnTo>
                  <a:pt x="52" y="9"/>
                </a:lnTo>
                <a:lnTo>
                  <a:pt x="44" y="7"/>
                </a:lnTo>
                <a:lnTo>
                  <a:pt x="37" y="6"/>
                </a:lnTo>
                <a:lnTo>
                  <a:pt x="29" y="6"/>
                </a:lnTo>
                <a:lnTo>
                  <a:pt x="21" y="5"/>
                </a:lnTo>
                <a:lnTo>
                  <a:pt x="14" y="3"/>
                </a:lnTo>
                <a:lnTo>
                  <a:pt x="4" y="0"/>
                </a:lnTo>
                <a:lnTo>
                  <a:pt x="3" y="1"/>
                </a:lnTo>
                <a:lnTo>
                  <a:pt x="1" y="6"/>
                </a:lnTo>
                <a:lnTo>
                  <a:pt x="0" y="8"/>
                </a:lnTo>
                <a:lnTo>
                  <a:pt x="0" y="10"/>
                </a:lnTo>
                <a:lnTo>
                  <a:pt x="1" y="11"/>
                </a:lnTo>
                <a:lnTo>
                  <a:pt x="4" y="12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19" name="Freeform 317"/>
          <p:cNvSpPr>
            <a:spLocks/>
          </p:cNvSpPr>
          <p:nvPr userDrawn="1">
            <p:custDataLst>
              <p:tags r:id="rId219"/>
            </p:custDataLst>
          </p:nvPr>
        </p:nvSpPr>
        <p:spPr bwMode="auto">
          <a:xfrm>
            <a:off x="7038985" y="3151597"/>
            <a:ext cx="46037" cy="44053"/>
          </a:xfrm>
          <a:custGeom>
            <a:avLst/>
            <a:gdLst>
              <a:gd name="T0" fmla="*/ 7772033 w 112"/>
              <a:gd name="T1" fmla="*/ 10206685 h 26"/>
              <a:gd name="T2" fmla="*/ 9461837 w 112"/>
              <a:gd name="T3" fmla="*/ 10206685 h 26"/>
              <a:gd name="T4" fmla="*/ 11151230 w 112"/>
              <a:gd name="T5" fmla="*/ 15310025 h 26"/>
              <a:gd name="T6" fmla="*/ 12502745 w 112"/>
              <a:gd name="T7" fmla="*/ 20413369 h 26"/>
              <a:gd name="T8" fmla="*/ 14192552 w 112"/>
              <a:gd name="T9" fmla="*/ 30622309 h 26"/>
              <a:gd name="T10" fmla="*/ 15544066 w 112"/>
              <a:gd name="T11" fmla="*/ 45932338 h 26"/>
              <a:gd name="T12" fmla="*/ 16895581 w 112"/>
              <a:gd name="T13" fmla="*/ 61242359 h 26"/>
              <a:gd name="T14" fmla="*/ 17909628 w 112"/>
              <a:gd name="T15" fmla="*/ 81657996 h 26"/>
              <a:gd name="T16" fmla="*/ 18923263 w 112"/>
              <a:gd name="T17" fmla="*/ 102071357 h 26"/>
              <a:gd name="T18" fmla="*/ 18585385 w 112"/>
              <a:gd name="T19" fmla="*/ 112280296 h 26"/>
              <a:gd name="T20" fmla="*/ 17740688 w 112"/>
              <a:gd name="T21" fmla="*/ 117383636 h 26"/>
              <a:gd name="T22" fmla="*/ 17064931 w 112"/>
              <a:gd name="T23" fmla="*/ 127590317 h 26"/>
              <a:gd name="T24" fmla="*/ 16050884 w 112"/>
              <a:gd name="T25" fmla="*/ 127590317 h 26"/>
              <a:gd name="T26" fmla="*/ 14699370 w 112"/>
              <a:gd name="T27" fmla="*/ 132693657 h 26"/>
              <a:gd name="T28" fmla="*/ 13347852 w 112"/>
              <a:gd name="T29" fmla="*/ 132693657 h 26"/>
              <a:gd name="T30" fmla="*/ 11151230 w 112"/>
              <a:gd name="T31" fmla="*/ 122486976 h 26"/>
              <a:gd name="T32" fmla="*/ 6927337 w 112"/>
              <a:gd name="T33" fmla="*/ 96968016 h 26"/>
              <a:gd name="T34" fmla="*/ 2703441 w 112"/>
              <a:gd name="T35" fmla="*/ 66347958 h 26"/>
              <a:gd name="T36" fmla="*/ 0 w 112"/>
              <a:gd name="T37" fmla="*/ 40828998 h 26"/>
              <a:gd name="T38" fmla="*/ 844697 w 112"/>
              <a:gd name="T39" fmla="*/ 20413369 h 26"/>
              <a:gd name="T40" fmla="*/ 1858333 w 112"/>
              <a:gd name="T41" fmla="*/ 10206685 h 26"/>
              <a:gd name="T42" fmla="*/ 3041319 w 112"/>
              <a:gd name="T43" fmla="*/ 5103342 h 26"/>
              <a:gd name="T44" fmla="*/ 4223895 w 112"/>
              <a:gd name="T45" fmla="*/ 0 h 26"/>
              <a:gd name="T46" fmla="*/ 6251578 w 112"/>
              <a:gd name="T47" fmla="*/ 5103342 h 26"/>
              <a:gd name="T48" fmla="*/ 7772033 w 112"/>
              <a:gd name="T49" fmla="*/ 10206685 h 2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112"/>
              <a:gd name="T76" fmla="*/ 0 h 26"/>
              <a:gd name="T77" fmla="*/ 112 w 112"/>
              <a:gd name="T78" fmla="*/ 26 h 2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112" h="26">
                <a:moveTo>
                  <a:pt x="46" y="2"/>
                </a:moveTo>
                <a:lnTo>
                  <a:pt x="56" y="2"/>
                </a:lnTo>
                <a:lnTo>
                  <a:pt x="66" y="3"/>
                </a:lnTo>
                <a:lnTo>
                  <a:pt x="74" y="4"/>
                </a:lnTo>
                <a:lnTo>
                  <a:pt x="84" y="6"/>
                </a:lnTo>
                <a:lnTo>
                  <a:pt x="92" y="9"/>
                </a:lnTo>
                <a:lnTo>
                  <a:pt x="100" y="12"/>
                </a:lnTo>
                <a:lnTo>
                  <a:pt x="106" y="16"/>
                </a:lnTo>
                <a:lnTo>
                  <a:pt x="112" y="20"/>
                </a:lnTo>
                <a:lnTo>
                  <a:pt x="110" y="22"/>
                </a:lnTo>
                <a:lnTo>
                  <a:pt x="105" y="23"/>
                </a:lnTo>
                <a:lnTo>
                  <a:pt x="101" y="25"/>
                </a:lnTo>
                <a:lnTo>
                  <a:pt x="95" y="25"/>
                </a:lnTo>
                <a:lnTo>
                  <a:pt x="87" y="26"/>
                </a:lnTo>
                <a:lnTo>
                  <a:pt x="79" y="26"/>
                </a:lnTo>
                <a:lnTo>
                  <a:pt x="66" y="24"/>
                </a:lnTo>
                <a:lnTo>
                  <a:pt x="41" y="19"/>
                </a:lnTo>
                <a:lnTo>
                  <a:pt x="16" y="13"/>
                </a:lnTo>
                <a:lnTo>
                  <a:pt x="0" y="8"/>
                </a:lnTo>
                <a:lnTo>
                  <a:pt x="5" y="4"/>
                </a:lnTo>
                <a:lnTo>
                  <a:pt x="11" y="2"/>
                </a:lnTo>
                <a:lnTo>
                  <a:pt x="18" y="1"/>
                </a:lnTo>
                <a:lnTo>
                  <a:pt x="25" y="0"/>
                </a:lnTo>
                <a:lnTo>
                  <a:pt x="37" y="1"/>
                </a:lnTo>
                <a:lnTo>
                  <a:pt x="46" y="2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20" name="Freeform 318"/>
          <p:cNvSpPr>
            <a:spLocks/>
          </p:cNvSpPr>
          <p:nvPr userDrawn="1">
            <p:custDataLst>
              <p:tags r:id="rId220"/>
            </p:custDataLst>
          </p:nvPr>
        </p:nvSpPr>
        <p:spPr bwMode="auto">
          <a:xfrm>
            <a:off x="7137408" y="3180172"/>
            <a:ext cx="14287" cy="44053"/>
          </a:xfrm>
          <a:custGeom>
            <a:avLst/>
            <a:gdLst>
              <a:gd name="T0" fmla="*/ 0 w 41"/>
              <a:gd name="T1" fmla="*/ 0 h 25"/>
              <a:gd name="T2" fmla="*/ 4978496 w 41"/>
              <a:gd name="T3" fmla="*/ 0 h 25"/>
              <a:gd name="T4" fmla="*/ 3399958 w 41"/>
              <a:gd name="T5" fmla="*/ 44160831 h 25"/>
              <a:gd name="T6" fmla="*/ 2185562 w 41"/>
              <a:gd name="T7" fmla="*/ 82800386 h 25"/>
              <a:gd name="T8" fmla="*/ 1092781 w 41"/>
              <a:gd name="T9" fmla="*/ 110402068 h 25"/>
              <a:gd name="T10" fmla="*/ 0 w 41"/>
              <a:gd name="T11" fmla="*/ 138001401 h 25"/>
              <a:gd name="T12" fmla="*/ 0 w 41"/>
              <a:gd name="T13" fmla="*/ 0 h 2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1"/>
              <a:gd name="T22" fmla="*/ 0 h 25"/>
              <a:gd name="T23" fmla="*/ 41 w 41"/>
              <a:gd name="T24" fmla="*/ 25 h 25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1" h="25">
                <a:moveTo>
                  <a:pt x="0" y="0"/>
                </a:moveTo>
                <a:lnTo>
                  <a:pt x="41" y="0"/>
                </a:lnTo>
                <a:lnTo>
                  <a:pt x="28" y="8"/>
                </a:lnTo>
                <a:lnTo>
                  <a:pt x="18" y="15"/>
                </a:lnTo>
                <a:lnTo>
                  <a:pt x="9" y="20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21" name="Freeform 319"/>
          <p:cNvSpPr>
            <a:spLocks/>
          </p:cNvSpPr>
          <p:nvPr userDrawn="1">
            <p:custDataLst>
              <p:tags r:id="rId221"/>
            </p:custDataLst>
          </p:nvPr>
        </p:nvSpPr>
        <p:spPr bwMode="auto">
          <a:xfrm>
            <a:off x="6970716" y="3128974"/>
            <a:ext cx="36513" cy="41672"/>
          </a:xfrm>
          <a:custGeom>
            <a:avLst/>
            <a:gdLst>
              <a:gd name="T0" fmla="*/ 0 w 81"/>
              <a:gd name="T1" fmla="*/ 99588615 h 31"/>
              <a:gd name="T2" fmla="*/ 0 w 81"/>
              <a:gd name="T3" fmla="*/ 70676147 h 31"/>
              <a:gd name="T4" fmla="*/ 0 w 81"/>
              <a:gd name="T5" fmla="*/ 41763664 h 31"/>
              <a:gd name="T6" fmla="*/ 0 w 81"/>
              <a:gd name="T7" fmla="*/ 32126174 h 31"/>
              <a:gd name="T8" fmla="*/ 406602 w 81"/>
              <a:gd name="T9" fmla="*/ 25700577 h 31"/>
              <a:gd name="T10" fmla="*/ 609452 w 81"/>
              <a:gd name="T11" fmla="*/ 19274986 h 31"/>
              <a:gd name="T12" fmla="*/ 812752 w 81"/>
              <a:gd name="T13" fmla="*/ 12849392 h 31"/>
              <a:gd name="T14" fmla="*/ 1625504 w 81"/>
              <a:gd name="T15" fmla="*/ 6425592 h 31"/>
              <a:gd name="T16" fmla="*/ 2844858 w 81"/>
              <a:gd name="T17" fmla="*/ 0 h 31"/>
              <a:gd name="T18" fmla="*/ 5283115 w 81"/>
              <a:gd name="T19" fmla="*/ 3211900 h 31"/>
              <a:gd name="T20" fmla="*/ 8331275 w 81"/>
              <a:gd name="T21" fmla="*/ 3211900 h 31"/>
              <a:gd name="T22" fmla="*/ 11379433 w 81"/>
              <a:gd name="T23" fmla="*/ 3211900 h 31"/>
              <a:gd name="T24" fmla="*/ 13208238 w 81"/>
              <a:gd name="T25" fmla="*/ 3211900 h 31"/>
              <a:gd name="T26" fmla="*/ 14833746 w 81"/>
              <a:gd name="T27" fmla="*/ 3211900 h 31"/>
              <a:gd name="T28" fmla="*/ 16459250 w 81"/>
              <a:gd name="T29" fmla="*/ 3211900 h 31"/>
              <a:gd name="T30" fmla="*/ 14833746 w 81"/>
              <a:gd name="T31" fmla="*/ 19274986 h 31"/>
              <a:gd name="T32" fmla="*/ 13614389 w 81"/>
              <a:gd name="T33" fmla="*/ 32126174 h 31"/>
              <a:gd name="T34" fmla="*/ 13004938 w 81"/>
              <a:gd name="T35" fmla="*/ 44975563 h 31"/>
              <a:gd name="T36" fmla="*/ 12598336 w 81"/>
              <a:gd name="T37" fmla="*/ 57824952 h 31"/>
              <a:gd name="T38" fmla="*/ 11988885 w 81"/>
              <a:gd name="T39" fmla="*/ 67462455 h 31"/>
              <a:gd name="T40" fmla="*/ 10972832 w 81"/>
              <a:gd name="T41" fmla="*/ 73888046 h 31"/>
              <a:gd name="T42" fmla="*/ 9550629 w 81"/>
              <a:gd name="T43" fmla="*/ 80313636 h 31"/>
              <a:gd name="T44" fmla="*/ 6908619 w 81"/>
              <a:gd name="T45" fmla="*/ 80313636 h 31"/>
              <a:gd name="T46" fmla="*/ 0 w 81"/>
              <a:gd name="T47" fmla="*/ 99588615 h 3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81"/>
              <a:gd name="T73" fmla="*/ 0 h 31"/>
              <a:gd name="T74" fmla="*/ 81 w 81"/>
              <a:gd name="T75" fmla="*/ 31 h 31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81" h="31">
                <a:moveTo>
                  <a:pt x="0" y="31"/>
                </a:moveTo>
                <a:lnTo>
                  <a:pt x="0" y="22"/>
                </a:lnTo>
                <a:lnTo>
                  <a:pt x="0" y="13"/>
                </a:lnTo>
                <a:lnTo>
                  <a:pt x="0" y="10"/>
                </a:lnTo>
                <a:lnTo>
                  <a:pt x="2" y="8"/>
                </a:lnTo>
                <a:lnTo>
                  <a:pt x="3" y="6"/>
                </a:lnTo>
                <a:lnTo>
                  <a:pt x="4" y="4"/>
                </a:lnTo>
                <a:lnTo>
                  <a:pt x="8" y="2"/>
                </a:lnTo>
                <a:lnTo>
                  <a:pt x="14" y="0"/>
                </a:lnTo>
                <a:lnTo>
                  <a:pt x="26" y="1"/>
                </a:lnTo>
                <a:lnTo>
                  <a:pt x="41" y="1"/>
                </a:lnTo>
                <a:lnTo>
                  <a:pt x="56" y="1"/>
                </a:lnTo>
                <a:lnTo>
                  <a:pt x="65" y="1"/>
                </a:lnTo>
                <a:lnTo>
                  <a:pt x="73" y="1"/>
                </a:lnTo>
                <a:lnTo>
                  <a:pt x="81" y="1"/>
                </a:lnTo>
                <a:lnTo>
                  <a:pt x="73" y="6"/>
                </a:lnTo>
                <a:lnTo>
                  <a:pt x="67" y="10"/>
                </a:lnTo>
                <a:lnTo>
                  <a:pt x="64" y="14"/>
                </a:lnTo>
                <a:lnTo>
                  <a:pt x="62" y="18"/>
                </a:lnTo>
                <a:lnTo>
                  <a:pt x="59" y="21"/>
                </a:lnTo>
                <a:lnTo>
                  <a:pt x="54" y="23"/>
                </a:lnTo>
                <a:lnTo>
                  <a:pt x="47" y="25"/>
                </a:lnTo>
                <a:lnTo>
                  <a:pt x="34" y="25"/>
                </a:lnTo>
                <a:lnTo>
                  <a:pt x="0" y="31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22" name="Freeform 320"/>
          <p:cNvSpPr>
            <a:spLocks/>
          </p:cNvSpPr>
          <p:nvPr userDrawn="1">
            <p:custDataLst>
              <p:tags r:id="rId222"/>
            </p:custDataLst>
          </p:nvPr>
        </p:nvSpPr>
        <p:spPr bwMode="auto">
          <a:xfrm>
            <a:off x="7015164" y="3118251"/>
            <a:ext cx="39688" cy="41672"/>
          </a:xfrm>
          <a:custGeom>
            <a:avLst/>
            <a:gdLst>
              <a:gd name="T0" fmla="*/ 397772 w 89"/>
              <a:gd name="T1" fmla="*/ 63002770 h 49"/>
              <a:gd name="T2" fmla="*/ 17698173 w 89"/>
              <a:gd name="T3" fmla="*/ 63002770 h 49"/>
              <a:gd name="T4" fmla="*/ 15510875 w 89"/>
              <a:gd name="T5" fmla="*/ 52717000 h 49"/>
              <a:gd name="T6" fmla="*/ 13522013 w 89"/>
              <a:gd name="T7" fmla="*/ 45001822 h 49"/>
              <a:gd name="T8" fmla="*/ 11334714 w 89"/>
              <a:gd name="T9" fmla="*/ 38573641 h 49"/>
              <a:gd name="T10" fmla="*/ 9147415 w 89"/>
              <a:gd name="T11" fmla="*/ 32144317 h 49"/>
              <a:gd name="T12" fmla="*/ 7159001 w 89"/>
              <a:gd name="T13" fmla="*/ 27000865 h 49"/>
              <a:gd name="T14" fmla="*/ 5170142 w 89"/>
              <a:gd name="T15" fmla="*/ 18000953 h 49"/>
              <a:gd name="T16" fmla="*/ 3181729 w 89"/>
              <a:gd name="T17" fmla="*/ 10285775 h 49"/>
              <a:gd name="T18" fmla="*/ 1789527 w 89"/>
              <a:gd name="T19" fmla="*/ 0 h 49"/>
              <a:gd name="T20" fmla="*/ 795544 w 89"/>
              <a:gd name="T21" fmla="*/ 12857501 h 49"/>
              <a:gd name="T22" fmla="*/ 198886 w 89"/>
              <a:gd name="T23" fmla="*/ 29572591 h 49"/>
              <a:gd name="T24" fmla="*/ 0 w 89"/>
              <a:gd name="T25" fmla="*/ 37287778 h 49"/>
              <a:gd name="T26" fmla="*/ 0 w 89"/>
              <a:gd name="T27" fmla="*/ 46287685 h 49"/>
              <a:gd name="T28" fmla="*/ 0 w 89"/>
              <a:gd name="T29" fmla="*/ 55287592 h 49"/>
              <a:gd name="T30" fmla="*/ 397772 w 89"/>
              <a:gd name="T31" fmla="*/ 63002770 h 49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89"/>
              <a:gd name="T49" fmla="*/ 0 h 49"/>
              <a:gd name="T50" fmla="*/ 89 w 89"/>
              <a:gd name="T51" fmla="*/ 49 h 49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89" h="49">
                <a:moveTo>
                  <a:pt x="2" y="49"/>
                </a:moveTo>
                <a:lnTo>
                  <a:pt x="89" y="49"/>
                </a:lnTo>
                <a:lnTo>
                  <a:pt x="78" y="41"/>
                </a:lnTo>
                <a:lnTo>
                  <a:pt x="68" y="35"/>
                </a:lnTo>
                <a:lnTo>
                  <a:pt x="57" y="30"/>
                </a:lnTo>
                <a:lnTo>
                  <a:pt x="46" y="25"/>
                </a:lnTo>
                <a:lnTo>
                  <a:pt x="36" y="21"/>
                </a:lnTo>
                <a:lnTo>
                  <a:pt x="26" y="14"/>
                </a:lnTo>
                <a:lnTo>
                  <a:pt x="16" y="8"/>
                </a:lnTo>
                <a:lnTo>
                  <a:pt x="9" y="0"/>
                </a:lnTo>
                <a:lnTo>
                  <a:pt x="4" y="10"/>
                </a:lnTo>
                <a:lnTo>
                  <a:pt x="1" y="23"/>
                </a:lnTo>
                <a:lnTo>
                  <a:pt x="0" y="29"/>
                </a:lnTo>
                <a:lnTo>
                  <a:pt x="0" y="36"/>
                </a:lnTo>
                <a:lnTo>
                  <a:pt x="0" y="43"/>
                </a:lnTo>
                <a:lnTo>
                  <a:pt x="2" y="49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23" name="Freeform 321"/>
          <p:cNvSpPr>
            <a:spLocks/>
          </p:cNvSpPr>
          <p:nvPr userDrawn="1">
            <p:custDataLst>
              <p:tags r:id="rId223"/>
            </p:custDataLst>
          </p:nvPr>
        </p:nvSpPr>
        <p:spPr bwMode="auto">
          <a:xfrm>
            <a:off x="7067551" y="3125403"/>
            <a:ext cx="36512" cy="44053"/>
          </a:xfrm>
          <a:custGeom>
            <a:avLst/>
            <a:gdLst>
              <a:gd name="T0" fmla="*/ 0 w 86"/>
              <a:gd name="T1" fmla="*/ 34239839 h 46"/>
              <a:gd name="T2" fmla="*/ 2523574 w 86"/>
              <a:gd name="T3" fmla="*/ 42391520 h 46"/>
              <a:gd name="T4" fmla="*/ 4506260 w 86"/>
              <a:gd name="T5" fmla="*/ 47283289 h 46"/>
              <a:gd name="T6" fmla="*/ 5407597 w 86"/>
              <a:gd name="T7" fmla="*/ 48913879 h 46"/>
              <a:gd name="T8" fmla="*/ 6488946 w 86"/>
              <a:gd name="T9" fmla="*/ 48913879 h 46"/>
              <a:gd name="T10" fmla="*/ 7390284 w 86"/>
              <a:gd name="T11" fmla="*/ 47283289 h 46"/>
              <a:gd name="T12" fmla="*/ 8291621 w 86"/>
              <a:gd name="T13" fmla="*/ 44022110 h 46"/>
              <a:gd name="T14" fmla="*/ 8291621 w 86"/>
              <a:gd name="T15" fmla="*/ 58696140 h 46"/>
              <a:gd name="T16" fmla="*/ 8291621 w 86"/>
              <a:gd name="T17" fmla="*/ 75000760 h 46"/>
              <a:gd name="T18" fmla="*/ 10093870 w 86"/>
              <a:gd name="T19" fmla="*/ 73370170 h 46"/>
              <a:gd name="T20" fmla="*/ 12076555 w 86"/>
              <a:gd name="T21" fmla="*/ 70108991 h 46"/>
              <a:gd name="T22" fmla="*/ 13879229 w 86"/>
              <a:gd name="T23" fmla="*/ 65218499 h 46"/>
              <a:gd name="T24" fmla="*/ 15501468 w 86"/>
              <a:gd name="T25" fmla="*/ 65218499 h 46"/>
              <a:gd name="T26" fmla="*/ 14960581 w 86"/>
              <a:gd name="T27" fmla="*/ 52175058 h 46"/>
              <a:gd name="T28" fmla="*/ 14420119 w 86"/>
              <a:gd name="T29" fmla="*/ 40760921 h 46"/>
              <a:gd name="T30" fmla="*/ 13338342 w 86"/>
              <a:gd name="T31" fmla="*/ 30978660 h 46"/>
              <a:gd name="T32" fmla="*/ 12617442 w 86"/>
              <a:gd name="T33" fmla="*/ 22825711 h 46"/>
              <a:gd name="T34" fmla="*/ 11536093 w 86"/>
              <a:gd name="T35" fmla="*/ 14674035 h 46"/>
              <a:gd name="T36" fmla="*/ 10454319 w 86"/>
              <a:gd name="T37" fmla="*/ 9782264 h 46"/>
              <a:gd name="T38" fmla="*/ 9192533 w 86"/>
              <a:gd name="T39" fmla="*/ 4891770 h 46"/>
              <a:gd name="T40" fmla="*/ 8291621 w 86"/>
              <a:gd name="T41" fmla="*/ 1630590 h 46"/>
              <a:gd name="T42" fmla="*/ 7029834 w 86"/>
              <a:gd name="T43" fmla="*/ 0 h 46"/>
              <a:gd name="T44" fmla="*/ 5948059 w 86"/>
              <a:gd name="T45" fmla="*/ 0 h 46"/>
              <a:gd name="T46" fmla="*/ 4686697 w 86"/>
              <a:gd name="T47" fmla="*/ 1630590 h 46"/>
              <a:gd name="T48" fmla="*/ 3424910 w 86"/>
              <a:gd name="T49" fmla="*/ 4891770 h 46"/>
              <a:gd name="T50" fmla="*/ 2523574 w 86"/>
              <a:gd name="T51" fmla="*/ 9782264 h 46"/>
              <a:gd name="T52" fmla="*/ 1441799 w 86"/>
              <a:gd name="T53" fmla="*/ 16304625 h 46"/>
              <a:gd name="T54" fmla="*/ 720900 w 86"/>
              <a:gd name="T55" fmla="*/ 24456301 h 46"/>
              <a:gd name="T56" fmla="*/ 0 w 86"/>
              <a:gd name="T57" fmla="*/ 34239839 h 4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86"/>
              <a:gd name="T88" fmla="*/ 0 h 46"/>
              <a:gd name="T89" fmla="*/ 86 w 86"/>
              <a:gd name="T90" fmla="*/ 46 h 4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86" h="46">
                <a:moveTo>
                  <a:pt x="0" y="21"/>
                </a:moveTo>
                <a:lnTo>
                  <a:pt x="14" y="26"/>
                </a:lnTo>
                <a:lnTo>
                  <a:pt x="25" y="29"/>
                </a:lnTo>
                <a:lnTo>
                  <a:pt x="30" y="30"/>
                </a:lnTo>
                <a:lnTo>
                  <a:pt x="36" y="30"/>
                </a:lnTo>
                <a:lnTo>
                  <a:pt x="41" y="29"/>
                </a:lnTo>
                <a:lnTo>
                  <a:pt x="46" y="27"/>
                </a:lnTo>
                <a:lnTo>
                  <a:pt x="46" y="36"/>
                </a:lnTo>
                <a:lnTo>
                  <a:pt x="46" y="46"/>
                </a:lnTo>
                <a:lnTo>
                  <a:pt x="56" y="45"/>
                </a:lnTo>
                <a:lnTo>
                  <a:pt x="67" y="43"/>
                </a:lnTo>
                <a:lnTo>
                  <a:pt x="77" y="40"/>
                </a:lnTo>
                <a:lnTo>
                  <a:pt x="86" y="40"/>
                </a:lnTo>
                <a:lnTo>
                  <a:pt x="83" y="32"/>
                </a:lnTo>
                <a:lnTo>
                  <a:pt x="80" y="25"/>
                </a:lnTo>
                <a:lnTo>
                  <a:pt x="74" y="19"/>
                </a:lnTo>
                <a:lnTo>
                  <a:pt x="70" y="14"/>
                </a:lnTo>
                <a:lnTo>
                  <a:pt x="64" y="9"/>
                </a:lnTo>
                <a:lnTo>
                  <a:pt x="58" y="6"/>
                </a:lnTo>
                <a:lnTo>
                  <a:pt x="51" y="3"/>
                </a:lnTo>
                <a:lnTo>
                  <a:pt x="46" y="1"/>
                </a:lnTo>
                <a:lnTo>
                  <a:pt x="39" y="0"/>
                </a:lnTo>
                <a:lnTo>
                  <a:pt x="33" y="0"/>
                </a:lnTo>
                <a:lnTo>
                  <a:pt x="26" y="1"/>
                </a:lnTo>
                <a:lnTo>
                  <a:pt x="19" y="3"/>
                </a:lnTo>
                <a:lnTo>
                  <a:pt x="14" y="6"/>
                </a:lnTo>
                <a:lnTo>
                  <a:pt x="8" y="10"/>
                </a:lnTo>
                <a:lnTo>
                  <a:pt x="4" y="15"/>
                </a:lnTo>
                <a:lnTo>
                  <a:pt x="0" y="21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24" name="Freeform 322"/>
          <p:cNvSpPr>
            <a:spLocks/>
          </p:cNvSpPr>
          <p:nvPr userDrawn="1">
            <p:custDataLst>
              <p:tags r:id="rId224"/>
            </p:custDataLst>
          </p:nvPr>
        </p:nvSpPr>
        <p:spPr bwMode="auto">
          <a:xfrm>
            <a:off x="7119940" y="3128974"/>
            <a:ext cx="25400" cy="41672"/>
          </a:xfrm>
          <a:custGeom>
            <a:avLst/>
            <a:gdLst>
              <a:gd name="T0" fmla="*/ 0 w 59"/>
              <a:gd name="T1" fmla="*/ 0 h 18"/>
              <a:gd name="T2" fmla="*/ 0 w 59"/>
              <a:gd name="T3" fmla="*/ 171513696 h 18"/>
              <a:gd name="T4" fmla="*/ 7228239 w 59"/>
              <a:gd name="T5" fmla="*/ 171513696 h 18"/>
              <a:gd name="T6" fmla="*/ 10934916 w 59"/>
              <a:gd name="T7" fmla="*/ 57171240 h 18"/>
              <a:gd name="T8" fmla="*/ 9452245 w 59"/>
              <a:gd name="T9" fmla="*/ 47642178 h 18"/>
              <a:gd name="T10" fmla="*/ 8340242 w 59"/>
              <a:gd name="T11" fmla="*/ 38113127 h 18"/>
              <a:gd name="T12" fmla="*/ 6857569 w 59"/>
              <a:gd name="T13" fmla="*/ 47642178 h 18"/>
              <a:gd name="T14" fmla="*/ 5374899 w 59"/>
              <a:gd name="T15" fmla="*/ 57171240 h 18"/>
              <a:gd name="T16" fmla="*/ 4077346 w 59"/>
              <a:gd name="T17" fmla="*/ 57171240 h 18"/>
              <a:gd name="T18" fmla="*/ 2594675 w 59"/>
              <a:gd name="T19" fmla="*/ 47642178 h 18"/>
              <a:gd name="T20" fmla="*/ 1297553 w 59"/>
              <a:gd name="T21" fmla="*/ 38113127 h 18"/>
              <a:gd name="T22" fmla="*/ 0 w 59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59"/>
              <a:gd name="T37" fmla="*/ 0 h 18"/>
              <a:gd name="T38" fmla="*/ 59 w 59"/>
              <a:gd name="T39" fmla="*/ 18 h 18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59" h="18">
                <a:moveTo>
                  <a:pt x="0" y="0"/>
                </a:moveTo>
                <a:lnTo>
                  <a:pt x="0" y="18"/>
                </a:lnTo>
                <a:lnTo>
                  <a:pt x="39" y="18"/>
                </a:lnTo>
                <a:lnTo>
                  <a:pt x="59" y="6"/>
                </a:lnTo>
                <a:lnTo>
                  <a:pt x="51" y="5"/>
                </a:lnTo>
                <a:lnTo>
                  <a:pt x="45" y="4"/>
                </a:lnTo>
                <a:lnTo>
                  <a:pt x="37" y="5"/>
                </a:lnTo>
                <a:lnTo>
                  <a:pt x="29" y="6"/>
                </a:lnTo>
                <a:lnTo>
                  <a:pt x="22" y="6"/>
                </a:lnTo>
                <a:lnTo>
                  <a:pt x="14" y="5"/>
                </a:lnTo>
                <a:lnTo>
                  <a:pt x="7" y="4"/>
                </a:lnTo>
                <a:lnTo>
                  <a:pt x="0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25" name="Freeform 323"/>
          <p:cNvSpPr>
            <a:spLocks/>
          </p:cNvSpPr>
          <p:nvPr userDrawn="1">
            <p:custDataLst>
              <p:tags r:id="rId225"/>
            </p:custDataLst>
          </p:nvPr>
        </p:nvSpPr>
        <p:spPr bwMode="auto">
          <a:xfrm>
            <a:off x="7192965" y="3123010"/>
            <a:ext cx="1588" cy="41672"/>
          </a:xfrm>
          <a:custGeom>
            <a:avLst/>
            <a:gdLst>
              <a:gd name="T0" fmla="*/ 630436 w 4"/>
              <a:gd name="T1" fmla="*/ 162480814 h 19"/>
              <a:gd name="T2" fmla="*/ 630436 w 4"/>
              <a:gd name="T3" fmla="*/ 0 h 19"/>
              <a:gd name="T4" fmla="*/ 315218 w 4"/>
              <a:gd name="T5" fmla="*/ 8550699 h 19"/>
              <a:gd name="T6" fmla="*/ 157609 w 4"/>
              <a:gd name="T7" fmla="*/ 25655024 h 19"/>
              <a:gd name="T8" fmla="*/ 0 w 4"/>
              <a:gd name="T9" fmla="*/ 51310047 h 19"/>
              <a:gd name="T10" fmla="*/ 0 w 4"/>
              <a:gd name="T11" fmla="*/ 85515755 h 19"/>
              <a:gd name="T12" fmla="*/ 0 w 4"/>
              <a:gd name="T13" fmla="*/ 119721486 h 19"/>
              <a:gd name="T14" fmla="*/ 157609 w 4"/>
              <a:gd name="T15" fmla="*/ 136825802 h 19"/>
              <a:gd name="T16" fmla="*/ 315218 w 4"/>
              <a:gd name="T17" fmla="*/ 162480814 h 19"/>
              <a:gd name="T18" fmla="*/ 630436 w 4"/>
              <a:gd name="T19" fmla="*/ 162480814 h 1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4"/>
              <a:gd name="T31" fmla="*/ 0 h 19"/>
              <a:gd name="T32" fmla="*/ 4 w 4"/>
              <a:gd name="T33" fmla="*/ 19 h 19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4" h="19">
                <a:moveTo>
                  <a:pt x="4" y="19"/>
                </a:moveTo>
                <a:lnTo>
                  <a:pt x="4" y="0"/>
                </a:lnTo>
                <a:lnTo>
                  <a:pt x="2" y="1"/>
                </a:lnTo>
                <a:lnTo>
                  <a:pt x="1" y="3"/>
                </a:lnTo>
                <a:lnTo>
                  <a:pt x="0" y="6"/>
                </a:lnTo>
                <a:lnTo>
                  <a:pt x="0" y="10"/>
                </a:lnTo>
                <a:lnTo>
                  <a:pt x="0" y="14"/>
                </a:lnTo>
                <a:lnTo>
                  <a:pt x="1" y="16"/>
                </a:lnTo>
                <a:lnTo>
                  <a:pt x="2" y="19"/>
                </a:lnTo>
                <a:lnTo>
                  <a:pt x="4" y="19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26" name="Freeform 324"/>
          <p:cNvSpPr>
            <a:spLocks/>
          </p:cNvSpPr>
          <p:nvPr userDrawn="1">
            <p:custDataLst>
              <p:tags r:id="rId226"/>
            </p:custDataLst>
          </p:nvPr>
        </p:nvSpPr>
        <p:spPr bwMode="auto">
          <a:xfrm>
            <a:off x="6767514" y="2983711"/>
            <a:ext cx="20638" cy="44054"/>
          </a:xfrm>
          <a:custGeom>
            <a:avLst/>
            <a:gdLst>
              <a:gd name="T0" fmla="*/ 0 w 46"/>
              <a:gd name="T1" fmla="*/ 69003050 h 50"/>
              <a:gd name="T2" fmla="*/ 1409216 w 46"/>
              <a:gd name="T3" fmla="*/ 0 h 50"/>
              <a:gd name="T4" fmla="*/ 4629642 w 46"/>
              <a:gd name="T5" fmla="*/ 11040396 h 50"/>
              <a:gd name="T6" fmla="*/ 6843740 w 46"/>
              <a:gd name="T7" fmla="*/ 19321281 h 50"/>
              <a:gd name="T8" fmla="*/ 7447627 w 46"/>
              <a:gd name="T9" fmla="*/ 24841477 h 50"/>
              <a:gd name="T10" fmla="*/ 8252958 w 46"/>
              <a:gd name="T11" fmla="*/ 30361672 h 50"/>
              <a:gd name="T12" fmla="*/ 8856843 w 46"/>
              <a:gd name="T13" fmla="*/ 41402072 h 50"/>
              <a:gd name="T14" fmla="*/ 9259284 w 46"/>
              <a:gd name="T15" fmla="*/ 52442464 h 50"/>
              <a:gd name="T16" fmla="*/ 6843740 w 46"/>
              <a:gd name="T17" fmla="*/ 57962659 h 50"/>
              <a:gd name="T18" fmla="*/ 4227201 w 46"/>
              <a:gd name="T19" fmla="*/ 63482855 h 50"/>
              <a:gd name="T20" fmla="*/ 1610213 w 46"/>
              <a:gd name="T21" fmla="*/ 67622708 h 50"/>
              <a:gd name="T22" fmla="*/ 0 w 46"/>
              <a:gd name="T23" fmla="*/ 69003050 h 5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46"/>
              <a:gd name="T37" fmla="*/ 0 h 50"/>
              <a:gd name="T38" fmla="*/ 46 w 46"/>
              <a:gd name="T39" fmla="*/ 50 h 50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46" h="50">
                <a:moveTo>
                  <a:pt x="0" y="50"/>
                </a:moveTo>
                <a:lnTo>
                  <a:pt x="7" y="0"/>
                </a:lnTo>
                <a:lnTo>
                  <a:pt x="23" y="8"/>
                </a:lnTo>
                <a:lnTo>
                  <a:pt x="34" y="14"/>
                </a:lnTo>
                <a:lnTo>
                  <a:pt x="37" y="18"/>
                </a:lnTo>
                <a:lnTo>
                  <a:pt x="41" y="22"/>
                </a:lnTo>
                <a:lnTo>
                  <a:pt x="44" y="30"/>
                </a:lnTo>
                <a:lnTo>
                  <a:pt x="46" y="38"/>
                </a:lnTo>
                <a:lnTo>
                  <a:pt x="34" y="42"/>
                </a:lnTo>
                <a:lnTo>
                  <a:pt x="21" y="46"/>
                </a:lnTo>
                <a:lnTo>
                  <a:pt x="8" y="49"/>
                </a:lnTo>
                <a:lnTo>
                  <a:pt x="0" y="5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27" name="Freeform 325"/>
          <p:cNvSpPr>
            <a:spLocks/>
          </p:cNvSpPr>
          <p:nvPr userDrawn="1">
            <p:custDataLst>
              <p:tags r:id="rId227"/>
            </p:custDataLst>
          </p:nvPr>
        </p:nvSpPr>
        <p:spPr bwMode="auto">
          <a:xfrm>
            <a:off x="6713546" y="2963469"/>
            <a:ext cx="30163" cy="44053"/>
          </a:xfrm>
          <a:custGeom>
            <a:avLst/>
            <a:gdLst>
              <a:gd name="T0" fmla="*/ 0 w 66"/>
              <a:gd name="T1" fmla="*/ 0 h 80"/>
              <a:gd name="T2" fmla="*/ 2088559 w 66"/>
              <a:gd name="T3" fmla="*/ 0 h 80"/>
              <a:gd name="T4" fmla="*/ 3759407 w 66"/>
              <a:gd name="T5" fmla="*/ 0 h 80"/>
              <a:gd name="T6" fmla="*/ 5430253 w 66"/>
              <a:gd name="T7" fmla="*/ 0 h 80"/>
              <a:gd name="T8" fmla="*/ 6892701 w 66"/>
              <a:gd name="T9" fmla="*/ 0 h 80"/>
              <a:gd name="T10" fmla="*/ 6892701 w 66"/>
              <a:gd name="T11" fmla="*/ 3773118 h 80"/>
              <a:gd name="T12" fmla="*/ 7101557 w 66"/>
              <a:gd name="T13" fmla="*/ 7546970 h 80"/>
              <a:gd name="T14" fmla="*/ 7519270 w 66"/>
              <a:gd name="T15" fmla="*/ 11320087 h 80"/>
              <a:gd name="T16" fmla="*/ 7936982 w 66"/>
              <a:gd name="T17" fmla="*/ 14555029 h 80"/>
              <a:gd name="T18" fmla="*/ 9190117 w 66"/>
              <a:gd name="T19" fmla="*/ 19406703 h 80"/>
              <a:gd name="T20" fmla="*/ 10234396 w 66"/>
              <a:gd name="T21" fmla="*/ 24258383 h 80"/>
              <a:gd name="T22" fmla="*/ 11696387 w 66"/>
              <a:gd name="T23" fmla="*/ 28031500 h 80"/>
              <a:gd name="T24" fmla="*/ 12740666 w 66"/>
              <a:gd name="T25" fmla="*/ 32344262 h 80"/>
              <a:gd name="T26" fmla="*/ 12949522 w 66"/>
              <a:gd name="T27" fmla="*/ 35039555 h 80"/>
              <a:gd name="T28" fmla="*/ 13576089 w 66"/>
              <a:gd name="T29" fmla="*/ 37195937 h 80"/>
              <a:gd name="T30" fmla="*/ 13784945 w 66"/>
              <a:gd name="T31" fmla="*/ 40430142 h 80"/>
              <a:gd name="T32" fmla="*/ 13784945 w 66"/>
              <a:gd name="T33" fmla="*/ 43125435 h 80"/>
              <a:gd name="T34" fmla="*/ 0 w 66"/>
              <a:gd name="T35" fmla="*/ 9703352 h 80"/>
              <a:gd name="T36" fmla="*/ 0 w 66"/>
              <a:gd name="T37" fmla="*/ 0 h 80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66"/>
              <a:gd name="T58" fmla="*/ 0 h 80"/>
              <a:gd name="T59" fmla="*/ 66 w 66"/>
              <a:gd name="T60" fmla="*/ 80 h 80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66" h="80">
                <a:moveTo>
                  <a:pt x="0" y="0"/>
                </a:moveTo>
                <a:lnTo>
                  <a:pt x="10" y="0"/>
                </a:lnTo>
                <a:lnTo>
                  <a:pt x="18" y="0"/>
                </a:lnTo>
                <a:lnTo>
                  <a:pt x="26" y="0"/>
                </a:lnTo>
                <a:lnTo>
                  <a:pt x="33" y="0"/>
                </a:lnTo>
                <a:lnTo>
                  <a:pt x="33" y="7"/>
                </a:lnTo>
                <a:lnTo>
                  <a:pt x="34" y="14"/>
                </a:lnTo>
                <a:lnTo>
                  <a:pt x="36" y="21"/>
                </a:lnTo>
                <a:lnTo>
                  <a:pt x="38" y="27"/>
                </a:lnTo>
                <a:lnTo>
                  <a:pt x="44" y="36"/>
                </a:lnTo>
                <a:lnTo>
                  <a:pt x="49" y="45"/>
                </a:lnTo>
                <a:lnTo>
                  <a:pt x="56" y="52"/>
                </a:lnTo>
                <a:lnTo>
                  <a:pt x="61" y="60"/>
                </a:lnTo>
                <a:lnTo>
                  <a:pt x="62" y="65"/>
                </a:lnTo>
                <a:lnTo>
                  <a:pt x="65" y="69"/>
                </a:lnTo>
                <a:lnTo>
                  <a:pt x="66" y="75"/>
                </a:lnTo>
                <a:lnTo>
                  <a:pt x="66" y="80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28" name="Freeform 326"/>
          <p:cNvSpPr>
            <a:spLocks/>
          </p:cNvSpPr>
          <p:nvPr userDrawn="1">
            <p:custDataLst>
              <p:tags r:id="rId228"/>
            </p:custDataLst>
          </p:nvPr>
        </p:nvSpPr>
        <p:spPr bwMode="auto">
          <a:xfrm>
            <a:off x="6548437" y="2951563"/>
            <a:ext cx="7938" cy="42863"/>
          </a:xfrm>
          <a:custGeom>
            <a:avLst/>
            <a:gdLst>
              <a:gd name="T0" fmla="*/ 3150592 w 20"/>
              <a:gd name="T1" fmla="*/ 68044216 h 48"/>
              <a:gd name="T2" fmla="*/ 3150592 w 20"/>
              <a:gd name="T3" fmla="*/ 55285482 h 48"/>
              <a:gd name="T4" fmla="*/ 2993023 w 20"/>
              <a:gd name="T5" fmla="*/ 45362817 h 48"/>
              <a:gd name="T6" fmla="*/ 2520315 w 20"/>
              <a:gd name="T7" fmla="*/ 35440142 h 48"/>
              <a:gd name="T8" fmla="*/ 2205573 w 20"/>
              <a:gd name="T9" fmla="*/ 26934319 h 48"/>
              <a:gd name="T10" fmla="*/ 1890435 w 20"/>
              <a:gd name="T11" fmla="*/ 19846531 h 48"/>
              <a:gd name="T12" fmla="*/ 1417727 w 20"/>
              <a:gd name="T13" fmla="*/ 12758738 h 48"/>
              <a:gd name="T14" fmla="*/ 630277 w 20"/>
              <a:gd name="T15" fmla="*/ 5670947 h 48"/>
              <a:gd name="T16" fmla="*/ 0 w 20"/>
              <a:gd name="T17" fmla="*/ 0 h 48"/>
              <a:gd name="T18" fmla="*/ 0 w 20"/>
              <a:gd name="T19" fmla="*/ 11340704 h 48"/>
              <a:gd name="T20" fmla="*/ 315139 w 20"/>
              <a:gd name="T21" fmla="*/ 24099442 h 48"/>
              <a:gd name="T22" fmla="*/ 630277 w 20"/>
              <a:gd name="T23" fmla="*/ 34022108 h 48"/>
              <a:gd name="T24" fmla="*/ 1260157 w 20"/>
              <a:gd name="T25" fmla="*/ 43944783 h 48"/>
              <a:gd name="T26" fmla="*/ 2205573 w 20"/>
              <a:gd name="T27" fmla="*/ 58121550 h 48"/>
              <a:gd name="T28" fmla="*/ 3150592 w 20"/>
              <a:gd name="T29" fmla="*/ 68044216 h 48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20"/>
              <a:gd name="T46" fmla="*/ 0 h 48"/>
              <a:gd name="T47" fmla="*/ 20 w 20"/>
              <a:gd name="T48" fmla="*/ 48 h 48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20" h="48">
                <a:moveTo>
                  <a:pt x="20" y="48"/>
                </a:moveTo>
                <a:lnTo>
                  <a:pt x="20" y="39"/>
                </a:lnTo>
                <a:lnTo>
                  <a:pt x="19" y="32"/>
                </a:lnTo>
                <a:lnTo>
                  <a:pt x="16" y="25"/>
                </a:lnTo>
                <a:lnTo>
                  <a:pt x="14" y="19"/>
                </a:lnTo>
                <a:lnTo>
                  <a:pt x="12" y="14"/>
                </a:lnTo>
                <a:lnTo>
                  <a:pt x="9" y="9"/>
                </a:lnTo>
                <a:lnTo>
                  <a:pt x="4" y="4"/>
                </a:lnTo>
                <a:lnTo>
                  <a:pt x="0" y="0"/>
                </a:lnTo>
                <a:lnTo>
                  <a:pt x="0" y="8"/>
                </a:lnTo>
                <a:lnTo>
                  <a:pt x="2" y="17"/>
                </a:lnTo>
                <a:lnTo>
                  <a:pt x="4" y="24"/>
                </a:lnTo>
                <a:lnTo>
                  <a:pt x="8" y="31"/>
                </a:lnTo>
                <a:lnTo>
                  <a:pt x="14" y="41"/>
                </a:lnTo>
                <a:lnTo>
                  <a:pt x="20" y="48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29" name="Line 327" descr="Horizontal dunkel"/>
          <p:cNvSpPr>
            <a:spLocks noChangeShapeType="1"/>
          </p:cNvSpPr>
          <p:nvPr userDrawn="1">
            <p:custDataLst>
              <p:tags r:id="rId229"/>
            </p:custDataLst>
          </p:nvPr>
        </p:nvSpPr>
        <p:spPr bwMode="auto">
          <a:xfrm>
            <a:off x="6573847" y="2978952"/>
            <a:ext cx="4763" cy="4763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30" name="Freeform 328"/>
          <p:cNvSpPr>
            <a:spLocks/>
          </p:cNvSpPr>
          <p:nvPr userDrawn="1">
            <p:custDataLst>
              <p:tags r:id="rId230"/>
            </p:custDataLst>
          </p:nvPr>
        </p:nvSpPr>
        <p:spPr bwMode="auto">
          <a:xfrm>
            <a:off x="6570662" y="2978949"/>
            <a:ext cx="7938" cy="42863"/>
          </a:xfrm>
          <a:custGeom>
            <a:avLst/>
            <a:gdLst>
              <a:gd name="T0" fmla="*/ 3150592 w 20"/>
              <a:gd name="T1" fmla="*/ 272176863 h 12"/>
              <a:gd name="T2" fmla="*/ 3150592 w 20"/>
              <a:gd name="T3" fmla="*/ 181451267 h 12"/>
              <a:gd name="T4" fmla="*/ 2835453 w 20"/>
              <a:gd name="T5" fmla="*/ 113409414 h 12"/>
              <a:gd name="T6" fmla="*/ 2362746 w 20"/>
              <a:gd name="T7" fmla="*/ 68046597 h 12"/>
              <a:gd name="T8" fmla="*/ 2048004 w 20"/>
              <a:gd name="T9" fmla="*/ 45362817 h 12"/>
              <a:gd name="T10" fmla="*/ 1102588 w 20"/>
              <a:gd name="T11" fmla="*/ 0 h 12"/>
              <a:gd name="T12" fmla="*/ 0 w 20"/>
              <a:gd name="T13" fmla="*/ 0 h 1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0"/>
              <a:gd name="T22" fmla="*/ 0 h 12"/>
              <a:gd name="T23" fmla="*/ 20 w 20"/>
              <a:gd name="T24" fmla="*/ 12 h 1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0" h="12">
                <a:moveTo>
                  <a:pt x="20" y="12"/>
                </a:moveTo>
                <a:lnTo>
                  <a:pt x="20" y="8"/>
                </a:lnTo>
                <a:lnTo>
                  <a:pt x="18" y="5"/>
                </a:lnTo>
                <a:lnTo>
                  <a:pt x="15" y="3"/>
                </a:lnTo>
                <a:lnTo>
                  <a:pt x="13" y="2"/>
                </a:ln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31" name="Freeform 329"/>
          <p:cNvSpPr>
            <a:spLocks/>
          </p:cNvSpPr>
          <p:nvPr userDrawn="1">
            <p:custDataLst>
              <p:tags r:id="rId231"/>
            </p:custDataLst>
          </p:nvPr>
        </p:nvSpPr>
        <p:spPr bwMode="auto">
          <a:xfrm>
            <a:off x="6472245" y="2862264"/>
            <a:ext cx="22225" cy="42863"/>
          </a:xfrm>
          <a:custGeom>
            <a:avLst/>
            <a:gdLst>
              <a:gd name="T0" fmla="*/ 1230762 w 53"/>
              <a:gd name="T1" fmla="*/ 0 h 30"/>
              <a:gd name="T2" fmla="*/ 1934414 w 53"/>
              <a:gd name="T3" fmla="*/ 14516100 h 30"/>
              <a:gd name="T4" fmla="*/ 4044531 w 53"/>
              <a:gd name="T5" fmla="*/ 47177328 h 30"/>
              <a:gd name="T6" fmla="*/ 6506473 w 53"/>
              <a:gd name="T7" fmla="*/ 83467584 h 30"/>
              <a:gd name="T8" fmla="*/ 8089062 w 53"/>
              <a:gd name="T9" fmla="*/ 108870752 h 30"/>
              <a:gd name="T10" fmla="*/ 8616591 w 53"/>
              <a:gd name="T11" fmla="*/ 65322463 h 30"/>
              <a:gd name="T12" fmla="*/ 9319824 w 53"/>
              <a:gd name="T13" fmla="*/ 21774152 h 30"/>
              <a:gd name="T14" fmla="*/ 6506473 w 53"/>
              <a:gd name="T15" fmla="*/ 18145128 h 30"/>
              <a:gd name="T16" fmla="*/ 4572060 w 53"/>
              <a:gd name="T17" fmla="*/ 10887076 h 30"/>
              <a:gd name="T18" fmla="*/ 3692705 w 53"/>
              <a:gd name="T19" fmla="*/ 10887076 h 30"/>
              <a:gd name="T20" fmla="*/ 2637646 w 53"/>
              <a:gd name="T21" fmla="*/ 10887076 h 30"/>
              <a:gd name="T22" fmla="*/ 1582588 w 53"/>
              <a:gd name="T23" fmla="*/ 14516100 h 30"/>
              <a:gd name="T24" fmla="*/ 0 w 53"/>
              <a:gd name="T25" fmla="*/ 21774152 h 30"/>
              <a:gd name="T26" fmla="*/ 1230762 w 53"/>
              <a:gd name="T27" fmla="*/ 0 h 30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53"/>
              <a:gd name="T43" fmla="*/ 0 h 30"/>
              <a:gd name="T44" fmla="*/ 53 w 53"/>
              <a:gd name="T45" fmla="*/ 30 h 30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53" h="30">
                <a:moveTo>
                  <a:pt x="7" y="0"/>
                </a:moveTo>
                <a:lnTo>
                  <a:pt x="11" y="4"/>
                </a:lnTo>
                <a:lnTo>
                  <a:pt x="23" y="13"/>
                </a:lnTo>
                <a:lnTo>
                  <a:pt x="37" y="23"/>
                </a:lnTo>
                <a:lnTo>
                  <a:pt x="46" y="30"/>
                </a:lnTo>
                <a:lnTo>
                  <a:pt x="49" y="18"/>
                </a:lnTo>
                <a:lnTo>
                  <a:pt x="53" y="6"/>
                </a:lnTo>
                <a:lnTo>
                  <a:pt x="37" y="5"/>
                </a:lnTo>
                <a:lnTo>
                  <a:pt x="26" y="3"/>
                </a:lnTo>
                <a:lnTo>
                  <a:pt x="21" y="3"/>
                </a:lnTo>
                <a:lnTo>
                  <a:pt x="15" y="3"/>
                </a:lnTo>
                <a:lnTo>
                  <a:pt x="9" y="4"/>
                </a:lnTo>
                <a:lnTo>
                  <a:pt x="0" y="6"/>
                </a:lnTo>
                <a:lnTo>
                  <a:pt x="7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32" name="Freeform 330"/>
          <p:cNvSpPr>
            <a:spLocks/>
          </p:cNvSpPr>
          <p:nvPr userDrawn="1">
            <p:custDataLst>
              <p:tags r:id="rId232"/>
            </p:custDataLst>
          </p:nvPr>
        </p:nvSpPr>
        <p:spPr bwMode="auto">
          <a:xfrm>
            <a:off x="7000875" y="3134927"/>
            <a:ext cx="11112" cy="42863"/>
          </a:xfrm>
          <a:custGeom>
            <a:avLst/>
            <a:gdLst>
              <a:gd name="T0" fmla="*/ 0 w 33"/>
              <a:gd name="T1" fmla="*/ 20391491 h 31"/>
              <a:gd name="T2" fmla="*/ 453572 w 33"/>
              <a:gd name="T3" fmla="*/ 71372987 h 31"/>
              <a:gd name="T4" fmla="*/ 793666 w 33"/>
              <a:gd name="T5" fmla="*/ 105358793 h 31"/>
              <a:gd name="T6" fmla="*/ 2494475 w 33"/>
              <a:gd name="T7" fmla="*/ 105358793 h 31"/>
              <a:gd name="T8" fmla="*/ 3741713 w 33"/>
              <a:gd name="T9" fmla="*/ 105358793 h 31"/>
              <a:gd name="T10" fmla="*/ 3741713 w 33"/>
              <a:gd name="T11" fmla="*/ 0 h 31"/>
              <a:gd name="T12" fmla="*/ 3061524 w 33"/>
              <a:gd name="T13" fmla="*/ 0 h 31"/>
              <a:gd name="T14" fmla="*/ 2154381 w 33"/>
              <a:gd name="T15" fmla="*/ 0 h 31"/>
              <a:gd name="T16" fmla="*/ 1133761 w 33"/>
              <a:gd name="T17" fmla="*/ 0 h 31"/>
              <a:gd name="T18" fmla="*/ 0 w 33"/>
              <a:gd name="T19" fmla="*/ 0 h 31"/>
              <a:gd name="T20" fmla="*/ 0 w 33"/>
              <a:gd name="T21" fmla="*/ 20391491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3"/>
              <a:gd name="T34" fmla="*/ 0 h 31"/>
              <a:gd name="T35" fmla="*/ 33 w 33"/>
              <a:gd name="T36" fmla="*/ 31 h 31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3" h="31">
                <a:moveTo>
                  <a:pt x="0" y="6"/>
                </a:moveTo>
                <a:lnTo>
                  <a:pt x="4" y="21"/>
                </a:lnTo>
                <a:lnTo>
                  <a:pt x="7" y="31"/>
                </a:lnTo>
                <a:lnTo>
                  <a:pt x="22" y="31"/>
                </a:lnTo>
                <a:lnTo>
                  <a:pt x="33" y="31"/>
                </a:lnTo>
                <a:lnTo>
                  <a:pt x="33" y="0"/>
                </a:lnTo>
                <a:lnTo>
                  <a:pt x="27" y="0"/>
                </a:lnTo>
                <a:lnTo>
                  <a:pt x="19" y="0"/>
                </a:lnTo>
                <a:lnTo>
                  <a:pt x="10" y="0"/>
                </a:lnTo>
                <a:lnTo>
                  <a:pt x="0" y="0"/>
                </a:lnTo>
                <a:lnTo>
                  <a:pt x="0" y="6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33" name="Freeform 331"/>
          <p:cNvSpPr>
            <a:spLocks/>
          </p:cNvSpPr>
          <p:nvPr userDrawn="1">
            <p:custDataLst>
              <p:tags r:id="rId233"/>
            </p:custDataLst>
          </p:nvPr>
        </p:nvSpPr>
        <p:spPr bwMode="auto">
          <a:xfrm>
            <a:off x="7516815" y="3102775"/>
            <a:ext cx="28575" cy="41672"/>
          </a:xfrm>
          <a:custGeom>
            <a:avLst/>
            <a:gdLst>
              <a:gd name="T0" fmla="*/ 3672107 w 65"/>
              <a:gd name="T1" fmla="*/ 45400683 h 68"/>
              <a:gd name="T2" fmla="*/ 3092254 w 65"/>
              <a:gd name="T3" fmla="*/ 45400683 h 68"/>
              <a:gd name="T4" fmla="*/ 2705832 w 65"/>
              <a:gd name="T5" fmla="*/ 44065538 h 68"/>
              <a:gd name="T6" fmla="*/ 2125980 w 65"/>
              <a:gd name="T7" fmla="*/ 42730392 h 68"/>
              <a:gd name="T8" fmla="*/ 1352696 w 65"/>
              <a:gd name="T9" fmla="*/ 40726856 h 68"/>
              <a:gd name="T10" fmla="*/ 772844 w 65"/>
              <a:gd name="T11" fmla="*/ 39391711 h 68"/>
              <a:gd name="T12" fmla="*/ 386422 w 65"/>
              <a:gd name="T13" fmla="*/ 36721420 h 68"/>
              <a:gd name="T14" fmla="*/ 0 w 65"/>
              <a:gd name="T15" fmla="*/ 34717884 h 68"/>
              <a:gd name="T16" fmla="*/ 0 w 65"/>
              <a:gd name="T17" fmla="*/ 32715166 h 68"/>
              <a:gd name="T18" fmla="*/ 0 w 65"/>
              <a:gd name="T19" fmla="*/ 25371041 h 68"/>
              <a:gd name="T20" fmla="*/ 386422 w 65"/>
              <a:gd name="T21" fmla="*/ 19362069 h 68"/>
              <a:gd name="T22" fmla="*/ 966275 w 65"/>
              <a:gd name="T23" fmla="*/ 14020669 h 68"/>
              <a:gd name="T24" fmla="*/ 1739558 w 65"/>
              <a:gd name="T25" fmla="*/ 9346840 h 68"/>
              <a:gd name="T26" fmla="*/ 2898823 w 65"/>
              <a:gd name="T27" fmla="*/ 5341401 h 68"/>
              <a:gd name="T28" fmla="*/ 4251960 w 65"/>
              <a:gd name="T29" fmla="*/ 2670292 h 68"/>
              <a:gd name="T30" fmla="*/ 5797647 w 65"/>
              <a:gd name="T31" fmla="*/ 1335146 h 68"/>
              <a:gd name="T32" fmla="*/ 7537206 w 65"/>
              <a:gd name="T33" fmla="*/ 0 h 68"/>
              <a:gd name="T34" fmla="*/ 10049606 w 65"/>
              <a:gd name="T35" fmla="*/ 0 h 68"/>
              <a:gd name="T36" fmla="*/ 12562007 w 65"/>
              <a:gd name="T37" fmla="*/ 0 h 68"/>
              <a:gd name="T38" fmla="*/ 12562007 w 65"/>
              <a:gd name="T39" fmla="*/ 28708912 h 68"/>
              <a:gd name="T40" fmla="*/ 10822450 w 65"/>
              <a:gd name="T41" fmla="*/ 34717884 h 68"/>
              <a:gd name="T42" fmla="*/ 8696911 w 65"/>
              <a:gd name="T43" fmla="*/ 40726856 h 68"/>
              <a:gd name="T44" fmla="*/ 7537206 w 65"/>
              <a:gd name="T45" fmla="*/ 42730392 h 68"/>
              <a:gd name="T46" fmla="*/ 6570930 w 65"/>
              <a:gd name="T47" fmla="*/ 44065538 h 68"/>
              <a:gd name="T48" fmla="*/ 5218234 w 65"/>
              <a:gd name="T49" fmla="*/ 45400683 h 68"/>
              <a:gd name="T50" fmla="*/ 3672107 w 65"/>
              <a:gd name="T51" fmla="*/ 45400683 h 68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65"/>
              <a:gd name="T79" fmla="*/ 0 h 68"/>
              <a:gd name="T80" fmla="*/ 65 w 65"/>
              <a:gd name="T81" fmla="*/ 68 h 68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65" h="68">
                <a:moveTo>
                  <a:pt x="19" y="68"/>
                </a:moveTo>
                <a:lnTo>
                  <a:pt x="16" y="68"/>
                </a:lnTo>
                <a:lnTo>
                  <a:pt x="14" y="66"/>
                </a:lnTo>
                <a:lnTo>
                  <a:pt x="11" y="64"/>
                </a:lnTo>
                <a:lnTo>
                  <a:pt x="7" y="61"/>
                </a:lnTo>
                <a:lnTo>
                  <a:pt x="4" y="59"/>
                </a:lnTo>
                <a:lnTo>
                  <a:pt x="2" y="55"/>
                </a:lnTo>
                <a:lnTo>
                  <a:pt x="0" y="52"/>
                </a:lnTo>
                <a:lnTo>
                  <a:pt x="0" y="49"/>
                </a:lnTo>
                <a:lnTo>
                  <a:pt x="0" y="38"/>
                </a:lnTo>
                <a:lnTo>
                  <a:pt x="2" y="29"/>
                </a:lnTo>
                <a:lnTo>
                  <a:pt x="5" y="21"/>
                </a:lnTo>
                <a:lnTo>
                  <a:pt x="9" y="14"/>
                </a:lnTo>
                <a:lnTo>
                  <a:pt x="15" y="8"/>
                </a:lnTo>
                <a:lnTo>
                  <a:pt x="22" y="4"/>
                </a:lnTo>
                <a:lnTo>
                  <a:pt x="30" y="2"/>
                </a:lnTo>
                <a:lnTo>
                  <a:pt x="39" y="0"/>
                </a:lnTo>
                <a:lnTo>
                  <a:pt x="52" y="0"/>
                </a:lnTo>
                <a:lnTo>
                  <a:pt x="65" y="0"/>
                </a:lnTo>
                <a:lnTo>
                  <a:pt x="65" y="43"/>
                </a:lnTo>
                <a:lnTo>
                  <a:pt x="56" y="52"/>
                </a:lnTo>
                <a:lnTo>
                  <a:pt x="45" y="61"/>
                </a:lnTo>
                <a:lnTo>
                  <a:pt x="39" y="64"/>
                </a:lnTo>
                <a:lnTo>
                  <a:pt x="34" y="66"/>
                </a:lnTo>
                <a:lnTo>
                  <a:pt x="27" y="68"/>
                </a:lnTo>
                <a:lnTo>
                  <a:pt x="19" y="68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34" name="Freeform 332"/>
          <p:cNvSpPr>
            <a:spLocks/>
          </p:cNvSpPr>
          <p:nvPr userDrawn="1">
            <p:custDataLst>
              <p:tags r:id="rId234"/>
            </p:custDataLst>
          </p:nvPr>
        </p:nvSpPr>
        <p:spPr bwMode="auto">
          <a:xfrm>
            <a:off x="6454785" y="2789636"/>
            <a:ext cx="274637" cy="276225"/>
          </a:xfrm>
          <a:custGeom>
            <a:avLst/>
            <a:gdLst>
              <a:gd name="T0" fmla="*/ 96930592 w 625"/>
              <a:gd name="T1" fmla="*/ 94910485 h 694"/>
              <a:gd name="T2" fmla="*/ 93455227 w 625"/>
              <a:gd name="T3" fmla="*/ 96037143 h 694"/>
              <a:gd name="T4" fmla="*/ 92489823 w 625"/>
              <a:gd name="T5" fmla="*/ 107583928 h 694"/>
              <a:gd name="T6" fmla="*/ 99440993 w 625"/>
              <a:gd name="T7" fmla="*/ 113779751 h 694"/>
              <a:gd name="T8" fmla="*/ 103109702 w 625"/>
              <a:gd name="T9" fmla="*/ 114061548 h 694"/>
              <a:gd name="T10" fmla="*/ 106199258 w 625"/>
              <a:gd name="T11" fmla="*/ 119412510 h 694"/>
              <a:gd name="T12" fmla="*/ 108130065 w 625"/>
              <a:gd name="T13" fmla="*/ 129269573 h 694"/>
              <a:gd name="T14" fmla="*/ 110447121 w 625"/>
              <a:gd name="T15" fmla="*/ 133494408 h 694"/>
              <a:gd name="T16" fmla="*/ 113536237 w 625"/>
              <a:gd name="T17" fmla="*/ 136028990 h 694"/>
              <a:gd name="T18" fmla="*/ 118556627 w 625"/>
              <a:gd name="T19" fmla="*/ 137155648 h 694"/>
              <a:gd name="T20" fmla="*/ 120680779 w 625"/>
              <a:gd name="T21" fmla="*/ 142224846 h 694"/>
              <a:gd name="T22" fmla="*/ 120680779 w 625"/>
              <a:gd name="T23" fmla="*/ 151800642 h 694"/>
              <a:gd name="T24" fmla="*/ 119329126 w 625"/>
              <a:gd name="T25" fmla="*/ 169825047 h 694"/>
              <a:gd name="T26" fmla="*/ 117977473 w 625"/>
              <a:gd name="T27" fmla="*/ 189257907 h 694"/>
              <a:gd name="T28" fmla="*/ 108516314 w 625"/>
              <a:gd name="T29" fmla="*/ 195171932 h 694"/>
              <a:gd name="T30" fmla="*/ 104075106 w 625"/>
              <a:gd name="T31" fmla="*/ 195171932 h 694"/>
              <a:gd name="T32" fmla="*/ 76077083 w 625"/>
              <a:gd name="T33" fmla="*/ 158841326 h 694"/>
              <a:gd name="T34" fmla="*/ 76656238 w 625"/>
              <a:gd name="T35" fmla="*/ 155461883 h 694"/>
              <a:gd name="T36" fmla="*/ 76077083 w 625"/>
              <a:gd name="T37" fmla="*/ 151800642 h 694"/>
              <a:gd name="T38" fmla="*/ 65264299 w 625"/>
              <a:gd name="T39" fmla="*/ 137436914 h 694"/>
              <a:gd name="T40" fmla="*/ 58892284 w 625"/>
              <a:gd name="T41" fmla="*/ 127579851 h 694"/>
              <a:gd name="T42" fmla="*/ 56575214 w 625"/>
              <a:gd name="T43" fmla="*/ 118004585 h 694"/>
              <a:gd name="T44" fmla="*/ 56188964 w 625"/>
              <a:gd name="T45" fmla="*/ 107302661 h 694"/>
              <a:gd name="T46" fmla="*/ 55030216 w 625"/>
              <a:gd name="T47" fmla="*/ 101388105 h 694"/>
              <a:gd name="T48" fmla="*/ 51747756 w 625"/>
              <a:gd name="T49" fmla="*/ 96318940 h 694"/>
              <a:gd name="T50" fmla="*/ 46534489 w 625"/>
              <a:gd name="T51" fmla="*/ 87306207 h 694"/>
              <a:gd name="T52" fmla="*/ 43252029 w 625"/>
              <a:gd name="T53" fmla="*/ 75759423 h 694"/>
              <a:gd name="T54" fmla="*/ 41127877 w 625"/>
              <a:gd name="T55" fmla="*/ 67029001 h 694"/>
              <a:gd name="T56" fmla="*/ 36687108 w 625"/>
              <a:gd name="T57" fmla="*/ 59706520 h 694"/>
              <a:gd name="T58" fmla="*/ 28963440 w 625"/>
              <a:gd name="T59" fmla="*/ 48159205 h 694"/>
              <a:gd name="T60" fmla="*/ 26260127 w 625"/>
              <a:gd name="T61" fmla="*/ 41118521 h 694"/>
              <a:gd name="T62" fmla="*/ 21626014 w 625"/>
              <a:gd name="T63" fmla="*/ 37175484 h 694"/>
              <a:gd name="T64" fmla="*/ 15447343 w 625"/>
              <a:gd name="T65" fmla="*/ 31824514 h 694"/>
              <a:gd name="T66" fmla="*/ 9461574 w 625"/>
              <a:gd name="T67" fmla="*/ 23938969 h 694"/>
              <a:gd name="T68" fmla="*/ 4441210 w 625"/>
              <a:gd name="T69" fmla="*/ 14363168 h 694"/>
              <a:gd name="T70" fmla="*/ 965404 w 625"/>
              <a:gd name="T71" fmla="*/ 5350964 h 694"/>
              <a:gd name="T72" fmla="*/ 1930808 w 625"/>
              <a:gd name="T73" fmla="*/ 1126658 h 694"/>
              <a:gd name="T74" fmla="*/ 7144516 w 625"/>
              <a:gd name="T75" fmla="*/ 3661241 h 694"/>
              <a:gd name="T76" fmla="*/ 16219403 w 625"/>
              <a:gd name="T77" fmla="*/ 4506103 h 694"/>
              <a:gd name="T78" fmla="*/ 22398513 w 625"/>
              <a:gd name="T79" fmla="*/ 5632761 h 694"/>
              <a:gd name="T80" fmla="*/ 26646377 w 625"/>
              <a:gd name="T81" fmla="*/ 7604280 h 694"/>
              <a:gd name="T82" fmla="*/ 30121749 w 625"/>
              <a:gd name="T83" fmla="*/ 11828586 h 694"/>
              <a:gd name="T84" fmla="*/ 39390414 w 625"/>
              <a:gd name="T85" fmla="*/ 30697856 h 694"/>
              <a:gd name="T86" fmla="*/ 49044450 w 625"/>
              <a:gd name="T87" fmla="*/ 45906420 h 694"/>
              <a:gd name="T88" fmla="*/ 57733536 w 625"/>
              <a:gd name="T89" fmla="*/ 56890141 h 694"/>
              <a:gd name="T90" fmla="*/ 63526397 w 625"/>
              <a:gd name="T91" fmla="*/ 61677508 h 694"/>
              <a:gd name="T92" fmla="*/ 70670472 w 625"/>
              <a:gd name="T93" fmla="*/ 63930824 h 694"/>
              <a:gd name="T94" fmla="*/ 74918775 w 625"/>
              <a:gd name="T95" fmla="*/ 64775685 h 694"/>
              <a:gd name="T96" fmla="*/ 77428736 w 625"/>
              <a:gd name="T97" fmla="*/ 67873862 h 694"/>
              <a:gd name="T98" fmla="*/ 80324947 w 625"/>
              <a:gd name="T99" fmla="*/ 73224840 h 694"/>
              <a:gd name="T100" fmla="*/ 82449099 w 625"/>
              <a:gd name="T101" fmla="*/ 74632765 h 694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625"/>
              <a:gd name="T154" fmla="*/ 0 h 694"/>
              <a:gd name="T155" fmla="*/ 625 w 625"/>
              <a:gd name="T156" fmla="*/ 694 h 694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625" h="694">
                <a:moveTo>
                  <a:pt x="433" y="265"/>
                </a:moveTo>
                <a:lnTo>
                  <a:pt x="512" y="333"/>
                </a:lnTo>
                <a:lnTo>
                  <a:pt x="502" y="337"/>
                </a:lnTo>
                <a:lnTo>
                  <a:pt x="493" y="341"/>
                </a:lnTo>
                <a:lnTo>
                  <a:pt x="489" y="341"/>
                </a:lnTo>
                <a:lnTo>
                  <a:pt x="484" y="341"/>
                </a:lnTo>
                <a:lnTo>
                  <a:pt x="481" y="341"/>
                </a:lnTo>
                <a:lnTo>
                  <a:pt x="479" y="339"/>
                </a:lnTo>
                <a:lnTo>
                  <a:pt x="479" y="382"/>
                </a:lnTo>
                <a:lnTo>
                  <a:pt x="493" y="392"/>
                </a:lnTo>
                <a:lnTo>
                  <a:pt x="507" y="402"/>
                </a:lnTo>
                <a:lnTo>
                  <a:pt x="515" y="404"/>
                </a:lnTo>
                <a:lnTo>
                  <a:pt x="524" y="406"/>
                </a:lnTo>
                <a:lnTo>
                  <a:pt x="528" y="405"/>
                </a:lnTo>
                <a:lnTo>
                  <a:pt x="534" y="405"/>
                </a:lnTo>
                <a:lnTo>
                  <a:pt x="539" y="403"/>
                </a:lnTo>
                <a:lnTo>
                  <a:pt x="545" y="402"/>
                </a:lnTo>
                <a:lnTo>
                  <a:pt x="550" y="424"/>
                </a:lnTo>
                <a:lnTo>
                  <a:pt x="554" y="443"/>
                </a:lnTo>
                <a:lnTo>
                  <a:pt x="558" y="451"/>
                </a:lnTo>
                <a:lnTo>
                  <a:pt x="560" y="459"/>
                </a:lnTo>
                <a:lnTo>
                  <a:pt x="563" y="465"/>
                </a:lnTo>
                <a:lnTo>
                  <a:pt x="568" y="470"/>
                </a:lnTo>
                <a:lnTo>
                  <a:pt x="572" y="474"/>
                </a:lnTo>
                <a:lnTo>
                  <a:pt x="576" y="478"/>
                </a:lnTo>
                <a:lnTo>
                  <a:pt x="582" y="481"/>
                </a:lnTo>
                <a:lnTo>
                  <a:pt x="588" y="483"/>
                </a:lnTo>
                <a:lnTo>
                  <a:pt x="596" y="485"/>
                </a:lnTo>
                <a:lnTo>
                  <a:pt x="605" y="486"/>
                </a:lnTo>
                <a:lnTo>
                  <a:pt x="614" y="487"/>
                </a:lnTo>
                <a:lnTo>
                  <a:pt x="625" y="487"/>
                </a:lnTo>
                <a:lnTo>
                  <a:pt x="625" y="496"/>
                </a:lnTo>
                <a:lnTo>
                  <a:pt x="625" y="505"/>
                </a:lnTo>
                <a:lnTo>
                  <a:pt x="625" y="515"/>
                </a:lnTo>
                <a:lnTo>
                  <a:pt x="625" y="525"/>
                </a:lnTo>
                <a:lnTo>
                  <a:pt x="625" y="539"/>
                </a:lnTo>
                <a:lnTo>
                  <a:pt x="622" y="557"/>
                </a:lnTo>
                <a:lnTo>
                  <a:pt x="620" y="579"/>
                </a:lnTo>
                <a:lnTo>
                  <a:pt x="618" y="603"/>
                </a:lnTo>
                <a:lnTo>
                  <a:pt x="616" y="628"/>
                </a:lnTo>
                <a:lnTo>
                  <a:pt x="614" y="651"/>
                </a:lnTo>
                <a:lnTo>
                  <a:pt x="611" y="672"/>
                </a:lnTo>
                <a:lnTo>
                  <a:pt x="611" y="691"/>
                </a:lnTo>
                <a:lnTo>
                  <a:pt x="582" y="692"/>
                </a:lnTo>
                <a:lnTo>
                  <a:pt x="562" y="693"/>
                </a:lnTo>
                <a:lnTo>
                  <a:pt x="553" y="694"/>
                </a:lnTo>
                <a:lnTo>
                  <a:pt x="546" y="693"/>
                </a:lnTo>
                <a:lnTo>
                  <a:pt x="539" y="693"/>
                </a:lnTo>
                <a:lnTo>
                  <a:pt x="531" y="691"/>
                </a:lnTo>
                <a:lnTo>
                  <a:pt x="392" y="567"/>
                </a:lnTo>
                <a:lnTo>
                  <a:pt x="394" y="564"/>
                </a:lnTo>
                <a:lnTo>
                  <a:pt x="396" y="560"/>
                </a:lnTo>
                <a:lnTo>
                  <a:pt x="397" y="556"/>
                </a:lnTo>
                <a:lnTo>
                  <a:pt x="397" y="552"/>
                </a:lnTo>
                <a:lnTo>
                  <a:pt x="397" y="547"/>
                </a:lnTo>
                <a:lnTo>
                  <a:pt x="396" y="543"/>
                </a:lnTo>
                <a:lnTo>
                  <a:pt x="394" y="539"/>
                </a:lnTo>
                <a:lnTo>
                  <a:pt x="392" y="537"/>
                </a:lnTo>
                <a:lnTo>
                  <a:pt x="366" y="513"/>
                </a:lnTo>
                <a:lnTo>
                  <a:pt x="338" y="488"/>
                </a:lnTo>
                <a:lnTo>
                  <a:pt x="326" y="476"/>
                </a:lnTo>
                <a:lnTo>
                  <a:pt x="315" y="465"/>
                </a:lnTo>
                <a:lnTo>
                  <a:pt x="305" y="453"/>
                </a:lnTo>
                <a:lnTo>
                  <a:pt x="300" y="444"/>
                </a:lnTo>
                <a:lnTo>
                  <a:pt x="295" y="432"/>
                </a:lnTo>
                <a:lnTo>
                  <a:pt x="293" y="419"/>
                </a:lnTo>
                <a:lnTo>
                  <a:pt x="292" y="407"/>
                </a:lnTo>
                <a:lnTo>
                  <a:pt x="292" y="393"/>
                </a:lnTo>
                <a:lnTo>
                  <a:pt x="291" y="381"/>
                </a:lnTo>
                <a:lnTo>
                  <a:pt x="289" y="370"/>
                </a:lnTo>
                <a:lnTo>
                  <a:pt x="288" y="365"/>
                </a:lnTo>
                <a:lnTo>
                  <a:pt x="285" y="360"/>
                </a:lnTo>
                <a:lnTo>
                  <a:pt x="282" y="356"/>
                </a:lnTo>
                <a:lnTo>
                  <a:pt x="279" y="352"/>
                </a:lnTo>
                <a:lnTo>
                  <a:pt x="268" y="342"/>
                </a:lnTo>
                <a:lnTo>
                  <a:pt x="258" y="332"/>
                </a:lnTo>
                <a:lnTo>
                  <a:pt x="249" y="321"/>
                </a:lnTo>
                <a:lnTo>
                  <a:pt x="241" y="310"/>
                </a:lnTo>
                <a:lnTo>
                  <a:pt x="235" y="297"/>
                </a:lnTo>
                <a:lnTo>
                  <a:pt x="229" y="283"/>
                </a:lnTo>
                <a:lnTo>
                  <a:pt x="224" y="269"/>
                </a:lnTo>
                <a:lnTo>
                  <a:pt x="220" y="253"/>
                </a:lnTo>
                <a:lnTo>
                  <a:pt x="216" y="246"/>
                </a:lnTo>
                <a:lnTo>
                  <a:pt x="213" y="238"/>
                </a:lnTo>
                <a:lnTo>
                  <a:pt x="207" y="231"/>
                </a:lnTo>
                <a:lnTo>
                  <a:pt x="202" y="224"/>
                </a:lnTo>
                <a:lnTo>
                  <a:pt x="190" y="212"/>
                </a:lnTo>
                <a:lnTo>
                  <a:pt x="177" y="199"/>
                </a:lnTo>
                <a:lnTo>
                  <a:pt x="162" y="187"/>
                </a:lnTo>
                <a:lnTo>
                  <a:pt x="150" y="171"/>
                </a:lnTo>
                <a:lnTo>
                  <a:pt x="145" y="164"/>
                </a:lnTo>
                <a:lnTo>
                  <a:pt x="140" y="155"/>
                </a:lnTo>
                <a:lnTo>
                  <a:pt x="136" y="146"/>
                </a:lnTo>
                <a:lnTo>
                  <a:pt x="133" y="136"/>
                </a:lnTo>
                <a:lnTo>
                  <a:pt x="123" y="135"/>
                </a:lnTo>
                <a:lnTo>
                  <a:pt x="112" y="132"/>
                </a:lnTo>
                <a:lnTo>
                  <a:pt x="102" y="128"/>
                </a:lnTo>
                <a:lnTo>
                  <a:pt x="91" y="121"/>
                </a:lnTo>
                <a:lnTo>
                  <a:pt x="80" y="113"/>
                </a:lnTo>
                <a:lnTo>
                  <a:pt x="69" y="104"/>
                </a:lnTo>
                <a:lnTo>
                  <a:pt x="59" y="95"/>
                </a:lnTo>
                <a:lnTo>
                  <a:pt x="49" y="85"/>
                </a:lnTo>
                <a:lnTo>
                  <a:pt x="39" y="74"/>
                </a:lnTo>
                <a:lnTo>
                  <a:pt x="31" y="62"/>
                </a:lnTo>
                <a:lnTo>
                  <a:pt x="23" y="51"/>
                </a:lnTo>
                <a:lnTo>
                  <a:pt x="16" y="40"/>
                </a:lnTo>
                <a:lnTo>
                  <a:pt x="10" y="29"/>
                </a:lnTo>
                <a:lnTo>
                  <a:pt x="5" y="19"/>
                </a:lnTo>
                <a:lnTo>
                  <a:pt x="2" y="9"/>
                </a:lnTo>
                <a:lnTo>
                  <a:pt x="0" y="0"/>
                </a:lnTo>
                <a:lnTo>
                  <a:pt x="10" y="4"/>
                </a:lnTo>
                <a:lnTo>
                  <a:pt x="20" y="7"/>
                </a:lnTo>
                <a:lnTo>
                  <a:pt x="28" y="10"/>
                </a:lnTo>
                <a:lnTo>
                  <a:pt x="37" y="13"/>
                </a:lnTo>
                <a:lnTo>
                  <a:pt x="54" y="15"/>
                </a:lnTo>
                <a:lnTo>
                  <a:pt x="69" y="16"/>
                </a:lnTo>
                <a:lnTo>
                  <a:pt x="84" y="16"/>
                </a:lnTo>
                <a:lnTo>
                  <a:pt x="100" y="17"/>
                </a:lnTo>
                <a:lnTo>
                  <a:pt x="108" y="19"/>
                </a:lnTo>
                <a:lnTo>
                  <a:pt x="116" y="20"/>
                </a:lnTo>
                <a:lnTo>
                  <a:pt x="124" y="22"/>
                </a:lnTo>
                <a:lnTo>
                  <a:pt x="133" y="25"/>
                </a:lnTo>
                <a:lnTo>
                  <a:pt x="138" y="27"/>
                </a:lnTo>
                <a:lnTo>
                  <a:pt x="144" y="31"/>
                </a:lnTo>
                <a:lnTo>
                  <a:pt x="149" y="36"/>
                </a:lnTo>
                <a:lnTo>
                  <a:pt x="156" y="42"/>
                </a:lnTo>
                <a:lnTo>
                  <a:pt x="169" y="57"/>
                </a:lnTo>
                <a:lnTo>
                  <a:pt x="181" y="76"/>
                </a:lnTo>
                <a:lnTo>
                  <a:pt x="204" y="109"/>
                </a:lnTo>
                <a:lnTo>
                  <a:pt x="220" y="130"/>
                </a:lnTo>
                <a:lnTo>
                  <a:pt x="237" y="147"/>
                </a:lnTo>
                <a:lnTo>
                  <a:pt x="254" y="163"/>
                </a:lnTo>
                <a:lnTo>
                  <a:pt x="271" y="181"/>
                </a:lnTo>
                <a:lnTo>
                  <a:pt x="289" y="196"/>
                </a:lnTo>
                <a:lnTo>
                  <a:pt x="299" y="202"/>
                </a:lnTo>
                <a:lnTo>
                  <a:pt x="308" y="209"/>
                </a:lnTo>
                <a:lnTo>
                  <a:pt x="318" y="214"/>
                </a:lnTo>
                <a:lnTo>
                  <a:pt x="329" y="219"/>
                </a:lnTo>
                <a:lnTo>
                  <a:pt x="341" y="223"/>
                </a:lnTo>
                <a:lnTo>
                  <a:pt x="353" y="226"/>
                </a:lnTo>
                <a:lnTo>
                  <a:pt x="366" y="227"/>
                </a:lnTo>
                <a:lnTo>
                  <a:pt x="379" y="228"/>
                </a:lnTo>
                <a:lnTo>
                  <a:pt x="383" y="229"/>
                </a:lnTo>
                <a:lnTo>
                  <a:pt x="388" y="230"/>
                </a:lnTo>
                <a:lnTo>
                  <a:pt x="392" y="231"/>
                </a:lnTo>
                <a:lnTo>
                  <a:pt x="395" y="235"/>
                </a:lnTo>
                <a:lnTo>
                  <a:pt x="401" y="241"/>
                </a:lnTo>
                <a:lnTo>
                  <a:pt x="405" y="247"/>
                </a:lnTo>
                <a:lnTo>
                  <a:pt x="411" y="254"/>
                </a:lnTo>
                <a:lnTo>
                  <a:pt x="416" y="260"/>
                </a:lnTo>
                <a:lnTo>
                  <a:pt x="419" y="262"/>
                </a:lnTo>
                <a:lnTo>
                  <a:pt x="423" y="264"/>
                </a:lnTo>
                <a:lnTo>
                  <a:pt x="427" y="265"/>
                </a:lnTo>
                <a:lnTo>
                  <a:pt x="433" y="265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35" name="Freeform 333"/>
          <p:cNvSpPr>
            <a:spLocks/>
          </p:cNvSpPr>
          <p:nvPr userDrawn="1">
            <p:custDataLst>
              <p:tags r:id="rId235"/>
            </p:custDataLst>
          </p:nvPr>
        </p:nvSpPr>
        <p:spPr bwMode="auto">
          <a:xfrm>
            <a:off x="6796090" y="2826550"/>
            <a:ext cx="254000" cy="192881"/>
          </a:xfrm>
          <a:custGeom>
            <a:avLst/>
            <a:gdLst>
              <a:gd name="T0" fmla="*/ 97275908 w 585"/>
              <a:gd name="T1" fmla="*/ 7619266 h 493"/>
              <a:gd name="T2" fmla="*/ 93316983 w 585"/>
              <a:gd name="T3" fmla="*/ 14966751 h 493"/>
              <a:gd name="T4" fmla="*/ 96521724 w 585"/>
              <a:gd name="T5" fmla="*/ 25307483 h 493"/>
              <a:gd name="T6" fmla="*/ 100669086 w 585"/>
              <a:gd name="T7" fmla="*/ 35375916 h 493"/>
              <a:gd name="T8" fmla="*/ 108021623 w 585"/>
              <a:gd name="T9" fmla="*/ 48165804 h 493"/>
              <a:gd name="T10" fmla="*/ 109341120 w 585"/>
              <a:gd name="T11" fmla="*/ 55785068 h 493"/>
              <a:gd name="T12" fmla="*/ 103120076 w 585"/>
              <a:gd name="T13" fmla="*/ 55512765 h 493"/>
              <a:gd name="T14" fmla="*/ 97275908 w 585"/>
              <a:gd name="T15" fmla="*/ 63404332 h 493"/>
              <a:gd name="T16" fmla="*/ 95390664 w 585"/>
              <a:gd name="T17" fmla="*/ 66942183 h 493"/>
              <a:gd name="T18" fmla="*/ 97652783 w 585"/>
              <a:gd name="T19" fmla="*/ 73745076 h 493"/>
              <a:gd name="T20" fmla="*/ 98972714 w 585"/>
              <a:gd name="T21" fmla="*/ 80003869 h 493"/>
              <a:gd name="T22" fmla="*/ 95202227 w 585"/>
              <a:gd name="T23" fmla="*/ 83813501 h 493"/>
              <a:gd name="T24" fmla="*/ 86530193 w 585"/>
              <a:gd name="T25" fmla="*/ 87895436 h 493"/>
              <a:gd name="T26" fmla="*/ 83513890 w 585"/>
              <a:gd name="T27" fmla="*/ 96331087 h 493"/>
              <a:gd name="T28" fmla="*/ 83891199 w 585"/>
              <a:gd name="T29" fmla="*/ 112930607 h 493"/>
              <a:gd name="T30" fmla="*/ 81063333 w 585"/>
              <a:gd name="T31" fmla="*/ 123543638 h 493"/>
              <a:gd name="T32" fmla="*/ 75407603 w 585"/>
              <a:gd name="T33" fmla="*/ 128441438 h 493"/>
              <a:gd name="T34" fmla="*/ 69752306 w 585"/>
              <a:gd name="T35" fmla="*/ 132795676 h 493"/>
              <a:gd name="T36" fmla="*/ 64285012 w 585"/>
              <a:gd name="T37" fmla="*/ 134156147 h 493"/>
              <a:gd name="T38" fmla="*/ 62022894 w 585"/>
              <a:gd name="T39" fmla="*/ 132523373 h 493"/>
              <a:gd name="T40" fmla="*/ 61645584 w 585"/>
              <a:gd name="T41" fmla="*/ 128169657 h 493"/>
              <a:gd name="T42" fmla="*/ 57309784 w 585"/>
              <a:gd name="T43" fmla="*/ 122727251 h 493"/>
              <a:gd name="T44" fmla="*/ 47318240 w 585"/>
              <a:gd name="T45" fmla="*/ 123543638 h 493"/>
              <a:gd name="T46" fmla="*/ 41285634 w 585"/>
              <a:gd name="T47" fmla="*/ 125720496 h 493"/>
              <a:gd name="T48" fmla="*/ 33179347 w 585"/>
              <a:gd name="T49" fmla="*/ 119733484 h 493"/>
              <a:gd name="T50" fmla="*/ 22999372 w 585"/>
              <a:gd name="T51" fmla="*/ 118645316 h 493"/>
              <a:gd name="T52" fmla="*/ 17909387 w 585"/>
              <a:gd name="T53" fmla="*/ 116740239 h 493"/>
              <a:gd name="T54" fmla="*/ 15269959 w 585"/>
              <a:gd name="T55" fmla="*/ 99596634 h 493"/>
              <a:gd name="T56" fmla="*/ 10934156 w 585"/>
              <a:gd name="T57" fmla="*/ 84357585 h 493"/>
              <a:gd name="T58" fmla="*/ 6598354 w 585"/>
              <a:gd name="T59" fmla="*/ 79459785 h 493"/>
              <a:gd name="T60" fmla="*/ 2262120 w 585"/>
              <a:gd name="T61" fmla="*/ 70751831 h 493"/>
              <a:gd name="T62" fmla="*/ 942622 w 585"/>
              <a:gd name="T63" fmla="*/ 55512765 h 493"/>
              <a:gd name="T64" fmla="*/ 5844170 w 585"/>
              <a:gd name="T65" fmla="*/ 41634708 h 493"/>
              <a:gd name="T66" fmla="*/ 10179972 w 585"/>
              <a:gd name="T67" fmla="*/ 38369161 h 493"/>
              <a:gd name="T68" fmla="*/ 14138897 w 585"/>
              <a:gd name="T69" fmla="*/ 41362406 h 493"/>
              <a:gd name="T70" fmla="*/ 18286262 w 585"/>
              <a:gd name="T71" fmla="*/ 50886746 h 493"/>
              <a:gd name="T72" fmla="*/ 24318868 w 585"/>
              <a:gd name="T73" fmla="*/ 58234229 h 493"/>
              <a:gd name="T74" fmla="*/ 32048287 w 585"/>
              <a:gd name="T75" fmla="*/ 57961926 h 493"/>
              <a:gd name="T76" fmla="*/ 41662943 w 585"/>
              <a:gd name="T77" fmla="*/ 51430830 h 493"/>
              <a:gd name="T78" fmla="*/ 43925062 w 585"/>
              <a:gd name="T79" fmla="*/ 46804811 h 493"/>
              <a:gd name="T80" fmla="*/ 54293468 w 585"/>
              <a:gd name="T81" fmla="*/ 48437585 h 493"/>
              <a:gd name="T82" fmla="*/ 61457147 w 585"/>
              <a:gd name="T83" fmla="*/ 49253972 h 493"/>
              <a:gd name="T84" fmla="*/ 63530828 w 585"/>
              <a:gd name="T85" fmla="*/ 46260727 h 493"/>
              <a:gd name="T86" fmla="*/ 68243937 w 585"/>
              <a:gd name="T87" fmla="*/ 42995179 h 493"/>
              <a:gd name="T88" fmla="*/ 72202862 w 585"/>
              <a:gd name="T89" fmla="*/ 37008689 h 493"/>
              <a:gd name="T90" fmla="*/ 78235468 w 585"/>
              <a:gd name="T91" fmla="*/ 21497851 h 493"/>
              <a:gd name="T92" fmla="*/ 80497587 w 585"/>
              <a:gd name="T93" fmla="*/ 6802879 h 493"/>
              <a:gd name="T94" fmla="*/ 84268074 w 585"/>
              <a:gd name="T95" fmla="*/ 1632774 h 493"/>
              <a:gd name="T96" fmla="*/ 90300680 w 585"/>
              <a:gd name="T97" fmla="*/ 544084 h 493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585"/>
              <a:gd name="T148" fmla="*/ 0 h 493"/>
              <a:gd name="T149" fmla="*/ 585 w 585"/>
              <a:gd name="T150" fmla="*/ 493 h 493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585" h="493">
                <a:moveTo>
                  <a:pt x="525" y="12"/>
                </a:moveTo>
                <a:lnTo>
                  <a:pt x="524" y="17"/>
                </a:lnTo>
                <a:lnTo>
                  <a:pt x="520" y="22"/>
                </a:lnTo>
                <a:lnTo>
                  <a:pt x="516" y="28"/>
                </a:lnTo>
                <a:lnTo>
                  <a:pt x="510" y="33"/>
                </a:lnTo>
                <a:lnTo>
                  <a:pt x="497" y="45"/>
                </a:lnTo>
                <a:lnTo>
                  <a:pt x="485" y="55"/>
                </a:lnTo>
                <a:lnTo>
                  <a:pt x="495" y="55"/>
                </a:lnTo>
                <a:lnTo>
                  <a:pt x="505" y="55"/>
                </a:lnTo>
                <a:lnTo>
                  <a:pt x="506" y="68"/>
                </a:lnTo>
                <a:lnTo>
                  <a:pt x="508" y="81"/>
                </a:lnTo>
                <a:lnTo>
                  <a:pt x="512" y="93"/>
                </a:lnTo>
                <a:lnTo>
                  <a:pt x="516" y="103"/>
                </a:lnTo>
                <a:lnTo>
                  <a:pt x="520" y="112"/>
                </a:lnTo>
                <a:lnTo>
                  <a:pt x="527" y="121"/>
                </a:lnTo>
                <a:lnTo>
                  <a:pt x="534" y="130"/>
                </a:lnTo>
                <a:lnTo>
                  <a:pt x="540" y="138"/>
                </a:lnTo>
                <a:lnTo>
                  <a:pt x="553" y="155"/>
                </a:lnTo>
                <a:lnTo>
                  <a:pt x="566" y="170"/>
                </a:lnTo>
                <a:lnTo>
                  <a:pt x="573" y="177"/>
                </a:lnTo>
                <a:lnTo>
                  <a:pt x="577" y="185"/>
                </a:lnTo>
                <a:lnTo>
                  <a:pt x="582" y="194"/>
                </a:lnTo>
                <a:lnTo>
                  <a:pt x="585" y="204"/>
                </a:lnTo>
                <a:lnTo>
                  <a:pt x="580" y="205"/>
                </a:lnTo>
                <a:lnTo>
                  <a:pt x="574" y="206"/>
                </a:lnTo>
                <a:lnTo>
                  <a:pt x="568" y="206"/>
                </a:lnTo>
                <a:lnTo>
                  <a:pt x="561" y="206"/>
                </a:lnTo>
                <a:lnTo>
                  <a:pt x="547" y="204"/>
                </a:lnTo>
                <a:lnTo>
                  <a:pt x="531" y="204"/>
                </a:lnTo>
                <a:lnTo>
                  <a:pt x="524" y="217"/>
                </a:lnTo>
                <a:lnTo>
                  <a:pt x="518" y="229"/>
                </a:lnTo>
                <a:lnTo>
                  <a:pt x="516" y="233"/>
                </a:lnTo>
                <a:lnTo>
                  <a:pt x="513" y="237"/>
                </a:lnTo>
                <a:lnTo>
                  <a:pt x="509" y="239"/>
                </a:lnTo>
                <a:lnTo>
                  <a:pt x="505" y="240"/>
                </a:lnTo>
                <a:lnTo>
                  <a:pt x="506" y="246"/>
                </a:lnTo>
                <a:lnTo>
                  <a:pt x="508" y="253"/>
                </a:lnTo>
                <a:lnTo>
                  <a:pt x="512" y="259"/>
                </a:lnTo>
                <a:lnTo>
                  <a:pt x="515" y="265"/>
                </a:lnTo>
                <a:lnTo>
                  <a:pt x="518" y="271"/>
                </a:lnTo>
                <a:lnTo>
                  <a:pt x="521" y="277"/>
                </a:lnTo>
                <a:lnTo>
                  <a:pt x="524" y="283"/>
                </a:lnTo>
                <a:lnTo>
                  <a:pt x="525" y="289"/>
                </a:lnTo>
                <a:lnTo>
                  <a:pt x="525" y="294"/>
                </a:lnTo>
                <a:lnTo>
                  <a:pt x="523" y="297"/>
                </a:lnTo>
                <a:lnTo>
                  <a:pt x="519" y="301"/>
                </a:lnTo>
                <a:lnTo>
                  <a:pt x="516" y="304"/>
                </a:lnTo>
                <a:lnTo>
                  <a:pt x="505" y="308"/>
                </a:lnTo>
                <a:lnTo>
                  <a:pt x="494" y="312"/>
                </a:lnTo>
                <a:lnTo>
                  <a:pt x="481" y="316"/>
                </a:lnTo>
                <a:lnTo>
                  <a:pt x="469" y="319"/>
                </a:lnTo>
                <a:lnTo>
                  <a:pt x="459" y="323"/>
                </a:lnTo>
                <a:lnTo>
                  <a:pt x="452" y="327"/>
                </a:lnTo>
                <a:lnTo>
                  <a:pt x="448" y="334"/>
                </a:lnTo>
                <a:lnTo>
                  <a:pt x="446" y="344"/>
                </a:lnTo>
                <a:lnTo>
                  <a:pt x="443" y="354"/>
                </a:lnTo>
                <a:lnTo>
                  <a:pt x="443" y="365"/>
                </a:lnTo>
                <a:lnTo>
                  <a:pt x="445" y="386"/>
                </a:lnTo>
                <a:lnTo>
                  <a:pt x="446" y="400"/>
                </a:lnTo>
                <a:lnTo>
                  <a:pt x="445" y="415"/>
                </a:lnTo>
                <a:lnTo>
                  <a:pt x="442" y="428"/>
                </a:lnTo>
                <a:lnTo>
                  <a:pt x="439" y="439"/>
                </a:lnTo>
                <a:lnTo>
                  <a:pt x="436" y="447"/>
                </a:lnTo>
                <a:lnTo>
                  <a:pt x="430" y="454"/>
                </a:lnTo>
                <a:lnTo>
                  <a:pt x="425" y="459"/>
                </a:lnTo>
                <a:lnTo>
                  <a:pt x="419" y="464"/>
                </a:lnTo>
                <a:lnTo>
                  <a:pt x="413" y="467"/>
                </a:lnTo>
                <a:lnTo>
                  <a:pt x="400" y="472"/>
                </a:lnTo>
                <a:lnTo>
                  <a:pt x="386" y="477"/>
                </a:lnTo>
                <a:lnTo>
                  <a:pt x="380" y="480"/>
                </a:lnTo>
                <a:lnTo>
                  <a:pt x="374" y="484"/>
                </a:lnTo>
                <a:lnTo>
                  <a:pt x="370" y="488"/>
                </a:lnTo>
                <a:lnTo>
                  <a:pt x="366" y="493"/>
                </a:lnTo>
                <a:lnTo>
                  <a:pt x="356" y="493"/>
                </a:lnTo>
                <a:lnTo>
                  <a:pt x="346" y="493"/>
                </a:lnTo>
                <a:lnTo>
                  <a:pt x="341" y="493"/>
                </a:lnTo>
                <a:lnTo>
                  <a:pt x="337" y="492"/>
                </a:lnTo>
                <a:lnTo>
                  <a:pt x="334" y="491"/>
                </a:lnTo>
                <a:lnTo>
                  <a:pt x="331" y="489"/>
                </a:lnTo>
                <a:lnTo>
                  <a:pt x="329" y="487"/>
                </a:lnTo>
                <a:lnTo>
                  <a:pt x="328" y="484"/>
                </a:lnTo>
                <a:lnTo>
                  <a:pt x="327" y="482"/>
                </a:lnTo>
                <a:lnTo>
                  <a:pt x="326" y="478"/>
                </a:lnTo>
                <a:lnTo>
                  <a:pt x="327" y="471"/>
                </a:lnTo>
                <a:lnTo>
                  <a:pt x="328" y="464"/>
                </a:lnTo>
                <a:lnTo>
                  <a:pt x="330" y="457"/>
                </a:lnTo>
                <a:lnTo>
                  <a:pt x="333" y="450"/>
                </a:lnTo>
                <a:lnTo>
                  <a:pt x="304" y="451"/>
                </a:lnTo>
                <a:lnTo>
                  <a:pt x="279" y="454"/>
                </a:lnTo>
                <a:lnTo>
                  <a:pt x="267" y="455"/>
                </a:lnTo>
                <a:lnTo>
                  <a:pt x="257" y="455"/>
                </a:lnTo>
                <a:lnTo>
                  <a:pt x="251" y="454"/>
                </a:lnTo>
                <a:lnTo>
                  <a:pt x="247" y="453"/>
                </a:lnTo>
                <a:lnTo>
                  <a:pt x="244" y="452"/>
                </a:lnTo>
                <a:lnTo>
                  <a:pt x="239" y="450"/>
                </a:lnTo>
                <a:lnTo>
                  <a:pt x="219" y="462"/>
                </a:lnTo>
                <a:lnTo>
                  <a:pt x="207" y="455"/>
                </a:lnTo>
                <a:lnTo>
                  <a:pt x="192" y="447"/>
                </a:lnTo>
                <a:lnTo>
                  <a:pt x="183" y="444"/>
                </a:lnTo>
                <a:lnTo>
                  <a:pt x="176" y="440"/>
                </a:lnTo>
                <a:lnTo>
                  <a:pt x="168" y="438"/>
                </a:lnTo>
                <a:lnTo>
                  <a:pt x="159" y="438"/>
                </a:lnTo>
                <a:lnTo>
                  <a:pt x="144" y="437"/>
                </a:lnTo>
                <a:lnTo>
                  <a:pt x="122" y="436"/>
                </a:lnTo>
                <a:lnTo>
                  <a:pt x="111" y="435"/>
                </a:lnTo>
                <a:lnTo>
                  <a:pt x="102" y="432"/>
                </a:lnTo>
                <a:lnTo>
                  <a:pt x="98" y="431"/>
                </a:lnTo>
                <a:lnTo>
                  <a:pt x="95" y="429"/>
                </a:lnTo>
                <a:lnTo>
                  <a:pt x="93" y="428"/>
                </a:lnTo>
                <a:lnTo>
                  <a:pt x="93" y="424"/>
                </a:lnTo>
                <a:lnTo>
                  <a:pt x="87" y="393"/>
                </a:lnTo>
                <a:lnTo>
                  <a:pt x="81" y="366"/>
                </a:lnTo>
                <a:lnTo>
                  <a:pt x="75" y="346"/>
                </a:lnTo>
                <a:lnTo>
                  <a:pt x="69" y="331"/>
                </a:lnTo>
                <a:lnTo>
                  <a:pt x="64" y="320"/>
                </a:lnTo>
                <a:lnTo>
                  <a:pt x="58" y="310"/>
                </a:lnTo>
                <a:lnTo>
                  <a:pt x="53" y="304"/>
                </a:lnTo>
                <a:lnTo>
                  <a:pt x="47" y="300"/>
                </a:lnTo>
                <a:lnTo>
                  <a:pt x="41" y="296"/>
                </a:lnTo>
                <a:lnTo>
                  <a:pt x="35" y="292"/>
                </a:lnTo>
                <a:lnTo>
                  <a:pt x="30" y="288"/>
                </a:lnTo>
                <a:lnTo>
                  <a:pt x="24" y="281"/>
                </a:lnTo>
                <a:lnTo>
                  <a:pt x="19" y="272"/>
                </a:lnTo>
                <a:lnTo>
                  <a:pt x="12" y="260"/>
                </a:lnTo>
                <a:lnTo>
                  <a:pt x="6" y="243"/>
                </a:lnTo>
                <a:lnTo>
                  <a:pt x="0" y="222"/>
                </a:lnTo>
                <a:lnTo>
                  <a:pt x="2" y="215"/>
                </a:lnTo>
                <a:lnTo>
                  <a:pt x="5" y="204"/>
                </a:lnTo>
                <a:lnTo>
                  <a:pt x="11" y="191"/>
                </a:lnTo>
                <a:lnTo>
                  <a:pt x="17" y="177"/>
                </a:lnTo>
                <a:lnTo>
                  <a:pt x="24" y="164"/>
                </a:lnTo>
                <a:lnTo>
                  <a:pt x="31" y="153"/>
                </a:lnTo>
                <a:lnTo>
                  <a:pt x="36" y="144"/>
                </a:lnTo>
                <a:lnTo>
                  <a:pt x="41" y="141"/>
                </a:lnTo>
                <a:lnTo>
                  <a:pt x="46" y="141"/>
                </a:lnTo>
                <a:lnTo>
                  <a:pt x="54" y="141"/>
                </a:lnTo>
                <a:lnTo>
                  <a:pt x="64" y="141"/>
                </a:lnTo>
                <a:lnTo>
                  <a:pt x="73" y="141"/>
                </a:lnTo>
                <a:lnTo>
                  <a:pt x="73" y="146"/>
                </a:lnTo>
                <a:lnTo>
                  <a:pt x="75" y="152"/>
                </a:lnTo>
                <a:lnTo>
                  <a:pt x="77" y="158"/>
                </a:lnTo>
                <a:lnTo>
                  <a:pt x="80" y="164"/>
                </a:lnTo>
                <a:lnTo>
                  <a:pt x="88" y="176"/>
                </a:lnTo>
                <a:lnTo>
                  <a:pt x="97" y="187"/>
                </a:lnTo>
                <a:lnTo>
                  <a:pt x="107" y="198"/>
                </a:lnTo>
                <a:lnTo>
                  <a:pt x="118" y="208"/>
                </a:lnTo>
                <a:lnTo>
                  <a:pt x="124" y="211"/>
                </a:lnTo>
                <a:lnTo>
                  <a:pt x="129" y="214"/>
                </a:lnTo>
                <a:lnTo>
                  <a:pt x="135" y="215"/>
                </a:lnTo>
                <a:lnTo>
                  <a:pt x="139" y="216"/>
                </a:lnTo>
                <a:lnTo>
                  <a:pt x="155" y="215"/>
                </a:lnTo>
                <a:lnTo>
                  <a:pt x="170" y="213"/>
                </a:lnTo>
                <a:lnTo>
                  <a:pt x="184" y="209"/>
                </a:lnTo>
                <a:lnTo>
                  <a:pt x="199" y="204"/>
                </a:lnTo>
                <a:lnTo>
                  <a:pt x="211" y="196"/>
                </a:lnTo>
                <a:lnTo>
                  <a:pt x="221" y="189"/>
                </a:lnTo>
                <a:lnTo>
                  <a:pt x="225" y="185"/>
                </a:lnTo>
                <a:lnTo>
                  <a:pt x="228" y="181"/>
                </a:lnTo>
                <a:lnTo>
                  <a:pt x="230" y="177"/>
                </a:lnTo>
                <a:lnTo>
                  <a:pt x="233" y="172"/>
                </a:lnTo>
                <a:lnTo>
                  <a:pt x="256" y="175"/>
                </a:lnTo>
                <a:lnTo>
                  <a:pt x="273" y="176"/>
                </a:lnTo>
                <a:lnTo>
                  <a:pt x="281" y="177"/>
                </a:lnTo>
                <a:lnTo>
                  <a:pt x="288" y="178"/>
                </a:lnTo>
                <a:lnTo>
                  <a:pt x="294" y="181"/>
                </a:lnTo>
                <a:lnTo>
                  <a:pt x="300" y="184"/>
                </a:lnTo>
                <a:lnTo>
                  <a:pt x="326" y="184"/>
                </a:lnTo>
                <a:lnTo>
                  <a:pt x="326" y="181"/>
                </a:lnTo>
                <a:lnTo>
                  <a:pt x="327" y="178"/>
                </a:lnTo>
                <a:lnTo>
                  <a:pt x="329" y="176"/>
                </a:lnTo>
                <a:lnTo>
                  <a:pt x="331" y="174"/>
                </a:lnTo>
                <a:lnTo>
                  <a:pt x="337" y="170"/>
                </a:lnTo>
                <a:lnTo>
                  <a:pt x="344" y="167"/>
                </a:lnTo>
                <a:lnTo>
                  <a:pt x="350" y="164"/>
                </a:lnTo>
                <a:lnTo>
                  <a:pt x="357" y="162"/>
                </a:lnTo>
                <a:lnTo>
                  <a:pt x="362" y="158"/>
                </a:lnTo>
                <a:lnTo>
                  <a:pt x="366" y="154"/>
                </a:lnTo>
                <a:lnTo>
                  <a:pt x="372" y="149"/>
                </a:lnTo>
                <a:lnTo>
                  <a:pt x="378" y="143"/>
                </a:lnTo>
                <a:lnTo>
                  <a:pt x="383" y="136"/>
                </a:lnTo>
                <a:lnTo>
                  <a:pt x="389" y="129"/>
                </a:lnTo>
                <a:lnTo>
                  <a:pt x="400" y="114"/>
                </a:lnTo>
                <a:lnTo>
                  <a:pt x="408" y="97"/>
                </a:lnTo>
                <a:lnTo>
                  <a:pt x="415" y="79"/>
                </a:lnTo>
                <a:lnTo>
                  <a:pt x="420" y="62"/>
                </a:lnTo>
                <a:lnTo>
                  <a:pt x="424" y="46"/>
                </a:lnTo>
                <a:lnTo>
                  <a:pt x="426" y="30"/>
                </a:lnTo>
                <a:lnTo>
                  <a:pt x="427" y="25"/>
                </a:lnTo>
                <a:lnTo>
                  <a:pt x="429" y="20"/>
                </a:lnTo>
                <a:lnTo>
                  <a:pt x="435" y="15"/>
                </a:lnTo>
                <a:lnTo>
                  <a:pt x="440" y="11"/>
                </a:lnTo>
                <a:lnTo>
                  <a:pt x="447" y="6"/>
                </a:lnTo>
                <a:lnTo>
                  <a:pt x="453" y="3"/>
                </a:lnTo>
                <a:lnTo>
                  <a:pt x="460" y="1"/>
                </a:lnTo>
                <a:lnTo>
                  <a:pt x="465" y="0"/>
                </a:lnTo>
                <a:lnTo>
                  <a:pt x="479" y="2"/>
                </a:lnTo>
                <a:lnTo>
                  <a:pt x="495" y="6"/>
                </a:lnTo>
                <a:lnTo>
                  <a:pt x="512" y="10"/>
                </a:lnTo>
                <a:lnTo>
                  <a:pt x="525" y="12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36" name="Freeform 334"/>
          <p:cNvSpPr>
            <a:spLocks/>
          </p:cNvSpPr>
          <p:nvPr userDrawn="1">
            <p:custDataLst>
              <p:tags r:id="rId236"/>
            </p:custDataLst>
          </p:nvPr>
        </p:nvSpPr>
        <p:spPr bwMode="auto">
          <a:xfrm>
            <a:off x="7151697" y="3131356"/>
            <a:ext cx="92075" cy="42863"/>
          </a:xfrm>
          <a:custGeom>
            <a:avLst/>
            <a:gdLst>
              <a:gd name="T0" fmla="*/ 0 w 212"/>
              <a:gd name="T1" fmla="*/ 31105928 h 105"/>
              <a:gd name="T2" fmla="*/ 3018062 w 212"/>
              <a:gd name="T3" fmla="*/ 25180835 h 105"/>
              <a:gd name="T4" fmla="*/ 6602038 w 212"/>
              <a:gd name="T5" fmla="*/ 20144561 h 105"/>
              <a:gd name="T6" fmla="*/ 8299780 w 212"/>
              <a:gd name="T7" fmla="*/ 17774738 h 105"/>
              <a:gd name="T8" fmla="*/ 10186014 w 212"/>
              <a:gd name="T9" fmla="*/ 15701010 h 105"/>
              <a:gd name="T10" fmla="*/ 12072249 w 212"/>
              <a:gd name="T11" fmla="*/ 13627282 h 105"/>
              <a:gd name="T12" fmla="*/ 13769989 w 212"/>
              <a:gd name="T13" fmla="*/ 11257462 h 105"/>
              <a:gd name="T14" fmla="*/ 15656227 w 212"/>
              <a:gd name="T15" fmla="*/ 9479826 h 105"/>
              <a:gd name="T16" fmla="*/ 17731388 w 212"/>
              <a:gd name="T17" fmla="*/ 7998823 h 105"/>
              <a:gd name="T18" fmla="*/ 19995043 w 212"/>
              <a:gd name="T19" fmla="*/ 6221186 h 105"/>
              <a:gd name="T20" fmla="*/ 22258263 w 212"/>
              <a:gd name="T21" fmla="*/ 4740185 h 105"/>
              <a:gd name="T22" fmla="*/ 27162993 w 212"/>
              <a:gd name="T23" fmla="*/ 2369820 h 105"/>
              <a:gd name="T24" fmla="*/ 32444281 w 212"/>
              <a:gd name="T25" fmla="*/ 0 h 105"/>
              <a:gd name="T26" fmla="*/ 39989651 w 212"/>
              <a:gd name="T27" fmla="*/ 0 h 105"/>
              <a:gd name="T28" fmla="*/ 38103417 w 212"/>
              <a:gd name="T29" fmla="*/ 2666456 h 105"/>
              <a:gd name="T30" fmla="*/ 35839763 w 212"/>
              <a:gd name="T31" fmla="*/ 5332368 h 105"/>
              <a:gd name="T32" fmla="*/ 33576108 w 212"/>
              <a:gd name="T33" fmla="*/ 7998823 h 105"/>
              <a:gd name="T34" fmla="*/ 31123961 w 212"/>
              <a:gd name="T35" fmla="*/ 10368644 h 105"/>
              <a:gd name="T36" fmla="*/ 25842238 w 212"/>
              <a:gd name="T37" fmla="*/ 15404918 h 105"/>
              <a:gd name="T38" fmla="*/ 20560522 w 212"/>
              <a:gd name="T39" fmla="*/ 19552379 h 105"/>
              <a:gd name="T40" fmla="*/ 14901820 w 212"/>
              <a:gd name="T41" fmla="*/ 23403743 h 105"/>
              <a:gd name="T42" fmla="*/ 9431608 w 212"/>
              <a:gd name="T43" fmla="*/ 26662381 h 105"/>
              <a:gd name="T44" fmla="*/ 4338383 w 212"/>
              <a:gd name="T45" fmla="*/ 29328291 h 105"/>
              <a:gd name="T46" fmla="*/ 0 w 212"/>
              <a:gd name="T47" fmla="*/ 31105928 h 105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212"/>
              <a:gd name="T73" fmla="*/ 0 h 105"/>
              <a:gd name="T74" fmla="*/ 212 w 212"/>
              <a:gd name="T75" fmla="*/ 105 h 105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212" h="105">
                <a:moveTo>
                  <a:pt x="0" y="105"/>
                </a:moveTo>
                <a:lnTo>
                  <a:pt x="16" y="85"/>
                </a:lnTo>
                <a:lnTo>
                  <a:pt x="35" y="68"/>
                </a:lnTo>
                <a:lnTo>
                  <a:pt x="44" y="60"/>
                </a:lnTo>
                <a:lnTo>
                  <a:pt x="54" y="53"/>
                </a:lnTo>
                <a:lnTo>
                  <a:pt x="64" y="46"/>
                </a:lnTo>
                <a:lnTo>
                  <a:pt x="73" y="38"/>
                </a:lnTo>
                <a:lnTo>
                  <a:pt x="83" y="32"/>
                </a:lnTo>
                <a:lnTo>
                  <a:pt x="94" y="27"/>
                </a:lnTo>
                <a:lnTo>
                  <a:pt x="106" y="21"/>
                </a:lnTo>
                <a:lnTo>
                  <a:pt x="118" y="16"/>
                </a:lnTo>
                <a:lnTo>
                  <a:pt x="144" y="8"/>
                </a:lnTo>
                <a:lnTo>
                  <a:pt x="172" y="0"/>
                </a:lnTo>
                <a:lnTo>
                  <a:pt x="212" y="0"/>
                </a:lnTo>
                <a:lnTo>
                  <a:pt x="202" y="9"/>
                </a:lnTo>
                <a:lnTo>
                  <a:pt x="190" y="18"/>
                </a:lnTo>
                <a:lnTo>
                  <a:pt x="178" y="27"/>
                </a:lnTo>
                <a:lnTo>
                  <a:pt x="165" y="35"/>
                </a:lnTo>
                <a:lnTo>
                  <a:pt x="137" y="52"/>
                </a:lnTo>
                <a:lnTo>
                  <a:pt x="109" y="66"/>
                </a:lnTo>
                <a:lnTo>
                  <a:pt x="79" y="79"/>
                </a:lnTo>
                <a:lnTo>
                  <a:pt x="50" y="90"/>
                </a:lnTo>
                <a:lnTo>
                  <a:pt x="23" y="99"/>
                </a:lnTo>
                <a:lnTo>
                  <a:pt x="0" y="105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37" name="Freeform 335"/>
          <p:cNvSpPr>
            <a:spLocks/>
          </p:cNvSpPr>
          <p:nvPr userDrawn="1">
            <p:custDataLst>
              <p:tags r:id="rId237"/>
            </p:custDataLst>
          </p:nvPr>
        </p:nvSpPr>
        <p:spPr bwMode="auto">
          <a:xfrm>
            <a:off x="7267578" y="2881313"/>
            <a:ext cx="42862" cy="66675"/>
          </a:xfrm>
          <a:custGeom>
            <a:avLst/>
            <a:gdLst>
              <a:gd name="T0" fmla="*/ 0 w 92"/>
              <a:gd name="T1" fmla="*/ 23231284 h 166"/>
              <a:gd name="T2" fmla="*/ 0 w 92"/>
              <a:gd name="T3" fmla="*/ 42447073 h 166"/>
              <a:gd name="T4" fmla="*/ 1085061 w 92"/>
              <a:gd name="T5" fmla="*/ 41299943 h 166"/>
              <a:gd name="T6" fmla="*/ 2604798 w 92"/>
              <a:gd name="T7" fmla="*/ 39865761 h 166"/>
              <a:gd name="T8" fmla="*/ 3038543 w 92"/>
              <a:gd name="T9" fmla="*/ 39292196 h 166"/>
              <a:gd name="T10" fmla="*/ 3689859 w 92"/>
              <a:gd name="T11" fmla="*/ 38718630 h 166"/>
              <a:gd name="T12" fmla="*/ 3906965 w 92"/>
              <a:gd name="T13" fmla="*/ 37858550 h 166"/>
              <a:gd name="T14" fmla="*/ 4124070 w 92"/>
              <a:gd name="T15" fmla="*/ 37284449 h 166"/>
              <a:gd name="T16" fmla="*/ 4341176 w 92"/>
              <a:gd name="T17" fmla="*/ 39579246 h 166"/>
              <a:gd name="T18" fmla="*/ 5209131 w 92"/>
              <a:gd name="T19" fmla="*/ 42447073 h 166"/>
              <a:gd name="T20" fmla="*/ 5860447 w 92"/>
              <a:gd name="T21" fmla="*/ 44167770 h 166"/>
              <a:gd name="T22" fmla="*/ 6511762 w 92"/>
              <a:gd name="T23" fmla="*/ 45601951 h 166"/>
              <a:gd name="T24" fmla="*/ 7596823 w 92"/>
              <a:gd name="T25" fmla="*/ 46749082 h 166"/>
              <a:gd name="T26" fmla="*/ 8465246 w 92"/>
              <a:gd name="T27" fmla="*/ 47609698 h 166"/>
              <a:gd name="T28" fmla="*/ 8899456 w 92"/>
              <a:gd name="T29" fmla="*/ 45315436 h 166"/>
              <a:gd name="T30" fmla="*/ 8899456 w 92"/>
              <a:gd name="T31" fmla="*/ 42447073 h 166"/>
              <a:gd name="T32" fmla="*/ 8899456 w 92"/>
              <a:gd name="T33" fmla="*/ 39292196 h 166"/>
              <a:gd name="T34" fmla="*/ 8899456 w 92"/>
              <a:gd name="T35" fmla="*/ 36137318 h 166"/>
              <a:gd name="T36" fmla="*/ 8682351 w 92"/>
              <a:gd name="T37" fmla="*/ 30688170 h 166"/>
              <a:gd name="T38" fmla="*/ 8465246 w 92"/>
              <a:gd name="T39" fmla="*/ 28393908 h 166"/>
              <a:gd name="T40" fmla="*/ 10418727 w 92"/>
              <a:gd name="T41" fmla="*/ 28680423 h 166"/>
              <a:gd name="T42" fmla="*/ 12372209 w 92"/>
              <a:gd name="T43" fmla="*/ 29253989 h 166"/>
              <a:gd name="T44" fmla="*/ 13891480 w 92"/>
              <a:gd name="T45" fmla="*/ 30114605 h 166"/>
              <a:gd name="T46" fmla="*/ 15410755 w 92"/>
              <a:gd name="T47" fmla="*/ 30975220 h 166"/>
              <a:gd name="T48" fmla="*/ 16496281 w 92"/>
              <a:gd name="T49" fmla="*/ 31835301 h 166"/>
              <a:gd name="T50" fmla="*/ 17798447 w 92"/>
              <a:gd name="T51" fmla="*/ 32695917 h 166"/>
              <a:gd name="T52" fmla="*/ 18883973 w 92"/>
              <a:gd name="T53" fmla="*/ 33269482 h 166"/>
              <a:gd name="T54" fmla="*/ 19969034 w 92"/>
              <a:gd name="T55" fmla="*/ 33843048 h 166"/>
              <a:gd name="T56" fmla="*/ 18449763 w 92"/>
              <a:gd name="T57" fmla="*/ 29541039 h 166"/>
              <a:gd name="T58" fmla="*/ 17581342 w 92"/>
              <a:gd name="T59" fmla="*/ 25525545 h 166"/>
              <a:gd name="T60" fmla="*/ 16496281 w 92"/>
              <a:gd name="T61" fmla="*/ 21510587 h 166"/>
              <a:gd name="T62" fmla="*/ 15844965 w 92"/>
              <a:gd name="T63" fmla="*/ 17208574 h 166"/>
              <a:gd name="T64" fmla="*/ 15193646 w 92"/>
              <a:gd name="T65" fmla="*/ 13479596 h 166"/>
              <a:gd name="T66" fmla="*/ 14542796 w 92"/>
              <a:gd name="T67" fmla="*/ 9751152 h 166"/>
              <a:gd name="T68" fmla="*/ 13674375 w 92"/>
              <a:gd name="T69" fmla="*/ 6596273 h 166"/>
              <a:gd name="T70" fmla="*/ 12806420 w 92"/>
              <a:gd name="T71" fmla="*/ 3728444 h 166"/>
              <a:gd name="T72" fmla="*/ 12806420 w 92"/>
              <a:gd name="T73" fmla="*/ 5449142 h 166"/>
              <a:gd name="T74" fmla="*/ 12806420 w 92"/>
              <a:gd name="T75" fmla="*/ 7170374 h 166"/>
              <a:gd name="T76" fmla="*/ 10852938 w 92"/>
              <a:gd name="T77" fmla="*/ 6596273 h 166"/>
              <a:gd name="T78" fmla="*/ 9116096 w 92"/>
              <a:gd name="T79" fmla="*/ 5449142 h 166"/>
              <a:gd name="T80" fmla="*/ 7596823 w 92"/>
              <a:gd name="T81" fmla="*/ 4302010 h 166"/>
              <a:gd name="T82" fmla="*/ 6294657 w 92"/>
              <a:gd name="T83" fmla="*/ 3154879 h 166"/>
              <a:gd name="T84" fmla="*/ 4992491 w 92"/>
              <a:gd name="T85" fmla="*/ 2007747 h 166"/>
              <a:gd name="T86" fmla="*/ 3472754 w 92"/>
              <a:gd name="T87" fmla="*/ 860616 h 166"/>
              <a:gd name="T88" fmla="*/ 1736377 w 92"/>
              <a:gd name="T89" fmla="*/ 287051 h 166"/>
              <a:gd name="T90" fmla="*/ 0 w 92"/>
              <a:gd name="T91" fmla="*/ 0 h 166"/>
              <a:gd name="T92" fmla="*/ 0 w 92"/>
              <a:gd name="T93" fmla="*/ 2867828 h 166"/>
              <a:gd name="T94" fmla="*/ 0 w 92"/>
              <a:gd name="T95" fmla="*/ 5449142 h 166"/>
              <a:gd name="T96" fmla="*/ 0 w 92"/>
              <a:gd name="T97" fmla="*/ 9464637 h 166"/>
              <a:gd name="T98" fmla="*/ 0 w 92"/>
              <a:gd name="T99" fmla="*/ 14913777 h 166"/>
              <a:gd name="T100" fmla="*/ 0 w 92"/>
              <a:gd name="T101" fmla="*/ 20076406 h 166"/>
              <a:gd name="T102" fmla="*/ 0 w 92"/>
              <a:gd name="T103" fmla="*/ 23231284 h 16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92"/>
              <a:gd name="T157" fmla="*/ 0 h 166"/>
              <a:gd name="T158" fmla="*/ 92 w 92"/>
              <a:gd name="T159" fmla="*/ 166 h 16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92" h="166">
                <a:moveTo>
                  <a:pt x="0" y="81"/>
                </a:moveTo>
                <a:lnTo>
                  <a:pt x="0" y="148"/>
                </a:lnTo>
                <a:lnTo>
                  <a:pt x="5" y="144"/>
                </a:lnTo>
                <a:lnTo>
                  <a:pt x="12" y="139"/>
                </a:lnTo>
                <a:lnTo>
                  <a:pt x="14" y="137"/>
                </a:lnTo>
                <a:lnTo>
                  <a:pt x="17" y="135"/>
                </a:lnTo>
                <a:lnTo>
                  <a:pt x="18" y="132"/>
                </a:lnTo>
                <a:lnTo>
                  <a:pt x="19" y="130"/>
                </a:lnTo>
                <a:lnTo>
                  <a:pt x="20" y="138"/>
                </a:lnTo>
                <a:lnTo>
                  <a:pt x="24" y="148"/>
                </a:lnTo>
                <a:lnTo>
                  <a:pt x="27" y="154"/>
                </a:lnTo>
                <a:lnTo>
                  <a:pt x="30" y="159"/>
                </a:lnTo>
                <a:lnTo>
                  <a:pt x="35" y="163"/>
                </a:lnTo>
                <a:lnTo>
                  <a:pt x="39" y="166"/>
                </a:lnTo>
                <a:lnTo>
                  <a:pt x="41" y="158"/>
                </a:lnTo>
                <a:lnTo>
                  <a:pt x="41" y="148"/>
                </a:lnTo>
                <a:lnTo>
                  <a:pt x="41" y="137"/>
                </a:lnTo>
                <a:lnTo>
                  <a:pt x="41" y="126"/>
                </a:lnTo>
                <a:lnTo>
                  <a:pt x="40" y="107"/>
                </a:lnTo>
                <a:lnTo>
                  <a:pt x="39" y="99"/>
                </a:lnTo>
                <a:lnTo>
                  <a:pt x="48" y="100"/>
                </a:lnTo>
                <a:lnTo>
                  <a:pt x="57" y="102"/>
                </a:lnTo>
                <a:lnTo>
                  <a:pt x="64" y="105"/>
                </a:lnTo>
                <a:lnTo>
                  <a:pt x="71" y="108"/>
                </a:lnTo>
                <a:lnTo>
                  <a:pt x="76" y="111"/>
                </a:lnTo>
                <a:lnTo>
                  <a:pt x="82" y="114"/>
                </a:lnTo>
                <a:lnTo>
                  <a:pt x="87" y="116"/>
                </a:lnTo>
                <a:lnTo>
                  <a:pt x="92" y="118"/>
                </a:lnTo>
                <a:lnTo>
                  <a:pt x="85" y="103"/>
                </a:lnTo>
                <a:lnTo>
                  <a:pt x="81" y="89"/>
                </a:lnTo>
                <a:lnTo>
                  <a:pt x="76" y="75"/>
                </a:lnTo>
                <a:lnTo>
                  <a:pt x="73" y="60"/>
                </a:lnTo>
                <a:lnTo>
                  <a:pt x="70" y="47"/>
                </a:lnTo>
                <a:lnTo>
                  <a:pt x="67" y="34"/>
                </a:lnTo>
                <a:lnTo>
                  <a:pt x="63" y="23"/>
                </a:lnTo>
                <a:lnTo>
                  <a:pt x="59" y="13"/>
                </a:lnTo>
                <a:lnTo>
                  <a:pt x="59" y="19"/>
                </a:lnTo>
                <a:lnTo>
                  <a:pt x="59" y="25"/>
                </a:lnTo>
                <a:lnTo>
                  <a:pt x="50" y="23"/>
                </a:lnTo>
                <a:lnTo>
                  <a:pt x="42" y="19"/>
                </a:lnTo>
                <a:lnTo>
                  <a:pt x="35" y="15"/>
                </a:lnTo>
                <a:lnTo>
                  <a:pt x="29" y="11"/>
                </a:lnTo>
                <a:lnTo>
                  <a:pt x="23" y="7"/>
                </a:lnTo>
                <a:lnTo>
                  <a:pt x="16" y="3"/>
                </a:lnTo>
                <a:lnTo>
                  <a:pt x="8" y="1"/>
                </a:lnTo>
                <a:lnTo>
                  <a:pt x="0" y="0"/>
                </a:lnTo>
                <a:lnTo>
                  <a:pt x="0" y="10"/>
                </a:lnTo>
                <a:lnTo>
                  <a:pt x="0" y="19"/>
                </a:lnTo>
                <a:lnTo>
                  <a:pt x="0" y="33"/>
                </a:lnTo>
                <a:lnTo>
                  <a:pt x="0" y="52"/>
                </a:lnTo>
                <a:lnTo>
                  <a:pt x="0" y="70"/>
                </a:lnTo>
                <a:lnTo>
                  <a:pt x="0" y="81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38" name="Freeform 336"/>
          <p:cNvSpPr>
            <a:spLocks/>
          </p:cNvSpPr>
          <p:nvPr userDrawn="1">
            <p:custDataLst>
              <p:tags r:id="rId238"/>
            </p:custDataLst>
          </p:nvPr>
        </p:nvSpPr>
        <p:spPr bwMode="auto">
          <a:xfrm>
            <a:off x="7280285" y="2989662"/>
            <a:ext cx="71437" cy="41672"/>
          </a:xfrm>
          <a:custGeom>
            <a:avLst/>
            <a:gdLst>
              <a:gd name="T0" fmla="*/ 1296194 w 166"/>
              <a:gd name="T1" fmla="*/ 0 h 62"/>
              <a:gd name="T2" fmla="*/ 2592819 w 166"/>
              <a:gd name="T3" fmla="*/ 2408882 h 62"/>
              <a:gd name="T4" fmla="*/ 4074491 w 166"/>
              <a:gd name="T5" fmla="*/ 4818660 h 62"/>
              <a:gd name="T6" fmla="*/ 5555733 w 166"/>
              <a:gd name="T7" fmla="*/ 5621620 h 62"/>
              <a:gd name="T8" fmla="*/ 6666879 w 166"/>
              <a:gd name="T9" fmla="*/ 6424580 h 62"/>
              <a:gd name="T10" fmla="*/ 8889173 w 166"/>
              <a:gd name="T11" fmla="*/ 6424580 h 62"/>
              <a:gd name="T12" fmla="*/ 10741370 w 166"/>
              <a:gd name="T13" fmla="*/ 5621620 h 62"/>
              <a:gd name="T14" fmla="*/ 12778615 w 166"/>
              <a:gd name="T15" fmla="*/ 4015700 h 62"/>
              <a:gd name="T16" fmla="*/ 14815433 w 166"/>
              <a:gd name="T17" fmla="*/ 2408882 h 62"/>
              <a:gd name="T18" fmla="*/ 17038155 w 166"/>
              <a:gd name="T19" fmla="*/ 802961 h 62"/>
              <a:gd name="T20" fmla="*/ 19630543 w 166"/>
              <a:gd name="T21" fmla="*/ 0 h 62"/>
              <a:gd name="T22" fmla="*/ 20556641 w 166"/>
              <a:gd name="T23" fmla="*/ 802961 h 62"/>
              <a:gd name="T24" fmla="*/ 21297262 w 166"/>
              <a:gd name="T25" fmla="*/ 1605921 h 62"/>
              <a:gd name="T26" fmla="*/ 22223361 w 166"/>
              <a:gd name="T27" fmla="*/ 4015700 h 62"/>
              <a:gd name="T28" fmla="*/ 22964412 w 166"/>
              <a:gd name="T29" fmla="*/ 6424580 h 62"/>
              <a:gd name="T30" fmla="*/ 24445653 w 166"/>
              <a:gd name="T31" fmla="*/ 13653017 h 62"/>
              <a:gd name="T32" fmla="*/ 25556799 w 166"/>
              <a:gd name="T33" fmla="*/ 20880560 h 62"/>
              <a:gd name="T34" fmla="*/ 26853423 w 166"/>
              <a:gd name="T35" fmla="*/ 28911955 h 62"/>
              <a:gd name="T36" fmla="*/ 27964570 w 166"/>
              <a:gd name="T37" fmla="*/ 36139501 h 62"/>
              <a:gd name="T38" fmla="*/ 28705197 w 166"/>
              <a:gd name="T39" fmla="*/ 39352239 h 62"/>
              <a:gd name="T40" fmla="*/ 29260770 w 166"/>
              <a:gd name="T41" fmla="*/ 41761120 h 62"/>
              <a:gd name="T42" fmla="*/ 30001821 w 166"/>
              <a:gd name="T43" fmla="*/ 43367937 h 62"/>
              <a:gd name="T44" fmla="*/ 30742442 w 166"/>
              <a:gd name="T45" fmla="*/ 44973857 h 62"/>
              <a:gd name="T46" fmla="*/ 29446248 w 166"/>
              <a:gd name="T47" fmla="*/ 45776818 h 62"/>
              <a:gd name="T48" fmla="*/ 27964570 w 166"/>
              <a:gd name="T49" fmla="*/ 47383634 h 62"/>
              <a:gd name="T50" fmla="*/ 26482898 w 166"/>
              <a:gd name="T51" fmla="*/ 48989555 h 62"/>
              <a:gd name="T52" fmla="*/ 24631131 w 166"/>
              <a:gd name="T53" fmla="*/ 49792515 h 62"/>
              <a:gd name="T54" fmla="*/ 23149459 w 166"/>
              <a:gd name="T55" fmla="*/ 48989555 h 62"/>
              <a:gd name="T56" fmla="*/ 22038313 w 166"/>
              <a:gd name="T57" fmla="*/ 46579778 h 62"/>
              <a:gd name="T58" fmla="*/ 20741689 w 166"/>
              <a:gd name="T59" fmla="*/ 43367937 h 62"/>
              <a:gd name="T60" fmla="*/ 19630543 w 166"/>
              <a:gd name="T61" fmla="*/ 40155199 h 62"/>
              <a:gd name="T62" fmla="*/ 18519397 w 166"/>
              <a:gd name="T63" fmla="*/ 36139501 h 62"/>
              <a:gd name="T64" fmla="*/ 17223203 w 166"/>
              <a:gd name="T65" fmla="*/ 32927660 h 62"/>
              <a:gd name="T66" fmla="*/ 16112057 w 166"/>
              <a:gd name="T67" fmla="*/ 31320843 h 62"/>
              <a:gd name="T68" fmla="*/ 14630385 w 166"/>
              <a:gd name="T69" fmla="*/ 30517883 h 62"/>
              <a:gd name="T70" fmla="*/ 10370845 w 166"/>
              <a:gd name="T71" fmla="*/ 30517883 h 62"/>
              <a:gd name="T72" fmla="*/ 6481831 w 166"/>
              <a:gd name="T73" fmla="*/ 31320843 h 62"/>
              <a:gd name="T74" fmla="*/ 4815112 w 166"/>
              <a:gd name="T75" fmla="*/ 32927660 h 62"/>
              <a:gd name="T76" fmla="*/ 3518917 w 166"/>
              <a:gd name="T77" fmla="*/ 34533581 h 62"/>
              <a:gd name="T78" fmla="*/ 2222293 w 166"/>
              <a:gd name="T79" fmla="*/ 36942462 h 62"/>
              <a:gd name="T80" fmla="*/ 1296194 w 166"/>
              <a:gd name="T81" fmla="*/ 40155199 h 62"/>
              <a:gd name="T82" fmla="*/ 370526 w 166"/>
              <a:gd name="T83" fmla="*/ 36139501 h 62"/>
              <a:gd name="T84" fmla="*/ 185048 w 166"/>
              <a:gd name="T85" fmla="*/ 32123804 h 62"/>
              <a:gd name="T86" fmla="*/ 0 w 166"/>
              <a:gd name="T87" fmla="*/ 27305139 h 62"/>
              <a:gd name="T88" fmla="*/ 185048 w 166"/>
              <a:gd name="T89" fmla="*/ 22487377 h 62"/>
              <a:gd name="T90" fmla="*/ 740621 w 166"/>
              <a:gd name="T91" fmla="*/ 12046201 h 62"/>
              <a:gd name="T92" fmla="*/ 1296194 w 166"/>
              <a:gd name="T93" fmla="*/ 0 h 62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166"/>
              <a:gd name="T142" fmla="*/ 0 h 62"/>
              <a:gd name="T143" fmla="*/ 166 w 166"/>
              <a:gd name="T144" fmla="*/ 62 h 62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166" h="62">
                <a:moveTo>
                  <a:pt x="7" y="0"/>
                </a:moveTo>
                <a:lnTo>
                  <a:pt x="14" y="3"/>
                </a:lnTo>
                <a:lnTo>
                  <a:pt x="22" y="6"/>
                </a:lnTo>
                <a:lnTo>
                  <a:pt x="30" y="7"/>
                </a:lnTo>
                <a:lnTo>
                  <a:pt x="36" y="8"/>
                </a:lnTo>
                <a:lnTo>
                  <a:pt x="48" y="8"/>
                </a:lnTo>
                <a:lnTo>
                  <a:pt x="58" y="7"/>
                </a:lnTo>
                <a:lnTo>
                  <a:pt x="69" y="5"/>
                </a:lnTo>
                <a:lnTo>
                  <a:pt x="80" y="3"/>
                </a:lnTo>
                <a:lnTo>
                  <a:pt x="92" y="1"/>
                </a:lnTo>
                <a:lnTo>
                  <a:pt x="106" y="0"/>
                </a:lnTo>
                <a:lnTo>
                  <a:pt x="111" y="1"/>
                </a:lnTo>
                <a:lnTo>
                  <a:pt x="115" y="2"/>
                </a:lnTo>
                <a:lnTo>
                  <a:pt x="120" y="5"/>
                </a:lnTo>
                <a:lnTo>
                  <a:pt x="124" y="8"/>
                </a:lnTo>
                <a:lnTo>
                  <a:pt x="132" y="17"/>
                </a:lnTo>
                <a:lnTo>
                  <a:pt x="138" y="26"/>
                </a:lnTo>
                <a:lnTo>
                  <a:pt x="145" y="36"/>
                </a:lnTo>
                <a:lnTo>
                  <a:pt x="151" y="45"/>
                </a:lnTo>
                <a:lnTo>
                  <a:pt x="155" y="49"/>
                </a:lnTo>
                <a:lnTo>
                  <a:pt x="158" y="52"/>
                </a:lnTo>
                <a:lnTo>
                  <a:pt x="162" y="54"/>
                </a:lnTo>
                <a:lnTo>
                  <a:pt x="166" y="56"/>
                </a:lnTo>
                <a:lnTo>
                  <a:pt x="159" y="57"/>
                </a:lnTo>
                <a:lnTo>
                  <a:pt x="151" y="59"/>
                </a:lnTo>
                <a:lnTo>
                  <a:pt x="143" y="61"/>
                </a:lnTo>
                <a:lnTo>
                  <a:pt x="133" y="62"/>
                </a:lnTo>
                <a:lnTo>
                  <a:pt x="125" y="61"/>
                </a:lnTo>
                <a:lnTo>
                  <a:pt x="119" y="58"/>
                </a:lnTo>
                <a:lnTo>
                  <a:pt x="112" y="54"/>
                </a:lnTo>
                <a:lnTo>
                  <a:pt x="106" y="50"/>
                </a:lnTo>
                <a:lnTo>
                  <a:pt x="100" y="45"/>
                </a:lnTo>
                <a:lnTo>
                  <a:pt x="93" y="41"/>
                </a:lnTo>
                <a:lnTo>
                  <a:pt x="87" y="39"/>
                </a:lnTo>
                <a:lnTo>
                  <a:pt x="79" y="38"/>
                </a:lnTo>
                <a:lnTo>
                  <a:pt x="56" y="38"/>
                </a:lnTo>
                <a:lnTo>
                  <a:pt x="35" y="39"/>
                </a:lnTo>
                <a:lnTo>
                  <a:pt x="26" y="41"/>
                </a:lnTo>
                <a:lnTo>
                  <a:pt x="19" y="43"/>
                </a:lnTo>
                <a:lnTo>
                  <a:pt x="12" y="46"/>
                </a:lnTo>
                <a:lnTo>
                  <a:pt x="7" y="50"/>
                </a:lnTo>
                <a:lnTo>
                  <a:pt x="2" y="45"/>
                </a:lnTo>
                <a:lnTo>
                  <a:pt x="1" y="40"/>
                </a:lnTo>
                <a:lnTo>
                  <a:pt x="0" y="34"/>
                </a:lnTo>
                <a:lnTo>
                  <a:pt x="1" y="28"/>
                </a:lnTo>
                <a:lnTo>
                  <a:pt x="4" y="15"/>
                </a:lnTo>
                <a:lnTo>
                  <a:pt x="7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39" name="Freeform 337"/>
          <p:cNvSpPr>
            <a:spLocks/>
          </p:cNvSpPr>
          <p:nvPr userDrawn="1">
            <p:custDataLst>
              <p:tags r:id="rId239"/>
            </p:custDataLst>
          </p:nvPr>
        </p:nvSpPr>
        <p:spPr bwMode="auto">
          <a:xfrm>
            <a:off x="7356480" y="2932511"/>
            <a:ext cx="85725" cy="47625"/>
          </a:xfrm>
          <a:custGeom>
            <a:avLst/>
            <a:gdLst>
              <a:gd name="T0" fmla="*/ 6510658 w 193"/>
              <a:gd name="T1" fmla="*/ 9639407 h 121"/>
              <a:gd name="T2" fmla="*/ 9469726 w 193"/>
              <a:gd name="T3" fmla="*/ 6885290 h 121"/>
              <a:gd name="T4" fmla="*/ 13415740 w 193"/>
              <a:gd name="T5" fmla="*/ 3305149 h 121"/>
              <a:gd name="T6" fmla="*/ 16572021 w 193"/>
              <a:gd name="T7" fmla="*/ 1101542 h 121"/>
              <a:gd name="T8" fmla="*/ 18545028 w 193"/>
              <a:gd name="T9" fmla="*/ 275517 h 121"/>
              <a:gd name="T10" fmla="*/ 20715247 w 193"/>
              <a:gd name="T11" fmla="*/ 275517 h 121"/>
              <a:gd name="T12" fmla="*/ 22885466 w 193"/>
              <a:gd name="T13" fmla="*/ 826025 h 121"/>
              <a:gd name="T14" fmla="*/ 25844532 w 193"/>
              <a:gd name="T15" fmla="*/ 2754116 h 121"/>
              <a:gd name="T16" fmla="*/ 29198473 w 193"/>
              <a:gd name="T17" fmla="*/ 5783749 h 121"/>
              <a:gd name="T18" fmla="*/ 31960771 w 193"/>
              <a:gd name="T19" fmla="*/ 7711314 h 121"/>
              <a:gd name="T20" fmla="*/ 34130990 w 193"/>
              <a:gd name="T21" fmla="*/ 8262347 h 121"/>
              <a:gd name="T22" fmla="*/ 35314705 w 193"/>
              <a:gd name="T23" fmla="*/ 13219546 h 121"/>
              <a:gd name="T24" fmla="*/ 35117049 w 193"/>
              <a:gd name="T25" fmla="*/ 18176747 h 121"/>
              <a:gd name="T26" fmla="*/ 35906341 w 193"/>
              <a:gd name="T27" fmla="*/ 20655871 h 121"/>
              <a:gd name="T28" fmla="*/ 36892844 w 193"/>
              <a:gd name="T29" fmla="*/ 24511527 h 121"/>
              <a:gd name="T30" fmla="*/ 37090056 w 193"/>
              <a:gd name="T31" fmla="*/ 28091666 h 121"/>
              <a:gd name="T32" fmla="*/ 37682136 w 193"/>
              <a:gd name="T33" fmla="*/ 30019232 h 121"/>
              <a:gd name="T34" fmla="*/ 37090056 w 193"/>
              <a:gd name="T35" fmla="*/ 31396290 h 121"/>
              <a:gd name="T36" fmla="*/ 34919837 w 193"/>
              <a:gd name="T37" fmla="*/ 32498355 h 121"/>
              <a:gd name="T38" fmla="*/ 31368691 w 193"/>
              <a:gd name="T39" fmla="*/ 33324380 h 121"/>
              <a:gd name="T40" fmla="*/ 22885466 w 193"/>
              <a:gd name="T41" fmla="*/ 32773347 h 121"/>
              <a:gd name="T42" fmla="*/ 14204587 w 193"/>
              <a:gd name="T43" fmla="*/ 31947322 h 121"/>
              <a:gd name="T44" fmla="*/ 12429236 w 193"/>
              <a:gd name="T45" fmla="*/ 30294748 h 121"/>
              <a:gd name="T46" fmla="*/ 11048309 w 193"/>
              <a:gd name="T47" fmla="*/ 27540633 h 121"/>
              <a:gd name="T48" fmla="*/ 10653441 w 193"/>
              <a:gd name="T49" fmla="*/ 23960494 h 121"/>
              <a:gd name="T50" fmla="*/ 9272514 w 193"/>
              <a:gd name="T51" fmla="*/ 21757412 h 121"/>
              <a:gd name="T52" fmla="*/ 6115790 w 193"/>
              <a:gd name="T53" fmla="*/ 20655871 h 121"/>
              <a:gd name="T54" fmla="*/ 2564643 w 193"/>
              <a:gd name="T55" fmla="*/ 19003297 h 121"/>
              <a:gd name="T56" fmla="*/ 592080 w 193"/>
              <a:gd name="T57" fmla="*/ 17075202 h 121"/>
              <a:gd name="T58" fmla="*/ 0 w 193"/>
              <a:gd name="T59" fmla="*/ 15973661 h 121"/>
              <a:gd name="T60" fmla="*/ 197212 w 193"/>
              <a:gd name="T61" fmla="*/ 14045571 h 121"/>
              <a:gd name="T62" fmla="*/ 1380928 w 193"/>
              <a:gd name="T63" fmla="*/ 12393522 h 121"/>
              <a:gd name="T64" fmla="*/ 3945571 w 193"/>
              <a:gd name="T65" fmla="*/ 10465431 h 12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93"/>
              <a:gd name="T100" fmla="*/ 0 h 121"/>
              <a:gd name="T101" fmla="*/ 193 w 193"/>
              <a:gd name="T102" fmla="*/ 121 h 121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93" h="121">
                <a:moveTo>
                  <a:pt x="26" y="36"/>
                </a:moveTo>
                <a:lnTo>
                  <a:pt x="33" y="35"/>
                </a:lnTo>
                <a:lnTo>
                  <a:pt x="39" y="31"/>
                </a:lnTo>
                <a:lnTo>
                  <a:pt x="48" y="25"/>
                </a:lnTo>
                <a:lnTo>
                  <a:pt x="58" y="18"/>
                </a:lnTo>
                <a:lnTo>
                  <a:pt x="68" y="12"/>
                </a:lnTo>
                <a:lnTo>
                  <a:pt x="79" y="6"/>
                </a:lnTo>
                <a:lnTo>
                  <a:pt x="84" y="4"/>
                </a:lnTo>
                <a:lnTo>
                  <a:pt x="90" y="2"/>
                </a:lnTo>
                <a:lnTo>
                  <a:pt x="94" y="1"/>
                </a:lnTo>
                <a:lnTo>
                  <a:pt x="100" y="0"/>
                </a:lnTo>
                <a:lnTo>
                  <a:pt x="105" y="1"/>
                </a:lnTo>
                <a:lnTo>
                  <a:pt x="111" y="1"/>
                </a:lnTo>
                <a:lnTo>
                  <a:pt x="116" y="3"/>
                </a:lnTo>
                <a:lnTo>
                  <a:pt x="122" y="5"/>
                </a:lnTo>
                <a:lnTo>
                  <a:pt x="131" y="10"/>
                </a:lnTo>
                <a:lnTo>
                  <a:pt x="139" y="15"/>
                </a:lnTo>
                <a:lnTo>
                  <a:pt x="148" y="21"/>
                </a:lnTo>
                <a:lnTo>
                  <a:pt x="158" y="26"/>
                </a:lnTo>
                <a:lnTo>
                  <a:pt x="162" y="28"/>
                </a:lnTo>
                <a:lnTo>
                  <a:pt x="168" y="29"/>
                </a:lnTo>
                <a:lnTo>
                  <a:pt x="173" y="30"/>
                </a:lnTo>
                <a:lnTo>
                  <a:pt x="179" y="30"/>
                </a:lnTo>
                <a:lnTo>
                  <a:pt x="179" y="48"/>
                </a:lnTo>
                <a:lnTo>
                  <a:pt x="178" y="60"/>
                </a:lnTo>
                <a:lnTo>
                  <a:pt x="178" y="66"/>
                </a:lnTo>
                <a:lnTo>
                  <a:pt x="179" y="71"/>
                </a:lnTo>
                <a:lnTo>
                  <a:pt x="182" y="75"/>
                </a:lnTo>
                <a:lnTo>
                  <a:pt x="187" y="80"/>
                </a:lnTo>
                <a:lnTo>
                  <a:pt x="187" y="89"/>
                </a:lnTo>
                <a:lnTo>
                  <a:pt x="187" y="97"/>
                </a:lnTo>
                <a:lnTo>
                  <a:pt x="188" y="102"/>
                </a:lnTo>
                <a:lnTo>
                  <a:pt x="189" y="106"/>
                </a:lnTo>
                <a:lnTo>
                  <a:pt x="191" y="109"/>
                </a:lnTo>
                <a:lnTo>
                  <a:pt x="193" y="111"/>
                </a:lnTo>
                <a:lnTo>
                  <a:pt x="188" y="114"/>
                </a:lnTo>
                <a:lnTo>
                  <a:pt x="182" y="117"/>
                </a:lnTo>
                <a:lnTo>
                  <a:pt x="177" y="118"/>
                </a:lnTo>
                <a:lnTo>
                  <a:pt x="171" y="120"/>
                </a:lnTo>
                <a:lnTo>
                  <a:pt x="159" y="121"/>
                </a:lnTo>
                <a:lnTo>
                  <a:pt x="146" y="121"/>
                </a:lnTo>
                <a:lnTo>
                  <a:pt x="116" y="119"/>
                </a:lnTo>
                <a:lnTo>
                  <a:pt x="80" y="117"/>
                </a:lnTo>
                <a:lnTo>
                  <a:pt x="72" y="116"/>
                </a:lnTo>
                <a:lnTo>
                  <a:pt x="67" y="114"/>
                </a:lnTo>
                <a:lnTo>
                  <a:pt x="63" y="110"/>
                </a:lnTo>
                <a:lnTo>
                  <a:pt x="59" y="106"/>
                </a:lnTo>
                <a:lnTo>
                  <a:pt x="56" y="100"/>
                </a:lnTo>
                <a:lnTo>
                  <a:pt x="55" y="93"/>
                </a:lnTo>
                <a:lnTo>
                  <a:pt x="54" y="87"/>
                </a:lnTo>
                <a:lnTo>
                  <a:pt x="54" y="80"/>
                </a:lnTo>
                <a:lnTo>
                  <a:pt x="47" y="79"/>
                </a:lnTo>
                <a:lnTo>
                  <a:pt x="39" y="78"/>
                </a:lnTo>
                <a:lnTo>
                  <a:pt x="31" y="75"/>
                </a:lnTo>
                <a:lnTo>
                  <a:pt x="22" y="72"/>
                </a:lnTo>
                <a:lnTo>
                  <a:pt x="13" y="69"/>
                </a:lnTo>
                <a:lnTo>
                  <a:pt x="7" y="65"/>
                </a:lnTo>
                <a:lnTo>
                  <a:pt x="3" y="62"/>
                </a:lnTo>
                <a:lnTo>
                  <a:pt x="2" y="60"/>
                </a:lnTo>
                <a:lnTo>
                  <a:pt x="0" y="58"/>
                </a:lnTo>
                <a:lnTo>
                  <a:pt x="0" y="56"/>
                </a:lnTo>
                <a:lnTo>
                  <a:pt x="1" y="51"/>
                </a:lnTo>
                <a:lnTo>
                  <a:pt x="3" y="48"/>
                </a:lnTo>
                <a:lnTo>
                  <a:pt x="7" y="45"/>
                </a:lnTo>
                <a:lnTo>
                  <a:pt x="11" y="41"/>
                </a:lnTo>
                <a:lnTo>
                  <a:pt x="20" y="38"/>
                </a:lnTo>
                <a:lnTo>
                  <a:pt x="26" y="36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40" name="Freeform 338"/>
          <p:cNvSpPr>
            <a:spLocks/>
          </p:cNvSpPr>
          <p:nvPr userDrawn="1">
            <p:custDataLst>
              <p:tags r:id="rId240"/>
            </p:custDataLst>
          </p:nvPr>
        </p:nvSpPr>
        <p:spPr bwMode="auto">
          <a:xfrm>
            <a:off x="7045334" y="2886077"/>
            <a:ext cx="166687" cy="172641"/>
          </a:xfrm>
          <a:custGeom>
            <a:avLst/>
            <a:gdLst>
              <a:gd name="T0" fmla="*/ 7156985 w 379"/>
              <a:gd name="T1" fmla="*/ 116256529 h 437"/>
              <a:gd name="T2" fmla="*/ 8897744 w 379"/>
              <a:gd name="T3" fmla="*/ 112926968 h 437"/>
              <a:gd name="T4" fmla="*/ 4642167 w 379"/>
              <a:gd name="T5" fmla="*/ 86290484 h 437"/>
              <a:gd name="T6" fmla="*/ 387030 w 379"/>
              <a:gd name="T7" fmla="*/ 81573475 h 437"/>
              <a:gd name="T8" fmla="*/ 2901409 w 379"/>
              <a:gd name="T9" fmla="*/ 74914354 h 437"/>
              <a:gd name="T10" fmla="*/ 5996334 w 379"/>
              <a:gd name="T11" fmla="*/ 61319027 h 437"/>
              <a:gd name="T12" fmla="*/ 7543577 w 379"/>
              <a:gd name="T13" fmla="*/ 47723190 h 437"/>
              <a:gd name="T14" fmla="*/ 11025531 w 379"/>
              <a:gd name="T15" fmla="*/ 44116561 h 437"/>
              <a:gd name="T16" fmla="*/ 12572773 w 379"/>
              <a:gd name="T17" fmla="*/ 36069992 h 437"/>
              <a:gd name="T18" fmla="*/ 14700564 w 379"/>
              <a:gd name="T19" fmla="*/ 21641888 h 437"/>
              <a:gd name="T20" fmla="*/ 17408897 w 379"/>
              <a:gd name="T21" fmla="*/ 14150505 h 437"/>
              <a:gd name="T22" fmla="*/ 22244578 w 379"/>
              <a:gd name="T23" fmla="*/ 8601235 h 437"/>
              <a:gd name="T24" fmla="*/ 29595083 w 379"/>
              <a:gd name="T25" fmla="*/ 6936718 h 437"/>
              <a:gd name="T26" fmla="*/ 41974338 w 379"/>
              <a:gd name="T27" fmla="*/ 10543349 h 437"/>
              <a:gd name="T28" fmla="*/ 50679003 w 379"/>
              <a:gd name="T29" fmla="*/ 13318246 h 437"/>
              <a:gd name="T30" fmla="*/ 58609621 w 379"/>
              <a:gd name="T31" fmla="*/ 12485988 h 437"/>
              <a:gd name="T32" fmla="*/ 63638817 w 379"/>
              <a:gd name="T33" fmla="*/ 8601235 h 437"/>
              <a:gd name="T34" fmla="*/ 68861088 w 379"/>
              <a:gd name="T35" fmla="*/ 1942112 h 437"/>
              <a:gd name="T36" fmla="*/ 72343042 w 379"/>
              <a:gd name="T37" fmla="*/ 2497303 h 437"/>
              <a:gd name="T38" fmla="*/ 71956011 w 379"/>
              <a:gd name="T39" fmla="*/ 9711091 h 437"/>
              <a:gd name="T40" fmla="*/ 63638817 w 379"/>
              <a:gd name="T41" fmla="*/ 22197078 h 437"/>
              <a:gd name="T42" fmla="*/ 56481820 w 379"/>
              <a:gd name="T43" fmla="*/ 26913561 h 437"/>
              <a:gd name="T44" fmla="*/ 52419760 w 379"/>
              <a:gd name="T45" fmla="*/ 26081302 h 437"/>
              <a:gd name="T46" fmla="*/ 46036397 w 379"/>
              <a:gd name="T47" fmla="*/ 19144586 h 437"/>
              <a:gd name="T48" fmla="*/ 41007202 w 379"/>
              <a:gd name="T49" fmla="*/ 15537953 h 437"/>
              <a:gd name="T50" fmla="*/ 34237249 w 379"/>
              <a:gd name="T51" fmla="*/ 15537953 h 437"/>
              <a:gd name="T52" fmla="*/ 26693228 w 379"/>
              <a:gd name="T53" fmla="*/ 16925402 h 437"/>
              <a:gd name="T54" fmla="*/ 22051063 w 379"/>
              <a:gd name="T55" fmla="*/ 21919483 h 437"/>
              <a:gd name="T56" fmla="*/ 15281110 w 379"/>
              <a:gd name="T57" fmla="*/ 44671225 h 437"/>
              <a:gd name="T58" fmla="*/ 23018199 w 379"/>
              <a:gd name="T59" fmla="*/ 46890932 h 437"/>
              <a:gd name="T60" fmla="*/ 25726092 w 379"/>
              <a:gd name="T61" fmla="*/ 52994863 h 437"/>
              <a:gd name="T62" fmla="*/ 29981674 w 379"/>
              <a:gd name="T63" fmla="*/ 46613337 h 437"/>
              <a:gd name="T64" fmla="*/ 33270112 w 379"/>
              <a:gd name="T65" fmla="*/ 42451518 h 437"/>
              <a:gd name="T66" fmla="*/ 42747959 w 379"/>
              <a:gd name="T67" fmla="*/ 41619259 h 437"/>
              <a:gd name="T68" fmla="*/ 48357700 w 379"/>
              <a:gd name="T69" fmla="*/ 40787001 h 437"/>
              <a:gd name="T70" fmla="*/ 52806350 w 379"/>
              <a:gd name="T71" fmla="*/ 48000785 h 437"/>
              <a:gd name="T72" fmla="*/ 53967002 w 379"/>
              <a:gd name="T73" fmla="*/ 56324423 h 437"/>
              <a:gd name="T74" fmla="*/ 47584079 w 379"/>
              <a:gd name="T75" fmla="*/ 53272458 h 437"/>
              <a:gd name="T76" fmla="*/ 42167853 w 379"/>
              <a:gd name="T77" fmla="*/ 51330346 h 437"/>
              <a:gd name="T78" fmla="*/ 37138657 w 379"/>
              <a:gd name="T79" fmla="*/ 54104716 h 437"/>
              <a:gd name="T80" fmla="*/ 35978006 w 379"/>
              <a:gd name="T81" fmla="*/ 57989467 h 437"/>
              <a:gd name="T82" fmla="*/ 37138657 w 379"/>
              <a:gd name="T83" fmla="*/ 64648588 h 437"/>
              <a:gd name="T84" fmla="*/ 42554883 w 379"/>
              <a:gd name="T85" fmla="*/ 75469544 h 437"/>
              <a:gd name="T86" fmla="*/ 43522019 w 379"/>
              <a:gd name="T87" fmla="*/ 82128665 h 437"/>
              <a:gd name="T88" fmla="*/ 41587747 w 379"/>
              <a:gd name="T89" fmla="*/ 89342450 h 437"/>
              <a:gd name="T90" fmla="*/ 39653475 w 379"/>
              <a:gd name="T91" fmla="*/ 95723976 h 437"/>
              <a:gd name="T92" fmla="*/ 40620611 w 379"/>
              <a:gd name="T93" fmla="*/ 98776468 h 437"/>
              <a:gd name="T94" fmla="*/ 45649807 w 379"/>
              <a:gd name="T95" fmla="*/ 102106028 h 437"/>
              <a:gd name="T96" fmla="*/ 48744291 w 379"/>
              <a:gd name="T97" fmla="*/ 110984330 h 437"/>
              <a:gd name="T98" fmla="*/ 46229913 w 379"/>
              <a:gd name="T99" fmla="*/ 119030899 h 437"/>
              <a:gd name="T100" fmla="*/ 42747959 w 379"/>
              <a:gd name="T101" fmla="*/ 116811192 h 437"/>
              <a:gd name="T102" fmla="*/ 39072929 w 379"/>
              <a:gd name="T103" fmla="*/ 115701339 h 437"/>
              <a:gd name="T104" fmla="*/ 34237249 w 379"/>
              <a:gd name="T105" fmla="*/ 110984330 h 437"/>
              <a:gd name="T106" fmla="*/ 29595083 w 379"/>
              <a:gd name="T107" fmla="*/ 98776468 h 437"/>
              <a:gd name="T108" fmla="*/ 26500153 w 379"/>
              <a:gd name="T109" fmla="*/ 84348372 h 437"/>
              <a:gd name="T110" fmla="*/ 22051063 w 379"/>
              <a:gd name="T111" fmla="*/ 72972242 h 437"/>
              <a:gd name="T112" fmla="*/ 18762624 w 379"/>
              <a:gd name="T113" fmla="*/ 71862389 h 437"/>
              <a:gd name="T114" fmla="*/ 20310306 w 379"/>
              <a:gd name="T115" fmla="*/ 105712657 h 437"/>
              <a:gd name="T116" fmla="*/ 17989003 w 379"/>
              <a:gd name="T117" fmla="*/ 112094183 h 437"/>
              <a:gd name="T118" fmla="*/ 11025531 w 379"/>
              <a:gd name="T119" fmla="*/ 118198641 h 437"/>
              <a:gd name="T120" fmla="*/ 11412562 w 379"/>
              <a:gd name="T121" fmla="*/ 121250606 h 43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379"/>
              <a:gd name="T184" fmla="*/ 0 h 437"/>
              <a:gd name="T185" fmla="*/ 379 w 379"/>
              <a:gd name="T186" fmla="*/ 437 h 437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379" h="437">
                <a:moveTo>
                  <a:pt x="59" y="437"/>
                </a:moveTo>
                <a:lnTo>
                  <a:pt x="33" y="437"/>
                </a:lnTo>
                <a:lnTo>
                  <a:pt x="34" y="430"/>
                </a:lnTo>
                <a:lnTo>
                  <a:pt x="37" y="419"/>
                </a:lnTo>
                <a:lnTo>
                  <a:pt x="38" y="415"/>
                </a:lnTo>
                <a:lnTo>
                  <a:pt x="41" y="410"/>
                </a:lnTo>
                <a:lnTo>
                  <a:pt x="44" y="408"/>
                </a:lnTo>
                <a:lnTo>
                  <a:pt x="46" y="407"/>
                </a:lnTo>
                <a:lnTo>
                  <a:pt x="46" y="320"/>
                </a:lnTo>
                <a:lnTo>
                  <a:pt x="38" y="317"/>
                </a:lnTo>
                <a:lnTo>
                  <a:pt x="32" y="314"/>
                </a:lnTo>
                <a:lnTo>
                  <a:pt x="24" y="311"/>
                </a:lnTo>
                <a:lnTo>
                  <a:pt x="18" y="307"/>
                </a:lnTo>
                <a:lnTo>
                  <a:pt x="12" y="303"/>
                </a:lnTo>
                <a:lnTo>
                  <a:pt x="7" y="299"/>
                </a:lnTo>
                <a:lnTo>
                  <a:pt x="2" y="294"/>
                </a:lnTo>
                <a:lnTo>
                  <a:pt x="0" y="290"/>
                </a:lnTo>
                <a:lnTo>
                  <a:pt x="5" y="284"/>
                </a:lnTo>
                <a:lnTo>
                  <a:pt x="11" y="278"/>
                </a:lnTo>
                <a:lnTo>
                  <a:pt x="15" y="270"/>
                </a:lnTo>
                <a:lnTo>
                  <a:pt x="19" y="264"/>
                </a:lnTo>
                <a:lnTo>
                  <a:pt x="24" y="250"/>
                </a:lnTo>
                <a:lnTo>
                  <a:pt x="28" y="236"/>
                </a:lnTo>
                <a:lnTo>
                  <a:pt x="31" y="221"/>
                </a:lnTo>
                <a:lnTo>
                  <a:pt x="32" y="204"/>
                </a:lnTo>
                <a:lnTo>
                  <a:pt x="33" y="189"/>
                </a:lnTo>
                <a:lnTo>
                  <a:pt x="33" y="173"/>
                </a:lnTo>
                <a:lnTo>
                  <a:pt x="39" y="172"/>
                </a:lnTo>
                <a:lnTo>
                  <a:pt x="45" y="170"/>
                </a:lnTo>
                <a:lnTo>
                  <a:pt x="50" y="168"/>
                </a:lnTo>
                <a:lnTo>
                  <a:pt x="54" y="164"/>
                </a:lnTo>
                <a:lnTo>
                  <a:pt x="57" y="159"/>
                </a:lnTo>
                <a:lnTo>
                  <a:pt x="59" y="154"/>
                </a:lnTo>
                <a:lnTo>
                  <a:pt x="61" y="149"/>
                </a:lnTo>
                <a:lnTo>
                  <a:pt x="63" y="143"/>
                </a:lnTo>
                <a:lnTo>
                  <a:pt x="65" y="130"/>
                </a:lnTo>
                <a:lnTo>
                  <a:pt x="66" y="115"/>
                </a:lnTo>
                <a:lnTo>
                  <a:pt x="69" y="100"/>
                </a:lnTo>
                <a:lnTo>
                  <a:pt x="72" y="86"/>
                </a:lnTo>
                <a:lnTo>
                  <a:pt x="76" y="78"/>
                </a:lnTo>
                <a:lnTo>
                  <a:pt x="78" y="71"/>
                </a:lnTo>
                <a:lnTo>
                  <a:pt x="81" y="64"/>
                </a:lnTo>
                <a:lnTo>
                  <a:pt x="86" y="57"/>
                </a:lnTo>
                <a:lnTo>
                  <a:pt x="90" y="51"/>
                </a:lnTo>
                <a:lnTo>
                  <a:pt x="95" y="44"/>
                </a:lnTo>
                <a:lnTo>
                  <a:pt x="101" y="39"/>
                </a:lnTo>
                <a:lnTo>
                  <a:pt x="108" y="35"/>
                </a:lnTo>
                <a:lnTo>
                  <a:pt x="115" y="31"/>
                </a:lnTo>
                <a:lnTo>
                  <a:pt x="123" y="29"/>
                </a:lnTo>
                <a:lnTo>
                  <a:pt x="132" y="27"/>
                </a:lnTo>
                <a:lnTo>
                  <a:pt x="142" y="25"/>
                </a:lnTo>
                <a:lnTo>
                  <a:pt x="153" y="25"/>
                </a:lnTo>
                <a:lnTo>
                  <a:pt x="165" y="26"/>
                </a:lnTo>
                <a:lnTo>
                  <a:pt x="178" y="28"/>
                </a:lnTo>
                <a:lnTo>
                  <a:pt x="192" y="30"/>
                </a:lnTo>
                <a:lnTo>
                  <a:pt x="217" y="38"/>
                </a:lnTo>
                <a:lnTo>
                  <a:pt x="237" y="44"/>
                </a:lnTo>
                <a:lnTo>
                  <a:pt x="246" y="46"/>
                </a:lnTo>
                <a:lnTo>
                  <a:pt x="254" y="47"/>
                </a:lnTo>
                <a:lnTo>
                  <a:pt x="262" y="48"/>
                </a:lnTo>
                <a:lnTo>
                  <a:pt x="272" y="50"/>
                </a:lnTo>
                <a:lnTo>
                  <a:pt x="283" y="48"/>
                </a:lnTo>
                <a:lnTo>
                  <a:pt x="294" y="47"/>
                </a:lnTo>
                <a:lnTo>
                  <a:pt x="303" y="45"/>
                </a:lnTo>
                <a:lnTo>
                  <a:pt x="311" y="42"/>
                </a:lnTo>
                <a:lnTo>
                  <a:pt x="317" y="39"/>
                </a:lnTo>
                <a:lnTo>
                  <a:pt x="324" y="35"/>
                </a:lnTo>
                <a:lnTo>
                  <a:pt x="329" y="31"/>
                </a:lnTo>
                <a:lnTo>
                  <a:pt x="334" y="27"/>
                </a:lnTo>
                <a:lnTo>
                  <a:pt x="343" y="18"/>
                </a:lnTo>
                <a:lnTo>
                  <a:pt x="351" y="10"/>
                </a:lnTo>
                <a:lnTo>
                  <a:pt x="356" y="7"/>
                </a:lnTo>
                <a:lnTo>
                  <a:pt x="360" y="4"/>
                </a:lnTo>
                <a:lnTo>
                  <a:pt x="366" y="2"/>
                </a:lnTo>
                <a:lnTo>
                  <a:pt x="371" y="0"/>
                </a:lnTo>
                <a:lnTo>
                  <a:pt x="374" y="9"/>
                </a:lnTo>
                <a:lnTo>
                  <a:pt x="379" y="18"/>
                </a:lnTo>
                <a:lnTo>
                  <a:pt x="378" y="23"/>
                </a:lnTo>
                <a:lnTo>
                  <a:pt x="375" y="29"/>
                </a:lnTo>
                <a:lnTo>
                  <a:pt x="372" y="35"/>
                </a:lnTo>
                <a:lnTo>
                  <a:pt x="369" y="41"/>
                </a:lnTo>
                <a:lnTo>
                  <a:pt x="358" y="55"/>
                </a:lnTo>
                <a:lnTo>
                  <a:pt x="344" y="68"/>
                </a:lnTo>
                <a:lnTo>
                  <a:pt x="329" y="80"/>
                </a:lnTo>
                <a:lnTo>
                  <a:pt x="314" y="89"/>
                </a:lnTo>
                <a:lnTo>
                  <a:pt x="306" y="93"/>
                </a:lnTo>
                <a:lnTo>
                  <a:pt x="299" y="96"/>
                </a:lnTo>
                <a:lnTo>
                  <a:pt x="292" y="97"/>
                </a:lnTo>
                <a:lnTo>
                  <a:pt x="285" y="98"/>
                </a:lnTo>
                <a:lnTo>
                  <a:pt x="280" y="98"/>
                </a:lnTo>
                <a:lnTo>
                  <a:pt x="276" y="96"/>
                </a:lnTo>
                <a:lnTo>
                  <a:pt x="271" y="94"/>
                </a:lnTo>
                <a:lnTo>
                  <a:pt x="266" y="91"/>
                </a:lnTo>
                <a:lnTo>
                  <a:pt x="257" y="85"/>
                </a:lnTo>
                <a:lnTo>
                  <a:pt x="248" y="77"/>
                </a:lnTo>
                <a:lnTo>
                  <a:pt x="238" y="69"/>
                </a:lnTo>
                <a:lnTo>
                  <a:pt x="228" y="62"/>
                </a:lnTo>
                <a:lnTo>
                  <a:pt x="223" y="60"/>
                </a:lnTo>
                <a:lnTo>
                  <a:pt x="217" y="57"/>
                </a:lnTo>
                <a:lnTo>
                  <a:pt x="212" y="56"/>
                </a:lnTo>
                <a:lnTo>
                  <a:pt x="205" y="56"/>
                </a:lnTo>
                <a:lnTo>
                  <a:pt x="199" y="56"/>
                </a:lnTo>
                <a:lnTo>
                  <a:pt x="190" y="56"/>
                </a:lnTo>
                <a:lnTo>
                  <a:pt x="177" y="56"/>
                </a:lnTo>
                <a:lnTo>
                  <a:pt x="159" y="56"/>
                </a:lnTo>
                <a:lnTo>
                  <a:pt x="151" y="56"/>
                </a:lnTo>
                <a:lnTo>
                  <a:pt x="145" y="58"/>
                </a:lnTo>
                <a:lnTo>
                  <a:pt x="138" y="61"/>
                </a:lnTo>
                <a:lnTo>
                  <a:pt x="132" y="64"/>
                </a:lnTo>
                <a:lnTo>
                  <a:pt x="125" y="69"/>
                </a:lnTo>
                <a:lnTo>
                  <a:pt x="120" y="74"/>
                </a:lnTo>
                <a:lnTo>
                  <a:pt x="114" y="79"/>
                </a:lnTo>
                <a:lnTo>
                  <a:pt x="109" y="85"/>
                </a:lnTo>
                <a:lnTo>
                  <a:pt x="92" y="110"/>
                </a:lnTo>
                <a:lnTo>
                  <a:pt x="79" y="129"/>
                </a:lnTo>
                <a:lnTo>
                  <a:pt x="79" y="161"/>
                </a:lnTo>
                <a:lnTo>
                  <a:pt x="91" y="161"/>
                </a:lnTo>
                <a:lnTo>
                  <a:pt x="102" y="163"/>
                </a:lnTo>
                <a:lnTo>
                  <a:pt x="111" y="165"/>
                </a:lnTo>
                <a:lnTo>
                  <a:pt x="119" y="169"/>
                </a:lnTo>
                <a:lnTo>
                  <a:pt x="124" y="173"/>
                </a:lnTo>
                <a:lnTo>
                  <a:pt x="128" y="178"/>
                </a:lnTo>
                <a:lnTo>
                  <a:pt x="132" y="184"/>
                </a:lnTo>
                <a:lnTo>
                  <a:pt x="133" y="191"/>
                </a:lnTo>
                <a:lnTo>
                  <a:pt x="139" y="186"/>
                </a:lnTo>
                <a:lnTo>
                  <a:pt x="145" y="180"/>
                </a:lnTo>
                <a:lnTo>
                  <a:pt x="150" y="174"/>
                </a:lnTo>
                <a:lnTo>
                  <a:pt x="155" y="168"/>
                </a:lnTo>
                <a:lnTo>
                  <a:pt x="159" y="163"/>
                </a:lnTo>
                <a:lnTo>
                  <a:pt x="164" y="157"/>
                </a:lnTo>
                <a:lnTo>
                  <a:pt x="168" y="155"/>
                </a:lnTo>
                <a:lnTo>
                  <a:pt x="172" y="153"/>
                </a:lnTo>
                <a:lnTo>
                  <a:pt x="184" y="150"/>
                </a:lnTo>
                <a:lnTo>
                  <a:pt x="196" y="149"/>
                </a:lnTo>
                <a:lnTo>
                  <a:pt x="209" y="149"/>
                </a:lnTo>
                <a:lnTo>
                  <a:pt x="221" y="150"/>
                </a:lnTo>
                <a:lnTo>
                  <a:pt x="232" y="150"/>
                </a:lnTo>
                <a:lnTo>
                  <a:pt x="242" y="149"/>
                </a:lnTo>
                <a:lnTo>
                  <a:pt x="246" y="148"/>
                </a:lnTo>
                <a:lnTo>
                  <a:pt x="250" y="147"/>
                </a:lnTo>
                <a:lnTo>
                  <a:pt x="255" y="144"/>
                </a:lnTo>
                <a:lnTo>
                  <a:pt x="259" y="141"/>
                </a:lnTo>
                <a:lnTo>
                  <a:pt x="268" y="158"/>
                </a:lnTo>
                <a:lnTo>
                  <a:pt x="273" y="173"/>
                </a:lnTo>
                <a:lnTo>
                  <a:pt x="276" y="179"/>
                </a:lnTo>
                <a:lnTo>
                  <a:pt x="278" y="187"/>
                </a:lnTo>
                <a:lnTo>
                  <a:pt x="278" y="194"/>
                </a:lnTo>
                <a:lnTo>
                  <a:pt x="279" y="203"/>
                </a:lnTo>
                <a:lnTo>
                  <a:pt x="268" y="200"/>
                </a:lnTo>
                <a:lnTo>
                  <a:pt x="259" y="198"/>
                </a:lnTo>
                <a:lnTo>
                  <a:pt x="252" y="195"/>
                </a:lnTo>
                <a:lnTo>
                  <a:pt x="246" y="192"/>
                </a:lnTo>
                <a:lnTo>
                  <a:pt x="240" y="189"/>
                </a:lnTo>
                <a:lnTo>
                  <a:pt x="235" y="187"/>
                </a:lnTo>
                <a:lnTo>
                  <a:pt x="227" y="185"/>
                </a:lnTo>
                <a:lnTo>
                  <a:pt x="218" y="185"/>
                </a:lnTo>
                <a:lnTo>
                  <a:pt x="210" y="186"/>
                </a:lnTo>
                <a:lnTo>
                  <a:pt x="202" y="188"/>
                </a:lnTo>
                <a:lnTo>
                  <a:pt x="196" y="191"/>
                </a:lnTo>
                <a:lnTo>
                  <a:pt x="192" y="195"/>
                </a:lnTo>
                <a:lnTo>
                  <a:pt x="189" y="199"/>
                </a:lnTo>
                <a:lnTo>
                  <a:pt x="187" y="203"/>
                </a:lnTo>
                <a:lnTo>
                  <a:pt x="186" y="206"/>
                </a:lnTo>
                <a:lnTo>
                  <a:pt x="186" y="209"/>
                </a:lnTo>
                <a:lnTo>
                  <a:pt x="186" y="215"/>
                </a:lnTo>
                <a:lnTo>
                  <a:pt x="188" y="223"/>
                </a:lnTo>
                <a:lnTo>
                  <a:pt x="189" y="228"/>
                </a:lnTo>
                <a:lnTo>
                  <a:pt x="192" y="233"/>
                </a:lnTo>
                <a:lnTo>
                  <a:pt x="198" y="243"/>
                </a:lnTo>
                <a:lnTo>
                  <a:pt x="205" y="252"/>
                </a:lnTo>
                <a:lnTo>
                  <a:pt x="213" y="261"/>
                </a:lnTo>
                <a:lnTo>
                  <a:pt x="220" y="272"/>
                </a:lnTo>
                <a:lnTo>
                  <a:pt x="222" y="277"/>
                </a:lnTo>
                <a:lnTo>
                  <a:pt x="224" y="283"/>
                </a:lnTo>
                <a:lnTo>
                  <a:pt x="225" y="289"/>
                </a:lnTo>
                <a:lnTo>
                  <a:pt x="225" y="296"/>
                </a:lnTo>
                <a:lnTo>
                  <a:pt x="225" y="302"/>
                </a:lnTo>
                <a:lnTo>
                  <a:pt x="222" y="309"/>
                </a:lnTo>
                <a:lnTo>
                  <a:pt x="220" y="316"/>
                </a:lnTo>
                <a:lnTo>
                  <a:pt x="215" y="322"/>
                </a:lnTo>
                <a:lnTo>
                  <a:pt x="212" y="329"/>
                </a:lnTo>
                <a:lnTo>
                  <a:pt x="209" y="335"/>
                </a:lnTo>
                <a:lnTo>
                  <a:pt x="206" y="340"/>
                </a:lnTo>
                <a:lnTo>
                  <a:pt x="205" y="345"/>
                </a:lnTo>
                <a:lnTo>
                  <a:pt x="205" y="348"/>
                </a:lnTo>
                <a:lnTo>
                  <a:pt x="206" y="351"/>
                </a:lnTo>
                <a:lnTo>
                  <a:pt x="209" y="354"/>
                </a:lnTo>
                <a:lnTo>
                  <a:pt x="210" y="356"/>
                </a:lnTo>
                <a:lnTo>
                  <a:pt x="215" y="361"/>
                </a:lnTo>
                <a:lnTo>
                  <a:pt x="222" y="364"/>
                </a:lnTo>
                <a:lnTo>
                  <a:pt x="228" y="366"/>
                </a:lnTo>
                <a:lnTo>
                  <a:pt x="236" y="368"/>
                </a:lnTo>
                <a:lnTo>
                  <a:pt x="244" y="369"/>
                </a:lnTo>
                <a:lnTo>
                  <a:pt x="252" y="369"/>
                </a:lnTo>
                <a:lnTo>
                  <a:pt x="252" y="390"/>
                </a:lnTo>
                <a:lnTo>
                  <a:pt x="252" y="400"/>
                </a:lnTo>
                <a:lnTo>
                  <a:pt x="252" y="411"/>
                </a:lnTo>
                <a:lnTo>
                  <a:pt x="252" y="431"/>
                </a:lnTo>
                <a:lnTo>
                  <a:pt x="245" y="430"/>
                </a:lnTo>
                <a:lnTo>
                  <a:pt x="239" y="429"/>
                </a:lnTo>
                <a:lnTo>
                  <a:pt x="234" y="427"/>
                </a:lnTo>
                <a:lnTo>
                  <a:pt x="229" y="425"/>
                </a:lnTo>
                <a:lnTo>
                  <a:pt x="225" y="423"/>
                </a:lnTo>
                <a:lnTo>
                  <a:pt x="221" y="421"/>
                </a:lnTo>
                <a:lnTo>
                  <a:pt x="217" y="419"/>
                </a:lnTo>
                <a:lnTo>
                  <a:pt x="212" y="419"/>
                </a:lnTo>
                <a:lnTo>
                  <a:pt x="207" y="418"/>
                </a:lnTo>
                <a:lnTo>
                  <a:pt x="202" y="417"/>
                </a:lnTo>
                <a:lnTo>
                  <a:pt x="198" y="416"/>
                </a:lnTo>
                <a:lnTo>
                  <a:pt x="193" y="414"/>
                </a:lnTo>
                <a:lnTo>
                  <a:pt x="186" y="408"/>
                </a:lnTo>
                <a:lnTo>
                  <a:pt x="177" y="400"/>
                </a:lnTo>
                <a:lnTo>
                  <a:pt x="170" y="391"/>
                </a:lnTo>
                <a:lnTo>
                  <a:pt x="164" y="379"/>
                </a:lnTo>
                <a:lnTo>
                  <a:pt x="158" y="368"/>
                </a:lnTo>
                <a:lnTo>
                  <a:pt x="153" y="356"/>
                </a:lnTo>
                <a:lnTo>
                  <a:pt x="148" y="343"/>
                </a:lnTo>
                <a:lnTo>
                  <a:pt x="144" y="330"/>
                </a:lnTo>
                <a:lnTo>
                  <a:pt x="140" y="317"/>
                </a:lnTo>
                <a:lnTo>
                  <a:pt x="137" y="304"/>
                </a:lnTo>
                <a:lnTo>
                  <a:pt x="134" y="282"/>
                </a:lnTo>
                <a:lnTo>
                  <a:pt x="133" y="264"/>
                </a:lnTo>
                <a:lnTo>
                  <a:pt x="122" y="264"/>
                </a:lnTo>
                <a:lnTo>
                  <a:pt x="114" y="263"/>
                </a:lnTo>
                <a:lnTo>
                  <a:pt x="109" y="261"/>
                </a:lnTo>
                <a:lnTo>
                  <a:pt x="104" y="260"/>
                </a:lnTo>
                <a:lnTo>
                  <a:pt x="101" y="259"/>
                </a:lnTo>
                <a:lnTo>
                  <a:pt x="97" y="259"/>
                </a:lnTo>
                <a:lnTo>
                  <a:pt x="92" y="261"/>
                </a:lnTo>
                <a:lnTo>
                  <a:pt x="86" y="264"/>
                </a:lnTo>
                <a:lnTo>
                  <a:pt x="86" y="296"/>
                </a:lnTo>
                <a:lnTo>
                  <a:pt x="105" y="381"/>
                </a:lnTo>
                <a:lnTo>
                  <a:pt x="104" y="389"/>
                </a:lnTo>
                <a:lnTo>
                  <a:pt x="101" y="394"/>
                </a:lnTo>
                <a:lnTo>
                  <a:pt x="98" y="399"/>
                </a:lnTo>
                <a:lnTo>
                  <a:pt x="93" y="404"/>
                </a:lnTo>
                <a:lnTo>
                  <a:pt x="83" y="411"/>
                </a:lnTo>
                <a:lnTo>
                  <a:pt x="72" y="416"/>
                </a:lnTo>
                <a:lnTo>
                  <a:pt x="64" y="421"/>
                </a:lnTo>
                <a:lnTo>
                  <a:pt x="57" y="426"/>
                </a:lnTo>
                <a:lnTo>
                  <a:pt x="56" y="428"/>
                </a:lnTo>
                <a:lnTo>
                  <a:pt x="55" y="431"/>
                </a:lnTo>
                <a:lnTo>
                  <a:pt x="56" y="434"/>
                </a:lnTo>
                <a:lnTo>
                  <a:pt x="59" y="437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41" name="Freeform 339"/>
          <p:cNvSpPr>
            <a:spLocks/>
          </p:cNvSpPr>
          <p:nvPr userDrawn="1">
            <p:custDataLst>
              <p:tags r:id="rId241"/>
            </p:custDataLst>
          </p:nvPr>
        </p:nvSpPr>
        <p:spPr bwMode="auto">
          <a:xfrm>
            <a:off x="6710372" y="3067053"/>
            <a:ext cx="250825" cy="71438"/>
          </a:xfrm>
          <a:custGeom>
            <a:avLst/>
            <a:gdLst>
              <a:gd name="T0" fmla="*/ 2071259 w 578"/>
              <a:gd name="T1" fmla="*/ 13398672 h 184"/>
              <a:gd name="T2" fmla="*/ 4519623 w 578"/>
              <a:gd name="T3" fmla="*/ 8575090 h 184"/>
              <a:gd name="T4" fmla="*/ 7720897 w 578"/>
              <a:gd name="T5" fmla="*/ 1876011 h 184"/>
              <a:gd name="T6" fmla="*/ 10168826 w 578"/>
              <a:gd name="T7" fmla="*/ 0 h 184"/>
              <a:gd name="T8" fmla="*/ 14876787 w 578"/>
              <a:gd name="T9" fmla="*/ 535781 h 184"/>
              <a:gd name="T10" fmla="*/ 17890157 w 578"/>
              <a:gd name="T11" fmla="*/ 535781 h 184"/>
              <a:gd name="T12" fmla="*/ 19019737 w 578"/>
              <a:gd name="T13" fmla="*/ 1339712 h 184"/>
              <a:gd name="T14" fmla="*/ 21656436 w 578"/>
              <a:gd name="T15" fmla="*/ 4019653 h 184"/>
              <a:gd name="T16" fmla="*/ 27682309 w 578"/>
              <a:gd name="T17" fmla="*/ 7235376 h 184"/>
              <a:gd name="T18" fmla="*/ 31636931 w 578"/>
              <a:gd name="T19" fmla="*/ 9915319 h 184"/>
              <a:gd name="T20" fmla="*/ 33520287 w 578"/>
              <a:gd name="T21" fmla="*/ 14202603 h 184"/>
              <a:gd name="T22" fmla="*/ 36156552 w 578"/>
              <a:gd name="T23" fmla="*/ 16346245 h 184"/>
              <a:gd name="T24" fmla="*/ 43500775 w 578"/>
              <a:gd name="T25" fmla="*/ 16078613 h 184"/>
              <a:gd name="T26" fmla="*/ 52163346 w 578"/>
              <a:gd name="T27" fmla="*/ 13666822 h 184"/>
              <a:gd name="T28" fmla="*/ 56306297 w 578"/>
              <a:gd name="T29" fmla="*/ 10451100 h 184"/>
              <a:gd name="T30" fmla="*/ 59130911 w 578"/>
              <a:gd name="T31" fmla="*/ 9111388 h 184"/>
              <a:gd name="T32" fmla="*/ 61579274 w 578"/>
              <a:gd name="T33" fmla="*/ 9379020 h 184"/>
              <a:gd name="T34" fmla="*/ 63838868 w 578"/>
              <a:gd name="T35" fmla="*/ 8307456 h 184"/>
              <a:gd name="T36" fmla="*/ 68923497 w 578"/>
              <a:gd name="T37" fmla="*/ 9111388 h 184"/>
              <a:gd name="T38" fmla="*/ 75137705 w 578"/>
              <a:gd name="T39" fmla="*/ 15810463 h 184"/>
              <a:gd name="T40" fmla="*/ 80599005 w 578"/>
              <a:gd name="T41" fmla="*/ 23849772 h 184"/>
              <a:gd name="T42" fmla="*/ 85871969 w 578"/>
              <a:gd name="T43" fmla="*/ 28137573 h 184"/>
              <a:gd name="T44" fmla="*/ 90203255 w 578"/>
              <a:gd name="T45" fmla="*/ 28673355 h 184"/>
              <a:gd name="T46" fmla="*/ 92839520 w 578"/>
              <a:gd name="T47" fmla="*/ 28941504 h 184"/>
              <a:gd name="T48" fmla="*/ 95099114 w 578"/>
              <a:gd name="T49" fmla="*/ 33496937 h 184"/>
              <a:gd name="T50" fmla="*/ 98300820 w 578"/>
              <a:gd name="T51" fmla="*/ 37516597 h 184"/>
              <a:gd name="T52" fmla="*/ 100560414 w 578"/>
              <a:gd name="T53" fmla="*/ 37248448 h 184"/>
              <a:gd name="T54" fmla="*/ 102820442 w 578"/>
              <a:gd name="T55" fmla="*/ 34300876 h 184"/>
              <a:gd name="T56" fmla="*/ 105080035 w 578"/>
              <a:gd name="T57" fmla="*/ 35908737 h 184"/>
              <a:gd name="T58" fmla="*/ 107527965 w 578"/>
              <a:gd name="T59" fmla="*/ 38856309 h 184"/>
              <a:gd name="T60" fmla="*/ 108846314 w 578"/>
              <a:gd name="T61" fmla="*/ 42875961 h 184"/>
              <a:gd name="T62" fmla="*/ 108281307 w 578"/>
              <a:gd name="T63" fmla="*/ 46359832 h 184"/>
              <a:gd name="T64" fmla="*/ 106775056 w 578"/>
              <a:gd name="T65" fmla="*/ 48771624 h 184"/>
              <a:gd name="T66" fmla="*/ 103761686 w 578"/>
              <a:gd name="T67" fmla="*/ 47699544 h 184"/>
              <a:gd name="T68" fmla="*/ 99053729 w 578"/>
              <a:gd name="T69" fmla="*/ 45555902 h 184"/>
              <a:gd name="T70" fmla="*/ 92462849 w 578"/>
              <a:gd name="T71" fmla="*/ 46091683 h 184"/>
              <a:gd name="T72" fmla="*/ 87001549 w 578"/>
              <a:gd name="T73" fmla="*/ 45555902 h 184"/>
              <a:gd name="T74" fmla="*/ 84930291 w 578"/>
              <a:gd name="T75" fmla="*/ 42875961 h 184"/>
              <a:gd name="T76" fmla="*/ 82482361 w 578"/>
              <a:gd name="T77" fmla="*/ 41268100 h 184"/>
              <a:gd name="T78" fmla="*/ 80222334 w 578"/>
              <a:gd name="T79" fmla="*/ 42875961 h 184"/>
              <a:gd name="T80" fmla="*/ 78339411 w 578"/>
              <a:gd name="T81" fmla="*/ 45555902 h 184"/>
              <a:gd name="T82" fmla="*/ 74949370 w 578"/>
              <a:gd name="T83" fmla="*/ 45823534 h 184"/>
              <a:gd name="T84" fmla="*/ 61767610 w 578"/>
              <a:gd name="T85" fmla="*/ 40999951 h 184"/>
              <a:gd name="T86" fmla="*/ 52163346 w 578"/>
              <a:gd name="T87" fmla="*/ 35372956 h 184"/>
              <a:gd name="T88" fmla="*/ 50092088 w 578"/>
              <a:gd name="T89" fmla="*/ 32961156 h 184"/>
              <a:gd name="T90" fmla="*/ 43312439 w 578"/>
              <a:gd name="T91" fmla="*/ 31889076 h 184"/>
              <a:gd name="T92" fmla="*/ 37851573 w 578"/>
              <a:gd name="T93" fmla="*/ 30281215 h 184"/>
              <a:gd name="T94" fmla="*/ 31636931 w 578"/>
              <a:gd name="T95" fmla="*/ 29745434 h 184"/>
              <a:gd name="T96" fmla="*/ 27493974 w 578"/>
              <a:gd name="T97" fmla="*/ 29745434 h 184"/>
              <a:gd name="T98" fmla="*/ 23351023 w 578"/>
              <a:gd name="T99" fmla="*/ 28137573 h 184"/>
              <a:gd name="T100" fmla="*/ 22597681 w 578"/>
              <a:gd name="T101" fmla="*/ 26529713 h 184"/>
              <a:gd name="T102" fmla="*/ 12993861 w 578"/>
              <a:gd name="T103" fmla="*/ 25993414 h 184"/>
              <a:gd name="T104" fmla="*/ 8662575 w 578"/>
              <a:gd name="T105" fmla="*/ 23581623 h 184"/>
              <a:gd name="T106" fmla="*/ 0 w 578"/>
              <a:gd name="T107" fmla="*/ 14738384 h 184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578"/>
              <a:gd name="T163" fmla="*/ 0 h 184"/>
              <a:gd name="T164" fmla="*/ 578 w 578"/>
              <a:gd name="T165" fmla="*/ 184 h 184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578" h="184">
                <a:moveTo>
                  <a:pt x="0" y="55"/>
                </a:moveTo>
                <a:lnTo>
                  <a:pt x="6" y="53"/>
                </a:lnTo>
                <a:lnTo>
                  <a:pt x="11" y="50"/>
                </a:lnTo>
                <a:lnTo>
                  <a:pt x="14" y="46"/>
                </a:lnTo>
                <a:lnTo>
                  <a:pt x="19" y="42"/>
                </a:lnTo>
                <a:lnTo>
                  <a:pt x="24" y="32"/>
                </a:lnTo>
                <a:lnTo>
                  <a:pt x="30" y="23"/>
                </a:lnTo>
                <a:lnTo>
                  <a:pt x="35" y="14"/>
                </a:lnTo>
                <a:lnTo>
                  <a:pt x="41" y="7"/>
                </a:lnTo>
                <a:lnTo>
                  <a:pt x="44" y="4"/>
                </a:lnTo>
                <a:lnTo>
                  <a:pt x="48" y="2"/>
                </a:lnTo>
                <a:lnTo>
                  <a:pt x="54" y="0"/>
                </a:lnTo>
                <a:lnTo>
                  <a:pt x="59" y="0"/>
                </a:lnTo>
                <a:lnTo>
                  <a:pt x="69" y="1"/>
                </a:lnTo>
                <a:lnTo>
                  <a:pt x="79" y="2"/>
                </a:lnTo>
                <a:lnTo>
                  <a:pt x="85" y="3"/>
                </a:lnTo>
                <a:lnTo>
                  <a:pt x="89" y="3"/>
                </a:lnTo>
                <a:lnTo>
                  <a:pt x="95" y="2"/>
                </a:lnTo>
                <a:lnTo>
                  <a:pt x="99" y="0"/>
                </a:lnTo>
                <a:lnTo>
                  <a:pt x="100" y="2"/>
                </a:lnTo>
                <a:lnTo>
                  <a:pt x="101" y="5"/>
                </a:lnTo>
                <a:lnTo>
                  <a:pt x="103" y="7"/>
                </a:lnTo>
                <a:lnTo>
                  <a:pt x="107" y="10"/>
                </a:lnTo>
                <a:lnTo>
                  <a:pt x="115" y="15"/>
                </a:lnTo>
                <a:lnTo>
                  <a:pt x="125" y="20"/>
                </a:lnTo>
                <a:lnTo>
                  <a:pt x="136" y="24"/>
                </a:lnTo>
                <a:lnTo>
                  <a:pt x="147" y="27"/>
                </a:lnTo>
                <a:lnTo>
                  <a:pt x="157" y="29"/>
                </a:lnTo>
                <a:lnTo>
                  <a:pt x="166" y="30"/>
                </a:lnTo>
                <a:lnTo>
                  <a:pt x="168" y="37"/>
                </a:lnTo>
                <a:lnTo>
                  <a:pt x="171" y="44"/>
                </a:lnTo>
                <a:lnTo>
                  <a:pt x="174" y="49"/>
                </a:lnTo>
                <a:lnTo>
                  <a:pt x="178" y="53"/>
                </a:lnTo>
                <a:lnTo>
                  <a:pt x="181" y="57"/>
                </a:lnTo>
                <a:lnTo>
                  <a:pt x="187" y="59"/>
                </a:lnTo>
                <a:lnTo>
                  <a:pt x="192" y="61"/>
                </a:lnTo>
                <a:lnTo>
                  <a:pt x="199" y="61"/>
                </a:lnTo>
                <a:lnTo>
                  <a:pt x="214" y="61"/>
                </a:lnTo>
                <a:lnTo>
                  <a:pt x="231" y="60"/>
                </a:lnTo>
                <a:lnTo>
                  <a:pt x="247" y="58"/>
                </a:lnTo>
                <a:lnTo>
                  <a:pt x="263" y="55"/>
                </a:lnTo>
                <a:lnTo>
                  <a:pt x="277" y="51"/>
                </a:lnTo>
                <a:lnTo>
                  <a:pt x="289" y="46"/>
                </a:lnTo>
                <a:lnTo>
                  <a:pt x="294" y="43"/>
                </a:lnTo>
                <a:lnTo>
                  <a:pt x="299" y="39"/>
                </a:lnTo>
                <a:lnTo>
                  <a:pt x="302" y="35"/>
                </a:lnTo>
                <a:lnTo>
                  <a:pt x="305" y="30"/>
                </a:lnTo>
                <a:lnTo>
                  <a:pt x="314" y="34"/>
                </a:lnTo>
                <a:lnTo>
                  <a:pt x="320" y="35"/>
                </a:lnTo>
                <a:lnTo>
                  <a:pt x="324" y="36"/>
                </a:lnTo>
                <a:lnTo>
                  <a:pt x="327" y="35"/>
                </a:lnTo>
                <a:lnTo>
                  <a:pt x="331" y="33"/>
                </a:lnTo>
                <a:lnTo>
                  <a:pt x="334" y="32"/>
                </a:lnTo>
                <a:lnTo>
                  <a:pt x="339" y="31"/>
                </a:lnTo>
                <a:lnTo>
                  <a:pt x="345" y="30"/>
                </a:lnTo>
                <a:lnTo>
                  <a:pt x="356" y="31"/>
                </a:lnTo>
                <a:lnTo>
                  <a:pt x="366" y="34"/>
                </a:lnTo>
                <a:lnTo>
                  <a:pt x="375" y="39"/>
                </a:lnTo>
                <a:lnTo>
                  <a:pt x="383" y="45"/>
                </a:lnTo>
                <a:lnTo>
                  <a:pt x="399" y="59"/>
                </a:lnTo>
                <a:lnTo>
                  <a:pt x="413" y="74"/>
                </a:lnTo>
                <a:lnTo>
                  <a:pt x="421" y="82"/>
                </a:lnTo>
                <a:lnTo>
                  <a:pt x="428" y="89"/>
                </a:lnTo>
                <a:lnTo>
                  <a:pt x="437" y="96"/>
                </a:lnTo>
                <a:lnTo>
                  <a:pt x="446" y="101"/>
                </a:lnTo>
                <a:lnTo>
                  <a:pt x="456" y="105"/>
                </a:lnTo>
                <a:lnTo>
                  <a:pt x="467" y="107"/>
                </a:lnTo>
                <a:lnTo>
                  <a:pt x="472" y="107"/>
                </a:lnTo>
                <a:lnTo>
                  <a:pt x="479" y="107"/>
                </a:lnTo>
                <a:lnTo>
                  <a:pt x="484" y="106"/>
                </a:lnTo>
                <a:lnTo>
                  <a:pt x="491" y="105"/>
                </a:lnTo>
                <a:lnTo>
                  <a:pt x="493" y="108"/>
                </a:lnTo>
                <a:lnTo>
                  <a:pt x="495" y="113"/>
                </a:lnTo>
                <a:lnTo>
                  <a:pt x="500" y="119"/>
                </a:lnTo>
                <a:lnTo>
                  <a:pt x="505" y="125"/>
                </a:lnTo>
                <a:lnTo>
                  <a:pt x="511" y="131"/>
                </a:lnTo>
                <a:lnTo>
                  <a:pt x="516" y="136"/>
                </a:lnTo>
                <a:lnTo>
                  <a:pt x="522" y="140"/>
                </a:lnTo>
                <a:lnTo>
                  <a:pt x="525" y="141"/>
                </a:lnTo>
                <a:lnTo>
                  <a:pt x="529" y="141"/>
                </a:lnTo>
                <a:lnTo>
                  <a:pt x="534" y="139"/>
                </a:lnTo>
                <a:lnTo>
                  <a:pt x="537" y="137"/>
                </a:lnTo>
                <a:lnTo>
                  <a:pt x="540" y="134"/>
                </a:lnTo>
                <a:lnTo>
                  <a:pt x="546" y="128"/>
                </a:lnTo>
                <a:lnTo>
                  <a:pt x="551" y="123"/>
                </a:lnTo>
                <a:lnTo>
                  <a:pt x="555" y="129"/>
                </a:lnTo>
                <a:lnTo>
                  <a:pt x="558" y="134"/>
                </a:lnTo>
                <a:lnTo>
                  <a:pt x="562" y="138"/>
                </a:lnTo>
                <a:lnTo>
                  <a:pt x="567" y="141"/>
                </a:lnTo>
                <a:lnTo>
                  <a:pt x="571" y="145"/>
                </a:lnTo>
                <a:lnTo>
                  <a:pt x="574" y="150"/>
                </a:lnTo>
                <a:lnTo>
                  <a:pt x="577" y="154"/>
                </a:lnTo>
                <a:lnTo>
                  <a:pt x="578" y="160"/>
                </a:lnTo>
                <a:lnTo>
                  <a:pt x="578" y="165"/>
                </a:lnTo>
                <a:lnTo>
                  <a:pt x="577" y="169"/>
                </a:lnTo>
                <a:lnTo>
                  <a:pt x="575" y="173"/>
                </a:lnTo>
                <a:lnTo>
                  <a:pt x="573" y="177"/>
                </a:lnTo>
                <a:lnTo>
                  <a:pt x="570" y="180"/>
                </a:lnTo>
                <a:lnTo>
                  <a:pt x="567" y="182"/>
                </a:lnTo>
                <a:lnTo>
                  <a:pt x="562" y="184"/>
                </a:lnTo>
                <a:lnTo>
                  <a:pt x="558" y="184"/>
                </a:lnTo>
                <a:lnTo>
                  <a:pt x="551" y="178"/>
                </a:lnTo>
                <a:lnTo>
                  <a:pt x="545" y="172"/>
                </a:lnTo>
                <a:lnTo>
                  <a:pt x="535" y="171"/>
                </a:lnTo>
                <a:lnTo>
                  <a:pt x="526" y="170"/>
                </a:lnTo>
                <a:lnTo>
                  <a:pt x="517" y="170"/>
                </a:lnTo>
                <a:lnTo>
                  <a:pt x="509" y="170"/>
                </a:lnTo>
                <a:lnTo>
                  <a:pt x="491" y="172"/>
                </a:lnTo>
                <a:lnTo>
                  <a:pt x="471" y="172"/>
                </a:lnTo>
                <a:lnTo>
                  <a:pt x="467" y="172"/>
                </a:lnTo>
                <a:lnTo>
                  <a:pt x="462" y="170"/>
                </a:lnTo>
                <a:lnTo>
                  <a:pt x="459" y="167"/>
                </a:lnTo>
                <a:lnTo>
                  <a:pt x="455" y="163"/>
                </a:lnTo>
                <a:lnTo>
                  <a:pt x="451" y="160"/>
                </a:lnTo>
                <a:lnTo>
                  <a:pt x="447" y="157"/>
                </a:lnTo>
                <a:lnTo>
                  <a:pt x="443" y="155"/>
                </a:lnTo>
                <a:lnTo>
                  <a:pt x="438" y="154"/>
                </a:lnTo>
                <a:lnTo>
                  <a:pt x="434" y="155"/>
                </a:lnTo>
                <a:lnTo>
                  <a:pt x="429" y="157"/>
                </a:lnTo>
                <a:lnTo>
                  <a:pt x="426" y="160"/>
                </a:lnTo>
                <a:lnTo>
                  <a:pt x="423" y="163"/>
                </a:lnTo>
                <a:lnTo>
                  <a:pt x="420" y="167"/>
                </a:lnTo>
                <a:lnTo>
                  <a:pt x="416" y="170"/>
                </a:lnTo>
                <a:lnTo>
                  <a:pt x="414" y="172"/>
                </a:lnTo>
                <a:lnTo>
                  <a:pt x="412" y="172"/>
                </a:lnTo>
                <a:lnTo>
                  <a:pt x="398" y="171"/>
                </a:lnTo>
                <a:lnTo>
                  <a:pt x="378" y="167"/>
                </a:lnTo>
                <a:lnTo>
                  <a:pt x="354" y="160"/>
                </a:lnTo>
                <a:lnTo>
                  <a:pt x="328" y="153"/>
                </a:lnTo>
                <a:lnTo>
                  <a:pt x="304" y="144"/>
                </a:lnTo>
                <a:lnTo>
                  <a:pt x="285" y="136"/>
                </a:lnTo>
                <a:lnTo>
                  <a:pt x="277" y="132"/>
                </a:lnTo>
                <a:lnTo>
                  <a:pt x="270" y="129"/>
                </a:lnTo>
                <a:lnTo>
                  <a:pt x="267" y="126"/>
                </a:lnTo>
                <a:lnTo>
                  <a:pt x="266" y="123"/>
                </a:lnTo>
                <a:lnTo>
                  <a:pt x="252" y="122"/>
                </a:lnTo>
                <a:lnTo>
                  <a:pt x="240" y="121"/>
                </a:lnTo>
                <a:lnTo>
                  <a:pt x="230" y="119"/>
                </a:lnTo>
                <a:lnTo>
                  <a:pt x="220" y="117"/>
                </a:lnTo>
                <a:lnTo>
                  <a:pt x="211" y="115"/>
                </a:lnTo>
                <a:lnTo>
                  <a:pt x="201" y="113"/>
                </a:lnTo>
                <a:lnTo>
                  <a:pt x="191" y="111"/>
                </a:lnTo>
                <a:lnTo>
                  <a:pt x="179" y="111"/>
                </a:lnTo>
                <a:lnTo>
                  <a:pt x="168" y="111"/>
                </a:lnTo>
                <a:lnTo>
                  <a:pt x="157" y="111"/>
                </a:lnTo>
                <a:lnTo>
                  <a:pt x="149" y="111"/>
                </a:lnTo>
                <a:lnTo>
                  <a:pt x="146" y="111"/>
                </a:lnTo>
                <a:lnTo>
                  <a:pt x="136" y="110"/>
                </a:lnTo>
                <a:lnTo>
                  <a:pt x="128" y="107"/>
                </a:lnTo>
                <a:lnTo>
                  <a:pt x="124" y="105"/>
                </a:lnTo>
                <a:lnTo>
                  <a:pt x="122" y="103"/>
                </a:lnTo>
                <a:lnTo>
                  <a:pt x="120" y="101"/>
                </a:lnTo>
                <a:lnTo>
                  <a:pt x="120" y="99"/>
                </a:lnTo>
                <a:lnTo>
                  <a:pt x="79" y="99"/>
                </a:lnTo>
                <a:lnTo>
                  <a:pt x="75" y="98"/>
                </a:lnTo>
                <a:lnTo>
                  <a:pt x="69" y="97"/>
                </a:lnTo>
                <a:lnTo>
                  <a:pt x="64" y="96"/>
                </a:lnTo>
                <a:lnTo>
                  <a:pt x="57" y="94"/>
                </a:lnTo>
                <a:lnTo>
                  <a:pt x="46" y="88"/>
                </a:lnTo>
                <a:lnTo>
                  <a:pt x="34" y="81"/>
                </a:lnTo>
                <a:lnTo>
                  <a:pt x="14" y="67"/>
                </a:lnTo>
                <a:lnTo>
                  <a:pt x="0" y="55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42" name="Freeform 340"/>
          <p:cNvSpPr>
            <a:spLocks/>
          </p:cNvSpPr>
          <p:nvPr userDrawn="1">
            <p:custDataLst>
              <p:tags r:id="rId242"/>
            </p:custDataLst>
          </p:nvPr>
        </p:nvSpPr>
        <p:spPr bwMode="auto">
          <a:xfrm>
            <a:off x="7391403" y="2959899"/>
            <a:ext cx="214312" cy="189310"/>
          </a:xfrm>
          <a:custGeom>
            <a:avLst/>
            <a:gdLst>
              <a:gd name="T0" fmla="*/ 91828550 w 491"/>
              <a:gd name="T1" fmla="*/ 131907045 h 481"/>
              <a:gd name="T2" fmla="*/ 87065674 w 491"/>
              <a:gd name="T3" fmla="*/ 128052106 h 481"/>
              <a:gd name="T4" fmla="*/ 80397561 w 491"/>
              <a:gd name="T5" fmla="*/ 119515197 h 481"/>
              <a:gd name="T6" fmla="*/ 78492323 w 491"/>
              <a:gd name="T7" fmla="*/ 114833750 h 481"/>
              <a:gd name="T8" fmla="*/ 71633905 w 491"/>
              <a:gd name="T9" fmla="*/ 112906281 h 481"/>
              <a:gd name="T10" fmla="*/ 68585524 w 491"/>
              <a:gd name="T11" fmla="*/ 111804270 h 481"/>
              <a:gd name="T12" fmla="*/ 66680287 w 491"/>
              <a:gd name="T13" fmla="*/ 109050817 h 481"/>
              <a:gd name="T14" fmla="*/ 65918192 w 491"/>
              <a:gd name="T15" fmla="*/ 102992382 h 481"/>
              <a:gd name="T16" fmla="*/ 65156097 w 491"/>
              <a:gd name="T17" fmla="*/ 91426517 h 481"/>
              <a:gd name="T18" fmla="*/ 62298459 w 491"/>
              <a:gd name="T19" fmla="*/ 83440088 h 481"/>
              <a:gd name="T20" fmla="*/ 60774269 w 491"/>
              <a:gd name="T21" fmla="*/ 76280691 h 481"/>
              <a:gd name="T22" fmla="*/ 59821868 w 491"/>
              <a:gd name="T23" fmla="*/ 67192760 h 481"/>
              <a:gd name="T24" fmla="*/ 55630332 w 491"/>
              <a:gd name="T25" fmla="*/ 61409827 h 481"/>
              <a:gd name="T26" fmla="*/ 49534008 w 491"/>
              <a:gd name="T27" fmla="*/ 56452878 h 481"/>
              <a:gd name="T28" fmla="*/ 42103800 w 491"/>
              <a:gd name="T29" fmla="*/ 52322437 h 481"/>
              <a:gd name="T30" fmla="*/ 33911933 w 491"/>
              <a:gd name="T31" fmla="*/ 49843962 h 481"/>
              <a:gd name="T32" fmla="*/ 25338575 w 491"/>
              <a:gd name="T33" fmla="*/ 49017979 h 481"/>
              <a:gd name="T34" fmla="*/ 25338575 w 491"/>
              <a:gd name="T35" fmla="*/ 42959544 h 481"/>
              <a:gd name="T36" fmla="*/ 20956747 w 491"/>
              <a:gd name="T37" fmla="*/ 39930064 h 481"/>
              <a:gd name="T38" fmla="*/ 16193871 w 491"/>
              <a:gd name="T39" fmla="*/ 35799622 h 481"/>
              <a:gd name="T40" fmla="*/ 12574135 w 491"/>
              <a:gd name="T41" fmla="*/ 30567162 h 481"/>
              <a:gd name="T42" fmla="*/ 13907583 w 491"/>
              <a:gd name="T43" fmla="*/ 36625606 h 481"/>
              <a:gd name="T44" fmla="*/ 10287850 w 491"/>
              <a:gd name="T45" fmla="*/ 40481069 h 481"/>
              <a:gd name="T46" fmla="*/ 7620517 w 491"/>
              <a:gd name="T47" fmla="*/ 49017979 h 481"/>
              <a:gd name="T48" fmla="*/ 4572572 w 491"/>
              <a:gd name="T49" fmla="*/ 60583844 h 481"/>
              <a:gd name="T50" fmla="*/ 2476591 w 491"/>
              <a:gd name="T51" fmla="*/ 72975709 h 481"/>
              <a:gd name="T52" fmla="*/ 2667333 w 491"/>
              <a:gd name="T53" fmla="*/ 65265291 h 481"/>
              <a:gd name="T54" fmla="*/ 4381830 w 491"/>
              <a:gd name="T55" fmla="*/ 57554364 h 481"/>
              <a:gd name="T56" fmla="*/ 6096325 w 491"/>
              <a:gd name="T57" fmla="*/ 49843962 h 481"/>
              <a:gd name="T58" fmla="*/ 5715278 w 491"/>
              <a:gd name="T59" fmla="*/ 39379583 h 481"/>
              <a:gd name="T60" fmla="*/ 3238686 w 491"/>
              <a:gd name="T61" fmla="*/ 30567162 h 481"/>
              <a:gd name="T62" fmla="*/ 0 w 491"/>
              <a:gd name="T63" fmla="*/ 20102783 h 481"/>
              <a:gd name="T64" fmla="*/ 6477373 w 491"/>
              <a:gd name="T65" fmla="*/ 16247316 h 481"/>
              <a:gd name="T66" fmla="*/ 11240250 w 491"/>
              <a:gd name="T67" fmla="*/ 15145830 h 481"/>
              <a:gd name="T68" fmla="*/ 16003129 w 491"/>
              <a:gd name="T69" fmla="*/ 15971813 h 481"/>
              <a:gd name="T70" fmla="*/ 19432557 w 491"/>
              <a:gd name="T71" fmla="*/ 18175314 h 481"/>
              <a:gd name="T72" fmla="*/ 23052290 w 491"/>
              <a:gd name="T73" fmla="*/ 22581258 h 481"/>
              <a:gd name="T74" fmla="*/ 26672023 w 491"/>
              <a:gd name="T75" fmla="*/ 30567162 h 481"/>
              <a:gd name="T76" fmla="*/ 34864334 w 491"/>
              <a:gd name="T77" fmla="*/ 28364190 h 481"/>
              <a:gd name="T78" fmla="*/ 37340924 w 491"/>
              <a:gd name="T79" fmla="*/ 26436721 h 481"/>
              <a:gd name="T80" fmla="*/ 38103019 w 491"/>
              <a:gd name="T81" fmla="*/ 24784230 h 481"/>
              <a:gd name="T82" fmla="*/ 39436467 w 491"/>
              <a:gd name="T83" fmla="*/ 20102783 h 481"/>
              <a:gd name="T84" fmla="*/ 44199779 w 491"/>
              <a:gd name="T85" fmla="*/ 14870327 h 481"/>
              <a:gd name="T86" fmla="*/ 48390866 w 491"/>
              <a:gd name="T87" fmla="*/ 13493863 h 481"/>
              <a:gd name="T88" fmla="*/ 50105361 w 491"/>
              <a:gd name="T89" fmla="*/ 8261409 h 481"/>
              <a:gd name="T90" fmla="*/ 53344483 w 491"/>
              <a:gd name="T91" fmla="*/ 2478476 h 481"/>
              <a:gd name="T92" fmla="*/ 57154522 w 491"/>
              <a:gd name="T93" fmla="*/ 275503 h 481"/>
              <a:gd name="T94" fmla="*/ 61536364 w 491"/>
              <a:gd name="T95" fmla="*/ 0 h 481"/>
              <a:gd name="T96" fmla="*/ 66871029 w 491"/>
              <a:gd name="T97" fmla="*/ 2202973 h 481"/>
              <a:gd name="T98" fmla="*/ 76015733 w 491"/>
              <a:gd name="T99" fmla="*/ 10464383 h 481"/>
              <a:gd name="T100" fmla="*/ 81540703 w 491"/>
              <a:gd name="T101" fmla="*/ 14595349 h 481"/>
              <a:gd name="T102" fmla="*/ 87446722 w 491"/>
              <a:gd name="T103" fmla="*/ 16522818 h 481"/>
              <a:gd name="T104" fmla="*/ 93543045 w 491"/>
              <a:gd name="T105" fmla="*/ 18450292 h 481"/>
              <a:gd name="T106" fmla="*/ 93543045 w 491"/>
              <a:gd name="T107" fmla="*/ 89774026 h 481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491"/>
              <a:gd name="T163" fmla="*/ 0 h 481"/>
              <a:gd name="T164" fmla="*/ 491 w 491"/>
              <a:gd name="T165" fmla="*/ 481 h 481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491" h="481">
                <a:moveTo>
                  <a:pt x="491" y="481"/>
                </a:moveTo>
                <a:lnTo>
                  <a:pt x="488" y="480"/>
                </a:lnTo>
                <a:lnTo>
                  <a:pt x="482" y="479"/>
                </a:lnTo>
                <a:lnTo>
                  <a:pt x="477" y="477"/>
                </a:lnTo>
                <a:lnTo>
                  <a:pt x="470" y="473"/>
                </a:lnTo>
                <a:lnTo>
                  <a:pt x="457" y="465"/>
                </a:lnTo>
                <a:lnTo>
                  <a:pt x="444" y="455"/>
                </a:lnTo>
                <a:lnTo>
                  <a:pt x="432" y="445"/>
                </a:lnTo>
                <a:lnTo>
                  <a:pt x="422" y="434"/>
                </a:lnTo>
                <a:lnTo>
                  <a:pt x="417" y="428"/>
                </a:lnTo>
                <a:lnTo>
                  <a:pt x="414" y="423"/>
                </a:lnTo>
                <a:lnTo>
                  <a:pt x="412" y="417"/>
                </a:lnTo>
                <a:lnTo>
                  <a:pt x="412" y="412"/>
                </a:lnTo>
                <a:lnTo>
                  <a:pt x="392" y="412"/>
                </a:lnTo>
                <a:lnTo>
                  <a:pt x="376" y="410"/>
                </a:lnTo>
                <a:lnTo>
                  <a:pt x="370" y="409"/>
                </a:lnTo>
                <a:lnTo>
                  <a:pt x="365" y="408"/>
                </a:lnTo>
                <a:lnTo>
                  <a:pt x="360" y="406"/>
                </a:lnTo>
                <a:lnTo>
                  <a:pt x="356" y="403"/>
                </a:lnTo>
                <a:lnTo>
                  <a:pt x="353" y="400"/>
                </a:lnTo>
                <a:lnTo>
                  <a:pt x="350" y="396"/>
                </a:lnTo>
                <a:lnTo>
                  <a:pt x="348" y="392"/>
                </a:lnTo>
                <a:lnTo>
                  <a:pt x="347" y="387"/>
                </a:lnTo>
                <a:lnTo>
                  <a:pt x="346" y="374"/>
                </a:lnTo>
                <a:lnTo>
                  <a:pt x="345" y="357"/>
                </a:lnTo>
                <a:lnTo>
                  <a:pt x="344" y="344"/>
                </a:lnTo>
                <a:lnTo>
                  <a:pt x="342" y="332"/>
                </a:lnTo>
                <a:lnTo>
                  <a:pt x="337" y="322"/>
                </a:lnTo>
                <a:lnTo>
                  <a:pt x="332" y="313"/>
                </a:lnTo>
                <a:lnTo>
                  <a:pt x="327" y="303"/>
                </a:lnTo>
                <a:lnTo>
                  <a:pt x="323" y="294"/>
                </a:lnTo>
                <a:lnTo>
                  <a:pt x="320" y="286"/>
                </a:lnTo>
                <a:lnTo>
                  <a:pt x="319" y="277"/>
                </a:lnTo>
                <a:lnTo>
                  <a:pt x="319" y="267"/>
                </a:lnTo>
                <a:lnTo>
                  <a:pt x="319" y="252"/>
                </a:lnTo>
                <a:lnTo>
                  <a:pt x="314" y="244"/>
                </a:lnTo>
                <a:lnTo>
                  <a:pt x="309" y="237"/>
                </a:lnTo>
                <a:lnTo>
                  <a:pt x="301" y="229"/>
                </a:lnTo>
                <a:lnTo>
                  <a:pt x="292" y="223"/>
                </a:lnTo>
                <a:lnTo>
                  <a:pt x="282" y="216"/>
                </a:lnTo>
                <a:lnTo>
                  <a:pt x="272" y="210"/>
                </a:lnTo>
                <a:lnTo>
                  <a:pt x="260" y="205"/>
                </a:lnTo>
                <a:lnTo>
                  <a:pt x="248" y="200"/>
                </a:lnTo>
                <a:lnTo>
                  <a:pt x="235" y="194"/>
                </a:lnTo>
                <a:lnTo>
                  <a:pt x="221" y="190"/>
                </a:lnTo>
                <a:lnTo>
                  <a:pt x="208" y="187"/>
                </a:lnTo>
                <a:lnTo>
                  <a:pt x="192" y="184"/>
                </a:lnTo>
                <a:lnTo>
                  <a:pt x="178" y="181"/>
                </a:lnTo>
                <a:lnTo>
                  <a:pt x="163" y="180"/>
                </a:lnTo>
                <a:lnTo>
                  <a:pt x="147" y="179"/>
                </a:lnTo>
                <a:lnTo>
                  <a:pt x="133" y="178"/>
                </a:lnTo>
                <a:lnTo>
                  <a:pt x="133" y="170"/>
                </a:lnTo>
                <a:lnTo>
                  <a:pt x="133" y="163"/>
                </a:lnTo>
                <a:lnTo>
                  <a:pt x="133" y="156"/>
                </a:lnTo>
                <a:lnTo>
                  <a:pt x="133" y="148"/>
                </a:lnTo>
                <a:lnTo>
                  <a:pt x="121" y="147"/>
                </a:lnTo>
                <a:lnTo>
                  <a:pt x="110" y="145"/>
                </a:lnTo>
                <a:lnTo>
                  <a:pt x="100" y="140"/>
                </a:lnTo>
                <a:lnTo>
                  <a:pt x="92" y="136"/>
                </a:lnTo>
                <a:lnTo>
                  <a:pt x="85" y="130"/>
                </a:lnTo>
                <a:lnTo>
                  <a:pt x="77" y="124"/>
                </a:lnTo>
                <a:lnTo>
                  <a:pt x="71" y="117"/>
                </a:lnTo>
                <a:lnTo>
                  <a:pt x="66" y="111"/>
                </a:lnTo>
                <a:lnTo>
                  <a:pt x="92" y="111"/>
                </a:lnTo>
                <a:lnTo>
                  <a:pt x="82" y="121"/>
                </a:lnTo>
                <a:lnTo>
                  <a:pt x="73" y="133"/>
                </a:lnTo>
                <a:lnTo>
                  <a:pt x="66" y="139"/>
                </a:lnTo>
                <a:lnTo>
                  <a:pt x="60" y="144"/>
                </a:lnTo>
                <a:lnTo>
                  <a:pt x="54" y="147"/>
                </a:lnTo>
                <a:lnTo>
                  <a:pt x="46" y="148"/>
                </a:lnTo>
                <a:lnTo>
                  <a:pt x="43" y="163"/>
                </a:lnTo>
                <a:lnTo>
                  <a:pt x="40" y="178"/>
                </a:lnTo>
                <a:lnTo>
                  <a:pt x="34" y="192"/>
                </a:lnTo>
                <a:lnTo>
                  <a:pt x="30" y="206"/>
                </a:lnTo>
                <a:lnTo>
                  <a:pt x="24" y="220"/>
                </a:lnTo>
                <a:lnTo>
                  <a:pt x="20" y="234"/>
                </a:lnTo>
                <a:lnTo>
                  <a:pt x="17" y="249"/>
                </a:lnTo>
                <a:lnTo>
                  <a:pt x="13" y="265"/>
                </a:lnTo>
                <a:lnTo>
                  <a:pt x="13" y="256"/>
                </a:lnTo>
                <a:lnTo>
                  <a:pt x="13" y="246"/>
                </a:lnTo>
                <a:lnTo>
                  <a:pt x="14" y="237"/>
                </a:lnTo>
                <a:lnTo>
                  <a:pt x="17" y="228"/>
                </a:lnTo>
                <a:lnTo>
                  <a:pt x="20" y="219"/>
                </a:lnTo>
                <a:lnTo>
                  <a:pt x="23" y="209"/>
                </a:lnTo>
                <a:lnTo>
                  <a:pt x="26" y="200"/>
                </a:lnTo>
                <a:lnTo>
                  <a:pt x="30" y="190"/>
                </a:lnTo>
                <a:lnTo>
                  <a:pt x="32" y="181"/>
                </a:lnTo>
                <a:lnTo>
                  <a:pt x="33" y="172"/>
                </a:lnTo>
                <a:lnTo>
                  <a:pt x="32" y="156"/>
                </a:lnTo>
                <a:lnTo>
                  <a:pt x="30" y="143"/>
                </a:lnTo>
                <a:lnTo>
                  <a:pt x="26" y="130"/>
                </a:lnTo>
                <a:lnTo>
                  <a:pt x="21" y="120"/>
                </a:lnTo>
                <a:lnTo>
                  <a:pt x="17" y="111"/>
                </a:lnTo>
                <a:lnTo>
                  <a:pt x="11" y="101"/>
                </a:lnTo>
                <a:lnTo>
                  <a:pt x="4" y="89"/>
                </a:lnTo>
                <a:lnTo>
                  <a:pt x="0" y="73"/>
                </a:lnTo>
                <a:lnTo>
                  <a:pt x="13" y="68"/>
                </a:lnTo>
                <a:lnTo>
                  <a:pt x="28" y="62"/>
                </a:lnTo>
                <a:lnTo>
                  <a:pt x="34" y="59"/>
                </a:lnTo>
                <a:lnTo>
                  <a:pt x="42" y="57"/>
                </a:lnTo>
                <a:lnTo>
                  <a:pt x="51" y="56"/>
                </a:lnTo>
                <a:lnTo>
                  <a:pt x="59" y="55"/>
                </a:lnTo>
                <a:lnTo>
                  <a:pt x="68" y="56"/>
                </a:lnTo>
                <a:lnTo>
                  <a:pt x="76" y="57"/>
                </a:lnTo>
                <a:lnTo>
                  <a:pt x="84" y="58"/>
                </a:lnTo>
                <a:lnTo>
                  <a:pt x="90" y="60"/>
                </a:lnTo>
                <a:lnTo>
                  <a:pt x="96" y="63"/>
                </a:lnTo>
                <a:lnTo>
                  <a:pt x="102" y="66"/>
                </a:lnTo>
                <a:lnTo>
                  <a:pt x="107" y="70"/>
                </a:lnTo>
                <a:lnTo>
                  <a:pt x="112" y="73"/>
                </a:lnTo>
                <a:lnTo>
                  <a:pt x="121" y="82"/>
                </a:lnTo>
                <a:lnTo>
                  <a:pt x="127" y="92"/>
                </a:lnTo>
                <a:lnTo>
                  <a:pt x="134" y="101"/>
                </a:lnTo>
                <a:lnTo>
                  <a:pt x="140" y="111"/>
                </a:lnTo>
                <a:lnTo>
                  <a:pt x="179" y="111"/>
                </a:lnTo>
                <a:lnTo>
                  <a:pt x="180" y="107"/>
                </a:lnTo>
                <a:lnTo>
                  <a:pt x="183" y="103"/>
                </a:lnTo>
                <a:lnTo>
                  <a:pt x="187" y="101"/>
                </a:lnTo>
                <a:lnTo>
                  <a:pt x="191" y="99"/>
                </a:lnTo>
                <a:lnTo>
                  <a:pt x="196" y="96"/>
                </a:lnTo>
                <a:lnTo>
                  <a:pt x="199" y="94"/>
                </a:lnTo>
                <a:lnTo>
                  <a:pt x="200" y="92"/>
                </a:lnTo>
                <a:lnTo>
                  <a:pt x="200" y="90"/>
                </a:lnTo>
                <a:lnTo>
                  <a:pt x="200" y="89"/>
                </a:lnTo>
                <a:lnTo>
                  <a:pt x="199" y="85"/>
                </a:lnTo>
                <a:lnTo>
                  <a:pt x="207" y="73"/>
                </a:lnTo>
                <a:lnTo>
                  <a:pt x="215" y="64"/>
                </a:lnTo>
                <a:lnTo>
                  <a:pt x="223" y="58"/>
                </a:lnTo>
                <a:lnTo>
                  <a:pt x="232" y="54"/>
                </a:lnTo>
                <a:lnTo>
                  <a:pt x="239" y="51"/>
                </a:lnTo>
                <a:lnTo>
                  <a:pt x="247" y="50"/>
                </a:lnTo>
                <a:lnTo>
                  <a:pt x="254" y="49"/>
                </a:lnTo>
                <a:lnTo>
                  <a:pt x="259" y="49"/>
                </a:lnTo>
                <a:lnTo>
                  <a:pt x="260" y="40"/>
                </a:lnTo>
                <a:lnTo>
                  <a:pt x="263" y="30"/>
                </a:lnTo>
                <a:lnTo>
                  <a:pt x="267" y="22"/>
                </a:lnTo>
                <a:lnTo>
                  <a:pt x="273" y="15"/>
                </a:lnTo>
                <a:lnTo>
                  <a:pt x="280" y="9"/>
                </a:lnTo>
                <a:lnTo>
                  <a:pt x="290" y="4"/>
                </a:lnTo>
                <a:lnTo>
                  <a:pt x="294" y="2"/>
                </a:lnTo>
                <a:lnTo>
                  <a:pt x="300" y="1"/>
                </a:lnTo>
                <a:lnTo>
                  <a:pt x="306" y="0"/>
                </a:lnTo>
                <a:lnTo>
                  <a:pt x="312" y="0"/>
                </a:lnTo>
                <a:lnTo>
                  <a:pt x="323" y="0"/>
                </a:lnTo>
                <a:lnTo>
                  <a:pt x="333" y="2"/>
                </a:lnTo>
                <a:lnTo>
                  <a:pt x="343" y="5"/>
                </a:lnTo>
                <a:lnTo>
                  <a:pt x="351" y="8"/>
                </a:lnTo>
                <a:lnTo>
                  <a:pt x="368" y="17"/>
                </a:lnTo>
                <a:lnTo>
                  <a:pt x="383" y="27"/>
                </a:lnTo>
                <a:lnTo>
                  <a:pt x="399" y="38"/>
                </a:lnTo>
                <a:lnTo>
                  <a:pt x="413" y="47"/>
                </a:lnTo>
                <a:lnTo>
                  <a:pt x="421" y="50"/>
                </a:lnTo>
                <a:lnTo>
                  <a:pt x="428" y="53"/>
                </a:lnTo>
                <a:lnTo>
                  <a:pt x="436" y="55"/>
                </a:lnTo>
                <a:lnTo>
                  <a:pt x="445" y="55"/>
                </a:lnTo>
                <a:lnTo>
                  <a:pt x="459" y="60"/>
                </a:lnTo>
                <a:lnTo>
                  <a:pt x="471" y="64"/>
                </a:lnTo>
                <a:lnTo>
                  <a:pt x="481" y="66"/>
                </a:lnTo>
                <a:lnTo>
                  <a:pt x="491" y="67"/>
                </a:lnTo>
                <a:lnTo>
                  <a:pt x="491" y="289"/>
                </a:lnTo>
                <a:lnTo>
                  <a:pt x="471" y="301"/>
                </a:lnTo>
                <a:lnTo>
                  <a:pt x="491" y="326"/>
                </a:lnTo>
                <a:lnTo>
                  <a:pt x="491" y="474"/>
                </a:lnTo>
                <a:lnTo>
                  <a:pt x="491" y="481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43" name="Freeform 341"/>
          <p:cNvSpPr>
            <a:spLocks/>
          </p:cNvSpPr>
          <p:nvPr userDrawn="1">
            <p:custDataLst>
              <p:tags r:id="rId243"/>
            </p:custDataLst>
          </p:nvPr>
        </p:nvSpPr>
        <p:spPr bwMode="auto">
          <a:xfrm>
            <a:off x="5922972" y="2083605"/>
            <a:ext cx="53975" cy="45244"/>
          </a:xfrm>
          <a:custGeom>
            <a:avLst/>
            <a:gdLst>
              <a:gd name="T0" fmla="*/ 0 w 133"/>
              <a:gd name="T1" fmla="*/ 5050802 h 117"/>
              <a:gd name="T2" fmla="*/ 11858265 w 133"/>
              <a:gd name="T3" fmla="*/ 0 h 117"/>
              <a:gd name="T4" fmla="*/ 13340348 w 133"/>
              <a:gd name="T5" fmla="*/ 1595261 h 117"/>
              <a:gd name="T6" fmla="*/ 14987193 w 133"/>
              <a:gd name="T7" fmla="*/ 3721588 h 117"/>
              <a:gd name="T8" fmla="*/ 16634444 w 133"/>
              <a:gd name="T9" fmla="*/ 6646062 h 117"/>
              <a:gd name="T10" fmla="*/ 17951758 w 133"/>
              <a:gd name="T11" fmla="*/ 9836070 h 117"/>
              <a:gd name="T12" fmla="*/ 19434244 w 133"/>
              <a:gd name="T13" fmla="*/ 13026076 h 117"/>
              <a:gd name="T14" fmla="*/ 20751558 w 133"/>
              <a:gd name="T15" fmla="*/ 16482130 h 117"/>
              <a:gd name="T16" fmla="*/ 21081090 w 133"/>
              <a:gd name="T17" fmla="*/ 18077395 h 117"/>
              <a:gd name="T18" fmla="*/ 21410621 w 133"/>
              <a:gd name="T19" fmla="*/ 19672140 h 117"/>
              <a:gd name="T20" fmla="*/ 21574981 w 133"/>
              <a:gd name="T21" fmla="*/ 21267401 h 117"/>
              <a:gd name="T22" fmla="*/ 21904512 w 133"/>
              <a:gd name="T23" fmla="*/ 22862146 h 117"/>
              <a:gd name="T24" fmla="*/ 21574981 w 133"/>
              <a:gd name="T25" fmla="*/ 24457407 h 117"/>
              <a:gd name="T26" fmla="*/ 21081090 w 133"/>
              <a:gd name="T27" fmla="*/ 25786619 h 117"/>
              <a:gd name="T28" fmla="*/ 20422432 w 133"/>
              <a:gd name="T29" fmla="*/ 27115831 h 117"/>
              <a:gd name="T30" fmla="*/ 19434244 w 133"/>
              <a:gd name="T31" fmla="*/ 28445043 h 117"/>
              <a:gd name="T32" fmla="*/ 18610415 w 133"/>
              <a:gd name="T33" fmla="*/ 29508206 h 117"/>
              <a:gd name="T34" fmla="*/ 17622227 w 133"/>
              <a:gd name="T35" fmla="*/ 30305836 h 117"/>
              <a:gd name="T36" fmla="*/ 16963570 w 133"/>
              <a:gd name="T37" fmla="*/ 31103467 h 117"/>
              <a:gd name="T38" fmla="*/ 16469679 w 133"/>
              <a:gd name="T39" fmla="*/ 31103467 h 117"/>
              <a:gd name="T40" fmla="*/ 11858265 w 133"/>
              <a:gd name="T41" fmla="*/ 25255037 h 117"/>
              <a:gd name="T42" fmla="*/ 7411214 w 133"/>
              <a:gd name="T43" fmla="*/ 18608977 h 117"/>
              <a:gd name="T44" fmla="*/ 5270069 w 133"/>
              <a:gd name="T45" fmla="*/ 15418967 h 117"/>
              <a:gd name="T46" fmla="*/ 2964566 w 133"/>
              <a:gd name="T47" fmla="*/ 12228961 h 117"/>
              <a:gd name="T48" fmla="*/ 1317720 w 133"/>
              <a:gd name="T49" fmla="*/ 8772907 h 117"/>
              <a:gd name="T50" fmla="*/ 0 w 133"/>
              <a:gd name="T51" fmla="*/ 5050802 h 117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33"/>
              <a:gd name="T79" fmla="*/ 0 h 117"/>
              <a:gd name="T80" fmla="*/ 133 w 133"/>
              <a:gd name="T81" fmla="*/ 117 h 117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33" h="117">
                <a:moveTo>
                  <a:pt x="0" y="19"/>
                </a:moveTo>
                <a:lnTo>
                  <a:pt x="72" y="0"/>
                </a:lnTo>
                <a:lnTo>
                  <a:pt x="81" y="6"/>
                </a:lnTo>
                <a:lnTo>
                  <a:pt x="91" y="14"/>
                </a:lnTo>
                <a:lnTo>
                  <a:pt x="101" y="25"/>
                </a:lnTo>
                <a:lnTo>
                  <a:pt x="109" y="37"/>
                </a:lnTo>
                <a:lnTo>
                  <a:pt x="118" y="49"/>
                </a:lnTo>
                <a:lnTo>
                  <a:pt x="126" y="62"/>
                </a:lnTo>
                <a:lnTo>
                  <a:pt x="128" y="68"/>
                </a:lnTo>
                <a:lnTo>
                  <a:pt x="130" y="74"/>
                </a:lnTo>
                <a:lnTo>
                  <a:pt x="131" y="80"/>
                </a:lnTo>
                <a:lnTo>
                  <a:pt x="133" y="86"/>
                </a:lnTo>
                <a:lnTo>
                  <a:pt x="131" y="92"/>
                </a:lnTo>
                <a:lnTo>
                  <a:pt x="128" y="97"/>
                </a:lnTo>
                <a:lnTo>
                  <a:pt x="124" y="102"/>
                </a:lnTo>
                <a:lnTo>
                  <a:pt x="118" y="107"/>
                </a:lnTo>
                <a:lnTo>
                  <a:pt x="113" y="111"/>
                </a:lnTo>
                <a:lnTo>
                  <a:pt x="107" y="114"/>
                </a:lnTo>
                <a:lnTo>
                  <a:pt x="103" y="117"/>
                </a:lnTo>
                <a:lnTo>
                  <a:pt x="100" y="117"/>
                </a:lnTo>
                <a:lnTo>
                  <a:pt x="72" y="95"/>
                </a:lnTo>
                <a:lnTo>
                  <a:pt x="45" y="70"/>
                </a:lnTo>
                <a:lnTo>
                  <a:pt x="32" y="58"/>
                </a:lnTo>
                <a:lnTo>
                  <a:pt x="18" y="46"/>
                </a:lnTo>
                <a:lnTo>
                  <a:pt x="8" y="33"/>
                </a:lnTo>
                <a:lnTo>
                  <a:pt x="0" y="19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44" name="Freeform 342"/>
          <p:cNvSpPr>
            <a:spLocks/>
          </p:cNvSpPr>
          <p:nvPr userDrawn="1">
            <p:custDataLst>
              <p:tags r:id="rId244"/>
            </p:custDataLst>
          </p:nvPr>
        </p:nvSpPr>
        <p:spPr bwMode="auto">
          <a:xfrm>
            <a:off x="4341822" y="1637110"/>
            <a:ext cx="220663" cy="133350"/>
          </a:xfrm>
          <a:custGeom>
            <a:avLst/>
            <a:gdLst>
              <a:gd name="T0" fmla="*/ 51933147 w 505"/>
              <a:gd name="T1" fmla="*/ 9902779 h 339"/>
              <a:gd name="T2" fmla="*/ 92410611 w 505"/>
              <a:gd name="T3" fmla="*/ 23657365 h 339"/>
              <a:gd name="T4" fmla="*/ 91264911 w 505"/>
              <a:gd name="T5" fmla="*/ 29984210 h 339"/>
              <a:gd name="T6" fmla="*/ 89928262 w 505"/>
              <a:gd name="T7" fmla="*/ 35485527 h 339"/>
              <a:gd name="T8" fmla="*/ 88019200 w 505"/>
              <a:gd name="T9" fmla="*/ 39886993 h 339"/>
              <a:gd name="T10" fmla="*/ 86109700 w 505"/>
              <a:gd name="T11" fmla="*/ 42087726 h 339"/>
              <a:gd name="T12" fmla="*/ 88019200 w 505"/>
              <a:gd name="T13" fmla="*/ 50615305 h 339"/>
              <a:gd name="T14" fmla="*/ 91073961 w 505"/>
              <a:gd name="T15" fmla="*/ 59142884 h 339"/>
              <a:gd name="T16" fmla="*/ 96420122 w 505"/>
              <a:gd name="T17" fmla="*/ 70971578 h 339"/>
              <a:gd name="T18" fmla="*/ 94129160 w 505"/>
              <a:gd name="T19" fmla="*/ 74547507 h 339"/>
              <a:gd name="T20" fmla="*/ 91455861 w 505"/>
              <a:gd name="T21" fmla="*/ 80324170 h 339"/>
              <a:gd name="T22" fmla="*/ 89355849 w 505"/>
              <a:gd name="T23" fmla="*/ 86376186 h 339"/>
              <a:gd name="T24" fmla="*/ 88592049 w 505"/>
              <a:gd name="T25" fmla="*/ 93253215 h 339"/>
              <a:gd name="T26" fmla="*/ 84582538 w 505"/>
              <a:gd name="T27" fmla="*/ 92978385 h 339"/>
              <a:gd name="T28" fmla="*/ 79045427 w 505"/>
              <a:gd name="T29" fmla="*/ 92152848 h 339"/>
              <a:gd name="T30" fmla="*/ 73508317 w 505"/>
              <a:gd name="T31" fmla="*/ 91052481 h 339"/>
              <a:gd name="T32" fmla="*/ 68353106 w 505"/>
              <a:gd name="T33" fmla="*/ 89677285 h 339"/>
              <a:gd name="T34" fmla="*/ 58043121 w 505"/>
              <a:gd name="T35" fmla="*/ 89401932 h 339"/>
              <a:gd name="T36" fmla="*/ 50405985 w 505"/>
              <a:gd name="T37" fmla="*/ 88301565 h 339"/>
              <a:gd name="T38" fmla="*/ 47350786 w 505"/>
              <a:gd name="T39" fmla="*/ 87201198 h 339"/>
              <a:gd name="T40" fmla="*/ 44296025 w 505"/>
              <a:gd name="T41" fmla="*/ 85275819 h 339"/>
              <a:gd name="T42" fmla="*/ 40668413 w 505"/>
              <a:gd name="T43" fmla="*/ 82524903 h 339"/>
              <a:gd name="T44" fmla="*/ 34367503 w 505"/>
              <a:gd name="T45" fmla="*/ 79499157 h 339"/>
              <a:gd name="T46" fmla="*/ 27876073 w 505"/>
              <a:gd name="T47" fmla="*/ 75097691 h 339"/>
              <a:gd name="T48" fmla="*/ 18711351 w 505"/>
              <a:gd name="T49" fmla="*/ 68495475 h 339"/>
              <a:gd name="T50" fmla="*/ 11837587 w 505"/>
              <a:gd name="T51" fmla="*/ 56667321 h 339"/>
              <a:gd name="T52" fmla="*/ 9928525 w 505"/>
              <a:gd name="T53" fmla="*/ 46489193 h 339"/>
              <a:gd name="T54" fmla="*/ 6873325 w 505"/>
              <a:gd name="T55" fmla="*/ 34110323 h 339"/>
              <a:gd name="T56" fmla="*/ 2863813 w 505"/>
              <a:gd name="T57" fmla="*/ 22831828 h 339"/>
              <a:gd name="T58" fmla="*/ 381900 w 505"/>
              <a:gd name="T59" fmla="*/ 17605349 h 339"/>
              <a:gd name="T60" fmla="*/ 954750 w 505"/>
              <a:gd name="T61" fmla="*/ 16780332 h 339"/>
              <a:gd name="T62" fmla="*/ 2100450 w 505"/>
              <a:gd name="T63" fmla="*/ 15404612 h 339"/>
              <a:gd name="T64" fmla="*/ 2100450 w 505"/>
              <a:gd name="T65" fmla="*/ 13203878 h 339"/>
              <a:gd name="T66" fmla="*/ 2100450 w 505"/>
              <a:gd name="T67" fmla="*/ 11828682 h 339"/>
              <a:gd name="T68" fmla="*/ 6491862 w 505"/>
              <a:gd name="T69" fmla="*/ 9352595 h 339"/>
              <a:gd name="T70" fmla="*/ 13938036 w 505"/>
              <a:gd name="T71" fmla="*/ 6052018 h 339"/>
              <a:gd name="T72" fmla="*/ 24438974 w 505"/>
              <a:gd name="T73" fmla="*/ 2200734 h 339"/>
              <a:gd name="T74" fmla="*/ 33030854 w 505"/>
              <a:gd name="T75" fmla="*/ 3025747 h 339"/>
              <a:gd name="T76" fmla="*/ 35895102 w 505"/>
              <a:gd name="T77" fmla="*/ 7702568 h 339"/>
              <a:gd name="T78" fmla="*/ 38377014 w 505"/>
              <a:gd name="T79" fmla="*/ 9627949 h 339"/>
              <a:gd name="T80" fmla="*/ 41813676 w 505"/>
              <a:gd name="T81" fmla="*/ 9902779 h 339"/>
              <a:gd name="T82" fmla="*/ 45632674 w 505"/>
              <a:gd name="T83" fmla="*/ 9902779 h 339"/>
              <a:gd name="T84" fmla="*/ 49451235 w 505"/>
              <a:gd name="T85" fmla="*/ 6602201 h 339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505"/>
              <a:gd name="T130" fmla="*/ 0 h 339"/>
              <a:gd name="T131" fmla="*/ 505 w 505"/>
              <a:gd name="T132" fmla="*/ 339 h 339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505" h="339">
                <a:moveTo>
                  <a:pt x="259" y="24"/>
                </a:moveTo>
                <a:lnTo>
                  <a:pt x="272" y="36"/>
                </a:lnTo>
                <a:lnTo>
                  <a:pt x="444" y="48"/>
                </a:lnTo>
                <a:lnTo>
                  <a:pt x="484" y="86"/>
                </a:lnTo>
                <a:lnTo>
                  <a:pt x="482" y="97"/>
                </a:lnTo>
                <a:lnTo>
                  <a:pt x="478" y="109"/>
                </a:lnTo>
                <a:lnTo>
                  <a:pt x="474" y="120"/>
                </a:lnTo>
                <a:lnTo>
                  <a:pt x="471" y="129"/>
                </a:lnTo>
                <a:lnTo>
                  <a:pt x="465" y="138"/>
                </a:lnTo>
                <a:lnTo>
                  <a:pt x="461" y="145"/>
                </a:lnTo>
                <a:lnTo>
                  <a:pt x="456" y="150"/>
                </a:lnTo>
                <a:lnTo>
                  <a:pt x="451" y="153"/>
                </a:lnTo>
                <a:lnTo>
                  <a:pt x="455" y="169"/>
                </a:lnTo>
                <a:lnTo>
                  <a:pt x="461" y="184"/>
                </a:lnTo>
                <a:lnTo>
                  <a:pt x="470" y="200"/>
                </a:lnTo>
                <a:lnTo>
                  <a:pt x="477" y="215"/>
                </a:lnTo>
                <a:lnTo>
                  <a:pt x="494" y="242"/>
                </a:lnTo>
                <a:lnTo>
                  <a:pt x="505" y="258"/>
                </a:lnTo>
                <a:lnTo>
                  <a:pt x="499" y="264"/>
                </a:lnTo>
                <a:lnTo>
                  <a:pt x="493" y="271"/>
                </a:lnTo>
                <a:lnTo>
                  <a:pt x="486" y="281"/>
                </a:lnTo>
                <a:lnTo>
                  <a:pt x="479" y="292"/>
                </a:lnTo>
                <a:lnTo>
                  <a:pt x="474" y="303"/>
                </a:lnTo>
                <a:lnTo>
                  <a:pt x="468" y="314"/>
                </a:lnTo>
                <a:lnTo>
                  <a:pt x="465" y="326"/>
                </a:lnTo>
                <a:lnTo>
                  <a:pt x="464" y="339"/>
                </a:lnTo>
                <a:lnTo>
                  <a:pt x="457" y="339"/>
                </a:lnTo>
                <a:lnTo>
                  <a:pt x="443" y="338"/>
                </a:lnTo>
                <a:lnTo>
                  <a:pt x="428" y="337"/>
                </a:lnTo>
                <a:lnTo>
                  <a:pt x="414" y="335"/>
                </a:lnTo>
                <a:lnTo>
                  <a:pt x="399" y="333"/>
                </a:lnTo>
                <a:lnTo>
                  <a:pt x="385" y="331"/>
                </a:lnTo>
                <a:lnTo>
                  <a:pt x="371" y="328"/>
                </a:lnTo>
                <a:lnTo>
                  <a:pt x="358" y="326"/>
                </a:lnTo>
                <a:lnTo>
                  <a:pt x="344" y="326"/>
                </a:lnTo>
                <a:lnTo>
                  <a:pt x="304" y="325"/>
                </a:lnTo>
                <a:lnTo>
                  <a:pt x="275" y="323"/>
                </a:lnTo>
                <a:lnTo>
                  <a:pt x="264" y="321"/>
                </a:lnTo>
                <a:lnTo>
                  <a:pt x="255" y="319"/>
                </a:lnTo>
                <a:lnTo>
                  <a:pt x="248" y="317"/>
                </a:lnTo>
                <a:lnTo>
                  <a:pt x="242" y="315"/>
                </a:lnTo>
                <a:lnTo>
                  <a:pt x="232" y="310"/>
                </a:lnTo>
                <a:lnTo>
                  <a:pt x="224" y="305"/>
                </a:lnTo>
                <a:lnTo>
                  <a:pt x="213" y="300"/>
                </a:lnTo>
                <a:lnTo>
                  <a:pt x="198" y="295"/>
                </a:lnTo>
                <a:lnTo>
                  <a:pt x="180" y="289"/>
                </a:lnTo>
                <a:lnTo>
                  <a:pt x="162" y="282"/>
                </a:lnTo>
                <a:lnTo>
                  <a:pt x="146" y="273"/>
                </a:lnTo>
                <a:lnTo>
                  <a:pt x="130" y="266"/>
                </a:lnTo>
                <a:lnTo>
                  <a:pt x="98" y="249"/>
                </a:lnTo>
                <a:lnTo>
                  <a:pt x="65" y="228"/>
                </a:lnTo>
                <a:lnTo>
                  <a:pt x="62" y="206"/>
                </a:lnTo>
                <a:lnTo>
                  <a:pt x="57" y="187"/>
                </a:lnTo>
                <a:lnTo>
                  <a:pt x="52" y="169"/>
                </a:lnTo>
                <a:lnTo>
                  <a:pt x="47" y="152"/>
                </a:lnTo>
                <a:lnTo>
                  <a:pt x="36" y="124"/>
                </a:lnTo>
                <a:lnTo>
                  <a:pt x="25" y="100"/>
                </a:lnTo>
                <a:lnTo>
                  <a:pt x="15" y="83"/>
                </a:lnTo>
                <a:lnTo>
                  <a:pt x="7" y="71"/>
                </a:lnTo>
                <a:lnTo>
                  <a:pt x="2" y="64"/>
                </a:lnTo>
                <a:lnTo>
                  <a:pt x="0" y="62"/>
                </a:lnTo>
                <a:lnTo>
                  <a:pt x="5" y="61"/>
                </a:lnTo>
                <a:lnTo>
                  <a:pt x="8" y="59"/>
                </a:lnTo>
                <a:lnTo>
                  <a:pt x="11" y="56"/>
                </a:lnTo>
                <a:lnTo>
                  <a:pt x="11" y="51"/>
                </a:lnTo>
                <a:lnTo>
                  <a:pt x="11" y="48"/>
                </a:lnTo>
                <a:lnTo>
                  <a:pt x="11" y="45"/>
                </a:lnTo>
                <a:lnTo>
                  <a:pt x="11" y="43"/>
                </a:lnTo>
                <a:lnTo>
                  <a:pt x="13" y="42"/>
                </a:lnTo>
                <a:lnTo>
                  <a:pt x="34" y="34"/>
                </a:lnTo>
                <a:lnTo>
                  <a:pt x="55" y="27"/>
                </a:lnTo>
                <a:lnTo>
                  <a:pt x="73" y="22"/>
                </a:lnTo>
                <a:lnTo>
                  <a:pt x="92" y="17"/>
                </a:lnTo>
                <a:lnTo>
                  <a:pt x="128" y="8"/>
                </a:lnTo>
                <a:lnTo>
                  <a:pt x="165" y="0"/>
                </a:lnTo>
                <a:lnTo>
                  <a:pt x="173" y="11"/>
                </a:lnTo>
                <a:lnTo>
                  <a:pt x="183" y="23"/>
                </a:lnTo>
                <a:lnTo>
                  <a:pt x="188" y="28"/>
                </a:lnTo>
                <a:lnTo>
                  <a:pt x="194" y="32"/>
                </a:lnTo>
                <a:lnTo>
                  <a:pt x="201" y="35"/>
                </a:lnTo>
                <a:lnTo>
                  <a:pt x="205" y="36"/>
                </a:lnTo>
                <a:lnTo>
                  <a:pt x="219" y="36"/>
                </a:lnTo>
                <a:lnTo>
                  <a:pt x="230" y="36"/>
                </a:lnTo>
                <a:lnTo>
                  <a:pt x="239" y="36"/>
                </a:lnTo>
                <a:lnTo>
                  <a:pt x="246" y="36"/>
                </a:lnTo>
                <a:lnTo>
                  <a:pt x="259" y="24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45" name="Freeform 343"/>
          <p:cNvSpPr>
            <a:spLocks/>
          </p:cNvSpPr>
          <p:nvPr userDrawn="1">
            <p:custDataLst>
              <p:tags r:id="rId245"/>
            </p:custDataLst>
          </p:nvPr>
        </p:nvSpPr>
        <p:spPr bwMode="auto">
          <a:xfrm>
            <a:off x="4405314" y="1790712"/>
            <a:ext cx="146050" cy="53579"/>
          </a:xfrm>
          <a:custGeom>
            <a:avLst/>
            <a:gdLst>
              <a:gd name="T0" fmla="*/ 58253647 w 338"/>
              <a:gd name="T1" fmla="*/ 0 h 141"/>
              <a:gd name="T2" fmla="*/ 34728358 w 338"/>
              <a:gd name="T3" fmla="*/ 0 h 141"/>
              <a:gd name="T4" fmla="*/ 31367480 w 338"/>
              <a:gd name="T5" fmla="*/ 2053462 h 141"/>
              <a:gd name="T6" fmla="*/ 26886160 w 338"/>
              <a:gd name="T7" fmla="*/ 5390782 h 141"/>
              <a:gd name="T8" fmla="*/ 24645719 w 338"/>
              <a:gd name="T9" fmla="*/ 6931005 h 141"/>
              <a:gd name="T10" fmla="*/ 22218611 w 338"/>
              <a:gd name="T11" fmla="*/ 8214355 h 141"/>
              <a:gd name="T12" fmla="*/ 20911507 w 338"/>
              <a:gd name="T13" fmla="*/ 8727596 h 141"/>
              <a:gd name="T14" fmla="*/ 19604836 w 338"/>
              <a:gd name="T15" fmla="*/ 8984469 h 141"/>
              <a:gd name="T16" fmla="*/ 18484399 w 338"/>
              <a:gd name="T17" fmla="*/ 9240835 h 141"/>
              <a:gd name="T18" fmla="*/ 17363963 w 338"/>
              <a:gd name="T19" fmla="*/ 9497707 h 141"/>
              <a:gd name="T20" fmla="*/ 16430626 w 338"/>
              <a:gd name="T21" fmla="*/ 9240835 h 141"/>
              <a:gd name="T22" fmla="*/ 15683524 w 338"/>
              <a:gd name="T23" fmla="*/ 8984469 h 141"/>
              <a:gd name="T24" fmla="*/ 14563520 w 338"/>
              <a:gd name="T25" fmla="*/ 8214355 h 141"/>
              <a:gd name="T26" fmla="*/ 13816415 w 338"/>
              <a:gd name="T27" fmla="*/ 7701116 h 141"/>
              <a:gd name="T28" fmla="*/ 12323076 w 338"/>
              <a:gd name="T29" fmla="*/ 6160893 h 141"/>
              <a:gd name="T30" fmla="*/ 11015972 w 338"/>
              <a:gd name="T31" fmla="*/ 4620671 h 141"/>
              <a:gd name="T32" fmla="*/ 9148866 w 338"/>
              <a:gd name="T33" fmla="*/ 8727596 h 141"/>
              <a:gd name="T34" fmla="*/ 6908423 w 338"/>
              <a:gd name="T35" fmla="*/ 13091392 h 141"/>
              <a:gd name="T36" fmla="*/ 5601320 w 338"/>
              <a:gd name="T37" fmla="*/ 15401726 h 141"/>
              <a:gd name="T38" fmla="*/ 3920881 w 338"/>
              <a:gd name="T39" fmla="*/ 17455192 h 141"/>
              <a:gd name="T40" fmla="*/ 2053774 w 338"/>
              <a:gd name="T41" fmla="*/ 19252287 h 141"/>
              <a:gd name="T42" fmla="*/ 0 w 338"/>
              <a:gd name="T43" fmla="*/ 20535637 h 141"/>
              <a:gd name="T44" fmla="*/ 2240442 w 338"/>
              <a:gd name="T45" fmla="*/ 23102844 h 141"/>
              <a:gd name="T46" fmla="*/ 4294216 w 338"/>
              <a:gd name="T47" fmla="*/ 25669545 h 141"/>
              <a:gd name="T48" fmla="*/ 6161322 w 338"/>
              <a:gd name="T49" fmla="*/ 27723006 h 141"/>
              <a:gd name="T50" fmla="*/ 8215097 w 338"/>
              <a:gd name="T51" fmla="*/ 29776975 h 141"/>
              <a:gd name="T52" fmla="*/ 10269302 w 338"/>
              <a:gd name="T53" fmla="*/ 31317198 h 141"/>
              <a:gd name="T54" fmla="*/ 12323076 w 338"/>
              <a:gd name="T55" fmla="*/ 33113787 h 141"/>
              <a:gd name="T56" fmla="*/ 14750187 w 338"/>
              <a:gd name="T57" fmla="*/ 34654017 h 141"/>
              <a:gd name="T58" fmla="*/ 17363963 w 338"/>
              <a:gd name="T59" fmla="*/ 36194240 h 141"/>
              <a:gd name="T60" fmla="*/ 48358102 w 338"/>
              <a:gd name="T61" fmla="*/ 36194240 h 141"/>
              <a:gd name="T62" fmla="*/ 50225208 w 338"/>
              <a:gd name="T63" fmla="*/ 31830436 h 141"/>
              <a:gd name="T64" fmla="*/ 52465648 w 338"/>
              <a:gd name="T65" fmla="*/ 27466640 h 141"/>
              <a:gd name="T66" fmla="*/ 54519422 w 338"/>
              <a:gd name="T67" fmla="*/ 23616083 h 141"/>
              <a:gd name="T68" fmla="*/ 56760308 w 338"/>
              <a:gd name="T69" fmla="*/ 20022399 h 141"/>
              <a:gd name="T70" fmla="*/ 58814082 w 338"/>
              <a:gd name="T71" fmla="*/ 16428710 h 141"/>
              <a:gd name="T72" fmla="*/ 60494520 w 338"/>
              <a:gd name="T73" fmla="*/ 12321280 h 141"/>
              <a:gd name="T74" fmla="*/ 62174527 w 338"/>
              <a:gd name="T75" fmla="*/ 8727596 h 141"/>
              <a:gd name="T76" fmla="*/ 63108296 w 338"/>
              <a:gd name="T77" fmla="*/ 4620671 h 141"/>
              <a:gd name="T78" fmla="*/ 58253647 w 338"/>
              <a:gd name="T79" fmla="*/ 0 h 141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338"/>
              <a:gd name="T121" fmla="*/ 0 h 141"/>
              <a:gd name="T122" fmla="*/ 338 w 338"/>
              <a:gd name="T123" fmla="*/ 141 h 141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338" h="141">
                <a:moveTo>
                  <a:pt x="312" y="0"/>
                </a:moveTo>
                <a:lnTo>
                  <a:pt x="186" y="0"/>
                </a:lnTo>
                <a:lnTo>
                  <a:pt x="168" y="8"/>
                </a:lnTo>
                <a:lnTo>
                  <a:pt x="144" y="21"/>
                </a:lnTo>
                <a:lnTo>
                  <a:pt x="132" y="27"/>
                </a:lnTo>
                <a:lnTo>
                  <a:pt x="119" y="32"/>
                </a:lnTo>
                <a:lnTo>
                  <a:pt x="112" y="34"/>
                </a:lnTo>
                <a:lnTo>
                  <a:pt x="105" y="35"/>
                </a:lnTo>
                <a:lnTo>
                  <a:pt x="99" y="36"/>
                </a:lnTo>
                <a:lnTo>
                  <a:pt x="93" y="37"/>
                </a:lnTo>
                <a:lnTo>
                  <a:pt x="88" y="36"/>
                </a:lnTo>
                <a:lnTo>
                  <a:pt x="84" y="35"/>
                </a:lnTo>
                <a:lnTo>
                  <a:pt x="78" y="32"/>
                </a:lnTo>
                <a:lnTo>
                  <a:pt x="74" y="30"/>
                </a:lnTo>
                <a:lnTo>
                  <a:pt x="66" y="24"/>
                </a:lnTo>
                <a:lnTo>
                  <a:pt x="59" y="18"/>
                </a:lnTo>
                <a:lnTo>
                  <a:pt x="49" y="34"/>
                </a:lnTo>
                <a:lnTo>
                  <a:pt x="37" y="51"/>
                </a:lnTo>
                <a:lnTo>
                  <a:pt x="30" y="60"/>
                </a:lnTo>
                <a:lnTo>
                  <a:pt x="21" y="68"/>
                </a:lnTo>
                <a:lnTo>
                  <a:pt x="11" y="75"/>
                </a:lnTo>
                <a:lnTo>
                  <a:pt x="0" y="80"/>
                </a:lnTo>
                <a:lnTo>
                  <a:pt x="12" y="90"/>
                </a:lnTo>
                <a:lnTo>
                  <a:pt x="23" y="100"/>
                </a:lnTo>
                <a:lnTo>
                  <a:pt x="33" y="108"/>
                </a:lnTo>
                <a:lnTo>
                  <a:pt x="44" y="116"/>
                </a:lnTo>
                <a:lnTo>
                  <a:pt x="55" y="122"/>
                </a:lnTo>
                <a:lnTo>
                  <a:pt x="66" y="129"/>
                </a:lnTo>
                <a:lnTo>
                  <a:pt x="79" y="135"/>
                </a:lnTo>
                <a:lnTo>
                  <a:pt x="93" y="141"/>
                </a:lnTo>
                <a:lnTo>
                  <a:pt x="259" y="141"/>
                </a:lnTo>
                <a:lnTo>
                  <a:pt x="269" y="124"/>
                </a:lnTo>
                <a:lnTo>
                  <a:pt x="281" y="107"/>
                </a:lnTo>
                <a:lnTo>
                  <a:pt x="292" y="92"/>
                </a:lnTo>
                <a:lnTo>
                  <a:pt x="304" y="78"/>
                </a:lnTo>
                <a:lnTo>
                  <a:pt x="315" y="64"/>
                </a:lnTo>
                <a:lnTo>
                  <a:pt x="324" y="48"/>
                </a:lnTo>
                <a:lnTo>
                  <a:pt x="333" y="34"/>
                </a:lnTo>
                <a:lnTo>
                  <a:pt x="338" y="18"/>
                </a:lnTo>
                <a:lnTo>
                  <a:pt x="312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46" name="Freeform 344"/>
          <p:cNvSpPr>
            <a:spLocks/>
          </p:cNvSpPr>
          <p:nvPr userDrawn="1">
            <p:custDataLst>
              <p:tags r:id="rId246"/>
            </p:custDataLst>
          </p:nvPr>
        </p:nvSpPr>
        <p:spPr bwMode="auto">
          <a:xfrm>
            <a:off x="4505335" y="1532340"/>
            <a:ext cx="111125" cy="48815"/>
          </a:xfrm>
          <a:custGeom>
            <a:avLst/>
            <a:gdLst>
              <a:gd name="T0" fmla="*/ 47678623 w 259"/>
              <a:gd name="T1" fmla="*/ 32839663 h 129"/>
              <a:gd name="T2" fmla="*/ 46942366 w 259"/>
              <a:gd name="T3" fmla="*/ 25966177 h 129"/>
              <a:gd name="T4" fmla="*/ 46390174 w 259"/>
              <a:gd name="T5" fmla="*/ 20365670 h 129"/>
              <a:gd name="T6" fmla="*/ 46390174 w 259"/>
              <a:gd name="T7" fmla="*/ 16038140 h 129"/>
              <a:gd name="T8" fmla="*/ 46574238 w 259"/>
              <a:gd name="T9" fmla="*/ 12728795 h 129"/>
              <a:gd name="T10" fmla="*/ 47310494 w 259"/>
              <a:gd name="T11" fmla="*/ 7382580 h 129"/>
              <a:gd name="T12" fmla="*/ 47678623 w 259"/>
              <a:gd name="T13" fmla="*/ 3055052 h 129"/>
              <a:gd name="T14" fmla="*/ 47494559 w 259"/>
              <a:gd name="T15" fmla="*/ 3564143 h 129"/>
              <a:gd name="T16" fmla="*/ 47126430 w 259"/>
              <a:gd name="T17" fmla="*/ 4073234 h 129"/>
              <a:gd name="T18" fmla="*/ 46574238 w 259"/>
              <a:gd name="T19" fmla="*/ 4327529 h 129"/>
              <a:gd name="T20" fmla="*/ 45837553 w 259"/>
              <a:gd name="T21" fmla="*/ 4582326 h 129"/>
              <a:gd name="T22" fmla="*/ 43996912 w 259"/>
              <a:gd name="T23" fmla="*/ 4836620 h 129"/>
              <a:gd name="T24" fmla="*/ 41971777 w 259"/>
              <a:gd name="T25" fmla="*/ 4836620 h 129"/>
              <a:gd name="T26" fmla="*/ 37737874 w 259"/>
              <a:gd name="T27" fmla="*/ 4836620 h 129"/>
              <a:gd name="T28" fmla="*/ 35344612 w 259"/>
              <a:gd name="T29" fmla="*/ 4582326 h 129"/>
              <a:gd name="T30" fmla="*/ 33319906 w 259"/>
              <a:gd name="T31" fmla="*/ 4327529 h 129"/>
              <a:gd name="T32" fmla="*/ 31662901 w 259"/>
              <a:gd name="T33" fmla="*/ 3818437 h 129"/>
              <a:gd name="T34" fmla="*/ 30006324 w 259"/>
              <a:gd name="T35" fmla="*/ 3055052 h 129"/>
              <a:gd name="T36" fmla="*/ 28717446 w 259"/>
              <a:gd name="T37" fmla="*/ 2291163 h 129"/>
              <a:gd name="T38" fmla="*/ 26876798 w 259"/>
              <a:gd name="T39" fmla="*/ 1527274 h 129"/>
              <a:gd name="T40" fmla="*/ 24667600 w 259"/>
              <a:gd name="T41" fmla="*/ 763889 h 129"/>
              <a:gd name="T42" fmla="*/ 21722145 w 259"/>
              <a:gd name="T43" fmla="*/ 254798 h 129"/>
              <a:gd name="T44" fmla="*/ 18224498 w 259"/>
              <a:gd name="T45" fmla="*/ 0 h 129"/>
              <a:gd name="T46" fmla="*/ 15279043 w 259"/>
              <a:gd name="T47" fmla="*/ 0 h 129"/>
              <a:gd name="T48" fmla="*/ 12334014 w 259"/>
              <a:gd name="T49" fmla="*/ 0 h 129"/>
              <a:gd name="T50" fmla="*/ 9204496 w 259"/>
              <a:gd name="T51" fmla="*/ 0 h 129"/>
              <a:gd name="T52" fmla="*/ 6259039 w 259"/>
              <a:gd name="T53" fmla="*/ 509091 h 129"/>
              <a:gd name="T54" fmla="*/ 4970161 w 259"/>
              <a:gd name="T55" fmla="*/ 1018182 h 129"/>
              <a:gd name="T56" fmla="*/ 3865777 w 259"/>
              <a:gd name="T57" fmla="*/ 1527274 h 129"/>
              <a:gd name="T58" fmla="*/ 2577327 w 259"/>
              <a:gd name="T59" fmla="*/ 2291163 h 129"/>
              <a:gd name="T60" fmla="*/ 1841071 w 259"/>
              <a:gd name="T61" fmla="*/ 3309345 h 129"/>
              <a:gd name="T62" fmla="*/ 920321 w 259"/>
              <a:gd name="T63" fmla="*/ 4327529 h 129"/>
              <a:gd name="T64" fmla="*/ 368128 w 259"/>
              <a:gd name="T65" fmla="*/ 5600509 h 129"/>
              <a:gd name="T66" fmla="*/ 0 w 259"/>
              <a:gd name="T67" fmla="*/ 7382580 h 129"/>
              <a:gd name="T68" fmla="*/ 0 w 259"/>
              <a:gd name="T69" fmla="*/ 9164653 h 129"/>
              <a:gd name="T70" fmla="*/ 0 w 259"/>
              <a:gd name="T71" fmla="*/ 12219199 h 129"/>
              <a:gd name="T72" fmla="*/ 552193 w 259"/>
              <a:gd name="T73" fmla="*/ 14765159 h 129"/>
              <a:gd name="T74" fmla="*/ 1104385 w 259"/>
              <a:gd name="T75" fmla="*/ 16547235 h 129"/>
              <a:gd name="T76" fmla="*/ 2209199 w 259"/>
              <a:gd name="T77" fmla="*/ 18074508 h 129"/>
              <a:gd name="T78" fmla="*/ 3129520 w 259"/>
              <a:gd name="T79" fmla="*/ 19347488 h 129"/>
              <a:gd name="T80" fmla="*/ 4417969 w 259"/>
              <a:gd name="T81" fmla="*/ 20365670 h 129"/>
              <a:gd name="T82" fmla="*/ 5706847 w 259"/>
              <a:gd name="T83" fmla="*/ 21129559 h 129"/>
              <a:gd name="T84" fmla="*/ 6811232 w 259"/>
              <a:gd name="T85" fmla="*/ 21638650 h 129"/>
              <a:gd name="T86" fmla="*/ 9204496 w 259"/>
              <a:gd name="T87" fmla="*/ 22402034 h 129"/>
              <a:gd name="T88" fmla="*/ 11229201 w 259"/>
              <a:gd name="T89" fmla="*/ 23420721 h 129"/>
              <a:gd name="T90" fmla="*/ 11965886 w 259"/>
              <a:gd name="T91" fmla="*/ 24184106 h 129"/>
              <a:gd name="T92" fmla="*/ 12334014 w 259"/>
              <a:gd name="T93" fmla="*/ 25202288 h 129"/>
              <a:gd name="T94" fmla="*/ 12334014 w 259"/>
              <a:gd name="T95" fmla="*/ 26730066 h 129"/>
              <a:gd name="T96" fmla="*/ 12149950 w 259"/>
              <a:gd name="T97" fmla="*/ 28257339 h 129"/>
              <a:gd name="T98" fmla="*/ 14910915 w 259"/>
              <a:gd name="T99" fmla="*/ 28003046 h 129"/>
              <a:gd name="T100" fmla="*/ 16751985 w 259"/>
              <a:gd name="T101" fmla="*/ 27493450 h 129"/>
              <a:gd name="T102" fmla="*/ 18040434 w 259"/>
              <a:gd name="T103" fmla="*/ 26984359 h 129"/>
              <a:gd name="T104" fmla="*/ 19329312 w 259"/>
              <a:gd name="T105" fmla="*/ 26730066 h 129"/>
              <a:gd name="T106" fmla="*/ 22090273 w 259"/>
              <a:gd name="T107" fmla="*/ 26984359 h 129"/>
              <a:gd name="T108" fmla="*/ 25772413 w 259"/>
              <a:gd name="T109" fmla="*/ 27493450 h 129"/>
              <a:gd name="T110" fmla="*/ 30558516 w 259"/>
              <a:gd name="T111" fmla="*/ 28512137 h 129"/>
              <a:gd name="T112" fmla="*/ 35344612 w 259"/>
              <a:gd name="T113" fmla="*/ 29784612 h 129"/>
              <a:gd name="T114" fmla="*/ 43812847 w 259"/>
              <a:gd name="T115" fmla="*/ 31821481 h 129"/>
              <a:gd name="T116" fmla="*/ 47678623 w 259"/>
              <a:gd name="T117" fmla="*/ 32839663 h 129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259"/>
              <a:gd name="T178" fmla="*/ 0 h 129"/>
              <a:gd name="T179" fmla="*/ 259 w 259"/>
              <a:gd name="T180" fmla="*/ 129 h 129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259" h="129">
                <a:moveTo>
                  <a:pt x="259" y="129"/>
                </a:moveTo>
                <a:lnTo>
                  <a:pt x="255" y="102"/>
                </a:lnTo>
                <a:lnTo>
                  <a:pt x="252" y="80"/>
                </a:lnTo>
                <a:lnTo>
                  <a:pt x="252" y="63"/>
                </a:lnTo>
                <a:lnTo>
                  <a:pt x="253" y="50"/>
                </a:lnTo>
                <a:lnTo>
                  <a:pt x="257" y="29"/>
                </a:lnTo>
                <a:lnTo>
                  <a:pt x="259" y="12"/>
                </a:lnTo>
                <a:lnTo>
                  <a:pt x="258" y="14"/>
                </a:lnTo>
                <a:lnTo>
                  <a:pt x="256" y="16"/>
                </a:lnTo>
                <a:lnTo>
                  <a:pt x="253" y="17"/>
                </a:lnTo>
                <a:lnTo>
                  <a:pt x="249" y="18"/>
                </a:lnTo>
                <a:lnTo>
                  <a:pt x="239" y="19"/>
                </a:lnTo>
                <a:lnTo>
                  <a:pt x="228" y="19"/>
                </a:lnTo>
                <a:lnTo>
                  <a:pt x="205" y="19"/>
                </a:lnTo>
                <a:lnTo>
                  <a:pt x="192" y="18"/>
                </a:lnTo>
                <a:lnTo>
                  <a:pt x="181" y="17"/>
                </a:lnTo>
                <a:lnTo>
                  <a:pt x="172" y="15"/>
                </a:lnTo>
                <a:lnTo>
                  <a:pt x="163" y="12"/>
                </a:lnTo>
                <a:lnTo>
                  <a:pt x="156" y="9"/>
                </a:lnTo>
                <a:lnTo>
                  <a:pt x="146" y="6"/>
                </a:lnTo>
                <a:lnTo>
                  <a:pt x="134" y="3"/>
                </a:lnTo>
                <a:lnTo>
                  <a:pt x="118" y="1"/>
                </a:lnTo>
                <a:lnTo>
                  <a:pt x="99" y="0"/>
                </a:lnTo>
                <a:lnTo>
                  <a:pt x="83" y="0"/>
                </a:lnTo>
                <a:lnTo>
                  <a:pt x="67" y="0"/>
                </a:lnTo>
                <a:lnTo>
                  <a:pt x="50" y="0"/>
                </a:lnTo>
                <a:lnTo>
                  <a:pt x="34" y="2"/>
                </a:lnTo>
                <a:lnTo>
                  <a:pt x="27" y="4"/>
                </a:lnTo>
                <a:lnTo>
                  <a:pt x="21" y="6"/>
                </a:lnTo>
                <a:lnTo>
                  <a:pt x="14" y="9"/>
                </a:lnTo>
                <a:lnTo>
                  <a:pt x="10" y="13"/>
                </a:lnTo>
                <a:lnTo>
                  <a:pt x="5" y="17"/>
                </a:lnTo>
                <a:lnTo>
                  <a:pt x="2" y="22"/>
                </a:lnTo>
                <a:lnTo>
                  <a:pt x="0" y="29"/>
                </a:lnTo>
                <a:lnTo>
                  <a:pt x="0" y="36"/>
                </a:lnTo>
                <a:lnTo>
                  <a:pt x="0" y="48"/>
                </a:lnTo>
                <a:lnTo>
                  <a:pt x="3" y="58"/>
                </a:lnTo>
                <a:lnTo>
                  <a:pt x="6" y="65"/>
                </a:lnTo>
                <a:lnTo>
                  <a:pt x="12" y="71"/>
                </a:lnTo>
                <a:lnTo>
                  <a:pt x="17" y="76"/>
                </a:lnTo>
                <a:lnTo>
                  <a:pt x="24" y="80"/>
                </a:lnTo>
                <a:lnTo>
                  <a:pt x="31" y="83"/>
                </a:lnTo>
                <a:lnTo>
                  <a:pt x="37" y="85"/>
                </a:lnTo>
                <a:lnTo>
                  <a:pt x="50" y="88"/>
                </a:lnTo>
                <a:lnTo>
                  <a:pt x="61" y="92"/>
                </a:lnTo>
                <a:lnTo>
                  <a:pt x="65" y="95"/>
                </a:lnTo>
                <a:lnTo>
                  <a:pt x="67" y="99"/>
                </a:lnTo>
                <a:lnTo>
                  <a:pt x="67" y="105"/>
                </a:lnTo>
                <a:lnTo>
                  <a:pt x="66" y="111"/>
                </a:lnTo>
                <a:lnTo>
                  <a:pt x="81" y="110"/>
                </a:lnTo>
                <a:lnTo>
                  <a:pt x="91" y="108"/>
                </a:lnTo>
                <a:lnTo>
                  <a:pt x="98" y="106"/>
                </a:lnTo>
                <a:lnTo>
                  <a:pt x="105" y="105"/>
                </a:lnTo>
                <a:lnTo>
                  <a:pt x="120" y="106"/>
                </a:lnTo>
                <a:lnTo>
                  <a:pt x="140" y="108"/>
                </a:lnTo>
                <a:lnTo>
                  <a:pt x="166" y="112"/>
                </a:lnTo>
                <a:lnTo>
                  <a:pt x="192" y="117"/>
                </a:lnTo>
                <a:lnTo>
                  <a:pt x="238" y="125"/>
                </a:lnTo>
                <a:lnTo>
                  <a:pt x="259" y="129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47" name="Freeform 345"/>
          <p:cNvSpPr>
            <a:spLocks/>
          </p:cNvSpPr>
          <p:nvPr userDrawn="1">
            <p:custDataLst>
              <p:tags r:id="rId247"/>
            </p:custDataLst>
          </p:nvPr>
        </p:nvSpPr>
        <p:spPr bwMode="auto">
          <a:xfrm>
            <a:off x="4518035" y="1793093"/>
            <a:ext cx="179387" cy="107156"/>
          </a:xfrm>
          <a:custGeom>
            <a:avLst/>
            <a:gdLst>
              <a:gd name="T0" fmla="*/ 74469669 w 425"/>
              <a:gd name="T1" fmla="*/ 46905543 h 272"/>
              <a:gd name="T2" fmla="*/ 70906833 w 425"/>
              <a:gd name="T3" fmla="*/ 51872023 h 272"/>
              <a:gd name="T4" fmla="*/ 68234179 w 425"/>
              <a:gd name="T5" fmla="*/ 56838502 h 272"/>
              <a:gd name="T6" fmla="*/ 68412299 w 425"/>
              <a:gd name="T7" fmla="*/ 60977148 h 272"/>
              <a:gd name="T8" fmla="*/ 69303325 w 425"/>
              <a:gd name="T9" fmla="*/ 65391563 h 272"/>
              <a:gd name="T10" fmla="*/ 66809213 w 425"/>
              <a:gd name="T11" fmla="*/ 67323001 h 272"/>
              <a:gd name="T12" fmla="*/ 61820568 w 425"/>
              <a:gd name="T13" fmla="*/ 65667858 h 272"/>
              <a:gd name="T14" fmla="*/ 57722948 w 425"/>
              <a:gd name="T15" fmla="*/ 64840024 h 272"/>
              <a:gd name="T16" fmla="*/ 52556590 w 425"/>
              <a:gd name="T17" fmla="*/ 64840024 h 272"/>
              <a:gd name="T18" fmla="*/ 46855462 w 425"/>
              <a:gd name="T19" fmla="*/ 67047232 h 272"/>
              <a:gd name="T20" fmla="*/ 41332454 w 425"/>
              <a:gd name="T21" fmla="*/ 70082290 h 272"/>
              <a:gd name="T22" fmla="*/ 35096964 w 425"/>
              <a:gd name="T23" fmla="*/ 73669396 h 272"/>
              <a:gd name="T24" fmla="*/ 17815874 w 425"/>
              <a:gd name="T25" fmla="*/ 66219398 h 272"/>
              <a:gd name="T26" fmla="*/ 15143220 w 425"/>
              <a:gd name="T27" fmla="*/ 62356522 h 272"/>
              <a:gd name="T28" fmla="*/ 12470984 w 425"/>
              <a:gd name="T29" fmla="*/ 59045710 h 272"/>
              <a:gd name="T30" fmla="*/ 6591733 w 425"/>
              <a:gd name="T31" fmla="*/ 52975626 h 272"/>
              <a:gd name="T32" fmla="*/ 3919501 w 425"/>
              <a:gd name="T33" fmla="*/ 49664815 h 272"/>
              <a:gd name="T34" fmla="*/ 1959750 w 425"/>
              <a:gd name="T35" fmla="*/ 46077709 h 272"/>
              <a:gd name="T36" fmla="*/ 356241 w 425"/>
              <a:gd name="T37" fmla="*/ 41386998 h 272"/>
              <a:gd name="T38" fmla="*/ 0 w 425"/>
              <a:gd name="T39" fmla="*/ 35593210 h 272"/>
              <a:gd name="T40" fmla="*/ 8907726 w 425"/>
              <a:gd name="T41" fmla="*/ 18210259 h 272"/>
              <a:gd name="T42" fmla="*/ 12649105 w 425"/>
              <a:gd name="T43" fmla="*/ 9932964 h 272"/>
              <a:gd name="T44" fmla="*/ 14252616 w 425"/>
              <a:gd name="T45" fmla="*/ 6070086 h 272"/>
              <a:gd name="T46" fmla="*/ 15143220 w 425"/>
              <a:gd name="T47" fmla="*/ 1655669 h 272"/>
              <a:gd name="T48" fmla="*/ 21913494 w 425"/>
              <a:gd name="T49" fmla="*/ 2759273 h 272"/>
              <a:gd name="T50" fmla="*/ 27257959 w 425"/>
              <a:gd name="T51" fmla="*/ 4966482 h 272"/>
              <a:gd name="T52" fmla="*/ 32068490 w 425"/>
              <a:gd name="T53" fmla="*/ 7449459 h 272"/>
              <a:gd name="T54" fmla="*/ 36522352 w 425"/>
              <a:gd name="T55" fmla="*/ 8553588 h 272"/>
              <a:gd name="T56" fmla="*/ 38125860 w 425"/>
              <a:gd name="T57" fmla="*/ 8001524 h 272"/>
              <a:gd name="T58" fmla="*/ 39372705 w 425"/>
              <a:gd name="T59" fmla="*/ 7173690 h 272"/>
              <a:gd name="T60" fmla="*/ 41332454 w 425"/>
              <a:gd name="T61" fmla="*/ 4138647 h 272"/>
              <a:gd name="T62" fmla="*/ 43114083 w 425"/>
              <a:gd name="T63" fmla="*/ 1379374 h 272"/>
              <a:gd name="T64" fmla="*/ 44539471 w 425"/>
              <a:gd name="T65" fmla="*/ 552065 h 272"/>
              <a:gd name="T66" fmla="*/ 46142979 w 425"/>
              <a:gd name="T67" fmla="*/ 0 h 272"/>
              <a:gd name="T68" fmla="*/ 48993332 w 425"/>
              <a:gd name="T69" fmla="*/ 552065 h 272"/>
              <a:gd name="T70" fmla="*/ 51487444 w 425"/>
              <a:gd name="T71" fmla="*/ 1931439 h 272"/>
              <a:gd name="T72" fmla="*/ 53803435 w 425"/>
              <a:gd name="T73" fmla="*/ 4138647 h 272"/>
              <a:gd name="T74" fmla="*/ 55228823 w 425"/>
              <a:gd name="T75" fmla="*/ 7173690 h 272"/>
              <a:gd name="T76" fmla="*/ 57901068 w 425"/>
              <a:gd name="T77" fmla="*/ 14623674 h 272"/>
              <a:gd name="T78" fmla="*/ 60038939 w 425"/>
              <a:gd name="T79" fmla="*/ 22625200 h 272"/>
              <a:gd name="T80" fmla="*/ 62176809 w 425"/>
              <a:gd name="T81" fmla="*/ 31178261 h 272"/>
              <a:gd name="T82" fmla="*/ 63424076 w 425"/>
              <a:gd name="T83" fmla="*/ 34765375 h 272"/>
              <a:gd name="T84" fmla="*/ 65027584 w 425"/>
              <a:gd name="T85" fmla="*/ 38076187 h 272"/>
              <a:gd name="T86" fmla="*/ 66987334 w 425"/>
              <a:gd name="T87" fmla="*/ 40559689 h 272"/>
              <a:gd name="T88" fmla="*/ 69303325 w 425"/>
              <a:gd name="T89" fmla="*/ 43042667 h 272"/>
              <a:gd name="T90" fmla="*/ 72153678 w 425"/>
              <a:gd name="T91" fmla="*/ 44146270 h 272"/>
              <a:gd name="T92" fmla="*/ 75716936 w 425"/>
              <a:gd name="T93" fmla="*/ 44422040 h 272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425"/>
              <a:gd name="T142" fmla="*/ 0 h 272"/>
              <a:gd name="T143" fmla="*/ 425 w 425"/>
              <a:gd name="T144" fmla="*/ 272 h 272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425" h="272">
                <a:moveTo>
                  <a:pt x="425" y="161"/>
                </a:moveTo>
                <a:lnTo>
                  <a:pt x="418" y="170"/>
                </a:lnTo>
                <a:lnTo>
                  <a:pt x="409" y="179"/>
                </a:lnTo>
                <a:lnTo>
                  <a:pt x="398" y="188"/>
                </a:lnTo>
                <a:lnTo>
                  <a:pt x="385" y="197"/>
                </a:lnTo>
                <a:lnTo>
                  <a:pt x="383" y="206"/>
                </a:lnTo>
                <a:lnTo>
                  <a:pt x="383" y="214"/>
                </a:lnTo>
                <a:lnTo>
                  <a:pt x="384" y="221"/>
                </a:lnTo>
                <a:lnTo>
                  <a:pt x="385" y="227"/>
                </a:lnTo>
                <a:lnTo>
                  <a:pt x="389" y="237"/>
                </a:lnTo>
                <a:lnTo>
                  <a:pt x="392" y="246"/>
                </a:lnTo>
                <a:lnTo>
                  <a:pt x="375" y="244"/>
                </a:lnTo>
                <a:lnTo>
                  <a:pt x="356" y="240"/>
                </a:lnTo>
                <a:lnTo>
                  <a:pt x="347" y="238"/>
                </a:lnTo>
                <a:lnTo>
                  <a:pt x="336" y="236"/>
                </a:lnTo>
                <a:lnTo>
                  <a:pt x="324" y="235"/>
                </a:lnTo>
                <a:lnTo>
                  <a:pt x="311" y="234"/>
                </a:lnTo>
                <a:lnTo>
                  <a:pt x="295" y="235"/>
                </a:lnTo>
                <a:lnTo>
                  <a:pt x="278" y="238"/>
                </a:lnTo>
                <a:lnTo>
                  <a:pt x="263" y="243"/>
                </a:lnTo>
                <a:lnTo>
                  <a:pt x="248" y="248"/>
                </a:lnTo>
                <a:lnTo>
                  <a:pt x="232" y="254"/>
                </a:lnTo>
                <a:lnTo>
                  <a:pt x="215" y="260"/>
                </a:lnTo>
                <a:lnTo>
                  <a:pt x="197" y="267"/>
                </a:lnTo>
                <a:lnTo>
                  <a:pt x="179" y="272"/>
                </a:lnTo>
                <a:lnTo>
                  <a:pt x="100" y="240"/>
                </a:lnTo>
                <a:lnTo>
                  <a:pt x="92" y="233"/>
                </a:lnTo>
                <a:lnTo>
                  <a:pt x="85" y="226"/>
                </a:lnTo>
                <a:lnTo>
                  <a:pt x="78" y="220"/>
                </a:lnTo>
                <a:lnTo>
                  <a:pt x="70" y="214"/>
                </a:lnTo>
                <a:lnTo>
                  <a:pt x="52" y="202"/>
                </a:lnTo>
                <a:lnTo>
                  <a:pt x="37" y="192"/>
                </a:lnTo>
                <a:lnTo>
                  <a:pt x="29" y="186"/>
                </a:lnTo>
                <a:lnTo>
                  <a:pt x="22" y="180"/>
                </a:lnTo>
                <a:lnTo>
                  <a:pt x="16" y="174"/>
                </a:lnTo>
                <a:lnTo>
                  <a:pt x="11" y="167"/>
                </a:lnTo>
                <a:lnTo>
                  <a:pt x="6" y="159"/>
                </a:lnTo>
                <a:lnTo>
                  <a:pt x="2" y="150"/>
                </a:lnTo>
                <a:lnTo>
                  <a:pt x="0" y="140"/>
                </a:lnTo>
                <a:lnTo>
                  <a:pt x="0" y="129"/>
                </a:lnTo>
                <a:lnTo>
                  <a:pt x="25" y="95"/>
                </a:lnTo>
                <a:lnTo>
                  <a:pt x="50" y="66"/>
                </a:lnTo>
                <a:lnTo>
                  <a:pt x="61" y="52"/>
                </a:lnTo>
                <a:lnTo>
                  <a:pt x="71" y="36"/>
                </a:lnTo>
                <a:lnTo>
                  <a:pt x="75" y="29"/>
                </a:lnTo>
                <a:lnTo>
                  <a:pt x="80" y="22"/>
                </a:lnTo>
                <a:lnTo>
                  <a:pt x="83" y="14"/>
                </a:lnTo>
                <a:lnTo>
                  <a:pt x="85" y="6"/>
                </a:lnTo>
                <a:lnTo>
                  <a:pt x="105" y="7"/>
                </a:lnTo>
                <a:lnTo>
                  <a:pt x="123" y="10"/>
                </a:lnTo>
                <a:lnTo>
                  <a:pt x="138" y="14"/>
                </a:lnTo>
                <a:lnTo>
                  <a:pt x="153" y="18"/>
                </a:lnTo>
                <a:lnTo>
                  <a:pt x="166" y="23"/>
                </a:lnTo>
                <a:lnTo>
                  <a:pt x="180" y="27"/>
                </a:lnTo>
                <a:lnTo>
                  <a:pt x="193" y="30"/>
                </a:lnTo>
                <a:lnTo>
                  <a:pt x="205" y="31"/>
                </a:lnTo>
                <a:lnTo>
                  <a:pt x="210" y="30"/>
                </a:lnTo>
                <a:lnTo>
                  <a:pt x="214" y="29"/>
                </a:lnTo>
                <a:lnTo>
                  <a:pt x="218" y="28"/>
                </a:lnTo>
                <a:lnTo>
                  <a:pt x="221" y="26"/>
                </a:lnTo>
                <a:lnTo>
                  <a:pt x="227" y="21"/>
                </a:lnTo>
                <a:lnTo>
                  <a:pt x="232" y="15"/>
                </a:lnTo>
                <a:lnTo>
                  <a:pt x="237" y="10"/>
                </a:lnTo>
                <a:lnTo>
                  <a:pt x="242" y="5"/>
                </a:lnTo>
                <a:lnTo>
                  <a:pt x="246" y="3"/>
                </a:lnTo>
                <a:lnTo>
                  <a:pt x="250" y="2"/>
                </a:lnTo>
                <a:lnTo>
                  <a:pt x="253" y="1"/>
                </a:lnTo>
                <a:lnTo>
                  <a:pt x="259" y="0"/>
                </a:lnTo>
                <a:lnTo>
                  <a:pt x="268" y="1"/>
                </a:lnTo>
                <a:lnTo>
                  <a:pt x="275" y="2"/>
                </a:lnTo>
                <a:lnTo>
                  <a:pt x="283" y="4"/>
                </a:lnTo>
                <a:lnTo>
                  <a:pt x="289" y="7"/>
                </a:lnTo>
                <a:lnTo>
                  <a:pt x="296" y="11"/>
                </a:lnTo>
                <a:lnTo>
                  <a:pt x="302" y="15"/>
                </a:lnTo>
                <a:lnTo>
                  <a:pt x="306" y="20"/>
                </a:lnTo>
                <a:lnTo>
                  <a:pt x="310" y="26"/>
                </a:lnTo>
                <a:lnTo>
                  <a:pt x="318" y="38"/>
                </a:lnTo>
                <a:lnTo>
                  <a:pt x="325" y="53"/>
                </a:lnTo>
                <a:lnTo>
                  <a:pt x="331" y="67"/>
                </a:lnTo>
                <a:lnTo>
                  <a:pt x="337" y="82"/>
                </a:lnTo>
                <a:lnTo>
                  <a:pt x="342" y="98"/>
                </a:lnTo>
                <a:lnTo>
                  <a:pt x="349" y="113"/>
                </a:lnTo>
                <a:lnTo>
                  <a:pt x="352" y="119"/>
                </a:lnTo>
                <a:lnTo>
                  <a:pt x="356" y="126"/>
                </a:lnTo>
                <a:lnTo>
                  <a:pt x="360" y="132"/>
                </a:lnTo>
                <a:lnTo>
                  <a:pt x="365" y="138"/>
                </a:lnTo>
                <a:lnTo>
                  <a:pt x="370" y="143"/>
                </a:lnTo>
                <a:lnTo>
                  <a:pt x="376" y="147"/>
                </a:lnTo>
                <a:lnTo>
                  <a:pt x="382" y="151"/>
                </a:lnTo>
                <a:lnTo>
                  <a:pt x="389" y="156"/>
                </a:lnTo>
                <a:lnTo>
                  <a:pt x="397" y="158"/>
                </a:lnTo>
                <a:lnTo>
                  <a:pt x="405" y="160"/>
                </a:lnTo>
                <a:lnTo>
                  <a:pt x="415" y="161"/>
                </a:lnTo>
                <a:lnTo>
                  <a:pt x="425" y="161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48" name="Freeform 346"/>
          <p:cNvSpPr>
            <a:spLocks/>
          </p:cNvSpPr>
          <p:nvPr userDrawn="1">
            <p:custDataLst>
              <p:tags r:id="rId248"/>
            </p:custDataLst>
          </p:nvPr>
        </p:nvSpPr>
        <p:spPr bwMode="auto">
          <a:xfrm>
            <a:off x="2555885" y="2571757"/>
            <a:ext cx="14287" cy="41672"/>
          </a:xfrm>
          <a:custGeom>
            <a:avLst/>
            <a:gdLst>
              <a:gd name="T0" fmla="*/ 2436583 w 33"/>
              <a:gd name="T1" fmla="*/ 19274986 h 31"/>
              <a:gd name="T2" fmla="*/ 0 w 33"/>
              <a:gd name="T3" fmla="*/ 61038657 h 31"/>
              <a:gd name="T4" fmla="*/ 937314 w 33"/>
              <a:gd name="T5" fmla="*/ 67462455 h 31"/>
              <a:gd name="T6" fmla="*/ 2624045 w 33"/>
              <a:gd name="T7" fmla="*/ 80313636 h 31"/>
              <a:gd name="T8" fmla="*/ 3561359 w 33"/>
              <a:gd name="T9" fmla="*/ 86739227 h 31"/>
              <a:gd name="T10" fmla="*/ 4311210 w 33"/>
              <a:gd name="T11" fmla="*/ 93163025 h 31"/>
              <a:gd name="T12" fmla="*/ 5060628 w 33"/>
              <a:gd name="T13" fmla="*/ 96376716 h 31"/>
              <a:gd name="T14" fmla="*/ 6185404 w 33"/>
              <a:gd name="T15" fmla="*/ 99588615 h 31"/>
              <a:gd name="T16" fmla="*/ 6185404 w 33"/>
              <a:gd name="T17" fmla="*/ 0 h 31"/>
              <a:gd name="T18" fmla="*/ 3748822 w 33"/>
              <a:gd name="T19" fmla="*/ 0 h 31"/>
              <a:gd name="T20" fmla="*/ 2436583 w 33"/>
              <a:gd name="T21" fmla="*/ 19274986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3"/>
              <a:gd name="T34" fmla="*/ 0 h 31"/>
              <a:gd name="T35" fmla="*/ 33 w 33"/>
              <a:gd name="T36" fmla="*/ 31 h 31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3" h="31">
                <a:moveTo>
                  <a:pt x="13" y="6"/>
                </a:moveTo>
                <a:lnTo>
                  <a:pt x="0" y="19"/>
                </a:lnTo>
                <a:lnTo>
                  <a:pt x="5" y="21"/>
                </a:lnTo>
                <a:lnTo>
                  <a:pt x="14" y="25"/>
                </a:lnTo>
                <a:lnTo>
                  <a:pt x="19" y="27"/>
                </a:lnTo>
                <a:lnTo>
                  <a:pt x="23" y="29"/>
                </a:lnTo>
                <a:lnTo>
                  <a:pt x="27" y="30"/>
                </a:lnTo>
                <a:lnTo>
                  <a:pt x="33" y="31"/>
                </a:lnTo>
                <a:lnTo>
                  <a:pt x="33" y="0"/>
                </a:lnTo>
                <a:lnTo>
                  <a:pt x="20" y="0"/>
                </a:lnTo>
                <a:lnTo>
                  <a:pt x="13" y="6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49" name="Freeform 347"/>
          <p:cNvSpPr>
            <a:spLocks/>
          </p:cNvSpPr>
          <p:nvPr userDrawn="1">
            <p:custDataLst>
              <p:tags r:id="rId249"/>
            </p:custDataLst>
          </p:nvPr>
        </p:nvSpPr>
        <p:spPr bwMode="auto">
          <a:xfrm>
            <a:off x="4622805" y="1787141"/>
            <a:ext cx="85725" cy="59531"/>
          </a:xfrm>
          <a:custGeom>
            <a:avLst/>
            <a:gdLst>
              <a:gd name="T0" fmla="*/ 1196132 w 192"/>
              <a:gd name="T1" fmla="*/ 5047528 h 154"/>
              <a:gd name="T2" fmla="*/ 10366028 w 192"/>
              <a:gd name="T3" fmla="*/ 0 h 154"/>
              <a:gd name="T4" fmla="*/ 18340240 w 192"/>
              <a:gd name="T5" fmla="*/ 5047528 h 154"/>
              <a:gd name="T6" fmla="*/ 23722607 w 192"/>
              <a:gd name="T7" fmla="*/ 8235413 h 154"/>
              <a:gd name="T8" fmla="*/ 29104975 w 192"/>
              <a:gd name="T9" fmla="*/ 16736783 h 154"/>
              <a:gd name="T10" fmla="*/ 33091639 w 192"/>
              <a:gd name="T11" fmla="*/ 24706240 h 154"/>
              <a:gd name="T12" fmla="*/ 38274875 w 192"/>
              <a:gd name="T13" fmla="*/ 31347966 h 154"/>
              <a:gd name="T14" fmla="*/ 30301113 w 192"/>
              <a:gd name="T15" fmla="*/ 32941651 h 154"/>
              <a:gd name="T16" fmla="*/ 25117870 w 192"/>
              <a:gd name="T17" fmla="*/ 34535859 h 154"/>
              <a:gd name="T18" fmla="*/ 25117870 w 192"/>
              <a:gd name="T19" fmla="*/ 40911627 h 154"/>
              <a:gd name="T20" fmla="*/ 21130766 w 192"/>
              <a:gd name="T21" fmla="*/ 40911627 h 154"/>
              <a:gd name="T22" fmla="*/ 19735503 w 192"/>
              <a:gd name="T23" fmla="*/ 38786543 h 154"/>
              <a:gd name="T24" fmla="*/ 18539372 w 192"/>
              <a:gd name="T25" fmla="*/ 36395501 h 154"/>
              <a:gd name="T26" fmla="*/ 17542819 w 192"/>
              <a:gd name="T27" fmla="*/ 33473051 h 154"/>
              <a:gd name="T28" fmla="*/ 16346688 w 192"/>
              <a:gd name="T29" fmla="*/ 30551124 h 154"/>
              <a:gd name="T30" fmla="*/ 14751846 w 192"/>
              <a:gd name="T31" fmla="*/ 24706240 h 154"/>
              <a:gd name="T32" fmla="*/ 12957422 w 192"/>
              <a:gd name="T33" fmla="*/ 18861872 h 154"/>
              <a:gd name="T34" fmla="*/ 11960870 w 192"/>
              <a:gd name="T35" fmla="*/ 16205383 h 154"/>
              <a:gd name="T36" fmla="*/ 10964317 w 192"/>
              <a:gd name="T37" fmla="*/ 13282941 h 154"/>
              <a:gd name="T38" fmla="*/ 9568607 w 192"/>
              <a:gd name="T39" fmla="*/ 11157857 h 154"/>
              <a:gd name="T40" fmla="*/ 8173344 w 192"/>
              <a:gd name="T41" fmla="*/ 9032257 h 154"/>
              <a:gd name="T42" fmla="*/ 6578500 w 192"/>
              <a:gd name="T43" fmla="*/ 7438570 h 154"/>
              <a:gd name="T44" fmla="*/ 4784527 w 192"/>
              <a:gd name="T45" fmla="*/ 6110328 h 154"/>
              <a:gd name="T46" fmla="*/ 3588395 w 192"/>
              <a:gd name="T47" fmla="*/ 5844371 h 154"/>
              <a:gd name="T48" fmla="*/ 2392263 w 192"/>
              <a:gd name="T49" fmla="*/ 5312971 h 154"/>
              <a:gd name="T50" fmla="*/ 1196132 w 192"/>
              <a:gd name="T51" fmla="*/ 5312971 h 154"/>
              <a:gd name="T52" fmla="*/ 0 w 192"/>
              <a:gd name="T53" fmla="*/ 5047528 h 154"/>
              <a:gd name="T54" fmla="*/ 1196132 w 192"/>
              <a:gd name="T55" fmla="*/ 5047528 h 15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192"/>
              <a:gd name="T85" fmla="*/ 0 h 154"/>
              <a:gd name="T86" fmla="*/ 192 w 192"/>
              <a:gd name="T87" fmla="*/ 154 h 154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192" h="154">
                <a:moveTo>
                  <a:pt x="6" y="19"/>
                </a:moveTo>
                <a:lnTo>
                  <a:pt x="52" y="0"/>
                </a:lnTo>
                <a:lnTo>
                  <a:pt x="92" y="19"/>
                </a:lnTo>
                <a:lnTo>
                  <a:pt x="119" y="31"/>
                </a:lnTo>
                <a:lnTo>
                  <a:pt x="146" y="63"/>
                </a:lnTo>
                <a:lnTo>
                  <a:pt x="166" y="93"/>
                </a:lnTo>
                <a:lnTo>
                  <a:pt x="192" y="118"/>
                </a:lnTo>
                <a:lnTo>
                  <a:pt x="152" y="124"/>
                </a:lnTo>
                <a:lnTo>
                  <a:pt x="126" y="130"/>
                </a:lnTo>
                <a:lnTo>
                  <a:pt x="126" y="154"/>
                </a:lnTo>
                <a:lnTo>
                  <a:pt x="106" y="154"/>
                </a:lnTo>
                <a:lnTo>
                  <a:pt x="99" y="146"/>
                </a:lnTo>
                <a:lnTo>
                  <a:pt x="93" y="137"/>
                </a:lnTo>
                <a:lnTo>
                  <a:pt x="88" y="126"/>
                </a:lnTo>
                <a:lnTo>
                  <a:pt x="82" y="115"/>
                </a:lnTo>
                <a:lnTo>
                  <a:pt x="74" y="93"/>
                </a:lnTo>
                <a:lnTo>
                  <a:pt x="65" y="71"/>
                </a:lnTo>
                <a:lnTo>
                  <a:pt x="60" y="61"/>
                </a:lnTo>
                <a:lnTo>
                  <a:pt x="55" y="50"/>
                </a:lnTo>
                <a:lnTo>
                  <a:pt x="48" y="42"/>
                </a:lnTo>
                <a:lnTo>
                  <a:pt x="41" y="34"/>
                </a:lnTo>
                <a:lnTo>
                  <a:pt x="33" y="28"/>
                </a:lnTo>
                <a:lnTo>
                  <a:pt x="24" y="23"/>
                </a:lnTo>
                <a:lnTo>
                  <a:pt x="18" y="22"/>
                </a:lnTo>
                <a:lnTo>
                  <a:pt x="12" y="20"/>
                </a:lnTo>
                <a:lnTo>
                  <a:pt x="6" y="20"/>
                </a:lnTo>
                <a:lnTo>
                  <a:pt x="0" y="19"/>
                </a:lnTo>
                <a:lnTo>
                  <a:pt x="6" y="19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50" name="Freeform 348"/>
          <p:cNvSpPr>
            <a:spLocks/>
          </p:cNvSpPr>
          <p:nvPr userDrawn="1">
            <p:custDataLst>
              <p:tags r:id="rId250"/>
            </p:custDataLst>
          </p:nvPr>
        </p:nvSpPr>
        <p:spPr bwMode="auto">
          <a:xfrm>
            <a:off x="4540252" y="1699033"/>
            <a:ext cx="381000" cy="185738"/>
          </a:xfrm>
          <a:custGeom>
            <a:avLst/>
            <a:gdLst>
              <a:gd name="T0" fmla="*/ 73983951 w 877"/>
              <a:gd name="T1" fmla="*/ 94800323 h 469"/>
              <a:gd name="T2" fmla="*/ 60206265 w 877"/>
              <a:gd name="T3" fmla="*/ 70542774 h 469"/>
              <a:gd name="T4" fmla="*/ 38879380 w 877"/>
              <a:gd name="T5" fmla="*/ 67196579 h 469"/>
              <a:gd name="T6" fmla="*/ 36048164 w 877"/>
              <a:gd name="T7" fmla="*/ 67754187 h 469"/>
              <a:gd name="T8" fmla="*/ 33594907 w 877"/>
              <a:gd name="T9" fmla="*/ 69985166 h 469"/>
              <a:gd name="T10" fmla="*/ 30575146 w 877"/>
              <a:gd name="T11" fmla="*/ 74446033 h 469"/>
              <a:gd name="T12" fmla="*/ 28498979 w 877"/>
              <a:gd name="T13" fmla="*/ 75561249 h 469"/>
              <a:gd name="T14" fmla="*/ 22836975 w 877"/>
              <a:gd name="T15" fmla="*/ 74724837 h 469"/>
              <a:gd name="T16" fmla="*/ 14909832 w 877"/>
              <a:gd name="T17" fmla="*/ 71100382 h 469"/>
              <a:gd name="T18" fmla="*/ 4906950 w 877"/>
              <a:gd name="T19" fmla="*/ 68869404 h 469"/>
              <a:gd name="T20" fmla="*/ 1509664 w 877"/>
              <a:gd name="T21" fmla="*/ 59110729 h 469"/>
              <a:gd name="T22" fmla="*/ 2453692 w 877"/>
              <a:gd name="T23" fmla="*/ 52140097 h 469"/>
              <a:gd name="T24" fmla="*/ 2453692 w 877"/>
              <a:gd name="T25" fmla="*/ 50188467 h 469"/>
              <a:gd name="T26" fmla="*/ 4340881 w 877"/>
              <a:gd name="T27" fmla="*/ 40150988 h 469"/>
              <a:gd name="T28" fmla="*/ 8304237 w 877"/>
              <a:gd name="T29" fmla="*/ 31228190 h 469"/>
              <a:gd name="T30" fmla="*/ 10191859 w 877"/>
              <a:gd name="T31" fmla="*/ 25652106 h 469"/>
              <a:gd name="T32" fmla="*/ 4906950 w 877"/>
              <a:gd name="T33" fmla="*/ 13941270 h 469"/>
              <a:gd name="T34" fmla="*/ 32650879 w 877"/>
              <a:gd name="T35" fmla="*/ 7249439 h 469"/>
              <a:gd name="T36" fmla="*/ 63981074 w 877"/>
              <a:gd name="T37" fmla="*/ 13941270 h 469"/>
              <a:gd name="T38" fmla="*/ 73983951 w 877"/>
              <a:gd name="T39" fmla="*/ 3624456 h 469"/>
              <a:gd name="T40" fmla="*/ 91536012 w 877"/>
              <a:gd name="T41" fmla="*/ 0 h 469"/>
              <a:gd name="T42" fmla="*/ 109277053 w 877"/>
              <a:gd name="T43" fmla="*/ 10595091 h 469"/>
              <a:gd name="T44" fmla="*/ 120412529 w 877"/>
              <a:gd name="T45" fmla="*/ 30949386 h 469"/>
              <a:gd name="T46" fmla="*/ 136832452 w 877"/>
              <a:gd name="T47" fmla="*/ 30949386 h 469"/>
              <a:gd name="T48" fmla="*/ 158159323 w 877"/>
              <a:gd name="T49" fmla="*/ 43217834 h 469"/>
              <a:gd name="T50" fmla="*/ 163066271 w 877"/>
              <a:gd name="T51" fmla="*/ 65523754 h 469"/>
              <a:gd name="T52" fmla="*/ 151742277 w 877"/>
              <a:gd name="T53" fmla="*/ 75840054 h 469"/>
              <a:gd name="T54" fmla="*/ 142305470 w 877"/>
              <a:gd name="T55" fmla="*/ 87272082 h 469"/>
              <a:gd name="T56" fmla="*/ 129849336 w 877"/>
              <a:gd name="T57" fmla="*/ 92012281 h 469"/>
              <a:gd name="T58" fmla="*/ 125130933 w 877"/>
              <a:gd name="T59" fmla="*/ 95636735 h 469"/>
              <a:gd name="T60" fmla="*/ 122299717 w 877"/>
              <a:gd name="T61" fmla="*/ 99819326 h 469"/>
              <a:gd name="T62" fmla="*/ 121922193 w 877"/>
              <a:gd name="T63" fmla="*/ 104558997 h 469"/>
              <a:gd name="T64" fmla="*/ 123243311 w 877"/>
              <a:gd name="T65" fmla="*/ 108741588 h 469"/>
              <a:gd name="T66" fmla="*/ 125697002 w 877"/>
              <a:gd name="T67" fmla="*/ 111808434 h 469"/>
              <a:gd name="T68" fmla="*/ 134190215 w 877"/>
              <a:gd name="T69" fmla="*/ 110414414 h 469"/>
              <a:gd name="T70" fmla="*/ 139852213 w 877"/>
              <a:gd name="T71" fmla="*/ 109856805 h 469"/>
              <a:gd name="T72" fmla="*/ 138531094 w 877"/>
              <a:gd name="T73" fmla="*/ 112366043 h 469"/>
              <a:gd name="T74" fmla="*/ 135133809 w 877"/>
              <a:gd name="T75" fmla="*/ 117385046 h 469"/>
              <a:gd name="T76" fmla="*/ 131736524 w 877"/>
              <a:gd name="T77" fmla="*/ 122125246 h 469"/>
              <a:gd name="T78" fmla="*/ 130037881 w 877"/>
              <a:gd name="T79" fmla="*/ 116827438 h 469"/>
              <a:gd name="T80" fmla="*/ 126640596 w 877"/>
              <a:gd name="T81" fmla="*/ 113760592 h 469"/>
              <a:gd name="T82" fmla="*/ 125697002 w 877"/>
              <a:gd name="T83" fmla="*/ 117942655 h 469"/>
              <a:gd name="T84" fmla="*/ 121356123 w 877"/>
              <a:gd name="T85" fmla="*/ 123240462 h 469"/>
              <a:gd name="T86" fmla="*/ 116826699 w 877"/>
              <a:gd name="T87" fmla="*/ 128259466 h 469"/>
              <a:gd name="T88" fmla="*/ 115316601 w 877"/>
              <a:gd name="T89" fmla="*/ 130768704 h 469"/>
              <a:gd name="T90" fmla="*/ 112296813 w 877"/>
              <a:gd name="T91" fmla="*/ 129374683 h 469"/>
              <a:gd name="T92" fmla="*/ 110220646 w 877"/>
              <a:gd name="T93" fmla="*/ 126864917 h 469"/>
              <a:gd name="T94" fmla="*/ 108522004 w 877"/>
              <a:gd name="T95" fmla="*/ 122404050 h 469"/>
              <a:gd name="T96" fmla="*/ 107955934 w 877"/>
              <a:gd name="T97" fmla="*/ 113760592 h 469"/>
              <a:gd name="T98" fmla="*/ 103426510 w 877"/>
              <a:gd name="T99" fmla="*/ 112645375 h 469"/>
              <a:gd name="T100" fmla="*/ 97764513 w 877"/>
              <a:gd name="T101" fmla="*/ 108462784 h 469"/>
              <a:gd name="T102" fmla="*/ 105502677 w 877"/>
              <a:gd name="T103" fmla="*/ 105674742 h 469"/>
              <a:gd name="T104" fmla="*/ 117958838 w 877"/>
              <a:gd name="T105" fmla="*/ 103164977 h 469"/>
              <a:gd name="T106" fmla="*/ 93046110 w 877"/>
              <a:gd name="T107" fmla="*/ 98704109 h 469"/>
              <a:gd name="T108" fmla="*/ 83986827 w 877"/>
              <a:gd name="T109" fmla="*/ 92848693 h 469"/>
              <a:gd name="T110" fmla="*/ 75116089 w 877"/>
              <a:gd name="T111" fmla="*/ 102886172 h 469"/>
              <a:gd name="T112" fmla="*/ 71719239 w 877"/>
              <a:gd name="T113" fmla="*/ 110135609 h 469"/>
              <a:gd name="T114" fmla="*/ 66623311 w 877"/>
              <a:gd name="T115" fmla="*/ 111529630 h 469"/>
              <a:gd name="T116" fmla="*/ 61904907 w 877"/>
              <a:gd name="T117" fmla="*/ 109299197 h 469"/>
              <a:gd name="T118" fmla="*/ 57752573 w 877"/>
              <a:gd name="T119" fmla="*/ 104837802 h 46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877"/>
              <a:gd name="T181" fmla="*/ 0 h 469"/>
              <a:gd name="T182" fmla="*/ 877 w 877"/>
              <a:gd name="T183" fmla="*/ 469 h 469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877" h="469">
                <a:moveTo>
                  <a:pt x="326" y="352"/>
                </a:moveTo>
                <a:lnTo>
                  <a:pt x="352" y="346"/>
                </a:lnTo>
                <a:lnTo>
                  <a:pt x="392" y="340"/>
                </a:lnTo>
                <a:lnTo>
                  <a:pt x="366" y="315"/>
                </a:lnTo>
                <a:lnTo>
                  <a:pt x="346" y="285"/>
                </a:lnTo>
                <a:lnTo>
                  <a:pt x="319" y="253"/>
                </a:lnTo>
                <a:lnTo>
                  <a:pt x="292" y="241"/>
                </a:lnTo>
                <a:lnTo>
                  <a:pt x="252" y="222"/>
                </a:lnTo>
                <a:lnTo>
                  <a:pt x="206" y="241"/>
                </a:lnTo>
                <a:lnTo>
                  <a:pt x="200" y="241"/>
                </a:lnTo>
                <a:lnTo>
                  <a:pt x="194" y="242"/>
                </a:lnTo>
                <a:lnTo>
                  <a:pt x="191" y="243"/>
                </a:lnTo>
                <a:lnTo>
                  <a:pt x="187" y="244"/>
                </a:lnTo>
                <a:lnTo>
                  <a:pt x="183" y="246"/>
                </a:lnTo>
                <a:lnTo>
                  <a:pt x="178" y="251"/>
                </a:lnTo>
                <a:lnTo>
                  <a:pt x="173" y="256"/>
                </a:lnTo>
                <a:lnTo>
                  <a:pt x="168" y="262"/>
                </a:lnTo>
                <a:lnTo>
                  <a:pt x="162" y="267"/>
                </a:lnTo>
                <a:lnTo>
                  <a:pt x="159" y="269"/>
                </a:lnTo>
                <a:lnTo>
                  <a:pt x="155" y="270"/>
                </a:lnTo>
                <a:lnTo>
                  <a:pt x="151" y="271"/>
                </a:lnTo>
                <a:lnTo>
                  <a:pt x="146" y="272"/>
                </a:lnTo>
                <a:lnTo>
                  <a:pt x="134" y="271"/>
                </a:lnTo>
                <a:lnTo>
                  <a:pt x="121" y="268"/>
                </a:lnTo>
                <a:lnTo>
                  <a:pt x="107" y="264"/>
                </a:lnTo>
                <a:lnTo>
                  <a:pt x="94" y="259"/>
                </a:lnTo>
                <a:lnTo>
                  <a:pt x="79" y="255"/>
                </a:lnTo>
                <a:lnTo>
                  <a:pt x="64" y="251"/>
                </a:lnTo>
                <a:lnTo>
                  <a:pt x="46" y="248"/>
                </a:lnTo>
                <a:lnTo>
                  <a:pt x="26" y="247"/>
                </a:lnTo>
                <a:lnTo>
                  <a:pt x="0" y="222"/>
                </a:lnTo>
                <a:lnTo>
                  <a:pt x="4" y="217"/>
                </a:lnTo>
                <a:lnTo>
                  <a:pt x="8" y="212"/>
                </a:lnTo>
                <a:lnTo>
                  <a:pt x="10" y="206"/>
                </a:lnTo>
                <a:lnTo>
                  <a:pt x="12" y="200"/>
                </a:lnTo>
                <a:lnTo>
                  <a:pt x="13" y="187"/>
                </a:lnTo>
                <a:lnTo>
                  <a:pt x="13" y="174"/>
                </a:lnTo>
                <a:lnTo>
                  <a:pt x="6" y="174"/>
                </a:lnTo>
                <a:lnTo>
                  <a:pt x="13" y="180"/>
                </a:lnTo>
                <a:lnTo>
                  <a:pt x="14" y="167"/>
                </a:lnTo>
                <a:lnTo>
                  <a:pt x="17" y="155"/>
                </a:lnTo>
                <a:lnTo>
                  <a:pt x="23" y="144"/>
                </a:lnTo>
                <a:lnTo>
                  <a:pt x="30" y="133"/>
                </a:lnTo>
                <a:lnTo>
                  <a:pt x="36" y="122"/>
                </a:lnTo>
                <a:lnTo>
                  <a:pt x="44" y="112"/>
                </a:lnTo>
                <a:lnTo>
                  <a:pt x="53" y="105"/>
                </a:lnTo>
                <a:lnTo>
                  <a:pt x="60" y="99"/>
                </a:lnTo>
                <a:lnTo>
                  <a:pt x="54" y="92"/>
                </a:lnTo>
                <a:lnTo>
                  <a:pt x="46" y="82"/>
                </a:lnTo>
                <a:lnTo>
                  <a:pt x="36" y="68"/>
                </a:lnTo>
                <a:lnTo>
                  <a:pt x="26" y="50"/>
                </a:lnTo>
                <a:lnTo>
                  <a:pt x="60" y="38"/>
                </a:lnTo>
                <a:lnTo>
                  <a:pt x="113" y="26"/>
                </a:lnTo>
                <a:lnTo>
                  <a:pt x="173" y="26"/>
                </a:lnTo>
                <a:lnTo>
                  <a:pt x="239" y="44"/>
                </a:lnTo>
                <a:lnTo>
                  <a:pt x="285" y="38"/>
                </a:lnTo>
                <a:lnTo>
                  <a:pt x="339" y="50"/>
                </a:lnTo>
                <a:lnTo>
                  <a:pt x="385" y="63"/>
                </a:lnTo>
                <a:lnTo>
                  <a:pt x="385" y="38"/>
                </a:lnTo>
                <a:lnTo>
                  <a:pt x="392" y="13"/>
                </a:lnTo>
                <a:lnTo>
                  <a:pt x="433" y="13"/>
                </a:lnTo>
                <a:lnTo>
                  <a:pt x="465" y="13"/>
                </a:lnTo>
                <a:lnTo>
                  <a:pt x="485" y="0"/>
                </a:lnTo>
                <a:lnTo>
                  <a:pt x="531" y="0"/>
                </a:lnTo>
                <a:lnTo>
                  <a:pt x="551" y="13"/>
                </a:lnTo>
                <a:lnTo>
                  <a:pt x="579" y="38"/>
                </a:lnTo>
                <a:lnTo>
                  <a:pt x="565" y="63"/>
                </a:lnTo>
                <a:lnTo>
                  <a:pt x="618" y="63"/>
                </a:lnTo>
                <a:lnTo>
                  <a:pt x="638" y="111"/>
                </a:lnTo>
                <a:lnTo>
                  <a:pt x="664" y="105"/>
                </a:lnTo>
                <a:lnTo>
                  <a:pt x="692" y="124"/>
                </a:lnTo>
                <a:lnTo>
                  <a:pt x="725" y="111"/>
                </a:lnTo>
                <a:lnTo>
                  <a:pt x="758" y="136"/>
                </a:lnTo>
                <a:lnTo>
                  <a:pt x="797" y="136"/>
                </a:lnTo>
                <a:lnTo>
                  <a:pt x="838" y="155"/>
                </a:lnTo>
                <a:lnTo>
                  <a:pt x="877" y="167"/>
                </a:lnTo>
                <a:lnTo>
                  <a:pt x="871" y="198"/>
                </a:lnTo>
                <a:lnTo>
                  <a:pt x="864" y="235"/>
                </a:lnTo>
                <a:lnTo>
                  <a:pt x="877" y="259"/>
                </a:lnTo>
                <a:lnTo>
                  <a:pt x="844" y="259"/>
                </a:lnTo>
                <a:lnTo>
                  <a:pt x="804" y="272"/>
                </a:lnTo>
                <a:lnTo>
                  <a:pt x="797" y="303"/>
                </a:lnTo>
                <a:lnTo>
                  <a:pt x="777" y="309"/>
                </a:lnTo>
                <a:lnTo>
                  <a:pt x="754" y="313"/>
                </a:lnTo>
                <a:lnTo>
                  <a:pt x="731" y="318"/>
                </a:lnTo>
                <a:lnTo>
                  <a:pt x="709" y="324"/>
                </a:lnTo>
                <a:lnTo>
                  <a:pt x="688" y="330"/>
                </a:lnTo>
                <a:lnTo>
                  <a:pt x="680" y="334"/>
                </a:lnTo>
                <a:lnTo>
                  <a:pt x="671" y="337"/>
                </a:lnTo>
                <a:lnTo>
                  <a:pt x="663" y="343"/>
                </a:lnTo>
                <a:lnTo>
                  <a:pt x="656" y="347"/>
                </a:lnTo>
                <a:lnTo>
                  <a:pt x="652" y="352"/>
                </a:lnTo>
                <a:lnTo>
                  <a:pt x="648" y="358"/>
                </a:lnTo>
                <a:lnTo>
                  <a:pt x="646" y="364"/>
                </a:lnTo>
                <a:lnTo>
                  <a:pt x="644" y="370"/>
                </a:lnTo>
                <a:lnTo>
                  <a:pt x="646" y="375"/>
                </a:lnTo>
                <a:lnTo>
                  <a:pt x="647" y="380"/>
                </a:lnTo>
                <a:lnTo>
                  <a:pt x="650" y="385"/>
                </a:lnTo>
                <a:lnTo>
                  <a:pt x="653" y="390"/>
                </a:lnTo>
                <a:lnTo>
                  <a:pt x="656" y="395"/>
                </a:lnTo>
                <a:lnTo>
                  <a:pt x="661" y="399"/>
                </a:lnTo>
                <a:lnTo>
                  <a:pt x="666" y="401"/>
                </a:lnTo>
                <a:lnTo>
                  <a:pt x="671" y="402"/>
                </a:lnTo>
                <a:lnTo>
                  <a:pt x="692" y="400"/>
                </a:lnTo>
                <a:lnTo>
                  <a:pt x="711" y="396"/>
                </a:lnTo>
                <a:lnTo>
                  <a:pt x="721" y="395"/>
                </a:lnTo>
                <a:lnTo>
                  <a:pt x="731" y="394"/>
                </a:lnTo>
                <a:lnTo>
                  <a:pt x="741" y="394"/>
                </a:lnTo>
                <a:lnTo>
                  <a:pt x="751" y="396"/>
                </a:lnTo>
                <a:lnTo>
                  <a:pt x="742" y="399"/>
                </a:lnTo>
                <a:lnTo>
                  <a:pt x="734" y="403"/>
                </a:lnTo>
                <a:lnTo>
                  <a:pt x="728" y="408"/>
                </a:lnTo>
                <a:lnTo>
                  <a:pt x="721" y="414"/>
                </a:lnTo>
                <a:lnTo>
                  <a:pt x="716" y="421"/>
                </a:lnTo>
                <a:lnTo>
                  <a:pt x="710" y="427"/>
                </a:lnTo>
                <a:lnTo>
                  <a:pt x="705" y="433"/>
                </a:lnTo>
                <a:lnTo>
                  <a:pt x="698" y="438"/>
                </a:lnTo>
                <a:lnTo>
                  <a:pt x="695" y="430"/>
                </a:lnTo>
                <a:lnTo>
                  <a:pt x="693" y="424"/>
                </a:lnTo>
                <a:lnTo>
                  <a:pt x="689" y="419"/>
                </a:lnTo>
                <a:lnTo>
                  <a:pt x="687" y="416"/>
                </a:lnTo>
                <a:lnTo>
                  <a:pt x="680" y="412"/>
                </a:lnTo>
                <a:lnTo>
                  <a:pt x="671" y="408"/>
                </a:lnTo>
                <a:lnTo>
                  <a:pt x="671" y="413"/>
                </a:lnTo>
                <a:lnTo>
                  <a:pt x="669" y="418"/>
                </a:lnTo>
                <a:lnTo>
                  <a:pt x="666" y="423"/>
                </a:lnTo>
                <a:lnTo>
                  <a:pt x="663" y="427"/>
                </a:lnTo>
                <a:lnTo>
                  <a:pt x="654" y="435"/>
                </a:lnTo>
                <a:lnTo>
                  <a:pt x="643" y="442"/>
                </a:lnTo>
                <a:lnTo>
                  <a:pt x="633" y="450"/>
                </a:lnTo>
                <a:lnTo>
                  <a:pt x="624" y="456"/>
                </a:lnTo>
                <a:lnTo>
                  <a:pt x="619" y="460"/>
                </a:lnTo>
                <a:lnTo>
                  <a:pt x="616" y="463"/>
                </a:lnTo>
                <a:lnTo>
                  <a:pt x="613" y="466"/>
                </a:lnTo>
                <a:lnTo>
                  <a:pt x="611" y="469"/>
                </a:lnTo>
                <a:lnTo>
                  <a:pt x="605" y="468"/>
                </a:lnTo>
                <a:lnTo>
                  <a:pt x="600" y="466"/>
                </a:lnTo>
                <a:lnTo>
                  <a:pt x="595" y="464"/>
                </a:lnTo>
                <a:lnTo>
                  <a:pt x="591" y="461"/>
                </a:lnTo>
                <a:lnTo>
                  <a:pt x="587" y="459"/>
                </a:lnTo>
                <a:lnTo>
                  <a:pt x="584" y="455"/>
                </a:lnTo>
                <a:lnTo>
                  <a:pt x="582" y="452"/>
                </a:lnTo>
                <a:lnTo>
                  <a:pt x="579" y="447"/>
                </a:lnTo>
                <a:lnTo>
                  <a:pt x="575" y="439"/>
                </a:lnTo>
                <a:lnTo>
                  <a:pt x="573" y="429"/>
                </a:lnTo>
                <a:lnTo>
                  <a:pt x="572" y="419"/>
                </a:lnTo>
                <a:lnTo>
                  <a:pt x="572" y="408"/>
                </a:lnTo>
                <a:lnTo>
                  <a:pt x="563" y="407"/>
                </a:lnTo>
                <a:lnTo>
                  <a:pt x="555" y="406"/>
                </a:lnTo>
                <a:lnTo>
                  <a:pt x="548" y="404"/>
                </a:lnTo>
                <a:lnTo>
                  <a:pt x="540" y="401"/>
                </a:lnTo>
                <a:lnTo>
                  <a:pt x="527" y="395"/>
                </a:lnTo>
                <a:lnTo>
                  <a:pt x="518" y="389"/>
                </a:lnTo>
                <a:lnTo>
                  <a:pt x="532" y="385"/>
                </a:lnTo>
                <a:lnTo>
                  <a:pt x="547" y="381"/>
                </a:lnTo>
                <a:lnTo>
                  <a:pt x="559" y="379"/>
                </a:lnTo>
                <a:lnTo>
                  <a:pt x="572" y="377"/>
                </a:lnTo>
                <a:lnTo>
                  <a:pt x="597" y="374"/>
                </a:lnTo>
                <a:lnTo>
                  <a:pt x="625" y="370"/>
                </a:lnTo>
                <a:lnTo>
                  <a:pt x="512" y="370"/>
                </a:lnTo>
                <a:lnTo>
                  <a:pt x="503" y="362"/>
                </a:lnTo>
                <a:lnTo>
                  <a:pt x="493" y="354"/>
                </a:lnTo>
                <a:lnTo>
                  <a:pt x="481" y="348"/>
                </a:lnTo>
                <a:lnTo>
                  <a:pt x="469" y="342"/>
                </a:lnTo>
                <a:lnTo>
                  <a:pt x="445" y="333"/>
                </a:lnTo>
                <a:lnTo>
                  <a:pt x="425" y="327"/>
                </a:lnTo>
                <a:lnTo>
                  <a:pt x="412" y="350"/>
                </a:lnTo>
                <a:lnTo>
                  <a:pt x="398" y="369"/>
                </a:lnTo>
                <a:lnTo>
                  <a:pt x="393" y="378"/>
                </a:lnTo>
                <a:lnTo>
                  <a:pt x="386" y="386"/>
                </a:lnTo>
                <a:lnTo>
                  <a:pt x="380" y="395"/>
                </a:lnTo>
                <a:lnTo>
                  <a:pt x="372" y="402"/>
                </a:lnTo>
                <a:lnTo>
                  <a:pt x="362" y="401"/>
                </a:lnTo>
                <a:lnTo>
                  <a:pt x="353" y="400"/>
                </a:lnTo>
                <a:lnTo>
                  <a:pt x="345" y="399"/>
                </a:lnTo>
                <a:lnTo>
                  <a:pt x="337" y="396"/>
                </a:lnTo>
                <a:lnTo>
                  <a:pt x="328" y="392"/>
                </a:lnTo>
                <a:lnTo>
                  <a:pt x="321" y="388"/>
                </a:lnTo>
                <a:lnTo>
                  <a:pt x="313" y="383"/>
                </a:lnTo>
                <a:lnTo>
                  <a:pt x="306" y="376"/>
                </a:lnTo>
                <a:lnTo>
                  <a:pt x="326" y="352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51" name="Freeform 349"/>
          <p:cNvSpPr>
            <a:spLocks/>
          </p:cNvSpPr>
          <p:nvPr userDrawn="1">
            <p:custDataLst>
              <p:tags r:id="rId251"/>
            </p:custDataLst>
          </p:nvPr>
        </p:nvSpPr>
        <p:spPr bwMode="auto">
          <a:xfrm>
            <a:off x="5051430" y="1956197"/>
            <a:ext cx="47625" cy="47625"/>
          </a:xfrm>
          <a:custGeom>
            <a:avLst/>
            <a:gdLst>
              <a:gd name="T0" fmla="*/ 9508977 w 107"/>
              <a:gd name="T1" fmla="*/ 0 h 123"/>
              <a:gd name="T2" fmla="*/ 16046957 w 107"/>
              <a:gd name="T3" fmla="*/ 8262228 h 123"/>
              <a:gd name="T4" fmla="*/ 18622267 w 107"/>
              <a:gd name="T5" fmla="*/ 17856926 h 123"/>
              <a:gd name="T6" fmla="*/ 21197577 w 107"/>
              <a:gd name="T7" fmla="*/ 22920921 h 123"/>
              <a:gd name="T8" fmla="*/ 21197577 w 107"/>
              <a:gd name="T9" fmla="*/ 31183147 h 123"/>
              <a:gd name="T10" fmla="*/ 21197577 w 107"/>
              <a:gd name="T11" fmla="*/ 32782520 h 123"/>
              <a:gd name="T12" fmla="*/ 17433423 w 107"/>
              <a:gd name="T13" fmla="*/ 30383976 h 123"/>
              <a:gd name="T14" fmla="*/ 14461976 w 107"/>
              <a:gd name="T15" fmla="*/ 27984916 h 123"/>
              <a:gd name="T16" fmla="*/ 12084733 w 107"/>
              <a:gd name="T17" fmla="*/ 26119152 h 123"/>
              <a:gd name="T18" fmla="*/ 10697822 w 107"/>
              <a:gd name="T19" fmla="*/ 24520295 h 123"/>
              <a:gd name="T20" fmla="*/ 10103622 w 107"/>
              <a:gd name="T21" fmla="*/ 22121751 h 123"/>
              <a:gd name="T22" fmla="*/ 9508977 w 107"/>
              <a:gd name="T23" fmla="*/ 19456300 h 123"/>
              <a:gd name="T24" fmla="*/ 7726379 w 107"/>
              <a:gd name="T25" fmla="*/ 19722690 h 123"/>
              <a:gd name="T26" fmla="*/ 6339466 w 107"/>
              <a:gd name="T27" fmla="*/ 19456300 h 123"/>
              <a:gd name="T28" fmla="*/ 5150622 w 107"/>
              <a:gd name="T29" fmla="*/ 19189910 h 123"/>
              <a:gd name="T30" fmla="*/ 4160289 w 107"/>
              <a:gd name="T31" fmla="*/ 18656613 h 123"/>
              <a:gd name="T32" fmla="*/ 3368022 w 107"/>
              <a:gd name="T33" fmla="*/ 17856926 h 123"/>
              <a:gd name="T34" fmla="*/ 2773377 w 107"/>
              <a:gd name="T35" fmla="*/ 16790845 h 123"/>
              <a:gd name="T36" fmla="*/ 2179178 w 107"/>
              <a:gd name="T37" fmla="*/ 15724768 h 123"/>
              <a:gd name="T38" fmla="*/ 1783044 w 107"/>
              <a:gd name="T39" fmla="*/ 14392301 h 123"/>
              <a:gd name="T40" fmla="*/ 792266 w 107"/>
              <a:gd name="T41" fmla="*/ 8262228 h 123"/>
              <a:gd name="T42" fmla="*/ 0 w 107"/>
              <a:gd name="T43" fmla="*/ 1599374 h 123"/>
              <a:gd name="T44" fmla="*/ 6735599 w 107"/>
              <a:gd name="T45" fmla="*/ 0 h 123"/>
              <a:gd name="T46" fmla="*/ 9508977 w 107"/>
              <a:gd name="T47" fmla="*/ 0 h 123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07"/>
              <a:gd name="T73" fmla="*/ 0 h 123"/>
              <a:gd name="T74" fmla="*/ 107 w 107"/>
              <a:gd name="T75" fmla="*/ 123 h 123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107" h="123">
                <a:moveTo>
                  <a:pt x="48" y="0"/>
                </a:moveTo>
                <a:lnTo>
                  <a:pt x="81" y="31"/>
                </a:lnTo>
                <a:lnTo>
                  <a:pt x="94" y="67"/>
                </a:lnTo>
                <a:lnTo>
                  <a:pt x="107" y="86"/>
                </a:lnTo>
                <a:lnTo>
                  <a:pt x="107" y="117"/>
                </a:lnTo>
                <a:lnTo>
                  <a:pt x="107" y="123"/>
                </a:lnTo>
                <a:lnTo>
                  <a:pt x="88" y="114"/>
                </a:lnTo>
                <a:lnTo>
                  <a:pt x="73" y="105"/>
                </a:lnTo>
                <a:lnTo>
                  <a:pt x="61" y="98"/>
                </a:lnTo>
                <a:lnTo>
                  <a:pt x="54" y="92"/>
                </a:lnTo>
                <a:lnTo>
                  <a:pt x="51" y="83"/>
                </a:lnTo>
                <a:lnTo>
                  <a:pt x="48" y="73"/>
                </a:lnTo>
                <a:lnTo>
                  <a:pt x="39" y="74"/>
                </a:lnTo>
                <a:lnTo>
                  <a:pt x="32" y="73"/>
                </a:lnTo>
                <a:lnTo>
                  <a:pt x="26" y="72"/>
                </a:lnTo>
                <a:lnTo>
                  <a:pt x="21" y="70"/>
                </a:lnTo>
                <a:lnTo>
                  <a:pt x="17" y="67"/>
                </a:lnTo>
                <a:lnTo>
                  <a:pt x="14" y="63"/>
                </a:lnTo>
                <a:lnTo>
                  <a:pt x="11" y="59"/>
                </a:lnTo>
                <a:lnTo>
                  <a:pt x="9" y="54"/>
                </a:lnTo>
                <a:lnTo>
                  <a:pt x="4" y="31"/>
                </a:lnTo>
                <a:lnTo>
                  <a:pt x="0" y="6"/>
                </a:lnTo>
                <a:lnTo>
                  <a:pt x="34" y="0"/>
                </a:lnTo>
                <a:lnTo>
                  <a:pt x="48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52" name="Freeform 350"/>
          <p:cNvSpPr>
            <a:spLocks/>
          </p:cNvSpPr>
          <p:nvPr userDrawn="1">
            <p:custDataLst>
              <p:tags r:id="rId252"/>
            </p:custDataLst>
          </p:nvPr>
        </p:nvSpPr>
        <p:spPr bwMode="auto">
          <a:xfrm>
            <a:off x="5632452" y="1966924"/>
            <a:ext cx="207962" cy="91679"/>
          </a:xfrm>
          <a:custGeom>
            <a:avLst/>
            <a:gdLst>
              <a:gd name="T0" fmla="*/ 20664625 w 471"/>
              <a:gd name="T1" fmla="*/ 18283465 h 234"/>
              <a:gd name="T2" fmla="*/ 32361718 w 471"/>
              <a:gd name="T3" fmla="*/ 23468131 h 234"/>
              <a:gd name="T4" fmla="*/ 53026778 w 471"/>
              <a:gd name="T5" fmla="*/ 28652797 h 234"/>
              <a:gd name="T6" fmla="*/ 72521789 w 471"/>
              <a:gd name="T7" fmla="*/ 23468131 h 234"/>
              <a:gd name="T8" fmla="*/ 74666314 w 471"/>
              <a:gd name="T9" fmla="*/ 25924383 h 234"/>
              <a:gd name="T10" fmla="*/ 76225808 w 471"/>
              <a:gd name="T11" fmla="*/ 31109049 h 234"/>
              <a:gd name="T12" fmla="*/ 79150079 w 471"/>
              <a:gd name="T13" fmla="*/ 33837985 h 234"/>
              <a:gd name="T14" fmla="*/ 82659382 w 471"/>
              <a:gd name="T15" fmla="*/ 35202462 h 234"/>
              <a:gd name="T16" fmla="*/ 84414033 w 471"/>
              <a:gd name="T17" fmla="*/ 36566930 h 234"/>
              <a:gd name="T18" fmla="*/ 85973527 w 471"/>
              <a:gd name="T19" fmla="*/ 38476768 h 234"/>
              <a:gd name="T20" fmla="*/ 87338305 w 471"/>
              <a:gd name="T21" fmla="*/ 41205704 h 234"/>
              <a:gd name="T22" fmla="*/ 88702641 w 471"/>
              <a:gd name="T23" fmla="*/ 46390370 h 234"/>
              <a:gd name="T24" fmla="*/ 91822071 w 471"/>
              <a:gd name="T25" fmla="*/ 51848243 h 234"/>
              <a:gd name="T26" fmla="*/ 68233181 w 471"/>
              <a:gd name="T27" fmla="*/ 55123071 h 234"/>
              <a:gd name="T28" fmla="*/ 64334005 w 471"/>
              <a:gd name="T29" fmla="*/ 61126314 h 234"/>
              <a:gd name="T30" fmla="*/ 61799607 w 471"/>
              <a:gd name="T31" fmla="*/ 63582566 h 234"/>
              <a:gd name="T32" fmla="*/ 59655082 w 471"/>
              <a:gd name="T33" fmla="*/ 63582566 h 234"/>
              <a:gd name="T34" fmla="*/ 58095588 w 471"/>
              <a:gd name="T35" fmla="*/ 62763467 h 234"/>
              <a:gd name="T36" fmla="*/ 56925954 w 471"/>
              <a:gd name="T37" fmla="*/ 61126314 h 234"/>
              <a:gd name="T38" fmla="*/ 56340923 w 471"/>
              <a:gd name="T39" fmla="*/ 58943269 h 234"/>
              <a:gd name="T40" fmla="*/ 55366019 w 471"/>
              <a:gd name="T41" fmla="*/ 54304495 h 234"/>
              <a:gd name="T42" fmla="*/ 54196398 w 471"/>
              <a:gd name="T43" fmla="*/ 47482154 h 234"/>
              <a:gd name="T44" fmla="*/ 52441747 w 471"/>
              <a:gd name="T45" fmla="*/ 42297488 h 234"/>
              <a:gd name="T46" fmla="*/ 50297664 w 471"/>
              <a:gd name="T47" fmla="*/ 40387128 h 234"/>
              <a:gd name="T48" fmla="*/ 47957981 w 471"/>
              <a:gd name="T49" fmla="*/ 38476768 h 234"/>
              <a:gd name="T50" fmla="*/ 46008614 w 471"/>
              <a:gd name="T51" fmla="*/ 36293723 h 234"/>
              <a:gd name="T52" fmla="*/ 43668932 w 471"/>
              <a:gd name="T53" fmla="*/ 38204083 h 234"/>
              <a:gd name="T54" fmla="*/ 40354787 w 471"/>
              <a:gd name="T55" fmla="*/ 44207325 h 234"/>
              <a:gd name="T56" fmla="*/ 38990450 w 471"/>
              <a:gd name="T57" fmla="*/ 48300730 h 234"/>
              <a:gd name="T58" fmla="*/ 36650768 w 471"/>
              <a:gd name="T59" fmla="*/ 51848243 h 234"/>
              <a:gd name="T60" fmla="*/ 32556876 w 471"/>
              <a:gd name="T61" fmla="*/ 54849864 h 234"/>
              <a:gd name="T62" fmla="*/ 28657693 w 471"/>
              <a:gd name="T63" fmla="*/ 58124693 h 234"/>
              <a:gd name="T64" fmla="*/ 25343548 w 471"/>
              <a:gd name="T65" fmla="*/ 59761846 h 234"/>
              <a:gd name="T66" fmla="*/ 22224560 w 471"/>
              <a:gd name="T67" fmla="*/ 60580422 h 234"/>
              <a:gd name="T68" fmla="*/ 18910415 w 471"/>
              <a:gd name="T69" fmla="*/ 60307737 h 234"/>
              <a:gd name="T70" fmla="*/ 15986143 w 471"/>
              <a:gd name="T71" fmla="*/ 59215954 h 234"/>
              <a:gd name="T72" fmla="*/ 12282121 w 471"/>
              <a:gd name="T73" fmla="*/ 55941648 h 234"/>
              <a:gd name="T74" fmla="*/ 11501933 w 471"/>
              <a:gd name="T75" fmla="*/ 53758603 h 234"/>
              <a:gd name="T76" fmla="*/ 11501933 w 471"/>
              <a:gd name="T77" fmla="*/ 36839615 h 234"/>
              <a:gd name="T78" fmla="*/ 0 w 471"/>
              <a:gd name="T79" fmla="*/ 26742959 h 234"/>
              <a:gd name="T80" fmla="*/ 10332312 w 471"/>
              <a:gd name="T81" fmla="*/ 21830978 h 234"/>
              <a:gd name="T82" fmla="*/ 16765890 w 471"/>
              <a:gd name="T83" fmla="*/ 8186812 h 234"/>
              <a:gd name="T84" fmla="*/ 25928579 w 471"/>
              <a:gd name="T85" fmla="*/ 0 h 234"/>
              <a:gd name="T86" fmla="*/ 32361718 w 471"/>
              <a:gd name="T87" fmla="*/ 11461120 h 234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471"/>
              <a:gd name="T133" fmla="*/ 0 h 234"/>
              <a:gd name="T134" fmla="*/ 471 w 471"/>
              <a:gd name="T135" fmla="*/ 234 h 234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471" h="234">
                <a:moveTo>
                  <a:pt x="159" y="30"/>
                </a:moveTo>
                <a:lnTo>
                  <a:pt x="106" y="67"/>
                </a:lnTo>
                <a:lnTo>
                  <a:pt x="126" y="86"/>
                </a:lnTo>
                <a:lnTo>
                  <a:pt x="166" y="86"/>
                </a:lnTo>
                <a:lnTo>
                  <a:pt x="218" y="98"/>
                </a:lnTo>
                <a:lnTo>
                  <a:pt x="272" y="105"/>
                </a:lnTo>
                <a:lnTo>
                  <a:pt x="325" y="92"/>
                </a:lnTo>
                <a:lnTo>
                  <a:pt x="372" y="86"/>
                </a:lnTo>
                <a:lnTo>
                  <a:pt x="379" y="86"/>
                </a:lnTo>
                <a:lnTo>
                  <a:pt x="383" y="95"/>
                </a:lnTo>
                <a:lnTo>
                  <a:pt x="388" y="105"/>
                </a:lnTo>
                <a:lnTo>
                  <a:pt x="391" y="114"/>
                </a:lnTo>
                <a:lnTo>
                  <a:pt x="392" y="123"/>
                </a:lnTo>
                <a:lnTo>
                  <a:pt x="406" y="124"/>
                </a:lnTo>
                <a:lnTo>
                  <a:pt x="418" y="126"/>
                </a:lnTo>
                <a:lnTo>
                  <a:pt x="424" y="129"/>
                </a:lnTo>
                <a:lnTo>
                  <a:pt x="428" y="131"/>
                </a:lnTo>
                <a:lnTo>
                  <a:pt x="433" y="134"/>
                </a:lnTo>
                <a:lnTo>
                  <a:pt x="437" y="137"/>
                </a:lnTo>
                <a:lnTo>
                  <a:pt x="441" y="141"/>
                </a:lnTo>
                <a:lnTo>
                  <a:pt x="445" y="146"/>
                </a:lnTo>
                <a:lnTo>
                  <a:pt x="448" y="151"/>
                </a:lnTo>
                <a:lnTo>
                  <a:pt x="450" y="156"/>
                </a:lnTo>
                <a:lnTo>
                  <a:pt x="455" y="170"/>
                </a:lnTo>
                <a:lnTo>
                  <a:pt x="458" y="184"/>
                </a:lnTo>
                <a:lnTo>
                  <a:pt x="471" y="190"/>
                </a:lnTo>
                <a:lnTo>
                  <a:pt x="359" y="190"/>
                </a:lnTo>
                <a:lnTo>
                  <a:pt x="350" y="202"/>
                </a:lnTo>
                <a:lnTo>
                  <a:pt x="338" y="217"/>
                </a:lnTo>
                <a:lnTo>
                  <a:pt x="330" y="224"/>
                </a:lnTo>
                <a:lnTo>
                  <a:pt x="324" y="229"/>
                </a:lnTo>
                <a:lnTo>
                  <a:pt x="317" y="233"/>
                </a:lnTo>
                <a:lnTo>
                  <a:pt x="312" y="234"/>
                </a:lnTo>
                <a:lnTo>
                  <a:pt x="306" y="233"/>
                </a:lnTo>
                <a:lnTo>
                  <a:pt x="302" y="232"/>
                </a:lnTo>
                <a:lnTo>
                  <a:pt x="298" y="230"/>
                </a:lnTo>
                <a:lnTo>
                  <a:pt x="294" y="228"/>
                </a:lnTo>
                <a:lnTo>
                  <a:pt x="292" y="224"/>
                </a:lnTo>
                <a:lnTo>
                  <a:pt x="290" y="220"/>
                </a:lnTo>
                <a:lnTo>
                  <a:pt x="289" y="216"/>
                </a:lnTo>
                <a:lnTo>
                  <a:pt x="287" y="210"/>
                </a:lnTo>
                <a:lnTo>
                  <a:pt x="284" y="199"/>
                </a:lnTo>
                <a:lnTo>
                  <a:pt x="282" y="187"/>
                </a:lnTo>
                <a:lnTo>
                  <a:pt x="278" y="174"/>
                </a:lnTo>
                <a:lnTo>
                  <a:pt x="272" y="160"/>
                </a:lnTo>
                <a:lnTo>
                  <a:pt x="269" y="155"/>
                </a:lnTo>
                <a:lnTo>
                  <a:pt x="265" y="151"/>
                </a:lnTo>
                <a:lnTo>
                  <a:pt x="258" y="148"/>
                </a:lnTo>
                <a:lnTo>
                  <a:pt x="253" y="144"/>
                </a:lnTo>
                <a:lnTo>
                  <a:pt x="246" y="141"/>
                </a:lnTo>
                <a:lnTo>
                  <a:pt x="240" y="137"/>
                </a:lnTo>
                <a:lnTo>
                  <a:pt x="236" y="133"/>
                </a:lnTo>
                <a:lnTo>
                  <a:pt x="233" y="129"/>
                </a:lnTo>
                <a:lnTo>
                  <a:pt x="224" y="140"/>
                </a:lnTo>
                <a:lnTo>
                  <a:pt x="213" y="154"/>
                </a:lnTo>
                <a:lnTo>
                  <a:pt x="207" y="162"/>
                </a:lnTo>
                <a:lnTo>
                  <a:pt x="203" y="170"/>
                </a:lnTo>
                <a:lnTo>
                  <a:pt x="200" y="177"/>
                </a:lnTo>
                <a:lnTo>
                  <a:pt x="199" y="184"/>
                </a:lnTo>
                <a:lnTo>
                  <a:pt x="188" y="190"/>
                </a:lnTo>
                <a:lnTo>
                  <a:pt x="177" y="195"/>
                </a:lnTo>
                <a:lnTo>
                  <a:pt x="167" y="201"/>
                </a:lnTo>
                <a:lnTo>
                  <a:pt x="157" y="207"/>
                </a:lnTo>
                <a:lnTo>
                  <a:pt x="147" y="213"/>
                </a:lnTo>
                <a:lnTo>
                  <a:pt x="135" y="218"/>
                </a:lnTo>
                <a:lnTo>
                  <a:pt x="130" y="219"/>
                </a:lnTo>
                <a:lnTo>
                  <a:pt x="122" y="221"/>
                </a:lnTo>
                <a:lnTo>
                  <a:pt x="114" y="222"/>
                </a:lnTo>
                <a:lnTo>
                  <a:pt x="106" y="222"/>
                </a:lnTo>
                <a:lnTo>
                  <a:pt x="97" y="221"/>
                </a:lnTo>
                <a:lnTo>
                  <a:pt x="89" y="220"/>
                </a:lnTo>
                <a:lnTo>
                  <a:pt x="82" y="217"/>
                </a:lnTo>
                <a:lnTo>
                  <a:pt x="76" y="213"/>
                </a:lnTo>
                <a:lnTo>
                  <a:pt x="63" y="205"/>
                </a:lnTo>
                <a:lnTo>
                  <a:pt x="46" y="197"/>
                </a:lnTo>
                <a:lnTo>
                  <a:pt x="59" y="197"/>
                </a:lnTo>
                <a:lnTo>
                  <a:pt x="72" y="166"/>
                </a:lnTo>
                <a:lnTo>
                  <a:pt x="59" y="135"/>
                </a:lnTo>
                <a:lnTo>
                  <a:pt x="39" y="117"/>
                </a:lnTo>
                <a:lnTo>
                  <a:pt x="0" y="98"/>
                </a:lnTo>
                <a:lnTo>
                  <a:pt x="13" y="86"/>
                </a:lnTo>
                <a:lnTo>
                  <a:pt x="53" y="80"/>
                </a:lnTo>
                <a:lnTo>
                  <a:pt x="66" y="49"/>
                </a:lnTo>
                <a:lnTo>
                  <a:pt x="86" y="30"/>
                </a:lnTo>
                <a:lnTo>
                  <a:pt x="93" y="6"/>
                </a:lnTo>
                <a:lnTo>
                  <a:pt x="133" y="0"/>
                </a:lnTo>
                <a:lnTo>
                  <a:pt x="153" y="12"/>
                </a:lnTo>
                <a:lnTo>
                  <a:pt x="166" y="42"/>
                </a:lnTo>
                <a:lnTo>
                  <a:pt x="159" y="3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53" name="Freeform 351"/>
          <p:cNvSpPr>
            <a:spLocks/>
          </p:cNvSpPr>
          <p:nvPr userDrawn="1">
            <p:custDataLst>
              <p:tags r:id="rId253"/>
            </p:custDataLst>
          </p:nvPr>
        </p:nvSpPr>
        <p:spPr bwMode="auto">
          <a:xfrm>
            <a:off x="5643572" y="1913336"/>
            <a:ext cx="225425" cy="94059"/>
          </a:xfrm>
          <a:custGeom>
            <a:avLst/>
            <a:gdLst>
              <a:gd name="T0" fmla="*/ 19542842 w 525"/>
              <a:gd name="T1" fmla="*/ 50097674 h 241"/>
              <a:gd name="T2" fmla="*/ 31895704 w 525"/>
              <a:gd name="T3" fmla="*/ 40078247 h 241"/>
              <a:gd name="T4" fmla="*/ 17146039 w 525"/>
              <a:gd name="T5" fmla="*/ 28433659 h 241"/>
              <a:gd name="T6" fmla="*/ 8665336 w 525"/>
              <a:gd name="T7" fmla="*/ 31683443 h 241"/>
              <a:gd name="T8" fmla="*/ 12168225 w 525"/>
              <a:gd name="T9" fmla="*/ 16518478 h 241"/>
              <a:gd name="T10" fmla="*/ 7374618 w 525"/>
              <a:gd name="T11" fmla="*/ 11644063 h 241"/>
              <a:gd name="T12" fmla="*/ 20649356 w 525"/>
              <a:gd name="T13" fmla="*/ 6770167 h 241"/>
              <a:gd name="T14" fmla="*/ 34292507 w 525"/>
              <a:gd name="T15" fmla="*/ 0 h 241"/>
              <a:gd name="T16" fmla="*/ 57522878 w 525"/>
              <a:gd name="T17" fmla="*/ 5145015 h 241"/>
              <a:gd name="T18" fmla="*/ 80937440 w 525"/>
              <a:gd name="T19" fmla="*/ 6770167 h 241"/>
              <a:gd name="T20" fmla="*/ 96793183 w 525"/>
              <a:gd name="T21" fmla="*/ 14893846 h 241"/>
              <a:gd name="T22" fmla="*/ 95687098 w 525"/>
              <a:gd name="T23" fmla="*/ 18684830 h 241"/>
              <a:gd name="T24" fmla="*/ 94027542 w 525"/>
              <a:gd name="T25" fmla="*/ 22205212 h 241"/>
              <a:gd name="T26" fmla="*/ 91999576 w 525"/>
              <a:gd name="T27" fmla="*/ 24913278 h 241"/>
              <a:gd name="T28" fmla="*/ 89418569 w 525"/>
              <a:gd name="T29" fmla="*/ 26809028 h 241"/>
              <a:gd name="T30" fmla="*/ 81490482 w 525"/>
              <a:gd name="T31" fmla="*/ 27891942 h 241"/>
              <a:gd name="T32" fmla="*/ 77065714 w 525"/>
              <a:gd name="T33" fmla="*/ 28975377 h 241"/>
              <a:gd name="T34" fmla="*/ 75037748 w 525"/>
              <a:gd name="T35" fmla="*/ 30058291 h 241"/>
              <a:gd name="T36" fmla="*/ 73562826 w 525"/>
              <a:gd name="T37" fmla="*/ 31683443 h 241"/>
              <a:gd name="T38" fmla="*/ 71350227 w 525"/>
              <a:gd name="T39" fmla="*/ 36828464 h 241"/>
              <a:gd name="T40" fmla="*/ 69691099 w 525"/>
              <a:gd name="T41" fmla="*/ 39807128 h 241"/>
              <a:gd name="T42" fmla="*/ 67294296 w 525"/>
              <a:gd name="T43" fmla="*/ 41702878 h 241"/>
              <a:gd name="T44" fmla="*/ 56232146 w 525"/>
              <a:gd name="T45" fmla="*/ 44952141 h 241"/>
              <a:gd name="T46" fmla="*/ 50332455 w 525"/>
              <a:gd name="T47" fmla="*/ 46847891 h 241"/>
              <a:gd name="T48" fmla="*/ 47935651 w 525"/>
              <a:gd name="T49" fmla="*/ 48201924 h 241"/>
              <a:gd name="T50" fmla="*/ 48119856 w 525"/>
              <a:gd name="T51" fmla="*/ 51992904 h 241"/>
              <a:gd name="T52" fmla="*/ 48488694 w 525"/>
              <a:gd name="T53" fmla="*/ 54971568 h 241"/>
              <a:gd name="T54" fmla="*/ 50332455 w 525"/>
              <a:gd name="T55" fmla="*/ 60117102 h 241"/>
              <a:gd name="T56" fmla="*/ 40376403 w 525"/>
              <a:gd name="T57" fmla="*/ 61741733 h 241"/>
              <a:gd name="T58" fmla="*/ 20649356 w 525"/>
              <a:gd name="T59" fmla="*/ 63366365 h 241"/>
              <a:gd name="T60" fmla="*/ 3687524 w 525"/>
              <a:gd name="T61" fmla="*/ 60117102 h 241"/>
              <a:gd name="T62" fmla="*/ 9771421 w 525"/>
              <a:gd name="T63" fmla="*/ 44952141 h 24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525"/>
              <a:gd name="T97" fmla="*/ 0 h 241"/>
              <a:gd name="T98" fmla="*/ 525 w 525"/>
              <a:gd name="T99" fmla="*/ 241 h 241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525" h="241">
                <a:moveTo>
                  <a:pt x="60" y="178"/>
                </a:moveTo>
                <a:lnTo>
                  <a:pt x="106" y="185"/>
                </a:lnTo>
                <a:lnTo>
                  <a:pt x="140" y="178"/>
                </a:lnTo>
                <a:lnTo>
                  <a:pt x="173" y="148"/>
                </a:lnTo>
                <a:lnTo>
                  <a:pt x="133" y="123"/>
                </a:lnTo>
                <a:lnTo>
                  <a:pt x="93" y="105"/>
                </a:lnTo>
                <a:lnTo>
                  <a:pt x="73" y="123"/>
                </a:lnTo>
                <a:lnTo>
                  <a:pt x="47" y="117"/>
                </a:lnTo>
                <a:lnTo>
                  <a:pt x="33" y="93"/>
                </a:lnTo>
                <a:lnTo>
                  <a:pt x="66" y="61"/>
                </a:lnTo>
                <a:lnTo>
                  <a:pt x="40" y="55"/>
                </a:lnTo>
                <a:lnTo>
                  <a:pt x="40" y="43"/>
                </a:lnTo>
                <a:lnTo>
                  <a:pt x="66" y="19"/>
                </a:lnTo>
                <a:lnTo>
                  <a:pt x="112" y="25"/>
                </a:lnTo>
                <a:lnTo>
                  <a:pt x="173" y="49"/>
                </a:lnTo>
                <a:lnTo>
                  <a:pt x="186" y="0"/>
                </a:lnTo>
                <a:lnTo>
                  <a:pt x="232" y="12"/>
                </a:lnTo>
                <a:lnTo>
                  <a:pt x="312" y="19"/>
                </a:lnTo>
                <a:lnTo>
                  <a:pt x="372" y="25"/>
                </a:lnTo>
                <a:lnTo>
                  <a:pt x="439" y="25"/>
                </a:lnTo>
                <a:lnTo>
                  <a:pt x="519" y="49"/>
                </a:lnTo>
                <a:lnTo>
                  <a:pt x="525" y="55"/>
                </a:lnTo>
                <a:lnTo>
                  <a:pt x="522" y="62"/>
                </a:lnTo>
                <a:lnTo>
                  <a:pt x="519" y="69"/>
                </a:lnTo>
                <a:lnTo>
                  <a:pt x="514" y="76"/>
                </a:lnTo>
                <a:lnTo>
                  <a:pt x="510" y="82"/>
                </a:lnTo>
                <a:lnTo>
                  <a:pt x="504" y="87"/>
                </a:lnTo>
                <a:lnTo>
                  <a:pt x="499" y="92"/>
                </a:lnTo>
                <a:lnTo>
                  <a:pt x="492" y="96"/>
                </a:lnTo>
                <a:lnTo>
                  <a:pt x="485" y="99"/>
                </a:lnTo>
                <a:lnTo>
                  <a:pt x="466" y="101"/>
                </a:lnTo>
                <a:lnTo>
                  <a:pt x="442" y="103"/>
                </a:lnTo>
                <a:lnTo>
                  <a:pt x="430" y="105"/>
                </a:lnTo>
                <a:lnTo>
                  <a:pt x="418" y="107"/>
                </a:lnTo>
                <a:lnTo>
                  <a:pt x="412" y="109"/>
                </a:lnTo>
                <a:lnTo>
                  <a:pt x="407" y="111"/>
                </a:lnTo>
                <a:lnTo>
                  <a:pt x="402" y="114"/>
                </a:lnTo>
                <a:lnTo>
                  <a:pt x="399" y="117"/>
                </a:lnTo>
                <a:lnTo>
                  <a:pt x="394" y="124"/>
                </a:lnTo>
                <a:lnTo>
                  <a:pt x="387" y="136"/>
                </a:lnTo>
                <a:lnTo>
                  <a:pt x="383" y="142"/>
                </a:lnTo>
                <a:lnTo>
                  <a:pt x="378" y="147"/>
                </a:lnTo>
                <a:lnTo>
                  <a:pt x="373" y="151"/>
                </a:lnTo>
                <a:lnTo>
                  <a:pt x="365" y="154"/>
                </a:lnTo>
                <a:lnTo>
                  <a:pt x="341" y="160"/>
                </a:lnTo>
                <a:lnTo>
                  <a:pt x="305" y="166"/>
                </a:lnTo>
                <a:lnTo>
                  <a:pt x="287" y="170"/>
                </a:lnTo>
                <a:lnTo>
                  <a:pt x="273" y="173"/>
                </a:lnTo>
                <a:lnTo>
                  <a:pt x="263" y="176"/>
                </a:lnTo>
                <a:lnTo>
                  <a:pt x="260" y="178"/>
                </a:lnTo>
                <a:lnTo>
                  <a:pt x="260" y="186"/>
                </a:lnTo>
                <a:lnTo>
                  <a:pt x="261" y="192"/>
                </a:lnTo>
                <a:lnTo>
                  <a:pt x="262" y="197"/>
                </a:lnTo>
                <a:lnTo>
                  <a:pt x="263" y="203"/>
                </a:lnTo>
                <a:lnTo>
                  <a:pt x="267" y="212"/>
                </a:lnTo>
                <a:lnTo>
                  <a:pt x="273" y="222"/>
                </a:lnTo>
                <a:lnTo>
                  <a:pt x="266" y="222"/>
                </a:lnTo>
                <a:lnTo>
                  <a:pt x="219" y="228"/>
                </a:lnTo>
                <a:lnTo>
                  <a:pt x="166" y="241"/>
                </a:lnTo>
                <a:lnTo>
                  <a:pt x="112" y="234"/>
                </a:lnTo>
                <a:lnTo>
                  <a:pt x="60" y="222"/>
                </a:lnTo>
                <a:lnTo>
                  <a:pt x="20" y="222"/>
                </a:lnTo>
                <a:lnTo>
                  <a:pt x="0" y="203"/>
                </a:lnTo>
                <a:lnTo>
                  <a:pt x="53" y="166"/>
                </a:lnTo>
                <a:lnTo>
                  <a:pt x="60" y="178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54" name="Freeform 352"/>
          <p:cNvSpPr>
            <a:spLocks/>
          </p:cNvSpPr>
          <p:nvPr userDrawn="1">
            <p:custDataLst>
              <p:tags r:id="rId254"/>
            </p:custDataLst>
          </p:nvPr>
        </p:nvSpPr>
        <p:spPr bwMode="auto">
          <a:xfrm>
            <a:off x="5287962" y="1925243"/>
            <a:ext cx="342900" cy="170259"/>
          </a:xfrm>
          <a:custGeom>
            <a:avLst/>
            <a:gdLst>
              <a:gd name="T0" fmla="*/ 146914289 w 784"/>
              <a:gd name="T1" fmla="*/ 81384868 h 430"/>
              <a:gd name="T2" fmla="*/ 143662426 w 784"/>
              <a:gd name="T3" fmla="*/ 81663617 h 430"/>
              <a:gd name="T4" fmla="*/ 139836293 w 784"/>
              <a:gd name="T5" fmla="*/ 84171835 h 430"/>
              <a:gd name="T6" fmla="*/ 138305927 w 784"/>
              <a:gd name="T7" fmla="*/ 85844332 h 430"/>
              <a:gd name="T8" fmla="*/ 137158262 w 784"/>
              <a:gd name="T9" fmla="*/ 92533266 h 430"/>
              <a:gd name="T10" fmla="*/ 136393298 w 784"/>
              <a:gd name="T11" fmla="*/ 100337725 h 430"/>
              <a:gd name="T12" fmla="*/ 134671363 w 784"/>
              <a:gd name="T13" fmla="*/ 104797189 h 430"/>
              <a:gd name="T14" fmla="*/ 128358769 w 784"/>
              <a:gd name="T15" fmla="*/ 112043622 h 430"/>
              <a:gd name="T16" fmla="*/ 121089641 w 784"/>
              <a:gd name="T17" fmla="*/ 117060585 h 430"/>
              <a:gd name="T18" fmla="*/ 117072376 w 784"/>
              <a:gd name="T19" fmla="*/ 118175056 h 430"/>
              <a:gd name="T20" fmla="*/ 112290120 w 784"/>
              <a:gd name="T21" fmla="*/ 119568803 h 430"/>
              <a:gd name="T22" fmla="*/ 108463987 w 784"/>
              <a:gd name="T23" fmla="*/ 119290054 h 430"/>
              <a:gd name="T24" fmla="*/ 104255591 w 784"/>
              <a:gd name="T25" fmla="*/ 108141656 h 430"/>
              <a:gd name="T26" fmla="*/ 98516829 w 784"/>
              <a:gd name="T27" fmla="*/ 95878260 h 430"/>
              <a:gd name="T28" fmla="*/ 91438833 w 784"/>
              <a:gd name="T29" fmla="*/ 93090765 h 430"/>
              <a:gd name="T30" fmla="*/ 85700070 w 784"/>
              <a:gd name="T31" fmla="*/ 87795579 h 430"/>
              <a:gd name="T32" fmla="*/ 79769739 w 784"/>
              <a:gd name="T33" fmla="*/ 81942367 h 430"/>
              <a:gd name="T34" fmla="*/ 71352946 w 784"/>
              <a:gd name="T35" fmla="*/ 76367904 h 430"/>
              <a:gd name="T36" fmla="*/ 58536188 w 784"/>
              <a:gd name="T37" fmla="*/ 71908439 h 430"/>
              <a:gd name="T38" fmla="*/ 34815725 w 784"/>
              <a:gd name="T39" fmla="*/ 78876650 h 430"/>
              <a:gd name="T40" fmla="*/ 28885393 w 784"/>
              <a:gd name="T41" fmla="*/ 85286833 h 430"/>
              <a:gd name="T42" fmla="*/ 24294289 w 784"/>
              <a:gd name="T43" fmla="*/ 85844332 h 430"/>
              <a:gd name="T44" fmla="*/ 12625630 w 784"/>
              <a:gd name="T45" fmla="*/ 70236470 h 430"/>
              <a:gd name="T46" fmla="*/ 12625630 w 784"/>
              <a:gd name="T47" fmla="*/ 56858059 h 430"/>
              <a:gd name="T48" fmla="*/ 7651832 w 784"/>
              <a:gd name="T49" fmla="*/ 49889849 h 430"/>
              <a:gd name="T50" fmla="*/ 8034533 w 784"/>
              <a:gd name="T51" fmla="*/ 55464312 h 430"/>
              <a:gd name="T52" fmla="*/ 6886429 w 784"/>
              <a:gd name="T53" fmla="*/ 60760025 h 430"/>
              <a:gd name="T54" fmla="*/ 5738764 w 784"/>
              <a:gd name="T55" fmla="*/ 61596274 h 430"/>
              <a:gd name="T56" fmla="*/ 5930333 w 784"/>
              <a:gd name="T57" fmla="*/ 56579310 h 430"/>
              <a:gd name="T58" fmla="*/ 5164931 w 784"/>
              <a:gd name="T59" fmla="*/ 48496629 h 430"/>
              <a:gd name="T60" fmla="*/ 6312596 w 784"/>
              <a:gd name="T61" fmla="*/ 45430384 h 430"/>
              <a:gd name="T62" fmla="*/ 7651832 w 784"/>
              <a:gd name="T63" fmla="*/ 42364667 h 430"/>
              <a:gd name="T64" fmla="*/ 5164931 w 784"/>
              <a:gd name="T65" fmla="*/ 35954484 h 430"/>
              <a:gd name="T66" fmla="*/ 1339234 w 784"/>
              <a:gd name="T67" fmla="*/ 35118235 h 430"/>
              <a:gd name="T68" fmla="*/ 0 w 784"/>
              <a:gd name="T69" fmla="*/ 32609481 h 430"/>
              <a:gd name="T70" fmla="*/ 573833 w 784"/>
              <a:gd name="T71" fmla="*/ 28986265 h 430"/>
              <a:gd name="T72" fmla="*/ 2104199 w 784"/>
              <a:gd name="T73" fmla="*/ 26199297 h 430"/>
              <a:gd name="T74" fmla="*/ 5164931 w 784"/>
              <a:gd name="T75" fmla="*/ 25641798 h 430"/>
              <a:gd name="T76" fmla="*/ 7842964 w 784"/>
              <a:gd name="T77" fmla="*/ 27593045 h 430"/>
              <a:gd name="T78" fmla="*/ 10903695 w 784"/>
              <a:gd name="T79" fmla="*/ 28986265 h 430"/>
              <a:gd name="T80" fmla="*/ 13581726 w 784"/>
              <a:gd name="T81" fmla="*/ 25641798 h 430"/>
              <a:gd name="T82" fmla="*/ 15877497 w 784"/>
              <a:gd name="T83" fmla="*/ 21461083 h 430"/>
              <a:gd name="T84" fmla="*/ 16642461 w 784"/>
              <a:gd name="T85" fmla="*/ 17837867 h 430"/>
              <a:gd name="T86" fmla="*/ 14920963 w 784"/>
              <a:gd name="T87" fmla="*/ 15329117 h 430"/>
              <a:gd name="T88" fmla="*/ 10520994 w 784"/>
              <a:gd name="T89" fmla="*/ 13657148 h 430"/>
              <a:gd name="T90" fmla="*/ 8991066 w 784"/>
              <a:gd name="T91" fmla="*/ 11148402 h 430"/>
              <a:gd name="T92" fmla="*/ 7842964 w 784"/>
              <a:gd name="T93" fmla="*/ 7803933 h 430"/>
              <a:gd name="T94" fmla="*/ 20468594 w 784"/>
              <a:gd name="T95" fmla="*/ 11984651 h 430"/>
              <a:gd name="T96" fmla="*/ 41893721 w 784"/>
              <a:gd name="T97" fmla="*/ 20624834 h 430"/>
              <a:gd name="T98" fmla="*/ 52223580 w 784"/>
              <a:gd name="T99" fmla="*/ 0 h 430"/>
              <a:gd name="T100" fmla="*/ 71352946 w 784"/>
              <a:gd name="T101" fmla="*/ 11984651 h 430"/>
              <a:gd name="T102" fmla="*/ 88951934 w 784"/>
              <a:gd name="T103" fmla="*/ 25641798 h 430"/>
              <a:gd name="T104" fmla="*/ 113055084 w 784"/>
              <a:gd name="T105" fmla="*/ 58530029 h 430"/>
              <a:gd name="T106" fmla="*/ 138497496 w 784"/>
              <a:gd name="T107" fmla="*/ 73859686 h 430"/>
              <a:gd name="T108" fmla="*/ 148827356 w 784"/>
              <a:gd name="T109" fmla="*/ 82221116 h 43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784"/>
              <a:gd name="T166" fmla="*/ 0 h 430"/>
              <a:gd name="T167" fmla="*/ 784 w 784"/>
              <a:gd name="T168" fmla="*/ 430 h 430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784" h="430">
                <a:moveTo>
                  <a:pt x="778" y="295"/>
                </a:moveTo>
                <a:lnTo>
                  <a:pt x="772" y="294"/>
                </a:lnTo>
                <a:lnTo>
                  <a:pt x="768" y="292"/>
                </a:lnTo>
                <a:lnTo>
                  <a:pt x="762" y="292"/>
                </a:lnTo>
                <a:lnTo>
                  <a:pt x="757" y="292"/>
                </a:lnTo>
                <a:lnTo>
                  <a:pt x="751" y="293"/>
                </a:lnTo>
                <a:lnTo>
                  <a:pt x="745" y="295"/>
                </a:lnTo>
                <a:lnTo>
                  <a:pt x="738" y="298"/>
                </a:lnTo>
                <a:lnTo>
                  <a:pt x="731" y="302"/>
                </a:lnTo>
                <a:lnTo>
                  <a:pt x="727" y="303"/>
                </a:lnTo>
                <a:lnTo>
                  <a:pt x="725" y="305"/>
                </a:lnTo>
                <a:lnTo>
                  <a:pt x="723" y="308"/>
                </a:lnTo>
                <a:lnTo>
                  <a:pt x="721" y="312"/>
                </a:lnTo>
                <a:lnTo>
                  <a:pt x="718" y="322"/>
                </a:lnTo>
                <a:lnTo>
                  <a:pt x="717" y="332"/>
                </a:lnTo>
                <a:lnTo>
                  <a:pt x="716" y="343"/>
                </a:lnTo>
                <a:lnTo>
                  <a:pt x="714" y="354"/>
                </a:lnTo>
                <a:lnTo>
                  <a:pt x="713" y="360"/>
                </a:lnTo>
                <a:lnTo>
                  <a:pt x="711" y="365"/>
                </a:lnTo>
                <a:lnTo>
                  <a:pt x="708" y="370"/>
                </a:lnTo>
                <a:lnTo>
                  <a:pt x="704" y="376"/>
                </a:lnTo>
                <a:lnTo>
                  <a:pt x="694" y="385"/>
                </a:lnTo>
                <a:lnTo>
                  <a:pt x="683" y="394"/>
                </a:lnTo>
                <a:lnTo>
                  <a:pt x="671" y="402"/>
                </a:lnTo>
                <a:lnTo>
                  <a:pt x="659" y="409"/>
                </a:lnTo>
                <a:lnTo>
                  <a:pt x="647" y="416"/>
                </a:lnTo>
                <a:lnTo>
                  <a:pt x="633" y="420"/>
                </a:lnTo>
                <a:lnTo>
                  <a:pt x="626" y="422"/>
                </a:lnTo>
                <a:lnTo>
                  <a:pt x="620" y="424"/>
                </a:lnTo>
                <a:lnTo>
                  <a:pt x="612" y="424"/>
                </a:lnTo>
                <a:lnTo>
                  <a:pt x="604" y="425"/>
                </a:lnTo>
                <a:lnTo>
                  <a:pt x="596" y="426"/>
                </a:lnTo>
                <a:lnTo>
                  <a:pt x="587" y="429"/>
                </a:lnTo>
                <a:lnTo>
                  <a:pt x="581" y="430"/>
                </a:lnTo>
                <a:lnTo>
                  <a:pt x="575" y="430"/>
                </a:lnTo>
                <a:lnTo>
                  <a:pt x="567" y="428"/>
                </a:lnTo>
                <a:lnTo>
                  <a:pt x="558" y="425"/>
                </a:lnTo>
                <a:lnTo>
                  <a:pt x="553" y="406"/>
                </a:lnTo>
                <a:lnTo>
                  <a:pt x="545" y="388"/>
                </a:lnTo>
                <a:lnTo>
                  <a:pt x="537" y="367"/>
                </a:lnTo>
                <a:lnTo>
                  <a:pt x="532" y="345"/>
                </a:lnTo>
                <a:lnTo>
                  <a:pt x="515" y="344"/>
                </a:lnTo>
                <a:lnTo>
                  <a:pt x="501" y="342"/>
                </a:lnTo>
                <a:lnTo>
                  <a:pt x="489" y="339"/>
                </a:lnTo>
                <a:lnTo>
                  <a:pt x="478" y="334"/>
                </a:lnTo>
                <a:lnTo>
                  <a:pt x="467" y="329"/>
                </a:lnTo>
                <a:lnTo>
                  <a:pt x="458" y="323"/>
                </a:lnTo>
                <a:lnTo>
                  <a:pt x="448" y="315"/>
                </a:lnTo>
                <a:lnTo>
                  <a:pt x="439" y="308"/>
                </a:lnTo>
                <a:lnTo>
                  <a:pt x="429" y="301"/>
                </a:lnTo>
                <a:lnTo>
                  <a:pt x="417" y="294"/>
                </a:lnTo>
                <a:lnTo>
                  <a:pt x="404" y="287"/>
                </a:lnTo>
                <a:lnTo>
                  <a:pt x="389" y="280"/>
                </a:lnTo>
                <a:lnTo>
                  <a:pt x="373" y="274"/>
                </a:lnTo>
                <a:lnTo>
                  <a:pt x="354" y="268"/>
                </a:lnTo>
                <a:lnTo>
                  <a:pt x="331" y="262"/>
                </a:lnTo>
                <a:lnTo>
                  <a:pt x="306" y="258"/>
                </a:lnTo>
                <a:lnTo>
                  <a:pt x="212" y="258"/>
                </a:lnTo>
                <a:lnTo>
                  <a:pt x="204" y="267"/>
                </a:lnTo>
                <a:lnTo>
                  <a:pt x="182" y="283"/>
                </a:lnTo>
                <a:lnTo>
                  <a:pt x="171" y="292"/>
                </a:lnTo>
                <a:lnTo>
                  <a:pt x="160" y="300"/>
                </a:lnTo>
                <a:lnTo>
                  <a:pt x="151" y="306"/>
                </a:lnTo>
                <a:lnTo>
                  <a:pt x="146" y="308"/>
                </a:lnTo>
                <a:lnTo>
                  <a:pt x="137" y="308"/>
                </a:lnTo>
                <a:lnTo>
                  <a:pt x="127" y="308"/>
                </a:lnTo>
                <a:lnTo>
                  <a:pt x="119" y="308"/>
                </a:lnTo>
                <a:lnTo>
                  <a:pt x="113" y="308"/>
                </a:lnTo>
                <a:lnTo>
                  <a:pt x="66" y="252"/>
                </a:lnTo>
                <a:lnTo>
                  <a:pt x="66" y="237"/>
                </a:lnTo>
                <a:lnTo>
                  <a:pt x="66" y="223"/>
                </a:lnTo>
                <a:lnTo>
                  <a:pt x="66" y="204"/>
                </a:lnTo>
                <a:lnTo>
                  <a:pt x="66" y="179"/>
                </a:lnTo>
                <a:lnTo>
                  <a:pt x="53" y="179"/>
                </a:lnTo>
                <a:lnTo>
                  <a:pt x="40" y="179"/>
                </a:lnTo>
                <a:lnTo>
                  <a:pt x="42" y="185"/>
                </a:lnTo>
                <a:lnTo>
                  <a:pt x="42" y="192"/>
                </a:lnTo>
                <a:lnTo>
                  <a:pt x="42" y="199"/>
                </a:lnTo>
                <a:lnTo>
                  <a:pt x="41" y="205"/>
                </a:lnTo>
                <a:lnTo>
                  <a:pt x="39" y="212"/>
                </a:lnTo>
                <a:lnTo>
                  <a:pt x="36" y="218"/>
                </a:lnTo>
                <a:lnTo>
                  <a:pt x="31" y="223"/>
                </a:lnTo>
                <a:lnTo>
                  <a:pt x="27" y="228"/>
                </a:lnTo>
                <a:lnTo>
                  <a:pt x="30" y="221"/>
                </a:lnTo>
                <a:lnTo>
                  <a:pt x="32" y="215"/>
                </a:lnTo>
                <a:lnTo>
                  <a:pt x="32" y="208"/>
                </a:lnTo>
                <a:lnTo>
                  <a:pt x="31" y="203"/>
                </a:lnTo>
                <a:lnTo>
                  <a:pt x="29" y="191"/>
                </a:lnTo>
                <a:lnTo>
                  <a:pt x="27" y="179"/>
                </a:lnTo>
                <a:lnTo>
                  <a:pt x="27" y="174"/>
                </a:lnTo>
                <a:lnTo>
                  <a:pt x="29" y="170"/>
                </a:lnTo>
                <a:lnTo>
                  <a:pt x="31" y="167"/>
                </a:lnTo>
                <a:lnTo>
                  <a:pt x="33" y="163"/>
                </a:lnTo>
                <a:lnTo>
                  <a:pt x="36" y="160"/>
                </a:lnTo>
                <a:lnTo>
                  <a:pt x="38" y="156"/>
                </a:lnTo>
                <a:lnTo>
                  <a:pt x="40" y="152"/>
                </a:lnTo>
                <a:lnTo>
                  <a:pt x="40" y="147"/>
                </a:lnTo>
                <a:lnTo>
                  <a:pt x="31" y="136"/>
                </a:lnTo>
                <a:lnTo>
                  <a:pt x="27" y="129"/>
                </a:lnTo>
                <a:lnTo>
                  <a:pt x="20" y="129"/>
                </a:lnTo>
                <a:lnTo>
                  <a:pt x="11" y="128"/>
                </a:lnTo>
                <a:lnTo>
                  <a:pt x="7" y="126"/>
                </a:lnTo>
                <a:lnTo>
                  <a:pt x="4" y="124"/>
                </a:lnTo>
                <a:lnTo>
                  <a:pt x="1" y="121"/>
                </a:lnTo>
                <a:lnTo>
                  <a:pt x="0" y="117"/>
                </a:lnTo>
                <a:lnTo>
                  <a:pt x="0" y="113"/>
                </a:lnTo>
                <a:lnTo>
                  <a:pt x="1" y="108"/>
                </a:lnTo>
                <a:lnTo>
                  <a:pt x="3" y="104"/>
                </a:lnTo>
                <a:lnTo>
                  <a:pt x="5" y="100"/>
                </a:lnTo>
                <a:lnTo>
                  <a:pt x="8" y="96"/>
                </a:lnTo>
                <a:lnTo>
                  <a:pt x="11" y="94"/>
                </a:lnTo>
                <a:lnTo>
                  <a:pt x="16" y="92"/>
                </a:lnTo>
                <a:lnTo>
                  <a:pt x="20" y="92"/>
                </a:lnTo>
                <a:lnTo>
                  <a:pt x="27" y="92"/>
                </a:lnTo>
                <a:lnTo>
                  <a:pt x="32" y="94"/>
                </a:lnTo>
                <a:lnTo>
                  <a:pt x="37" y="96"/>
                </a:lnTo>
                <a:lnTo>
                  <a:pt x="41" y="99"/>
                </a:lnTo>
                <a:lnTo>
                  <a:pt x="45" y="101"/>
                </a:lnTo>
                <a:lnTo>
                  <a:pt x="51" y="103"/>
                </a:lnTo>
                <a:lnTo>
                  <a:pt x="57" y="104"/>
                </a:lnTo>
                <a:lnTo>
                  <a:pt x="66" y="105"/>
                </a:lnTo>
                <a:lnTo>
                  <a:pt x="67" y="99"/>
                </a:lnTo>
                <a:lnTo>
                  <a:pt x="71" y="92"/>
                </a:lnTo>
                <a:lnTo>
                  <a:pt x="75" y="87"/>
                </a:lnTo>
                <a:lnTo>
                  <a:pt x="79" y="82"/>
                </a:lnTo>
                <a:lnTo>
                  <a:pt x="83" y="77"/>
                </a:lnTo>
                <a:lnTo>
                  <a:pt x="86" y="71"/>
                </a:lnTo>
                <a:lnTo>
                  <a:pt x="87" y="67"/>
                </a:lnTo>
                <a:lnTo>
                  <a:pt x="87" y="64"/>
                </a:lnTo>
                <a:lnTo>
                  <a:pt x="87" y="60"/>
                </a:lnTo>
                <a:lnTo>
                  <a:pt x="86" y="56"/>
                </a:lnTo>
                <a:lnTo>
                  <a:pt x="78" y="55"/>
                </a:lnTo>
                <a:lnTo>
                  <a:pt x="71" y="54"/>
                </a:lnTo>
                <a:lnTo>
                  <a:pt x="63" y="52"/>
                </a:lnTo>
                <a:lnTo>
                  <a:pt x="55" y="49"/>
                </a:lnTo>
                <a:lnTo>
                  <a:pt x="52" y="47"/>
                </a:lnTo>
                <a:lnTo>
                  <a:pt x="50" y="44"/>
                </a:lnTo>
                <a:lnTo>
                  <a:pt x="47" y="40"/>
                </a:lnTo>
                <a:lnTo>
                  <a:pt x="44" y="37"/>
                </a:lnTo>
                <a:lnTo>
                  <a:pt x="42" y="33"/>
                </a:lnTo>
                <a:lnTo>
                  <a:pt x="41" y="28"/>
                </a:lnTo>
                <a:lnTo>
                  <a:pt x="40" y="24"/>
                </a:lnTo>
                <a:lnTo>
                  <a:pt x="40" y="18"/>
                </a:lnTo>
                <a:lnTo>
                  <a:pt x="107" y="43"/>
                </a:lnTo>
                <a:lnTo>
                  <a:pt x="133" y="80"/>
                </a:lnTo>
                <a:lnTo>
                  <a:pt x="179" y="86"/>
                </a:lnTo>
                <a:lnTo>
                  <a:pt x="219" y="74"/>
                </a:lnTo>
                <a:lnTo>
                  <a:pt x="212" y="43"/>
                </a:lnTo>
                <a:lnTo>
                  <a:pt x="253" y="24"/>
                </a:lnTo>
                <a:lnTo>
                  <a:pt x="273" y="0"/>
                </a:lnTo>
                <a:lnTo>
                  <a:pt x="306" y="6"/>
                </a:lnTo>
                <a:lnTo>
                  <a:pt x="339" y="24"/>
                </a:lnTo>
                <a:lnTo>
                  <a:pt x="373" y="43"/>
                </a:lnTo>
                <a:lnTo>
                  <a:pt x="386" y="80"/>
                </a:lnTo>
                <a:lnTo>
                  <a:pt x="425" y="92"/>
                </a:lnTo>
                <a:lnTo>
                  <a:pt x="465" y="92"/>
                </a:lnTo>
                <a:lnTo>
                  <a:pt x="512" y="141"/>
                </a:lnTo>
                <a:lnTo>
                  <a:pt x="545" y="179"/>
                </a:lnTo>
                <a:lnTo>
                  <a:pt x="591" y="210"/>
                </a:lnTo>
                <a:lnTo>
                  <a:pt x="632" y="222"/>
                </a:lnTo>
                <a:lnTo>
                  <a:pt x="678" y="252"/>
                </a:lnTo>
                <a:lnTo>
                  <a:pt x="724" y="265"/>
                </a:lnTo>
                <a:lnTo>
                  <a:pt x="758" y="277"/>
                </a:lnTo>
                <a:lnTo>
                  <a:pt x="784" y="289"/>
                </a:lnTo>
                <a:lnTo>
                  <a:pt x="778" y="295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55" name="Freeform 353"/>
          <p:cNvSpPr>
            <a:spLocks/>
          </p:cNvSpPr>
          <p:nvPr userDrawn="1">
            <p:custDataLst>
              <p:tags r:id="rId255"/>
            </p:custDataLst>
          </p:nvPr>
        </p:nvSpPr>
        <p:spPr bwMode="auto">
          <a:xfrm>
            <a:off x="4459290" y="1840719"/>
            <a:ext cx="107950" cy="111919"/>
          </a:xfrm>
          <a:custGeom>
            <a:avLst/>
            <a:gdLst>
              <a:gd name="T0" fmla="*/ 5777081 w 246"/>
              <a:gd name="T1" fmla="*/ 7454418 h 284"/>
              <a:gd name="T2" fmla="*/ 5391796 w 246"/>
              <a:gd name="T3" fmla="*/ 6626325 h 284"/>
              <a:gd name="T4" fmla="*/ 4621665 w 246"/>
              <a:gd name="T5" fmla="*/ 4693231 h 284"/>
              <a:gd name="T6" fmla="*/ 6739854 w 246"/>
              <a:gd name="T7" fmla="*/ 1380331 h 284"/>
              <a:gd name="T8" fmla="*/ 12901781 w 246"/>
              <a:gd name="T9" fmla="*/ 275856 h 284"/>
              <a:gd name="T10" fmla="*/ 24262860 w 246"/>
              <a:gd name="T11" fmla="*/ 3312900 h 284"/>
              <a:gd name="T12" fmla="*/ 25226073 w 246"/>
              <a:gd name="T13" fmla="*/ 8282511 h 284"/>
              <a:gd name="T14" fmla="*/ 26766334 w 246"/>
              <a:gd name="T15" fmla="*/ 12699887 h 284"/>
              <a:gd name="T16" fmla="*/ 29077173 w 246"/>
              <a:gd name="T17" fmla="*/ 15736930 h 284"/>
              <a:gd name="T18" fmla="*/ 31772850 w 246"/>
              <a:gd name="T19" fmla="*/ 18497595 h 284"/>
              <a:gd name="T20" fmla="*/ 36779798 w 246"/>
              <a:gd name="T21" fmla="*/ 24019443 h 284"/>
              <a:gd name="T22" fmla="*/ 39090630 w 246"/>
              <a:gd name="T23" fmla="*/ 27884579 h 284"/>
              <a:gd name="T24" fmla="*/ 40823534 w 246"/>
              <a:gd name="T25" fmla="*/ 32301952 h 284"/>
              <a:gd name="T26" fmla="*/ 43519650 w 246"/>
              <a:gd name="T27" fmla="*/ 32301952 h 284"/>
              <a:gd name="T28" fmla="*/ 42556438 w 246"/>
              <a:gd name="T29" fmla="*/ 34235046 h 284"/>
              <a:gd name="T30" fmla="*/ 42556438 w 246"/>
              <a:gd name="T31" fmla="*/ 35615385 h 284"/>
              <a:gd name="T32" fmla="*/ 43904497 w 246"/>
              <a:gd name="T33" fmla="*/ 38652427 h 284"/>
              <a:gd name="T34" fmla="*/ 46022686 w 246"/>
              <a:gd name="T35" fmla="*/ 42517563 h 284"/>
              <a:gd name="T36" fmla="*/ 46985459 w 246"/>
              <a:gd name="T37" fmla="*/ 44725987 h 284"/>
              <a:gd name="T38" fmla="*/ 47370744 w 246"/>
              <a:gd name="T39" fmla="*/ 47763030 h 284"/>
              <a:gd name="T40" fmla="*/ 46407970 w 246"/>
              <a:gd name="T41" fmla="*/ 50800073 h 284"/>
              <a:gd name="T42" fmla="*/ 44867270 w 246"/>
              <a:gd name="T43" fmla="*/ 53008497 h 284"/>
              <a:gd name="T44" fmla="*/ 42941723 w 246"/>
              <a:gd name="T45" fmla="*/ 54665209 h 284"/>
              <a:gd name="T46" fmla="*/ 42364235 w 246"/>
              <a:gd name="T47" fmla="*/ 56321921 h 284"/>
              <a:gd name="T48" fmla="*/ 36394513 w 246"/>
              <a:gd name="T49" fmla="*/ 59358964 h 284"/>
              <a:gd name="T50" fmla="*/ 31580647 w 246"/>
              <a:gd name="T51" fmla="*/ 63499956 h 284"/>
              <a:gd name="T52" fmla="*/ 21759825 w 246"/>
              <a:gd name="T53" fmla="*/ 73163337 h 284"/>
              <a:gd name="T54" fmla="*/ 16945520 w 246"/>
              <a:gd name="T55" fmla="*/ 63776337 h 284"/>
              <a:gd name="T56" fmla="*/ 15212615 w 246"/>
              <a:gd name="T57" fmla="*/ 60739294 h 284"/>
              <a:gd name="T58" fmla="*/ 13864554 w 246"/>
              <a:gd name="T59" fmla="*/ 59634820 h 284"/>
              <a:gd name="T60" fmla="*/ 11553722 w 246"/>
              <a:gd name="T61" fmla="*/ 59910676 h 284"/>
              <a:gd name="T62" fmla="*/ 10398307 w 246"/>
              <a:gd name="T63" fmla="*/ 61015150 h 284"/>
              <a:gd name="T64" fmla="*/ 9435533 w 246"/>
              <a:gd name="T65" fmla="*/ 62947718 h 284"/>
              <a:gd name="T66" fmla="*/ 9242891 w 246"/>
              <a:gd name="T67" fmla="*/ 65156668 h 284"/>
              <a:gd name="T68" fmla="*/ 8665402 w 246"/>
              <a:gd name="T69" fmla="*/ 70954388 h 284"/>
              <a:gd name="T70" fmla="*/ 7895271 w 246"/>
              <a:gd name="T71" fmla="*/ 74543668 h 284"/>
              <a:gd name="T72" fmla="*/ 6354569 w 246"/>
              <a:gd name="T73" fmla="*/ 78408804 h 284"/>
              <a:gd name="T74" fmla="*/ 5006511 w 246"/>
              <a:gd name="T75" fmla="*/ 67089236 h 284"/>
              <a:gd name="T76" fmla="*/ 3273606 w 246"/>
              <a:gd name="T77" fmla="*/ 62671862 h 284"/>
              <a:gd name="T78" fmla="*/ 2118190 w 246"/>
              <a:gd name="T79" fmla="*/ 61015150 h 284"/>
              <a:gd name="T80" fmla="*/ 0 w 246"/>
              <a:gd name="T81" fmla="*/ 59634820 h 284"/>
              <a:gd name="T82" fmla="*/ 192642 w 246"/>
              <a:gd name="T83" fmla="*/ 56321921 h 284"/>
              <a:gd name="T84" fmla="*/ 770131 w 246"/>
              <a:gd name="T85" fmla="*/ 53284878 h 284"/>
              <a:gd name="T86" fmla="*/ 2888321 w 246"/>
              <a:gd name="T87" fmla="*/ 48591123 h 284"/>
              <a:gd name="T88" fmla="*/ 5969284 w 246"/>
              <a:gd name="T89" fmla="*/ 44450131 h 284"/>
              <a:gd name="T90" fmla="*/ 8858045 w 246"/>
              <a:gd name="T91" fmla="*/ 38928283 h 284"/>
              <a:gd name="T92" fmla="*/ 6354569 w 246"/>
              <a:gd name="T93" fmla="*/ 12147649 h 284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246"/>
              <a:gd name="T142" fmla="*/ 0 h 284"/>
              <a:gd name="T143" fmla="*/ 246 w 246"/>
              <a:gd name="T144" fmla="*/ 284 h 284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246" h="284">
                <a:moveTo>
                  <a:pt x="33" y="44"/>
                </a:moveTo>
                <a:lnTo>
                  <a:pt x="30" y="27"/>
                </a:lnTo>
                <a:lnTo>
                  <a:pt x="28" y="24"/>
                </a:lnTo>
                <a:lnTo>
                  <a:pt x="26" y="22"/>
                </a:lnTo>
                <a:lnTo>
                  <a:pt x="24" y="17"/>
                </a:lnTo>
                <a:lnTo>
                  <a:pt x="20" y="6"/>
                </a:lnTo>
                <a:lnTo>
                  <a:pt x="35" y="5"/>
                </a:lnTo>
                <a:lnTo>
                  <a:pt x="50" y="3"/>
                </a:lnTo>
                <a:lnTo>
                  <a:pt x="67" y="1"/>
                </a:lnTo>
                <a:lnTo>
                  <a:pt x="87" y="0"/>
                </a:lnTo>
                <a:lnTo>
                  <a:pt x="126" y="12"/>
                </a:lnTo>
                <a:lnTo>
                  <a:pt x="127" y="22"/>
                </a:lnTo>
                <a:lnTo>
                  <a:pt x="131" y="30"/>
                </a:lnTo>
                <a:lnTo>
                  <a:pt x="135" y="39"/>
                </a:lnTo>
                <a:lnTo>
                  <a:pt x="139" y="46"/>
                </a:lnTo>
                <a:lnTo>
                  <a:pt x="145" y="52"/>
                </a:lnTo>
                <a:lnTo>
                  <a:pt x="151" y="57"/>
                </a:lnTo>
                <a:lnTo>
                  <a:pt x="157" y="62"/>
                </a:lnTo>
                <a:lnTo>
                  <a:pt x="165" y="67"/>
                </a:lnTo>
                <a:lnTo>
                  <a:pt x="178" y="77"/>
                </a:lnTo>
                <a:lnTo>
                  <a:pt x="191" y="87"/>
                </a:lnTo>
                <a:lnTo>
                  <a:pt x="198" y="94"/>
                </a:lnTo>
                <a:lnTo>
                  <a:pt x="203" y="101"/>
                </a:lnTo>
                <a:lnTo>
                  <a:pt x="209" y="109"/>
                </a:lnTo>
                <a:lnTo>
                  <a:pt x="212" y="117"/>
                </a:lnTo>
                <a:lnTo>
                  <a:pt x="220" y="117"/>
                </a:lnTo>
                <a:lnTo>
                  <a:pt x="226" y="117"/>
                </a:lnTo>
                <a:lnTo>
                  <a:pt x="223" y="121"/>
                </a:lnTo>
                <a:lnTo>
                  <a:pt x="221" y="124"/>
                </a:lnTo>
                <a:lnTo>
                  <a:pt x="220" y="126"/>
                </a:lnTo>
                <a:lnTo>
                  <a:pt x="221" y="129"/>
                </a:lnTo>
                <a:lnTo>
                  <a:pt x="223" y="135"/>
                </a:lnTo>
                <a:lnTo>
                  <a:pt x="228" y="140"/>
                </a:lnTo>
                <a:lnTo>
                  <a:pt x="234" y="146"/>
                </a:lnTo>
                <a:lnTo>
                  <a:pt x="239" y="154"/>
                </a:lnTo>
                <a:lnTo>
                  <a:pt x="241" y="158"/>
                </a:lnTo>
                <a:lnTo>
                  <a:pt x="244" y="162"/>
                </a:lnTo>
                <a:lnTo>
                  <a:pt x="245" y="167"/>
                </a:lnTo>
                <a:lnTo>
                  <a:pt x="246" y="173"/>
                </a:lnTo>
                <a:lnTo>
                  <a:pt x="245" y="179"/>
                </a:lnTo>
                <a:lnTo>
                  <a:pt x="241" y="184"/>
                </a:lnTo>
                <a:lnTo>
                  <a:pt x="237" y="189"/>
                </a:lnTo>
                <a:lnTo>
                  <a:pt x="233" y="192"/>
                </a:lnTo>
                <a:lnTo>
                  <a:pt x="227" y="196"/>
                </a:lnTo>
                <a:lnTo>
                  <a:pt x="223" y="198"/>
                </a:lnTo>
                <a:lnTo>
                  <a:pt x="221" y="201"/>
                </a:lnTo>
                <a:lnTo>
                  <a:pt x="220" y="204"/>
                </a:lnTo>
                <a:lnTo>
                  <a:pt x="203" y="209"/>
                </a:lnTo>
                <a:lnTo>
                  <a:pt x="189" y="215"/>
                </a:lnTo>
                <a:lnTo>
                  <a:pt x="176" y="222"/>
                </a:lnTo>
                <a:lnTo>
                  <a:pt x="164" y="230"/>
                </a:lnTo>
                <a:lnTo>
                  <a:pt x="139" y="246"/>
                </a:lnTo>
                <a:lnTo>
                  <a:pt x="113" y="265"/>
                </a:lnTo>
                <a:lnTo>
                  <a:pt x="99" y="247"/>
                </a:lnTo>
                <a:lnTo>
                  <a:pt x="88" y="231"/>
                </a:lnTo>
                <a:lnTo>
                  <a:pt x="83" y="225"/>
                </a:lnTo>
                <a:lnTo>
                  <a:pt x="79" y="220"/>
                </a:lnTo>
                <a:lnTo>
                  <a:pt x="76" y="217"/>
                </a:lnTo>
                <a:lnTo>
                  <a:pt x="72" y="216"/>
                </a:lnTo>
                <a:lnTo>
                  <a:pt x="66" y="216"/>
                </a:lnTo>
                <a:lnTo>
                  <a:pt x="60" y="217"/>
                </a:lnTo>
                <a:lnTo>
                  <a:pt x="57" y="219"/>
                </a:lnTo>
                <a:lnTo>
                  <a:pt x="54" y="221"/>
                </a:lnTo>
                <a:lnTo>
                  <a:pt x="52" y="224"/>
                </a:lnTo>
                <a:lnTo>
                  <a:pt x="49" y="228"/>
                </a:lnTo>
                <a:lnTo>
                  <a:pt x="48" y="231"/>
                </a:lnTo>
                <a:lnTo>
                  <a:pt x="48" y="236"/>
                </a:lnTo>
                <a:lnTo>
                  <a:pt x="47" y="246"/>
                </a:lnTo>
                <a:lnTo>
                  <a:pt x="45" y="257"/>
                </a:lnTo>
                <a:lnTo>
                  <a:pt x="43" y="264"/>
                </a:lnTo>
                <a:lnTo>
                  <a:pt x="41" y="270"/>
                </a:lnTo>
                <a:lnTo>
                  <a:pt x="37" y="277"/>
                </a:lnTo>
                <a:lnTo>
                  <a:pt x="33" y="284"/>
                </a:lnTo>
                <a:lnTo>
                  <a:pt x="30" y="262"/>
                </a:lnTo>
                <a:lnTo>
                  <a:pt x="26" y="243"/>
                </a:lnTo>
                <a:lnTo>
                  <a:pt x="23" y="234"/>
                </a:lnTo>
                <a:lnTo>
                  <a:pt x="17" y="227"/>
                </a:lnTo>
                <a:lnTo>
                  <a:pt x="14" y="224"/>
                </a:lnTo>
                <a:lnTo>
                  <a:pt x="11" y="221"/>
                </a:lnTo>
                <a:lnTo>
                  <a:pt x="5" y="218"/>
                </a:lnTo>
                <a:lnTo>
                  <a:pt x="0" y="216"/>
                </a:lnTo>
                <a:lnTo>
                  <a:pt x="0" y="210"/>
                </a:lnTo>
                <a:lnTo>
                  <a:pt x="1" y="204"/>
                </a:lnTo>
                <a:lnTo>
                  <a:pt x="2" y="197"/>
                </a:lnTo>
                <a:lnTo>
                  <a:pt x="4" y="193"/>
                </a:lnTo>
                <a:lnTo>
                  <a:pt x="9" y="184"/>
                </a:lnTo>
                <a:lnTo>
                  <a:pt x="15" y="176"/>
                </a:lnTo>
                <a:lnTo>
                  <a:pt x="23" y="169"/>
                </a:lnTo>
                <a:lnTo>
                  <a:pt x="31" y="161"/>
                </a:lnTo>
                <a:lnTo>
                  <a:pt x="38" y="153"/>
                </a:lnTo>
                <a:lnTo>
                  <a:pt x="46" y="141"/>
                </a:lnTo>
                <a:lnTo>
                  <a:pt x="0" y="62"/>
                </a:lnTo>
                <a:lnTo>
                  <a:pt x="33" y="44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56" name="Freeform 354"/>
          <p:cNvSpPr>
            <a:spLocks/>
          </p:cNvSpPr>
          <p:nvPr userDrawn="1">
            <p:custDataLst>
              <p:tags r:id="rId256"/>
            </p:custDataLst>
          </p:nvPr>
        </p:nvSpPr>
        <p:spPr bwMode="auto">
          <a:xfrm>
            <a:off x="4506921" y="1921680"/>
            <a:ext cx="68263" cy="45244"/>
          </a:xfrm>
          <a:custGeom>
            <a:avLst/>
            <a:gdLst>
              <a:gd name="T0" fmla="*/ 20750671 w 160"/>
              <a:gd name="T1" fmla="*/ 0 h 117"/>
              <a:gd name="T2" fmla="*/ 20750671 w 160"/>
              <a:gd name="T3" fmla="*/ 2392376 h 117"/>
              <a:gd name="T4" fmla="*/ 20750671 w 160"/>
              <a:gd name="T5" fmla="*/ 4785269 h 117"/>
              <a:gd name="T6" fmla="*/ 20932848 w 160"/>
              <a:gd name="T7" fmla="*/ 6646062 h 117"/>
              <a:gd name="T8" fmla="*/ 21296775 w 160"/>
              <a:gd name="T9" fmla="*/ 8506858 h 117"/>
              <a:gd name="T10" fmla="*/ 21661128 w 160"/>
              <a:gd name="T11" fmla="*/ 9038440 h 117"/>
              <a:gd name="T12" fmla="*/ 22025055 w 160"/>
              <a:gd name="T13" fmla="*/ 9836070 h 117"/>
              <a:gd name="T14" fmla="*/ 22388982 w 160"/>
              <a:gd name="T15" fmla="*/ 10102119 h 117"/>
              <a:gd name="T16" fmla="*/ 23117263 w 160"/>
              <a:gd name="T17" fmla="*/ 10367652 h 117"/>
              <a:gd name="T18" fmla="*/ 23845117 w 160"/>
              <a:gd name="T19" fmla="*/ 10633700 h 117"/>
              <a:gd name="T20" fmla="*/ 24573397 w 160"/>
              <a:gd name="T21" fmla="*/ 10367652 h 117"/>
              <a:gd name="T22" fmla="*/ 25483428 w 160"/>
              <a:gd name="T23" fmla="*/ 10102119 h 117"/>
              <a:gd name="T24" fmla="*/ 26575636 w 160"/>
              <a:gd name="T25" fmla="*/ 9570537 h 117"/>
              <a:gd name="T26" fmla="*/ 27121740 w 160"/>
              <a:gd name="T27" fmla="*/ 11431331 h 117"/>
              <a:gd name="T28" fmla="*/ 27849593 w 160"/>
              <a:gd name="T29" fmla="*/ 13823706 h 117"/>
              <a:gd name="T30" fmla="*/ 28577881 w 160"/>
              <a:gd name="T31" fmla="*/ 17013716 h 117"/>
              <a:gd name="T32" fmla="*/ 29123985 w 160"/>
              <a:gd name="T33" fmla="*/ 19672140 h 117"/>
              <a:gd name="T34" fmla="*/ 24209470 w 160"/>
              <a:gd name="T35" fmla="*/ 23394243 h 117"/>
              <a:gd name="T36" fmla="*/ 19294536 w 160"/>
              <a:gd name="T37" fmla="*/ 27115831 h 117"/>
              <a:gd name="T38" fmla="*/ 16746194 w 160"/>
              <a:gd name="T39" fmla="*/ 28445043 h 117"/>
              <a:gd name="T40" fmla="*/ 13833922 w 160"/>
              <a:gd name="T41" fmla="*/ 30040303 h 117"/>
              <a:gd name="T42" fmla="*/ 11285580 w 160"/>
              <a:gd name="T43" fmla="*/ 30837418 h 117"/>
              <a:gd name="T44" fmla="*/ 8555061 w 160"/>
              <a:gd name="T45" fmla="*/ 31103467 h 117"/>
              <a:gd name="T46" fmla="*/ 5824967 w 160"/>
              <a:gd name="T47" fmla="*/ 26318200 h 117"/>
              <a:gd name="T48" fmla="*/ 3822728 w 160"/>
              <a:gd name="T49" fmla="*/ 22065031 h 117"/>
              <a:gd name="T50" fmla="*/ 1820062 w 160"/>
              <a:gd name="T51" fmla="*/ 18342928 h 117"/>
              <a:gd name="T52" fmla="*/ 0 w 160"/>
              <a:gd name="T53" fmla="*/ 14621337 h 117"/>
              <a:gd name="T54" fmla="*/ 2366166 w 160"/>
              <a:gd name="T55" fmla="*/ 12760543 h 117"/>
              <a:gd name="T56" fmla="*/ 7462853 w 160"/>
              <a:gd name="T57" fmla="*/ 8506858 h 117"/>
              <a:gd name="T58" fmla="*/ 10921653 w 160"/>
              <a:gd name="T59" fmla="*/ 6114481 h 117"/>
              <a:gd name="T60" fmla="*/ 14197852 w 160"/>
              <a:gd name="T61" fmla="*/ 3721588 h 117"/>
              <a:gd name="T62" fmla="*/ 17656225 w 160"/>
              <a:gd name="T63" fmla="*/ 1595261 h 117"/>
              <a:gd name="T64" fmla="*/ 20750671 w 160"/>
              <a:gd name="T65" fmla="*/ 0 h 11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60"/>
              <a:gd name="T100" fmla="*/ 0 h 117"/>
              <a:gd name="T101" fmla="*/ 160 w 160"/>
              <a:gd name="T102" fmla="*/ 117 h 117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60" h="117">
                <a:moveTo>
                  <a:pt x="114" y="0"/>
                </a:moveTo>
                <a:lnTo>
                  <a:pt x="114" y="9"/>
                </a:lnTo>
                <a:lnTo>
                  <a:pt x="114" y="18"/>
                </a:lnTo>
                <a:lnTo>
                  <a:pt x="115" y="25"/>
                </a:lnTo>
                <a:lnTo>
                  <a:pt x="117" y="32"/>
                </a:lnTo>
                <a:lnTo>
                  <a:pt x="119" y="34"/>
                </a:lnTo>
                <a:lnTo>
                  <a:pt x="121" y="37"/>
                </a:lnTo>
                <a:lnTo>
                  <a:pt x="123" y="38"/>
                </a:lnTo>
                <a:lnTo>
                  <a:pt x="127" y="39"/>
                </a:lnTo>
                <a:lnTo>
                  <a:pt x="131" y="40"/>
                </a:lnTo>
                <a:lnTo>
                  <a:pt x="135" y="39"/>
                </a:lnTo>
                <a:lnTo>
                  <a:pt x="140" y="38"/>
                </a:lnTo>
                <a:lnTo>
                  <a:pt x="146" y="36"/>
                </a:lnTo>
                <a:lnTo>
                  <a:pt x="149" y="43"/>
                </a:lnTo>
                <a:lnTo>
                  <a:pt x="153" y="52"/>
                </a:lnTo>
                <a:lnTo>
                  <a:pt x="157" y="64"/>
                </a:lnTo>
                <a:lnTo>
                  <a:pt x="160" y="74"/>
                </a:lnTo>
                <a:lnTo>
                  <a:pt x="133" y="88"/>
                </a:lnTo>
                <a:lnTo>
                  <a:pt x="106" y="102"/>
                </a:lnTo>
                <a:lnTo>
                  <a:pt x="92" y="107"/>
                </a:lnTo>
                <a:lnTo>
                  <a:pt x="76" y="113"/>
                </a:lnTo>
                <a:lnTo>
                  <a:pt x="62" y="116"/>
                </a:lnTo>
                <a:lnTo>
                  <a:pt x="47" y="117"/>
                </a:lnTo>
                <a:lnTo>
                  <a:pt x="32" y="99"/>
                </a:lnTo>
                <a:lnTo>
                  <a:pt x="21" y="83"/>
                </a:lnTo>
                <a:lnTo>
                  <a:pt x="10" y="69"/>
                </a:lnTo>
                <a:lnTo>
                  <a:pt x="0" y="55"/>
                </a:lnTo>
                <a:lnTo>
                  <a:pt x="13" y="48"/>
                </a:lnTo>
                <a:lnTo>
                  <a:pt x="41" y="32"/>
                </a:lnTo>
                <a:lnTo>
                  <a:pt x="60" y="23"/>
                </a:lnTo>
                <a:lnTo>
                  <a:pt x="78" y="14"/>
                </a:lnTo>
                <a:lnTo>
                  <a:pt x="97" y="6"/>
                </a:lnTo>
                <a:lnTo>
                  <a:pt x="114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57" name="Freeform 355"/>
          <p:cNvSpPr>
            <a:spLocks/>
          </p:cNvSpPr>
          <p:nvPr userDrawn="1">
            <p:custDataLst>
              <p:tags r:id="rId257"/>
            </p:custDataLst>
          </p:nvPr>
        </p:nvSpPr>
        <p:spPr bwMode="auto">
          <a:xfrm>
            <a:off x="4629150" y="2389588"/>
            <a:ext cx="411162" cy="458390"/>
          </a:xfrm>
          <a:custGeom>
            <a:avLst/>
            <a:gdLst>
              <a:gd name="T0" fmla="*/ 141060849 w 943"/>
              <a:gd name="T1" fmla="*/ 1359526 h 1172"/>
              <a:gd name="T2" fmla="*/ 145433205 w 943"/>
              <a:gd name="T3" fmla="*/ 6254758 h 1172"/>
              <a:gd name="T4" fmla="*/ 152657533 w 943"/>
              <a:gd name="T5" fmla="*/ 8158719 h 1172"/>
              <a:gd name="T6" fmla="*/ 154748660 w 943"/>
              <a:gd name="T7" fmla="*/ 14957392 h 1172"/>
              <a:gd name="T8" fmla="*/ 158740811 w 943"/>
              <a:gd name="T9" fmla="*/ 29642565 h 1172"/>
              <a:gd name="T10" fmla="*/ 159121015 w 943"/>
              <a:gd name="T11" fmla="*/ 50855238 h 1172"/>
              <a:gd name="T12" fmla="*/ 162923500 w 943"/>
              <a:gd name="T13" fmla="*/ 66084322 h 1172"/>
              <a:gd name="T14" fmla="*/ 175280593 w 943"/>
              <a:gd name="T15" fmla="*/ 79409983 h 1172"/>
              <a:gd name="T16" fmla="*/ 167105753 w 943"/>
              <a:gd name="T17" fmla="*/ 98174772 h 1172"/>
              <a:gd name="T18" fmla="*/ 161782885 w 943"/>
              <a:gd name="T19" fmla="*/ 111500416 h 1172"/>
              <a:gd name="T20" fmla="*/ 153798147 w 943"/>
              <a:gd name="T21" fmla="*/ 172690046 h 1172"/>
              <a:gd name="T22" fmla="*/ 146383717 w 943"/>
              <a:gd name="T23" fmla="*/ 184111728 h 1172"/>
              <a:gd name="T24" fmla="*/ 145053000 w 943"/>
              <a:gd name="T25" fmla="*/ 196077847 h 1172"/>
              <a:gd name="T26" fmla="*/ 141631156 w 943"/>
              <a:gd name="T27" fmla="*/ 199885248 h 1172"/>
              <a:gd name="T28" fmla="*/ 137448903 w 943"/>
              <a:gd name="T29" fmla="*/ 217017772 h 1172"/>
              <a:gd name="T30" fmla="*/ 131555292 w 943"/>
              <a:gd name="T31" fmla="*/ 238502134 h 1172"/>
              <a:gd name="T32" fmla="*/ 125852219 w 943"/>
              <a:gd name="T33" fmla="*/ 245573022 h 1172"/>
              <a:gd name="T34" fmla="*/ 126232424 w 943"/>
              <a:gd name="T35" fmla="*/ 254003436 h 1172"/>
              <a:gd name="T36" fmla="*/ 130414677 w 943"/>
              <a:gd name="T37" fmla="*/ 255363483 h 1172"/>
              <a:gd name="T38" fmla="*/ 134787469 w 943"/>
              <a:gd name="T39" fmla="*/ 258354752 h 1172"/>
              <a:gd name="T40" fmla="*/ 141060849 w 943"/>
              <a:gd name="T41" fmla="*/ 264065593 h 1172"/>
              <a:gd name="T42" fmla="*/ 143722283 w 943"/>
              <a:gd name="T43" fmla="*/ 273856119 h 1172"/>
              <a:gd name="T44" fmla="*/ 147334665 w 943"/>
              <a:gd name="T45" fmla="*/ 283646580 h 1172"/>
              <a:gd name="T46" fmla="*/ 152657533 w 943"/>
              <a:gd name="T47" fmla="*/ 286366152 h 1172"/>
              <a:gd name="T48" fmla="*/ 153798147 w 943"/>
              <a:gd name="T49" fmla="*/ 297516138 h 1172"/>
              <a:gd name="T50" fmla="*/ 136498391 w 943"/>
              <a:gd name="T51" fmla="*/ 303226980 h 1172"/>
              <a:gd name="T52" fmla="*/ 130604780 w 943"/>
              <a:gd name="T53" fmla="*/ 314649184 h 1172"/>
              <a:gd name="T54" fmla="*/ 113685201 w 943"/>
              <a:gd name="T55" fmla="*/ 318184367 h 1172"/>
              <a:gd name="T56" fmla="*/ 97906264 w 943"/>
              <a:gd name="T57" fmla="*/ 314920880 h 1172"/>
              <a:gd name="T58" fmla="*/ 88210604 w 943"/>
              <a:gd name="T59" fmla="*/ 305402638 h 1172"/>
              <a:gd name="T60" fmla="*/ 74142589 w 943"/>
              <a:gd name="T61" fmla="*/ 305946552 h 1172"/>
              <a:gd name="T62" fmla="*/ 60644880 w 943"/>
              <a:gd name="T63" fmla="*/ 304586505 h 1172"/>
              <a:gd name="T64" fmla="*/ 56462178 w 943"/>
              <a:gd name="T65" fmla="*/ 300235711 h 1172"/>
              <a:gd name="T66" fmla="*/ 55891870 w 943"/>
              <a:gd name="T67" fmla="*/ 292348690 h 1172"/>
              <a:gd name="T68" fmla="*/ 52089822 w 943"/>
              <a:gd name="T69" fmla="*/ 279839178 h 1172"/>
              <a:gd name="T70" fmla="*/ 41063445 w 943"/>
              <a:gd name="T71" fmla="*/ 264881726 h 1172"/>
              <a:gd name="T72" fmla="*/ 36691089 w 943"/>
              <a:gd name="T73" fmla="*/ 251556081 h 1172"/>
              <a:gd name="T74" fmla="*/ 28896454 w 943"/>
              <a:gd name="T75" fmla="*/ 245573022 h 1172"/>
              <a:gd name="T76" fmla="*/ 22813170 w 943"/>
              <a:gd name="T77" fmla="*/ 230071720 h 1172"/>
              <a:gd name="T78" fmla="*/ 18440378 w 943"/>
              <a:gd name="T79" fmla="*/ 214298722 h 1172"/>
              <a:gd name="T80" fmla="*/ 12357097 w 943"/>
              <a:gd name="T81" fmla="*/ 206140004 h 1172"/>
              <a:gd name="T82" fmla="*/ 6273382 w 943"/>
              <a:gd name="T83" fmla="*/ 183840032 h 1172"/>
              <a:gd name="T84" fmla="*/ 760410 w 943"/>
              <a:gd name="T85" fmla="*/ 166163072 h 1172"/>
              <a:gd name="T86" fmla="*/ 3421844 w 943"/>
              <a:gd name="T87" fmla="*/ 156916526 h 1172"/>
              <a:gd name="T88" fmla="*/ 5512972 w 943"/>
              <a:gd name="T89" fmla="*/ 141687442 h 1172"/>
              <a:gd name="T90" fmla="*/ 12166995 w 943"/>
              <a:gd name="T91" fmla="*/ 128905679 h 1172"/>
              <a:gd name="T92" fmla="*/ 21482453 w 943"/>
              <a:gd name="T93" fmla="*/ 60373481 h 1172"/>
              <a:gd name="T94" fmla="*/ 23383477 w 943"/>
              <a:gd name="T95" fmla="*/ 48679580 h 1172"/>
              <a:gd name="T96" fmla="*/ 29086556 w 943"/>
              <a:gd name="T97" fmla="*/ 46503922 h 1172"/>
              <a:gd name="T98" fmla="*/ 30417273 w 943"/>
              <a:gd name="T99" fmla="*/ 33178270 h 1172"/>
              <a:gd name="T100" fmla="*/ 30227171 w 943"/>
              <a:gd name="T101" fmla="*/ 18220883 h 1172"/>
              <a:gd name="T102" fmla="*/ 129083960 w 943"/>
              <a:gd name="T103" fmla="*/ 18764797 h 1172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943"/>
              <a:gd name="T157" fmla="*/ 0 h 1172"/>
              <a:gd name="T158" fmla="*/ 943 w 943"/>
              <a:gd name="T159" fmla="*/ 1172 h 1172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58" name="Freeform 356"/>
          <p:cNvSpPr>
            <a:spLocks/>
          </p:cNvSpPr>
          <p:nvPr userDrawn="1">
            <p:custDataLst>
              <p:tags r:id="rId258"/>
            </p:custDataLst>
          </p:nvPr>
        </p:nvSpPr>
        <p:spPr bwMode="auto">
          <a:xfrm>
            <a:off x="5113345" y="2644379"/>
            <a:ext cx="244475" cy="323850"/>
          </a:xfrm>
          <a:custGeom>
            <a:avLst/>
            <a:gdLst>
              <a:gd name="T0" fmla="*/ 18947251 w 556"/>
              <a:gd name="T1" fmla="*/ 17234039 h 819"/>
              <a:gd name="T2" fmla="*/ 21654063 w 556"/>
              <a:gd name="T3" fmla="*/ 15566416 h 819"/>
              <a:gd name="T4" fmla="*/ 24940843 w 556"/>
              <a:gd name="T5" fmla="*/ 19180042 h 819"/>
              <a:gd name="T6" fmla="*/ 28807592 w 556"/>
              <a:gd name="T7" fmla="*/ 23627211 h 819"/>
              <a:gd name="T8" fmla="*/ 33060846 w 556"/>
              <a:gd name="T9" fmla="*/ 25573211 h 819"/>
              <a:gd name="T10" fmla="*/ 41567781 w 556"/>
              <a:gd name="T11" fmla="*/ 24461286 h 819"/>
              <a:gd name="T12" fmla="*/ 49688217 w 556"/>
              <a:gd name="T13" fmla="*/ 22793664 h 819"/>
              <a:gd name="T14" fmla="*/ 56261777 w 556"/>
              <a:gd name="T15" fmla="*/ 21959589 h 819"/>
              <a:gd name="T16" fmla="*/ 58195165 w 556"/>
              <a:gd name="T17" fmla="*/ 20569815 h 819"/>
              <a:gd name="T18" fmla="*/ 58195165 w 556"/>
              <a:gd name="T19" fmla="*/ 18902193 h 819"/>
              <a:gd name="T20" fmla="*/ 68635474 w 556"/>
              <a:gd name="T21" fmla="*/ 17511892 h 819"/>
              <a:gd name="T22" fmla="*/ 83908999 w 556"/>
              <a:gd name="T23" fmla="*/ 12508492 h 819"/>
              <a:gd name="T24" fmla="*/ 92609403 w 556"/>
              <a:gd name="T25" fmla="*/ 7782944 h 819"/>
              <a:gd name="T26" fmla="*/ 99375993 w 556"/>
              <a:gd name="T27" fmla="*/ 2223849 h 819"/>
              <a:gd name="T28" fmla="*/ 105756524 w 556"/>
              <a:gd name="T29" fmla="*/ 8617019 h 819"/>
              <a:gd name="T30" fmla="*/ 107302960 w 556"/>
              <a:gd name="T31" fmla="*/ 15844265 h 819"/>
              <a:gd name="T32" fmla="*/ 106722992 w 556"/>
              <a:gd name="T33" fmla="*/ 31410681 h 819"/>
              <a:gd name="T34" fmla="*/ 102856243 w 556"/>
              <a:gd name="T35" fmla="*/ 48366874 h 819"/>
              <a:gd name="T36" fmla="*/ 97056120 w 556"/>
              <a:gd name="T37" fmla="*/ 64211135 h 819"/>
              <a:gd name="T38" fmla="*/ 86422342 w 556"/>
              <a:gd name="T39" fmla="*/ 89228128 h 819"/>
              <a:gd name="T40" fmla="*/ 81782156 w 556"/>
              <a:gd name="T41" fmla="*/ 104238842 h 819"/>
              <a:gd name="T42" fmla="*/ 79268813 w 556"/>
              <a:gd name="T43" fmla="*/ 115357557 h 819"/>
              <a:gd name="T44" fmla="*/ 73275660 w 556"/>
              <a:gd name="T45" fmla="*/ 131479667 h 819"/>
              <a:gd name="T46" fmla="*/ 63801819 w 556"/>
              <a:gd name="T47" fmla="*/ 147601810 h 819"/>
              <a:gd name="T48" fmla="*/ 55681809 w 556"/>
              <a:gd name="T49" fmla="*/ 157330751 h 819"/>
              <a:gd name="T50" fmla="*/ 46207967 w 556"/>
              <a:gd name="T51" fmla="*/ 166781844 h 819"/>
              <a:gd name="T52" fmla="*/ 32480878 w 556"/>
              <a:gd name="T53" fmla="*/ 180958482 h 819"/>
              <a:gd name="T54" fmla="*/ 27647655 w 556"/>
              <a:gd name="T55" fmla="*/ 189019273 h 819"/>
              <a:gd name="T56" fmla="*/ 25327342 w 556"/>
              <a:gd name="T57" fmla="*/ 194578894 h 819"/>
              <a:gd name="T58" fmla="*/ 22427500 w 556"/>
              <a:gd name="T59" fmla="*/ 199304440 h 819"/>
              <a:gd name="T60" fmla="*/ 13727093 w 556"/>
              <a:gd name="T61" fmla="*/ 207087383 h 819"/>
              <a:gd name="T62" fmla="*/ 3673281 w 556"/>
              <a:gd name="T63" fmla="*/ 222653794 h 819"/>
              <a:gd name="T64" fmla="*/ 386499 w 556"/>
              <a:gd name="T65" fmla="*/ 156775053 h 819"/>
              <a:gd name="T66" fmla="*/ 579969 w 556"/>
              <a:gd name="T67" fmla="*/ 153995506 h 819"/>
              <a:gd name="T68" fmla="*/ 5220156 w 556"/>
              <a:gd name="T69" fmla="*/ 148158036 h 819"/>
              <a:gd name="T70" fmla="*/ 8120439 w 556"/>
              <a:gd name="T71" fmla="*/ 143432490 h 819"/>
              <a:gd name="T72" fmla="*/ 11600249 w 556"/>
              <a:gd name="T73" fmla="*/ 138150685 h 819"/>
              <a:gd name="T74" fmla="*/ 21460593 w 556"/>
              <a:gd name="T75" fmla="*/ 133425666 h 819"/>
              <a:gd name="T76" fmla="*/ 23007469 w 556"/>
              <a:gd name="T77" fmla="*/ 130645592 h 819"/>
              <a:gd name="T78" fmla="*/ 24940843 w 556"/>
              <a:gd name="T79" fmla="*/ 125642196 h 819"/>
              <a:gd name="T80" fmla="*/ 29387567 w 556"/>
              <a:gd name="T81" fmla="*/ 122306424 h 819"/>
              <a:gd name="T82" fmla="*/ 33640814 w 556"/>
              <a:gd name="T83" fmla="*/ 122028575 h 819"/>
              <a:gd name="T84" fmla="*/ 37894502 w 556"/>
              <a:gd name="T85" fmla="*/ 122028575 h 819"/>
              <a:gd name="T86" fmla="*/ 44081123 w 556"/>
              <a:gd name="T87" fmla="*/ 119249028 h 819"/>
              <a:gd name="T88" fmla="*/ 48527840 w 556"/>
              <a:gd name="T89" fmla="*/ 112577482 h 819"/>
              <a:gd name="T90" fmla="*/ 51234652 w 556"/>
              <a:gd name="T91" fmla="*/ 105350766 h 819"/>
              <a:gd name="T92" fmla="*/ 57228244 w 556"/>
              <a:gd name="T93" fmla="*/ 96455372 h 819"/>
              <a:gd name="T94" fmla="*/ 68442005 w 556"/>
              <a:gd name="T95" fmla="*/ 81445186 h 819"/>
              <a:gd name="T96" fmla="*/ 72888722 w 556"/>
              <a:gd name="T97" fmla="*/ 73940093 h 819"/>
              <a:gd name="T98" fmla="*/ 62641882 w 556"/>
              <a:gd name="T99" fmla="*/ 68380456 h 819"/>
              <a:gd name="T100" fmla="*/ 49688217 w 556"/>
              <a:gd name="T101" fmla="*/ 63377060 h 819"/>
              <a:gd name="T102" fmla="*/ 35574189 w 556"/>
              <a:gd name="T103" fmla="*/ 58095816 h 819"/>
              <a:gd name="T104" fmla="*/ 28807592 w 556"/>
              <a:gd name="T105" fmla="*/ 51980496 h 819"/>
              <a:gd name="T106" fmla="*/ 21654063 w 556"/>
              <a:gd name="T107" fmla="*/ 42807253 h 819"/>
              <a:gd name="T108" fmla="*/ 17207346 w 556"/>
              <a:gd name="T109" fmla="*/ 33634529 h 819"/>
              <a:gd name="T110" fmla="*/ 14887033 w 556"/>
              <a:gd name="T111" fmla="*/ 22237438 h 819"/>
              <a:gd name="T112" fmla="*/ 12567156 w 556"/>
              <a:gd name="T113" fmla="*/ 24183437 h 819"/>
              <a:gd name="T114" fmla="*/ 16240439 w 556"/>
              <a:gd name="T115" fmla="*/ 18902193 h 819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556"/>
              <a:gd name="T175" fmla="*/ 0 h 819"/>
              <a:gd name="T176" fmla="*/ 556 w 556"/>
              <a:gd name="T177" fmla="*/ 819 h 819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556" h="819">
                <a:moveTo>
                  <a:pt x="84" y="68"/>
                </a:moveTo>
                <a:lnTo>
                  <a:pt x="90" y="66"/>
                </a:lnTo>
                <a:lnTo>
                  <a:pt x="98" y="62"/>
                </a:lnTo>
                <a:lnTo>
                  <a:pt x="103" y="59"/>
                </a:lnTo>
                <a:lnTo>
                  <a:pt x="108" y="58"/>
                </a:lnTo>
                <a:lnTo>
                  <a:pt x="112" y="56"/>
                </a:lnTo>
                <a:lnTo>
                  <a:pt x="118" y="56"/>
                </a:lnTo>
                <a:lnTo>
                  <a:pt x="122" y="62"/>
                </a:lnTo>
                <a:lnTo>
                  <a:pt x="129" y="69"/>
                </a:lnTo>
                <a:lnTo>
                  <a:pt x="134" y="75"/>
                </a:lnTo>
                <a:lnTo>
                  <a:pt x="141" y="81"/>
                </a:lnTo>
                <a:lnTo>
                  <a:pt x="149" y="85"/>
                </a:lnTo>
                <a:lnTo>
                  <a:pt x="155" y="89"/>
                </a:lnTo>
                <a:lnTo>
                  <a:pt x="163" y="91"/>
                </a:lnTo>
                <a:lnTo>
                  <a:pt x="171" y="92"/>
                </a:lnTo>
                <a:lnTo>
                  <a:pt x="186" y="91"/>
                </a:lnTo>
                <a:lnTo>
                  <a:pt x="200" y="90"/>
                </a:lnTo>
                <a:lnTo>
                  <a:pt x="215" y="88"/>
                </a:lnTo>
                <a:lnTo>
                  <a:pt x="230" y="86"/>
                </a:lnTo>
                <a:lnTo>
                  <a:pt x="244" y="84"/>
                </a:lnTo>
                <a:lnTo>
                  <a:pt x="257" y="82"/>
                </a:lnTo>
                <a:lnTo>
                  <a:pt x="271" y="80"/>
                </a:lnTo>
                <a:lnTo>
                  <a:pt x="284" y="80"/>
                </a:lnTo>
                <a:lnTo>
                  <a:pt x="291" y="79"/>
                </a:lnTo>
                <a:lnTo>
                  <a:pt x="297" y="78"/>
                </a:lnTo>
                <a:lnTo>
                  <a:pt x="300" y="76"/>
                </a:lnTo>
                <a:lnTo>
                  <a:pt x="301" y="74"/>
                </a:lnTo>
                <a:lnTo>
                  <a:pt x="301" y="72"/>
                </a:lnTo>
                <a:lnTo>
                  <a:pt x="301" y="70"/>
                </a:lnTo>
                <a:lnTo>
                  <a:pt x="301" y="68"/>
                </a:lnTo>
                <a:lnTo>
                  <a:pt x="303" y="68"/>
                </a:lnTo>
                <a:lnTo>
                  <a:pt x="327" y="67"/>
                </a:lnTo>
                <a:lnTo>
                  <a:pt x="355" y="63"/>
                </a:lnTo>
                <a:lnTo>
                  <a:pt x="386" y="58"/>
                </a:lnTo>
                <a:lnTo>
                  <a:pt x="418" y="50"/>
                </a:lnTo>
                <a:lnTo>
                  <a:pt x="434" y="45"/>
                </a:lnTo>
                <a:lnTo>
                  <a:pt x="450" y="40"/>
                </a:lnTo>
                <a:lnTo>
                  <a:pt x="465" y="34"/>
                </a:lnTo>
                <a:lnTo>
                  <a:pt x="479" y="28"/>
                </a:lnTo>
                <a:lnTo>
                  <a:pt x="492" y="22"/>
                </a:lnTo>
                <a:lnTo>
                  <a:pt x="504" y="15"/>
                </a:lnTo>
                <a:lnTo>
                  <a:pt x="514" y="8"/>
                </a:lnTo>
                <a:lnTo>
                  <a:pt x="523" y="0"/>
                </a:lnTo>
                <a:lnTo>
                  <a:pt x="536" y="17"/>
                </a:lnTo>
                <a:lnTo>
                  <a:pt x="547" y="31"/>
                </a:lnTo>
                <a:lnTo>
                  <a:pt x="551" y="39"/>
                </a:lnTo>
                <a:lnTo>
                  <a:pt x="554" y="48"/>
                </a:lnTo>
                <a:lnTo>
                  <a:pt x="555" y="57"/>
                </a:lnTo>
                <a:lnTo>
                  <a:pt x="556" y="68"/>
                </a:lnTo>
                <a:lnTo>
                  <a:pt x="555" y="90"/>
                </a:lnTo>
                <a:lnTo>
                  <a:pt x="552" y="113"/>
                </a:lnTo>
                <a:lnTo>
                  <a:pt x="546" y="133"/>
                </a:lnTo>
                <a:lnTo>
                  <a:pt x="540" y="153"/>
                </a:lnTo>
                <a:lnTo>
                  <a:pt x="532" y="174"/>
                </a:lnTo>
                <a:lnTo>
                  <a:pt x="523" y="193"/>
                </a:lnTo>
                <a:lnTo>
                  <a:pt x="512" y="212"/>
                </a:lnTo>
                <a:lnTo>
                  <a:pt x="502" y="231"/>
                </a:lnTo>
                <a:lnTo>
                  <a:pt x="479" y="267"/>
                </a:lnTo>
                <a:lnTo>
                  <a:pt x="458" y="303"/>
                </a:lnTo>
                <a:lnTo>
                  <a:pt x="447" y="321"/>
                </a:lnTo>
                <a:lnTo>
                  <a:pt x="439" y="339"/>
                </a:lnTo>
                <a:lnTo>
                  <a:pt x="430" y="357"/>
                </a:lnTo>
                <a:lnTo>
                  <a:pt x="423" y="375"/>
                </a:lnTo>
                <a:lnTo>
                  <a:pt x="419" y="390"/>
                </a:lnTo>
                <a:lnTo>
                  <a:pt x="414" y="403"/>
                </a:lnTo>
                <a:lnTo>
                  <a:pt x="410" y="415"/>
                </a:lnTo>
                <a:lnTo>
                  <a:pt x="404" y="427"/>
                </a:lnTo>
                <a:lnTo>
                  <a:pt x="392" y="452"/>
                </a:lnTo>
                <a:lnTo>
                  <a:pt x="379" y="473"/>
                </a:lnTo>
                <a:lnTo>
                  <a:pt x="364" y="495"/>
                </a:lnTo>
                <a:lnTo>
                  <a:pt x="347" y="514"/>
                </a:lnTo>
                <a:lnTo>
                  <a:pt x="330" y="531"/>
                </a:lnTo>
                <a:lnTo>
                  <a:pt x="310" y="549"/>
                </a:lnTo>
                <a:lnTo>
                  <a:pt x="300" y="558"/>
                </a:lnTo>
                <a:lnTo>
                  <a:pt x="288" y="566"/>
                </a:lnTo>
                <a:lnTo>
                  <a:pt x="277" y="575"/>
                </a:lnTo>
                <a:lnTo>
                  <a:pt x="264" y="583"/>
                </a:lnTo>
                <a:lnTo>
                  <a:pt x="239" y="600"/>
                </a:lnTo>
                <a:lnTo>
                  <a:pt x="213" y="617"/>
                </a:lnTo>
                <a:lnTo>
                  <a:pt x="189" y="634"/>
                </a:lnTo>
                <a:lnTo>
                  <a:pt x="168" y="651"/>
                </a:lnTo>
                <a:lnTo>
                  <a:pt x="159" y="661"/>
                </a:lnTo>
                <a:lnTo>
                  <a:pt x="150" y="670"/>
                </a:lnTo>
                <a:lnTo>
                  <a:pt x="143" y="680"/>
                </a:lnTo>
                <a:lnTo>
                  <a:pt x="138" y="690"/>
                </a:lnTo>
                <a:lnTo>
                  <a:pt x="134" y="695"/>
                </a:lnTo>
                <a:lnTo>
                  <a:pt x="131" y="700"/>
                </a:lnTo>
                <a:lnTo>
                  <a:pt x="128" y="705"/>
                </a:lnTo>
                <a:lnTo>
                  <a:pt x="125" y="709"/>
                </a:lnTo>
                <a:lnTo>
                  <a:pt x="116" y="717"/>
                </a:lnTo>
                <a:lnTo>
                  <a:pt x="107" y="723"/>
                </a:lnTo>
                <a:lnTo>
                  <a:pt x="88" y="733"/>
                </a:lnTo>
                <a:lnTo>
                  <a:pt x="71" y="745"/>
                </a:lnTo>
                <a:lnTo>
                  <a:pt x="52" y="763"/>
                </a:lnTo>
                <a:lnTo>
                  <a:pt x="36" y="783"/>
                </a:lnTo>
                <a:lnTo>
                  <a:pt x="19" y="801"/>
                </a:lnTo>
                <a:lnTo>
                  <a:pt x="5" y="819"/>
                </a:lnTo>
                <a:lnTo>
                  <a:pt x="5" y="567"/>
                </a:lnTo>
                <a:lnTo>
                  <a:pt x="2" y="564"/>
                </a:lnTo>
                <a:lnTo>
                  <a:pt x="0" y="560"/>
                </a:lnTo>
                <a:lnTo>
                  <a:pt x="0" y="557"/>
                </a:lnTo>
                <a:lnTo>
                  <a:pt x="3" y="554"/>
                </a:lnTo>
                <a:lnTo>
                  <a:pt x="8" y="547"/>
                </a:lnTo>
                <a:lnTo>
                  <a:pt x="17" y="540"/>
                </a:lnTo>
                <a:lnTo>
                  <a:pt x="27" y="533"/>
                </a:lnTo>
                <a:lnTo>
                  <a:pt x="36" y="525"/>
                </a:lnTo>
                <a:lnTo>
                  <a:pt x="39" y="521"/>
                </a:lnTo>
                <a:lnTo>
                  <a:pt x="42" y="516"/>
                </a:lnTo>
                <a:lnTo>
                  <a:pt x="43" y="511"/>
                </a:lnTo>
                <a:lnTo>
                  <a:pt x="44" y="505"/>
                </a:lnTo>
                <a:lnTo>
                  <a:pt x="60" y="497"/>
                </a:lnTo>
                <a:lnTo>
                  <a:pt x="75" y="490"/>
                </a:lnTo>
                <a:lnTo>
                  <a:pt x="92" y="485"/>
                </a:lnTo>
                <a:lnTo>
                  <a:pt x="111" y="480"/>
                </a:lnTo>
                <a:lnTo>
                  <a:pt x="114" y="479"/>
                </a:lnTo>
                <a:lnTo>
                  <a:pt x="116" y="475"/>
                </a:lnTo>
                <a:lnTo>
                  <a:pt x="119" y="470"/>
                </a:lnTo>
                <a:lnTo>
                  <a:pt x="121" y="464"/>
                </a:lnTo>
                <a:lnTo>
                  <a:pt x="125" y="458"/>
                </a:lnTo>
                <a:lnTo>
                  <a:pt x="129" y="452"/>
                </a:lnTo>
                <a:lnTo>
                  <a:pt x="132" y="447"/>
                </a:lnTo>
                <a:lnTo>
                  <a:pt x="138" y="444"/>
                </a:lnTo>
                <a:lnTo>
                  <a:pt x="152" y="440"/>
                </a:lnTo>
                <a:lnTo>
                  <a:pt x="162" y="439"/>
                </a:lnTo>
                <a:lnTo>
                  <a:pt x="168" y="438"/>
                </a:lnTo>
                <a:lnTo>
                  <a:pt x="174" y="439"/>
                </a:lnTo>
                <a:lnTo>
                  <a:pt x="179" y="439"/>
                </a:lnTo>
                <a:lnTo>
                  <a:pt x="186" y="440"/>
                </a:lnTo>
                <a:lnTo>
                  <a:pt x="196" y="439"/>
                </a:lnTo>
                <a:lnTo>
                  <a:pt x="210" y="438"/>
                </a:lnTo>
                <a:lnTo>
                  <a:pt x="220" y="434"/>
                </a:lnTo>
                <a:lnTo>
                  <a:pt x="228" y="429"/>
                </a:lnTo>
                <a:lnTo>
                  <a:pt x="235" y="424"/>
                </a:lnTo>
                <a:lnTo>
                  <a:pt x="241" y="418"/>
                </a:lnTo>
                <a:lnTo>
                  <a:pt x="251" y="405"/>
                </a:lnTo>
                <a:lnTo>
                  <a:pt x="257" y="394"/>
                </a:lnTo>
                <a:lnTo>
                  <a:pt x="261" y="387"/>
                </a:lnTo>
                <a:lnTo>
                  <a:pt x="265" y="379"/>
                </a:lnTo>
                <a:lnTo>
                  <a:pt x="272" y="371"/>
                </a:lnTo>
                <a:lnTo>
                  <a:pt x="278" y="363"/>
                </a:lnTo>
                <a:lnTo>
                  <a:pt x="296" y="347"/>
                </a:lnTo>
                <a:lnTo>
                  <a:pt x="316" y="329"/>
                </a:lnTo>
                <a:lnTo>
                  <a:pt x="335" y="310"/>
                </a:lnTo>
                <a:lnTo>
                  <a:pt x="354" y="293"/>
                </a:lnTo>
                <a:lnTo>
                  <a:pt x="363" y="284"/>
                </a:lnTo>
                <a:lnTo>
                  <a:pt x="370" y="276"/>
                </a:lnTo>
                <a:lnTo>
                  <a:pt x="377" y="266"/>
                </a:lnTo>
                <a:lnTo>
                  <a:pt x="384" y="258"/>
                </a:lnTo>
                <a:lnTo>
                  <a:pt x="351" y="252"/>
                </a:lnTo>
                <a:lnTo>
                  <a:pt x="324" y="246"/>
                </a:lnTo>
                <a:lnTo>
                  <a:pt x="300" y="240"/>
                </a:lnTo>
                <a:lnTo>
                  <a:pt x="278" y="234"/>
                </a:lnTo>
                <a:lnTo>
                  <a:pt x="257" y="228"/>
                </a:lnTo>
                <a:lnTo>
                  <a:pt x="235" y="223"/>
                </a:lnTo>
                <a:lnTo>
                  <a:pt x="211" y="216"/>
                </a:lnTo>
                <a:lnTo>
                  <a:pt x="184" y="209"/>
                </a:lnTo>
                <a:lnTo>
                  <a:pt x="177" y="205"/>
                </a:lnTo>
                <a:lnTo>
                  <a:pt x="165" y="198"/>
                </a:lnTo>
                <a:lnTo>
                  <a:pt x="149" y="187"/>
                </a:lnTo>
                <a:lnTo>
                  <a:pt x="131" y="173"/>
                </a:lnTo>
                <a:lnTo>
                  <a:pt x="121" y="164"/>
                </a:lnTo>
                <a:lnTo>
                  <a:pt x="112" y="154"/>
                </a:lnTo>
                <a:lnTo>
                  <a:pt x="104" y="144"/>
                </a:lnTo>
                <a:lnTo>
                  <a:pt x="96" y="133"/>
                </a:lnTo>
                <a:lnTo>
                  <a:pt x="89" y="121"/>
                </a:lnTo>
                <a:lnTo>
                  <a:pt x="84" y="109"/>
                </a:lnTo>
                <a:lnTo>
                  <a:pt x="79" y="94"/>
                </a:lnTo>
                <a:lnTo>
                  <a:pt x="77" y="80"/>
                </a:lnTo>
                <a:lnTo>
                  <a:pt x="69" y="86"/>
                </a:lnTo>
                <a:lnTo>
                  <a:pt x="64" y="88"/>
                </a:lnTo>
                <a:lnTo>
                  <a:pt x="65" y="87"/>
                </a:lnTo>
                <a:lnTo>
                  <a:pt x="69" y="83"/>
                </a:lnTo>
                <a:lnTo>
                  <a:pt x="78" y="73"/>
                </a:lnTo>
                <a:lnTo>
                  <a:pt x="84" y="68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59" name="Freeform 357"/>
          <p:cNvSpPr>
            <a:spLocks/>
          </p:cNvSpPr>
          <p:nvPr userDrawn="1">
            <p:custDataLst>
              <p:tags r:id="rId259"/>
            </p:custDataLst>
          </p:nvPr>
        </p:nvSpPr>
        <p:spPr bwMode="auto">
          <a:xfrm>
            <a:off x="5121275" y="2634857"/>
            <a:ext cx="38100" cy="44053"/>
          </a:xfrm>
          <a:custGeom>
            <a:avLst/>
            <a:gdLst>
              <a:gd name="T0" fmla="*/ 11579741 w 86"/>
              <a:gd name="T1" fmla="*/ 0 h 97"/>
              <a:gd name="T2" fmla="*/ 10990964 w 86"/>
              <a:gd name="T3" fmla="*/ 733304 h 97"/>
              <a:gd name="T4" fmla="*/ 10205927 w 86"/>
              <a:gd name="T5" fmla="*/ 1100259 h 97"/>
              <a:gd name="T6" fmla="*/ 9028371 w 86"/>
              <a:gd name="T7" fmla="*/ 1100259 h 97"/>
              <a:gd name="T8" fmla="*/ 7850816 w 86"/>
              <a:gd name="T9" fmla="*/ 1100259 h 97"/>
              <a:gd name="T10" fmla="*/ 6476999 w 86"/>
              <a:gd name="T11" fmla="*/ 1100259 h 97"/>
              <a:gd name="T12" fmla="*/ 5299444 w 86"/>
              <a:gd name="T13" fmla="*/ 1100259 h 97"/>
              <a:gd name="T14" fmla="*/ 4514407 w 86"/>
              <a:gd name="T15" fmla="*/ 1466609 h 97"/>
              <a:gd name="T16" fmla="*/ 3925186 w 86"/>
              <a:gd name="T17" fmla="*/ 2199912 h 97"/>
              <a:gd name="T18" fmla="*/ 3140149 w 86"/>
              <a:gd name="T19" fmla="*/ 3300172 h 97"/>
              <a:gd name="T20" fmla="*/ 2551371 w 86"/>
              <a:gd name="T21" fmla="*/ 4399825 h 97"/>
              <a:gd name="T22" fmla="*/ 2158852 w 86"/>
              <a:gd name="T23" fmla="*/ 5500085 h 97"/>
              <a:gd name="T24" fmla="*/ 1570074 w 86"/>
              <a:gd name="T25" fmla="*/ 7333648 h 97"/>
              <a:gd name="T26" fmla="*/ 785037 w 86"/>
              <a:gd name="T27" fmla="*/ 10633821 h 97"/>
              <a:gd name="T28" fmla="*/ 392519 w 86"/>
              <a:gd name="T29" fmla="*/ 13933386 h 97"/>
              <a:gd name="T30" fmla="*/ 0 w 86"/>
              <a:gd name="T31" fmla="*/ 20900686 h 97"/>
              <a:gd name="T32" fmla="*/ 0 w 86"/>
              <a:gd name="T33" fmla="*/ 27500422 h 97"/>
              <a:gd name="T34" fmla="*/ 0 w 86"/>
              <a:gd name="T35" fmla="*/ 29700334 h 97"/>
              <a:gd name="T36" fmla="*/ 196259 w 86"/>
              <a:gd name="T37" fmla="*/ 31533897 h 97"/>
              <a:gd name="T38" fmla="*/ 588778 w 86"/>
              <a:gd name="T39" fmla="*/ 33000505 h 97"/>
              <a:gd name="T40" fmla="*/ 1373815 w 86"/>
              <a:gd name="T41" fmla="*/ 34100763 h 97"/>
              <a:gd name="T42" fmla="*/ 1962593 w 86"/>
              <a:gd name="T43" fmla="*/ 34834067 h 97"/>
              <a:gd name="T44" fmla="*/ 2551371 w 86"/>
              <a:gd name="T45" fmla="*/ 35200416 h 97"/>
              <a:gd name="T46" fmla="*/ 3532667 w 86"/>
              <a:gd name="T47" fmla="*/ 35567371 h 97"/>
              <a:gd name="T48" fmla="*/ 4121446 w 86"/>
              <a:gd name="T49" fmla="*/ 35567371 h 97"/>
              <a:gd name="T50" fmla="*/ 7850816 w 86"/>
              <a:gd name="T51" fmla="*/ 34834067 h 97"/>
              <a:gd name="T52" fmla="*/ 10402186 w 86"/>
              <a:gd name="T53" fmla="*/ 34100763 h 97"/>
              <a:gd name="T54" fmla="*/ 16879187 w 86"/>
              <a:gd name="T55" fmla="*/ 24933555 h 97"/>
              <a:gd name="T56" fmla="*/ 11579741 w 86"/>
              <a:gd name="T57" fmla="*/ 0 h 97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86"/>
              <a:gd name="T88" fmla="*/ 0 h 97"/>
              <a:gd name="T89" fmla="*/ 86 w 86"/>
              <a:gd name="T90" fmla="*/ 97 h 97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86" h="97">
                <a:moveTo>
                  <a:pt x="59" y="0"/>
                </a:moveTo>
                <a:lnTo>
                  <a:pt x="56" y="2"/>
                </a:lnTo>
                <a:lnTo>
                  <a:pt x="52" y="3"/>
                </a:lnTo>
                <a:lnTo>
                  <a:pt x="46" y="3"/>
                </a:lnTo>
                <a:lnTo>
                  <a:pt x="40" y="3"/>
                </a:lnTo>
                <a:lnTo>
                  <a:pt x="33" y="3"/>
                </a:lnTo>
                <a:lnTo>
                  <a:pt x="27" y="3"/>
                </a:lnTo>
                <a:lnTo>
                  <a:pt x="23" y="4"/>
                </a:lnTo>
                <a:lnTo>
                  <a:pt x="20" y="6"/>
                </a:lnTo>
                <a:lnTo>
                  <a:pt x="16" y="9"/>
                </a:lnTo>
                <a:lnTo>
                  <a:pt x="13" y="12"/>
                </a:lnTo>
                <a:lnTo>
                  <a:pt x="11" y="15"/>
                </a:lnTo>
                <a:lnTo>
                  <a:pt x="8" y="20"/>
                </a:lnTo>
                <a:lnTo>
                  <a:pt x="4" y="29"/>
                </a:lnTo>
                <a:lnTo>
                  <a:pt x="2" y="38"/>
                </a:lnTo>
                <a:lnTo>
                  <a:pt x="0" y="57"/>
                </a:lnTo>
                <a:lnTo>
                  <a:pt x="0" y="75"/>
                </a:lnTo>
                <a:lnTo>
                  <a:pt x="0" y="81"/>
                </a:lnTo>
                <a:lnTo>
                  <a:pt x="1" y="86"/>
                </a:lnTo>
                <a:lnTo>
                  <a:pt x="3" y="90"/>
                </a:lnTo>
                <a:lnTo>
                  <a:pt x="7" y="93"/>
                </a:lnTo>
                <a:lnTo>
                  <a:pt x="10" y="95"/>
                </a:lnTo>
                <a:lnTo>
                  <a:pt x="13" y="96"/>
                </a:lnTo>
                <a:lnTo>
                  <a:pt x="18" y="97"/>
                </a:lnTo>
                <a:lnTo>
                  <a:pt x="21" y="97"/>
                </a:lnTo>
                <a:lnTo>
                  <a:pt x="40" y="95"/>
                </a:lnTo>
                <a:lnTo>
                  <a:pt x="53" y="93"/>
                </a:lnTo>
                <a:lnTo>
                  <a:pt x="86" y="68"/>
                </a:lnTo>
                <a:lnTo>
                  <a:pt x="59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60" name="Freeform 358"/>
          <p:cNvSpPr>
            <a:spLocks/>
          </p:cNvSpPr>
          <p:nvPr userDrawn="1">
            <p:custDataLst>
              <p:tags r:id="rId260"/>
            </p:custDataLst>
          </p:nvPr>
        </p:nvSpPr>
        <p:spPr bwMode="auto">
          <a:xfrm>
            <a:off x="4919664" y="2568182"/>
            <a:ext cx="363538" cy="282178"/>
          </a:xfrm>
          <a:custGeom>
            <a:avLst/>
            <a:gdLst>
              <a:gd name="T0" fmla="*/ 33686424 w 845"/>
              <a:gd name="T1" fmla="*/ 9830237 h 720"/>
              <a:gd name="T2" fmla="*/ 37943905 w 845"/>
              <a:gd name="T3" fmla="*/ 7645449 h 720"/>
              <a:gd name="T4" fmla="*/ 45717593 w 845"/>
              <a:gd name="T5" fmla="*/ 0 h 720"/>
              <a:gd name="T6" fmla="*/ 50530060 w 845"/>
              <a:gd name="T7" fmla="*/ 3276920 h 720"/>
              <a:gd name="T8" fmla="*/ 60524999 w 845"/>
              <a:gd name="T9" fmla="*/ 10103009 h 720"/>
              <a:gd name="T10" fmla="*/ 70334930 w 845"/>
              <a:gd name="T11" fmla="*/ 18295049 h 720"/>
              <a:gd name="T12" fmla="*/ 78849030 w 845"/>
              <a:gd name="T13" fmla="*/ 26759856 h 720"/>
              <a:gd name="T14" fmla="*/ 81810251 w 845"/>
              <a:gd name="T15" fmla="*/ 34132531 h 720"/>
              <a:gd name="T16" fmla="*/ 81995676 w 845"/>
              <a:gd name="T17" fmla="*/ 38228295 h 720"/>
              <a:gd name="T18" fmla="*/ 84771901 w 845"/>
              <a:gd name="T19" fmla="*/ 40139788 h 720"/>
              <a:gd name="T20" fmla="*/ 92360594 w 845"/>
              <a:gd name="T21" fmla="*/ 48604595 h 720"/>
              <a:gd name="T22" fmla="*/ 93656423 w 845"/>
              <a:gd name="T23" fmla="*/ 46966397 h 720"/>
              <a:gd name="T24" fmla="*/ 90324781 w 845"/>
              <a:gd name="T25" fmla="*/ 50242793 h 720"/>
              <a:gd name="T26" fmla="*/ 89028952 w 845"/>
              <a:gd name="T27" fmla="*/ 55157909 h 720"/>
              <a:gd name="T28" fmla="*/ 89028952 w 845"/>
              <a:gd name="T29" fmla="*/ 68811144 h 720"/>
              <a:gd name="T30" fmla="*/ 91250190 w 845"/>
              <a:gd name="T31" fmla="*/ 72088063 h 720"/>
              <a:gd name="T32" fmla="*/ 97358056 w 845"/>
              <a:gd name="T33" fmla="*/ 72360834 h 720"/>
              <a:gd name="T34" fmla="*/ 100874694 w 845"/>
              <a:gd name="T35" fmla="*/ 87106184 h 720"/>
              <a:gd name="T36" fmla="*/ 107908399 w 845"/>
              <a:gd name="T37" fmla="*/ 98574616 h 720"/>
              <a:gd name="T38" fmla="*/ 119384178 w 845"/>
              <a:gd name="T39" fmla="*/ 109224209 h 720"/>
              <a:gd name="T40" fmla="*/ 136597374 w 845"/>
              <a:gd name="T41" fmla="*/ 117415722 h 720"/>
              <a:gd name="T42" fmla="*/ 156402230 w 845"/>
              <a:gd name="T43" fmla="*/ 122604133 h 720"/>
              <a:gd name="T44" fmla="*/ 150108938 w 845"/>
              <a:gd name="T45" fmla="*/ 131615006 h 720"/>
              <a:gd name="T46" fmla="*/ 135301975 w 845"/>
              <a:gd name="T47" fmla="*/ 149364013 h 720"/>
              <a:gd name="T48" fmla="*/ 131784907 w 845"/>
              <a:gd name="T49" fmla="*/ 158101592 h 720"/>
              <a:gd name="T50" fmla="*/ 129008682 w 845"/>
              <a:gd name="T51" fmla="*/ 168477892 h 720"/>
              <a:gd name="T52" fmla="*/ 124751632 w 845"/>
              <a:gd name="T53" fmla="*/ 171754810 h 720"/>
              <a:gd name="T54" fmla="*/ 107352982 w 845"/>
              <a:gd name="T55" fmla="*/ 178854191 h 720"/>
              <a:gd name="T56" fmla="*/ 103465923 w 845"/>
              <a:gd name="T57" fmla="*/ 183223242 h 720"/>
              <a:gd name="T58" fmla="*/ 97173061 w 845"/>
              <a:gd name="T59" fmla="*/ 185954094 h 720"/>
              <a:gd name="T60" fmla="*/ 89213947 w 845"/>
              <a:gd name="T61" fmla="*/ 189230491 h 720"/>
              <a:gd name="T62" fmla="*/ 85327318 w 845"/>
              <a:gd name="T63" fmla="*/ 185680800 h 720"/>
              <a:gd name="T64" fmla="*/ 79034026 w 845"/>
              <a:gd name="T65" fmla="*/ 185407506 h 720"/>
              <a:gd name="T66" fmla="*/ 74961971 w 845"/>
              <a:gd name="T67" fmla="*/ 190868689 h 720"/>
              <a:gd name="T68" fmla="*/ 72185746 w 845"/>
              <a:gd name="T69" fmla="*/ 194964968 h 720"/>
              <a:gd name="T70" fmla="*/ 66632866 w 845"/>
              <a:gd name="T71" fmla="*/ 196603166 h 720"/>
              <a:gd name="T72" fmla="*/ 58859178 w 845"/>
              <a:gd name="T73" fmla="*/ 194964968 h 720"/>
              <a:gd name="T74" fmla="*/ 53491280 w 845"/>
              <a:gd name="T75" fmla="*/ 190595917 h 720"/>
              <a:gd name="T76" fmla="*/ 45532597 w 845"/>
              <a:gd name="T77" fmla="*/ 183223242 h 720"/>
              <a:gd name="T78" fmla="*/ 33501429 w 845"/>
              <a:gd name="T79" fmla="*/ 180492389 h 720"/>
              <a:gd name="T80" fmla="*/ 25912730 w 845"/>
              <a:gd name="T81" fmla="*/ 178308125 h 720"/>
              <a:gd name="T82" fmla="*/ 27948972 w 845"/>
              <a:gd name="T83" fmla="*/ 167659054 h 720"/>
              <a:gd name="T84" fmla="*/ 23506496 w 845"/>
              <a:gd name="T85" fmla="*/ 162743937 h 720"/>
              <a:gd name="T86" fmla="*/ 19989858 w 845"/>
              <a:gd name="T87" fmla="*/ 159193724 h 720"/>
              <a:gd name="T88" fmla="*/ 17213634 w 845"/>
              <a:gd name="T89" fmla="*/ 150456145 h 720"/>
              <a:gd name="T90" fmla="*/ 14251983 w 845"/>
              <a:gd name="T91" fmla="*/ 139533780 h 720"/>
              <a:gd name="T92" fmla="*/ 9069521 w 845"/>
              <a:gd name="T93" fmla="*/ 133526499 h 720"/>
              <a:gd name="T94" fmla="*/ 2961652 w 845"/>
              <a:gd name="T95" fmla="*/ 130249580 h 720"/>
              <a:gd name="T96" fmla="*/ 925409 w 845"/>
              <a:gd name="T97" fmla="*/ 128884154 h 720"/>
              <a:gd name="T98" fmla="*/ 369991 w 845"/>
              <a:gd name="T99" fmla="*/ 122330839 h 720"/>
              <a:gd name="T100" fmla="*/ 3887061 w 845"/>
              <a:gd name="T101" fmla="*/ 115231458 h 720"/>
              <a:gd name="T102" fmla="*/ 10179925 w 845"/>
              <a:gd name="T103" fmla="*/ 112773900 h 720"/>
              <a:gd name="T104" fmla="*/ 12401163 w 845"/>
              <a:gd name="T105" fmla="*/ 87652250 h 720"/>
              <a:gd name="T106" fmla="*/ 15177391 w 845"/>
              <a:gd name="T107" fmla="*/ 75091687 h 720"/>
              <a:gd name="T108" fmla="*/ 17583625 w 845"/>
              <a:gd name="T109" fmla="*/ 70995408 h 720"/>
              <a:gd name="T110" fmla="*/ 19064450 w 845"/>
              <a:gd name="T111" fmla="*/ 64442077 h 720"/>
              <a:gd name="T112" fmla="*/ 21470684 w 845"/>
              <a:gd name="T113" fmla="*/ 56250564 h 720"/>
              <a:gd name="T114" fmla="*/ 27393555 w 845"/>
              <a:gd name="T115" fmla="*/ 48604595 h 720"/>
              <a:gd name="T116" fmla="*/ 30910199 w 845"/>
              <a:gd name="T117" fmla="*/ 43689478 h 72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845"/>
              <a:gd name="T178" fmla="*/ 0 h 720"/>
              <a:gd name="T179" fmla="*/ 845 w 845"/>
              <a:gd name="T180" fmla="*/ 720 h 720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845" h="720">
                <a:moveTo>
                  <a:pt x="174" y="25"/>
                </a:moveTo>
                <a:lnTo>
                  <a:pt x="175" y="27"/>
                </a:lnTo>
                <a:lnTo>
                  <a:pt x="179" y="33"/>
                </a:lnTo>
                <a:lnTo>
                  <a:pt x="182" y="36"/>
                </a:lnTo>
                <a:lnTo>
                  <a:pt x="185" y="38"/>
                </a:lnTo>
                <a:lnTo>
                  <a:pt x="189" y="38"/>
                </a:lnTo>
                <a:lnTo>
                  <a:pt x="194" y="37"/>
                </a:lnTo>
                <a:lnTo>
                  <a:pt x="205" y="28"/>
                </a:lnTo>
                <a:lnTo>
                  <a:pt x="218" y="19"/>
                </a:lnTo>
                <a:lnTo>
                  <a:pt x="229" y="14"/>
                </a:lnTo>
                <a:lnTo>
                  <a:pt x="234" y="12"/>
                </a:lnTo>
                <a:lnTo>
                  <a:pt x="247" y="0"/>
                </a:lnTo>
                <a:lnTo>
                  <a:pt x="250" y="1"/>
                </a:lnTo>
                <a:lnTo>
                  <a:pt x="258" y="6"/>
                </a:lnTo>
                <a:lnTo>
                  <a:pt x="267" y="10"/>
                </a:lnTo>
                <a:lnTo>
                  <a:pt x="273" y="12"/>
                </a:lnTo>
                <a:lnTo>
                  <a:pt x="284" y="15"/>
                </a:lnTo>
                <a:lnTo>
                  <a:pt x="300" y="21"/>
                </a:lnTo>
                <a:lnTo>
                  <a:pt x="316" y="31"/>
                </a:lnTo>
                <a:lnTo>
                  <a:pt x="327" y="37"/>
                </a:lnTo>
                <a:lnTo>
                  <a:pt x="337" y="41"/>
                </a:lnTo>
                <a:lnTo>
                  <a:pt x="353" y="50"/>
                </a:lnTo>
                <a:lnTo>
                  <a:pt x="370" y="60"/>
                </a:lnTo>
                <a:lnTo>
                  <a:pt x="380" y="67"/>
                </a:lnTo>
                <a:lnTo>
                  <a:pt x="393" y="76"/>
                </a:lnTo>
                <a:lnTo>
                  <a:pt x="406" y="86"/>
                </a:lnTo>
                <a:lnTo>
                  <a:pt x="419" y="95"/>
                </a:lnTo>
                <a:lnTo>
                  <a:pt x="426" y="98"/>
                </a:lnTo>
                <a:lnTo>
                  <a:pt x="430" y="105"/>
                </a:lnTo>
                <a:lnTo>
                  <a:pt x="440" y="116"/>
                </a:lnTo>
                <a:lnTo>
                  <a:pt x="441" y="121"/>
                </a:lnTo>
                <a:lnTo>
                  <a:pt x="442" y="125"/>
                </a:lnTo>
                <a:lnTo>
                  <a:pt x="443" y="130"/>
                </a:lnTo>
                <a:lnTo>
                  <a:pt x="443" y="134"/>
                </a:lnTo>
                <a:lnTo>
                  <a:pt x="443" y="137"/>
                </a:lnTo>
                <a:lnTo>
                  <a:pt x="443" y="140"/>
                </a:lnTo>
                <a:lnTo>
                  <a:pt x="444" y="141"/>
                </a:lnTo>
                <a:lnTo>
                  <a:pt x="447" y="142"/>
                </a:lnTo>
                <a:lnTo>
                  <a:pt x="450" y="143"/>
                </a:lnTo>
                <a:lnTo>
                  <a:pt x="458" y="147"/>
                </a:lnTo>
                <a:lnTo>
                  <a:pt x="466" y="153"/>
                </a:lnTo>
                <a:lnTo>
                  <a:pt x="475" y="160"/>
                </a:lnTo>
                <a:lnTo>
                  <a:pt x="492" y="172"/>
                </a:lnTo>
                <a:lnTo>
                  <a:pt x="499" y="178"/>
                </a:lnTo>
                <a:lnTo>
                  <a:pt x="500" y="175"/>
                </a:lnTo>
                <a:lnTo>
                  <a:pt x="503" y="173"/>
                </a:lnTo>
                <a:lnTo>
                  <a:pt x="505" y="172"/>
                </a:lnTo>
                <a:lnTo>
                  <a:pt x="506" y="172"/>
                </a:lnTo>
                <a:lnTo>
                  <a:pt x="500" y="174"/>
                </a:lnTo>
                <a:lnTo>
                  <a:pt x="495" y="177"/>
                </a:lnTo>
                <a:lnTo>
                  <a:pt x="492" y="181"/>
                </a:lnTo>
                <a:lnTo>
                  <a:pt x="488" y="184"/>
                </a:lnTo>
                <a:lnTo>
                  <a:pt x="485" y="189"/>
                </a:lnTo>
                <a:lnTo>
                  <a:pt x="483" y="193"/>
                </a:lnTo>
                <a:lnTo>
                  <a:pt x="482" y="197"/>
                </a:lnTo>
                <a:lnTo>
                  <a:pt x="481" y="202"/>
                </a:lnTo>
                <a:lnTo>
                  <a:pt x="478" y="221"/>
                </a:lnTo>
                <a:lnTo>
                  <a:pt x="480" y="240"/>
                </a:lnTo>
                <a:lnTo>
                  <a:pt x="480" y="247"/>
                </a:lnTo>
                <a:lnTo>
                  <a:pt x="481" y="252"/>
                </a:lnTo>
                <a:lnTo>
                  <a:pt x="483" y="256"/>
                </a:lnTo>
                <a:lnTo>
                  <a:pt x="486" y="260"/>
                </a:lnTo>
                <a:lnTo>
                  <a:pt x="488" y="262"/>
                </a:lnTo>
                <a:lnTo>
                  <a:pt x="493" y="264"/>
                </a:lnTo>
                <a:lnTo>
                  <a:pt x="496" y="265"/>
                </a:lnTo>
                <a:lnTo>
                  <a:pt x="500" y="266"/>
                </a:lnTo>
                <a:lnTo>
                  <a:pt x="516" y="266"/>
                </a:lnTo>
                <a:lnTo>
                  <a:pt x="526" y="265"/>
                </a:lnTo>
                <a:lnTo>
                  <a:pt x="528" y="279"/>
                </a:lnTo>
                <a:lnTo>
                  <a:pt x="532" y="293"/>
                </a:lnTo>
                <a:lnTo>
                  <a:pt x="538" y="307"/>
                </a:lnTo>
                <a:lnTo>
                  <a:pt x="545" y="319"/>
                </a:lnTo>
                <a:lnTo>
                  <a:pt x="554" y="330"/>
                </a:lnTo>
                <a:lnTo>
                  <a:pt x="563" y="341"/>
                </a:lnTo>
                <a:lnTo>
                  <a:pt x="573" y="351"/>
                </a:lnTo>
                <a:lnTo>
                  <a:pt x="583" y="361"/>
                </a:lnTo>
                <a:lnTo>
                  <a:pt x="604" y="376"/>
                </a:lnTo>
                <a:lnTo>
                  <a:pt x="622" y="388"/>
                </a:lnTo>
                <a:lnTo>
                  <a:pt x="637" y="396"/>
                </a:lnTo>
                <a:lnTo>
                  <a:pt x="645" y="400"/>
                </a:lnTo>
                <a:lnTo>
                  <a:pt x="673" y="408"/>
                </a:lnTo>
                <a:lnTo>
                  <a:pt x="696" y="417"/>
                </a:lnTo>
                <a:lnTo>
                  <a:pt x="718" y="424"/>
                </a:lnTo>
                <a:lnTo>
                  <a:pt x="738" y="430"/>
                </a:lnTo>
                <a:lnTo>
                  <a:pt x="758" y="435"/>
                </a:lnTo>
                <a:lnTo>
                  <a:pt x="783" y="440"/>
                </a:lnTo>
                <a:lnTo>
                  <a:pt x="811" y="445"/>
                </a:lnTo>
                <a:lnTo>
                  <a:pt x="845" y="449"/>
                </a:lnTo>
                <a:lnTo>
                  <a:pt x="838" y="457"/>
                </a:lnTo>
                <a:lnTo>
                  <a:pt x="830" y="465"/>
                </a:lnTo>
                <a:lnTo>
                  <a:pt x="821" y="474"/>
                </a:lnTo>
                <a:lnTo>
                  <a:pt x="811" y="482"/>
                </a:lnTo>
                <a:lnTo>
                  <a:pt x="790" y="498"/>
                </a:lnTo>
                <a:lnTo>
                  <a:pt x="768" y="514"/>
                </a:lnTo>
                <a:lnTo>
                  <a:pt x="749" y="531"/>
                </a:lnTo>
                <a:lnTo>
                  <a:pt x="731" y="547"/>
                </a:lnTo>
                <a:lnTo>
                  <a:pt x="723" y="555"/>
                </a:lnTo>
                <a:lnTo>
                  <a:pt x="718" y="562"/>
                </a:lnTo>
                <a:lnTo>
                  <a:pt x="715" y="570"/>
                </a:lnTo>
                <a:lnTo>
                  <a:pt x="712" y="579"/>
                </a:lnTo>
                <a:lnTo>
                  <a:pt x="709" y="592"/>
                </a:lnTo>
                <a:lnTo>
                  <a:pt x="706" y="602"/>
                </a:lnTo>
                <a:lnTo>
                  <a:pt x="701" y="610"/>
                </a:lnTo>
                <a:lnTo>
                  <a:pt x="697" y="617"/>
                </a:lnTo>
                <a:lnTo>
                  <a:pt x="693" y="622"/>
                </a:lnTo>
                <a:lnTo>
                  <a:pt x="686" y="625"/>
                </a:lnTo>
                <a:lnTo>
                  <a:pt x="681" y="628"/>
                </a:lnTo>
                <a:lnTo>
                  <a:pt x="674" y="629"/>
                </a:lnTo>
                <a:lnTo>
                  <a:pt x="643" y="630"/>
                </a:lnTo>
                <a:lnTo>
                  <a:pt x="606" y="635"/>
                </a:lnTo>
                <a:lnTo>
                  <a:pt x="594" y="643"/>
                </a:lnTo>
                <a:lnTo>
                  <a:pt x="580" y="655"/>
                </a:lnTo>
                <a:lnTo>
                  <a:pt x="573" y="661"/>
                </a:lnTo>
                <a:lnTo>
                  <a:pt x="567" y="666"/>
                </a:lnTo>
                <a:lnTo>
                  <a:pt x="563" y="670"/>
                </a:lnTo>
                <a:lnTo>
                  <a:pt x="559" y="671"/>
                </a:lnTo>
                <a:lnTo>
                  <a:pt x="548" y="673"/>
                </a:lnTo>
                <a:lnTo>
                  <a:pt x="539" y="676"/>
                </a:lnTo>
                <a:lnTo>
                  <a:pt x="531" y="678"/>
                </a:lnTo>
                <a:lnTo>
                  <a:pt x="525" y="681"/>
                </a:lnTo>
                <a:lnTo>
                  <a:pt x="513" y="687"/>
                </a:lnTo>
                <a:lnTo>
                  <a:pt x="499" y="696"/>
                </a:lnTo>
                <a:lnTo>
                  <a:pt x="488" y="696"/>
                </a:lnTo>
                <a:lnTo>
                  <a:pt x="482" y="693"/>
                </a:lnTo>
                <a:lnTo>
                  <a:pt x="476" y="691"/>
                </a:lnTo>
                <a:lnTo>
                  <a:pt x="472" y="686"/>
                </a:lnTo>
                <a:lnTo>
                  <a:pt x="468" y="683"/>
                </a:lnTo>
                <a:lnTo>
                  <a:pt x="461" y="680"/>
                </a:lnTo>
                <a:lnTo>
                  <a:pt x="452" y="678"/>
                </a:lnTo>
                <a:lnTo>
                  <a:pt x="440" y="677"/>
                </a:lnTo>
                <a:lnTo>
                  <a:pt x="432" y="678"/>
                </a:lnTo>
                <a:lnTo>
                  <a:pt x="427" y="679"/>
                </a:lnTo>
                <a:lnTo>
                  <a:pt x="421" y="681"/>
                </a:lnTo>
                <a:lnTo>
                  <a:pt x="418" y="684"/>
                </a:lnTo>
                <a:lnTo>
                  <a:pt x="410" y="692"/>
                </a:lnTo>
                <a:lnTo>
                  <a:pt x="405" y="699"/>
                </a:lnTo>
                <a:lnTo>
                  <a:pt x="402" y="703"/>
                </a:lnTo>
                <a:lnTo>
                  <a:pt x="398" y="707"/>
                </a:lnTo>
                <a:lnTo>
                  <a:pt x="394" y="711"/>
                </a:lnTo>
                <a:lnTo>
                  <a:pt x="390" y="714"/>
                </a:lnTo>
                <a:lnTo>
                  <a:pt x="383" y="717"/>
                </a:lnTo>
                <a:lnTo>
                  <a:pt x="376" y="719"/>
                </a:lnTo>
                <a:lnTo>
                  <a:pt x="369" y="720"/>
                </a:lnTo>
                <a:lnTo>
                  <a:pt x="360" y="720"/>
                </a:lnTo>
                <a:lnTo>
                  <a:pt x="348" y="720"/>
                </a:lnTo>
                <a:lnTo>
                  <a:pt x="337" y="719"/>
                </a:lnTo>
                <a:lnTo>
                  <a:pt x="327" y="717"/>
                </a:lnTo>
                <a:lnTo>
                  <a:pt x="318" y="714"/>
                </a:lnTo>
                <a:lnTo>
                  <a:pt x="310" y="710"/>
                </a:lnTo>
                <a:lnTo>
                  <a:pt x="303" y="706"/>
                </a:lnTo>
                <a:lnTo>
                  <a:pt x="295" y="702"/>
                </a:lnTo>
                <a:lnTo>
                  <a:pt x="289" y="698"/>
                </a:lnTo>
                <a:lnTo>
                  <a:pt x="275" y="688"/>
                </a:lnTo>
                <a:lnTo>
                  <a:pt x="261" y="679"/>
                </a:lnTo>
                <a:lnTo>
                  <a:pt x="253" y="675"/>
                </a:lnTo>
                <a:lnTo>
                  <a:pt x="246" y="671"/>
                </a:lnTo>
                <a:lnTo>
                  <a:pt x="237" y="668"/>
                </a:lnTo>
                <a:lnTo>
                  <a:pt x="227" y="665"/>
                </a:lnTo>
                <a:lnTo>
                  <a:pt x="205" y="662"/>
                </a:lnTo>
                <a:lnTo>
                  <a:pt x="181" y="661"/>
                </a:lnTo>
                <a:lnTo>
                  <a:pt x="170" y="660"/>
                </a:lnTo>
                <a:lnTo>
                  <a:pt x="159" y="659"/>
                </a:lnTo>
                <a:lnTo>
                  <a:pt x="149" y="657"/>
                </a:lnTo>
                <a:lnTo>
                  <a:pt x="140" y="653"/>
                </a:lnTo>
                <a:lnTo>
                  <a:pt x="149" y="632"/>
                </a:lnTo>
                <a:lnTo>
                  <a:pt x="153" y="622"/>
                </a:lnTo>
                <a:lnTo>
                  <a:pt x="152" y="618"/>
                </a:lnTo>
                <a:lnTo>
                  <a:pt x="151" y="614"/>
                </a:lnTo>
                <a:lnTo>
                  <a:pt x="147" y="607"/>
                </a:lnTo>
                <a:lnTo>
                  <a:pt x="140" y="597"/>
                </a:lnTo>
                <a:lnTo>
                  <a:pt x="134" y="597"/>
                </a:lnTo>
                <a:lnTo>
                  <a:pt x="127" y="596"/>
                </a:lnTo>
                <a:lnTo>
                  <a:pt x="122" y="593"/>
                </a:lnTo>
                <a:lnTo>
                  <a:pt x="116" y="590"/>
                </a:lnTo>
                <a:lnTo>
                  <a:pt x="112" y="587"/>
                </a:lnTo>
                <a:lnTo>
                  <a:pt x="108" y="583"/>
                </a:lnTo>
                <a:lnTo>
                  <a:pt x="104" y="577"/>
                </a:lnTo>
                <a:lnTo>
                  <a:pt x="102" y="572"/>
                </a:lnTo>
                <a:lnTo>
                  <a:pt x="96" y="562"/>
                </a:lnTo>
                <a:lnTo>
                  <a:pt x="93" y="551"/>
                </a:lnTo>
                <a:lnTo>
                  <a:pt x="90" y="540"/>
                </a:lnTo>
                <a:lnTo>
                  <a:pt x="88" y="530"/>
                </a:lnTo>
                <a:lnTo>
                  <a:pt x="82" y="519"/>
                </a:lnTo>
                <a:lnTo>
                  <a:pt x="77" y="511"/>
                </a:lnTo>
                <a:lnTo>
                  <a:pt x="70" y="505"/>
                </a:lnTo>
                <a:lnTo>
                  <a:pt x="63" y="499"/>
                </a:lnTo>
                <a:lnTo>
                  <a:pt x="57" y="494"/>
                </a:lnTo>
                <a:lnTo>
                  <a:pt x="49" y="489"/>
                </a:lnTo>
                <a:lnTo>
                  <a:pt x="41" y="483"/>
                </a:lnTo>
                <a:lnTo>
                  <a:pt x="34" y="474"/>
                </a:lnTo>
                <a:lnTo>
                  <a:pt x="24" y="477"/>
                </a:lnTo>
                <a:lnTo>
                  <a:pt x="16" y="477"/>
                </a:lnTo>
                <a:lnTo>
                  <a:pt x="12" y="476"/>
                </a:lnTo>
                <a:lnTo>
                  <a:pt x="10" y="475"/>
                </a:lnTo>
                <a:lnTo>
                  <a:pt x="6" y="474"/>
                </a:lnTo>
                <a:lnTo>
                  <a:pt x="5" y="472"/>
                </a:lnTo>
                <a:lnTo>
                  <a:pt x="2" y="467"/>
                </a:lnTo>
                <a:lnTo>
                  <a:pt x="0" y="461"/>
                </a:lnTo>
                <a:lnTo>
                  <a:pt x="1" y="454"/>
                </a:lnTo>
                <a:lnTo>
                  <a:pt x="2" y="448"/>
                </a:lnTo>
                <a:lnTo>
                  <a:pt x="5" y="441"/>
                </a:lnTo>
                <a:lnTo>
                  <a:pt x="9" y="434"/>
                </a:lnTo>
                <a:lnTo>
                  <a:pt x="14" y="428"/>
                </a:lnTo>
                <a:lnTo>
                  <a:pt x="21" y="422"/>
                </a:lnTo>
                <a:lnTo>
                  <a:pt x="27" y="418"/>
                </a:lnTo>
                <a:lnTo>
                  <a:pt x="36" y="415"/>
                </a:lnTo>
                <a:lnTo>
                  <a:pt x="45" y="413"/>
                </a:lnTo>
                <a:lnTo>
                  <a:pt x="55" y="413"/>
                </a:lnTo>
                <a:lnTo>
                  <a:pt x="57" y="384"/>
                </a:lnTo>
                <a:lnTo>
                  <a:pt x="60" y="360"/>
                </a:lnTo>
                <a:lnTo>
                  <a:pt x="63" y="339"/>
                </a:lnTo>
                <a:lnTo>
                  <a:pt x="67" y="321"/>
                </a:lnTo>
                <a:lnTo>
                  <a:pt x="71" y="306"/>
                </a:lnTo>
                <a:lnTo>
                  <a:pt x="74" y="293"/>
                </a:lnTo>
                <a:lnTo>
                  <a:pt x="79" y="283"/>
                </a:lnTo>
                <a:lnTo>
                  <a:pt x="82" y="275"/>
                </a:lnTo>
                <a:lnTo>
                  <a:pt x="87" y="269"/>
                </a:lnTo>
                <a:lnTo>
                  <a:pt x="90" y="265"/>
                </a:lnTo>
                <a:lnTo>
                  <a:pt x="93" y="262"/>
                </a:lnTo>
                <a:lnTo>
                  <a:pt x="95" y="260"/>
                </a:lnTo>
                <a:lnTo>
                  <a:pt x="100" y="259"/>
                </a:lnTo>
                <a:lnTo>
                  <a:pt x="101" y="259"/>
                </a:lnTo>
                <a:lnTo>
                  <a:pt x="101" y="247"/>
                </a:lnTo>
                <a:lnTo>
                  <a:pt x="103" y="236"/>
                </a:lnTo>
                <a:lnTo>
                  <a:pt x="105" y="227"/>
                </a:lnTo>
                <a:lnTo>
                  <a:pt x="108" y="219"/>
                </a:lnTo>
                <a:lnTo>
                  <a:pt x="112" y="212"/>
                </a:lnTo>
                <a:lnTo>
                  <a:pt x="116" y="206"/>
                </a:lnTo>
                <a:lnTo>
                  <a:pt x="122" y="200"/>
                </a:lnTo>
                <a:lnTo>
                  <a:pt x="126" y="196"/>
                </a:lnTo>
                <a:lnTo>
                  <a:pt x="137" y="186"/>
                </a:lnTo>
                <a:lnTo>
                  <a:pt x="148" y="178"/>
                </a:lnTo>
                <a:lnTo>
                  <a:pt x="153" y="174"/>
                </a:lnTo>
                <a:lnTo>
                  <a:pt x="159" y="170"/>
                </a:lnTo>
                <a:lnTo>
                  <a:pt x="163" y="165"/>
                </a:lnTo>
                <a:lnTo>
                  <a:pt x="167" y="160"/>
                </a:lnTo>
                <a:lnTo>
                  <a:pt x="174" y="25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61" name="Line 359"/>
          <p:cNvSpPr>
            <a:spLocks noChangeShapeType="1"/>
          </p:cNvSpPr>
          <p:nvPr userDrawn="1">
            <p:custDataLst>
              <p:tags r:id="rId261"/>
            </p:custDataLst>
          </p:nvPr>
        </p:nvSpPr>
        <p:spPr bwMode="auto">
          <a:xfrm flipH="1">
            <a:off x="1779597" y="2957517"/>
            <a:ext cx="4763" cy="5954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62" name="Freeform 360"/>
          <p:cNvSpPr>
            <a:spLocks/>
          </p:cNvSpPr>
          <p:nvPr userDrawn="1">
            <p:custDataLst>
              <p:tags r:id="rId262"/>
            </p:custDataLst>
          </p:nvPr>
        </p:nvSpPr>
        <p:spPr bwMode="auto">
          <a:xfrm>
            <a:off x="1779591" y="2963469"/>
            <a:ext cx="12700" cy="44053"/>
          </a:xfrm>
          <a:custGeom>
            <a:avLst/>
            <a:gdLst>
              <a:gd name="T0" fmla="*/ 0 w 33"/>
              <a:gd name="T1" fmla="*/ 0 h 6"/>
              <a:gd name="T2" fmla="*/ 1036782 w 33"/>
              <a:gd name="T3" fmla="*/ 95839213 h 6"/>
              <a:gd name="T4" fmla="*/ 2221730 w 33"/>
              <a:gd name="T5" fmla="*/ 287507811 h 6"/>
              <a:gd name="T6" fmla="*/ 3406679 w 33"/>
              <a:gd name="T7" fmla="*/ 479176447 h 6"/>
              <a:gd name="T8" fmla="*/ 4887575 w 33"/>
              <a:gd name="T9" fmla="*/ 575005832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3"/>
              <a:gd name="T16" fmla="*/ 0 h 6"/>
              <a:gd name="T17" fmla="*/ 33 w 3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3" h="6">
                <a:moveTo>
                  <a:pt x="0" y="0"/>
                </a:moveTo>
                <a:lnTo>
                  <a:pt x="7" y="1"/>
                </a:lnTo>
                <a:lnTo>
                  <a:pt x="15" y="3"/>
                </a:lnTo>
                <a:lnTo>
                  <a:pt x="23" y="5"/>
                </a:lnTo>
                <a:lnTo>
                  <a:pt x="33" y="6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63" name="Freeform 361"/>
          <p:cNvSpPr>
            <a:spLocks/>
          </p:cNvSpPr>
          <p:nvPr userDrawn="1">
            <p:custDataLst>
              <p:tags r:id="rId263"/>
            </p:custDataLst>
          </p:nvPr>
        </p:nvSpPr>
        <p:spPr bwMode="auto">
          <a:xfrm>
            <a:off x="1787526" y="2953947"/>
            <a:ext cx="4762" cy="42863"/>
          </a:xfrm>
          <a:custGeom>
            <a:avLst/>
            <a:gdLst>
              <a:gd name="T0" fmla="*/ 1744357 w 13"/>
              <a:gd name="T1" fmla="*/ 108870752 h 30"/>
              <a:gd name="T2" fmla="*/ 1744357 w 13"/>
              <a:gd name="T3" fmla="*/ 0 h 30"/>
              <a:gd name="T4" fmla="*/ 0 w 13"/>
              <a:gd name="T5" fmla="*/ 0 h 30"/>
              <a:gd name="T6" fmla="*/ 0 60000 65536"/>
              <a:gd name="T7" fmla="*/ 0 60000 65536"/>
              <a:gd name="T8" fmla="*/ 0 60000 65536"/>
              <a:gd name="T9" fmla="*/ 0 w 13"/>
              <a:gd name="T10" fmla="*/ 0 h 30"/>
              <a:gd name="T11" fmla="*/ 13 w 13"/>
              <a:gd name="T12" fmla="*/ 30 h 3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3" h="30">
                <a:moveTo>
                  <a:pt x="13" y="30"/>
                </a:moveTo>
                <a:lnTo>
                  <a:pt x="13" y="0"/>
                </a:lnTo>
                <a:lnTo>
                  <a:pt x="0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grpSp>
        <p:nvGrpSpPr>
          <p:cNvPr id="152" name="Group 362"/>
          <p:cNvGrpSpPr>
            <a:grpSpLocks/>
          </p:cNvGrpSpPr>
          <p:nvPr userDrawn="1">
            <p:custDataLst>
              <p:tags r:id="rId264"/>
            </p:custDataLst>
          </p:nvPr>
        </p:nvGrpSpPr>
        <p:grpSpPr bwMode="auto">
          <a:xfrm>
            <a:off x="1779591" y="2905131"/>
            <a:ext cx="417513" cy="151210"/>
            <a:chOff x="912" y="2626"/>
            <a:chExt cx="311" cy="127"/>
          </a:xfrm>
          <a:solidFill>
            <a:sysClr val="window" lastClr="FFFFFF">
              <a:lumMod val="85000"/>
            </a:sysClr>
          </a:solidFill>
        </p:grpSpPr>
        <p:sp>
          <p:nvSpPr>
            <p:cNvPr id="365" name="Freeform 363"/>
            <p:cNvSpPr>
              <a:spLocks/>
            </p:cNvSpPr>
            <p:nvPr/>
          </p:nvSpPr>
          <p:spPr bwMode="auto">
            <a:xfrm>
              <a:off x="1110" y="2626"/>
              <a:ext cx="113" cy="127"/>
            </a:xfrm>
            <a:custGeom>
              <a:avLst/>
              <a:gdLst>
                <a:gd name="T0" fmla="*/ 32 w 352"/>
                <a:gd name="T1" fmla="*/ 9 h 387"/>
                <a:gd name="T2" fmla="*/ 30 w 352"/>
                <a:gd name="T3" fmla="*/ 9 h 387"/>
                <a:gd name="T4" fmla="*/ 27 w 352"/>
                <a:gd name="T5" fmla="*/ 9 h 387"/>
                <a:gd name="T6" fmla="*/ 26 w 352"/>
                <a:gd name="T7" fmla="*/ 8 h 387"/>
                <a:gd name="T8" fmla="*/ 23 w 352"/>
                <a:gd name="T9" fmla="*/ 6 h 387"/>
                <a:gd name="T10" fmla="*/ 17 w 352"/>
                <a:gd name="T11" fmla="*/ 2 h 387"/>
                <a:gd name="T12" fmla="*/ 14 w 352"/>
                <a:gd name="T13" fmla="*/ 1 h 387"/>
                <a:gd name="T14" fmla="*/ 13 w 352"/>
                <a:gd name="T15" fmla="*/ 2 h 387"/>
                <a:gd name="T16" fmla="*/ 12 w 352"/>
                <a:gd name="T17" fmla="*/ 3 h 387"/>
                <a:gd name="T18" fmla="*/ 11 w 352"/>
                <a:gd name="T19" fmla="*/ 4 h 387"/>
                <a:gd name="T20" fmla="*/ 9 w 352"/>
                <a:gd name="T21" fmla="*/ 6 h 387"/>
                <a:gd name="T22" fmla="*/ 5 w 352"/>
                <a:gd name="T23" fmla="*/ 11 h 387"/>
                <a:gd name="T24" fmla="*/ 3 w 352"/>
                <a:gd name="T25" fmla="*/ 14 h 387"/>
                <a:gd name="T26" fmla="*/ 2 w 352"/>
                <a:gd name="T27" fmla="*/ 17 h 387"/>
                <a:gd name="T28" fmla="*/ 1 w 352"/>
                <a:gd name="T29" fmla="*/ 19 h 387"/>
                <a:gd name="T30" fmla="*/ 0 w 352"/>
                <a:gd name="T31" fmla="*/ 21 h 387"/>
                <a:gd name="T32" fmla="*/ 0 w 352"/>
                <a:gd name="T33" fmla="*/ 23 h 387"/>
                <a:gd name="T34" fmla="*/ 0 w 352"/>
                <a:gd name="T35" fmla="*/ 24 h 387"/>
                <a:gd name="T36" fmla="*/ 1 w 352"/>
                <a:gd name="T37" fmla="*/ 25 h 387"/>
                <a:gd name="T38" fmla="*/ 3 w 352"/>
                <a:gd name="T39" fmla="*/ 26 h 387"/>
                <a:gd name="T40" fmla="*/ 4 w 352"/>
                <a:gd name="T41" fmla="*/ 26 h 387"/>
                <a:gd name="T42" fmla="*/ 5 w 352"/>
                <a:gd name="T43" fmla="*/ 26 h 387"/>
                <a:gd name="T44" fmla="*/ 6 w 352"/>
                <a:gd name="T45" fmla="*/ 26 h 387"/>
                <a:gd name="T46" fmla="*/ 7 w 352"/>
                <a:gd name="T47" fmla="*/ 25 h 387"/>
                <a:gd name="T48" fmla="*/ 8 w 352"/>
                <a:gd name="T49" fmla="*/ 25 h 387"/>
                <a:gd name="T50" fmla="*/ 8 w 352"/>
                <a:gd name="T51" fmla="*/ 26 h 387"/>
                <a:gd name="T52" fmla="*/ 8 w 352"/>
                <a:gd name="T53" fmla="*/ 28 h 387"/>
                <a:gd name="T54" fmla="*/ 8 w 352"/>
                <a:gd name="T55" fmla="*/ 30 h 387"/>
                <a:gd name="T56" fmla="*/ 7 w 352"/>
                <a:gd name="T57" fmla="*/ 31 h 387"/>
                <a:gd name="T58" fmla="*/ 7 w 352"/>
                <a:gd name="T59" fmla="*/ 33 h 387"/>
                <a:gd name="T60" fmla="*/ 8 w 352"/>
                <a:gd name="T61" fmla="*/ 36 h 387"/>
                <a:gd name="T62" fmla="*/ 9 w 352"/>
                <a:gd name="T63" fmla="*/ 38 h 387"/>
                <a:gd name="T64" fmla="*/ 13 w 352"/>
                <a:gd name="T65" fmla="*/ 40 h 387"/>
                <a:gd name="T66" fmla="*/ 15 w 352"/>
                <a:gd name="T67" fmla="*/ 41 h 387"/>
                <a:gd name="T68" fmla="*/ 16 w 352"/>
                <a:gd name="T69" fmla="*/ 42 h 387"/>
                <a:gd name="T70" fmla="*/ 17 w 352"/>
                <a:gd name="T71" fmla="*/ 41 h 387"/>
                <a:gd name="T72" fmla="*/ 18 w 352"/>
                <a:gd name="T73" fmla="*/ 39 h 387"/>
                <a:gd name="T74" fmla="*/ 18 w 352"/>
                <a:gd name="T75" fmla="*/ 38 h 387"/>
                <a:gd name="T76" fmla="*/ 19 w 352"/>
                <a:gd name="T77" fmla="*/ 36 h 387"/>
                <a:gd name="T78" fmla="*/ 19 w 352"/>
                <a:gd name="T79" fmla="*/ 35 h 387"/>
                <a:gd name="T80" fmla="*/ 20 w 352"/>
                <a:gd name="T81" fmla="*/ 33 h 387"/>
                <a:gd name="T82" fmla="*/ 22 w 352"/>
                <a:gd name="T83" fmla="*/ 30 h 387"/>
                <a:gd name="T84" fmla="*/ 24 w 352"/>
                <a:gd name="T85" fmla="*/ 28 h 387"/>
                <a:gd name="T86" fmla="*/ 27 w 352"/>
                <a:gd name="T87" fmla="*/ 27 h 387"/>
                <a:gd name="T88" fmla="*/ 31 w 352"/>
                <a:gd name="T89" fmla="*/ 25 h 387"/>
                <a:gd name="T90" fmla="*/ 33 w 352"/>
                <a:gd name="T91" fmla="*/ 23 h 387"/>
                <a:gd name="T92" fmla="*/ 35 w 352"/>
                <a:gd name="T93" fmla="*/ 21 h 387"/>
                <a:gd name="T94" fmla="*/ 36 w 352"/>
                <a:gd name="T95" fmla="*/ 20 h 387"/>
                <a:gd name="T96" fmla="*/ 36 w 352"/>
                <a:gd name="T97" fmla="*/ 18 h 387"/>
                <a:gd name="T98" fmla="*/ 36 w 352"/>
                <a:gd name="T99" fmla="*/ 16 h 387"/>
                <a:gd name="T100" fmla="*/ 35 w 352"/>
                <a:gd name="T101" fmla="*/ 13 h 387"/>
                <a:gd name="T102" fmla="*/ 34 w 352"/>
                <a:gd name="T103" fmla="*/ 10 h 38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52"/>
                <a:gd name="T157" fmla="*/ 0 h 387"/>
                <a:gd name="T158" fmla="*/ 352 w 352"/>
                <a:gd name="T159" fmla="*/ 387 h 387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52" h="387">
                  <a:moveTo>
                    <a:pt x="325" y="79"/>
                  </a:moveTo>
                  <a:lnTo>
                    <a:pt x="312" y="79"/>
                  </a:lnTo>
                  <a:lnTo>
                    <a:pt x="299" y="79"/>
                  </a:lnTo>
                  <a:lnTo>
                    <a:pt x="286" y="79"/>
                  </a:lnTo>
                  <a:lnTo>
                    <a:pt x="273" y="79"/>
                  </a:lnTo>
                  <a:lnTo>
                    <a:pt x="265" y="79"/>
                  </a:lnTo>
                  <a:lnTo>
                    <a:pt x="256" y="77"/>
                  </a:lnTo>
                  <a:lnTo>
                    <a:pt x="249" y="74"/>
                  </a:lnTo>
                  <a:lnTo>
                    <a:pt x="240" y="70"/>
                  </a:lnTo>
                  <a:lnTo>
                    <a:pt x="222" y="59"/>
                  </a:lnTo>
                  <a:lnTo>
                    <a:pt x="204" y="46"/>
                  </a:lnTo>
                  <a:lnTo>
                    <a:pt x="168" y="20"/>
                  </a:lnTo>
                  <a:lnTo>
                    <a:pt x="140" y="0"/>
                  </a:lnTo>
                  <a:lnTo>
                    <a:pt x="137" y="6"/>
                  </a:lnTo>
                  <a:lnTo>
                    <a:pt x="133" y="13"/>
                  </a:lnTo>
                  <a:lnTo>
                    <a:pt x="129" y="19"/>
                  </a:lnTo>
                  <a:lnTo>
                    <a:pt x="125" y="25"/>
                  </a:lnTo>
                  <a:lnTo>
                    <a:pt x="119" y="29"/>
                  </a:lnTo>
                  <a:lnTo>
                    <a:pt x="114" y="33"/>
                  </a:lnTo>
                  <a:lnTo>
                    <a:pt x="107" y="35"/>
                  </a:lnTo>
                  <a:lnTo>
                    <a:pt x="100" y="36"/>
                  </a:lnTo>
                  <a:lnTo>
                    <a:pt x="86" y="56"/>
                  </a:lnTo>
                  <a:lnTo>
                    <a:pt x="71" y="76"/>
                  </a:lnTo>
                  <a:lnTo>
                    <a:pt x="53" y="97"/>
                  </a:lnTo>
                  <a:lnTo>
                    <a:pt x="38" y="120"/>
                  </a:lnTo>
                  <a:lnTo>
                    <a:pt x="30" y="131"/>
                  </a:lnTo>
                  <a:lnTo>
                    <a:pt x="22" y="143"/>
                  </a:lnTo>
                  <a:lnTo>
                    <a:pt x="17" y="154"/>
                  </a:lnTo>
                  <a:lnTo>
                    <a:pt x="11" y="165"/>
                  </a:lnTo>
                  <a:lnTo>
                    <a:pt x="7" y="177"/>
                  </a:lnTo>
                  <a:lnTo>
                    <a:pt x="3" y="187"/>
                  </a:lnTo>
                  <a:lnTo>
                    <a:pt x="0" y="198"/>
                  </a:lnTo>
                  <a:lnTo>
                    <a:pt x="0" y="208"/>
                  </a:lnTo>
                  <a:lnTo>
                    <a:pt x="0" y="213"/>
                  </a:lnTo>
                  <a:lnTo>
                    <a:pt x="2" y="217"/>
                  </a:lnTo>
                  <a:lnTo>
                    <a:pt x="3" y="222"/>
                  </a:lnTo>
                  <a:lnTo>
                    <a:pt x="5" y="225"/>
                  </a:lnTo>
                  <a:lnTo>
                    <a:pt x="9" y="231"/>
                  </a:lnTo>
                  <a:lnTo>
                    <a:pt x="16" y="237"/>
                  </a:lnTo>
                  <a:lnTo>
                    <a:pt x="24" y="241"/>
                  </a:lnTo>
                  <a:lnTo>
                    <a:pt x="31" y="243"/>
                  </a:lnTo>
                  <a:lnTo>
                    <a:pt x="39" y="245"/>
                  </a:lnTo>
                  <a:lnTo>
                    <a:pt x="47" y="246"/>
                  </a:lnTo>
                  <a:lnTo>
                    <a:pt x="52" y="245"/>
                  </a:lnTo>
                  <a:lnTo>
                    <a:pt x="58" y="243"/>
                  </a:lnTo>
                  <a:lnTo>
                    <a:pt x="63" y="241"/>
                  </a:lnTo>
                  <a:lnTo>
                    <a:pt x="69" y="238"/>
                  </a:lnTo>
                  <a:lnTo>
                    <a:pt x="73" y="236"/>
                  </a:lnTo>
                  <a:lnTo>
                    <a:pt x="76" y="235"/>
                  </a:lnTo>
                  <a:lnTo>
                    <a:pt x="78" y="236"/>
                  </a:lnTo>
                  <a:lnTo>
                    <a:pt x="80" y="236"/>
                  </a:lnTo>
                  <a:lnTo>
                    <a:pt x="80" y="238"/>
                  </a:lnTo>
                  <a:lnTo>
                    <a:pt x="80" y="240"/>
                  </a:lnTo>
                  <a:lnTo>
                    <a:pt x="80" y="257"/>
                  </a:lnTo>
                  <a:lnTo>
                    <a:pt x="78" y="271"/>
                  </a:lnTo>
                  <a:lnTo>
                    <a:pt x="76" y="279"/>
                  </a:lnTo>
                  <a:lnTo>
                    <a:pt x="74" y="285"/>
                  </a:lnTo>
                  <a:lnTo>
                    <a:pt x="71" y="290"/>
                  </a:lnTo>
                  <a:lnTo>
                    <a:pt x="66" y="295"/>
                  </a:lnTo>
                  <a:lnTo>
                    <a:pt x="73" y="307"/>
                  </a:lnTo>
                  <a:lnTo>
                    <a:pt x="80" y="319"/>
                  </a:lnTo>
                  <a:lnTo>
                    <a:pt x="80" y="331"/>
                  </a:lnTo>
                  <a:lnTo>
                    <a:pt x="80" y="344"/>
                  </a:lnTo>
                  <a:lnTo>
                    <a:pt x="89" y="351"/>
                  </a:lnTo>
                  <a:lnTo>
                    <a:pt x="110" y="366"/>
                  </a:lnTo>
                  <a:lnTo>
                    <a:pt x="122" y="373"/>
                  </a:lnTo>
                  <a:lnTo>
                    <a:pt x="133" y="380"/>
                  </a:lnTo>
                  <a:lnTo>
                    <a:pt x="142" y="385"/>
                  </a:lnTo>
                  <a:lnTo>
                    <a:pt x="147" y="387"/>
                  </a:lnTo>
                  <a:lnTo>
                    <a:pt x="152" y="386"/>
                  </a:lnTo>
                  <a:lnTo>
                    <a:pt x="158" y="382"/>
                  </a:lnTo>
                  <a:lnTo>
                    <a:pt x="163" y="377"/>
                  </a:lnTo>
                  <a:lnTo>
                    <a:pt x="168" y="370"/>
                  </a:lnTo>
                  <a:lnTo>
                    <a:pt x="173" y="363"/>
                  </a:lnTo>
                  <a:lnTo>
                    <a:pt x="176" y="356"/>
                  </a:lnTo>
                  <a:lnTo>
                    <a:pt x="178" y="350"/>
                  </a:lnTo>
                  <a:lnTo>
                    <a:pt x="179" y="344"/>
                  </a:lnTo>
                  <a:lnTo>
                    <a:pt x="181" y="338"/>
                  </a:lnTo>
                  <a:lnTo>
                    <a:pt x="182" y="330"/>
                  </a:lnTo>
                  <a:lnTo>
                    <a:pt x="184" y="323"/>
                  </a:lnTo>
                  <a:lnTo>
                    <a:pt x="187" y="317"/>
                  </a:lnTo>
                  <a:lnTo>
                    <a:pt x="195" y="304"/>
                  </a:lnTo>
                  <a:lnTo>
                    <a:pt x="206" y="292"/>
                  </a:lnTo>
                  <a:lnTo>
                    <a:pt x="216" y="281"/>
                  </a:lnTo>
                  <a:lnTo>
                    <a:pt x="228" y="271"/>
                  </a:lnTo>
                  <a:lnTo>
                    <a:pt x="238" y="263"/>
                  </a:lnTo>
                  <a:lnTo>
                    <a:pt x="246" y="258"/>
                  </a:lnTo>
                  <a:lnTo>
                    <a:pt x="264" y="249"/>
                  </a:lnTo>
                  <a:lnTo>
                    <a:pt x="283" y="239"/>
                  </a:lnTo>
                  <a:lnTo>
                    <a:pt x="300" y="229"/>
                  </a:lnTo>
                  <a:lnTo>
                    <a:pt x="317" y="217"/>
                  </a:lnTo>
                  <a:lnTo>
                    <a:pt x="324" y="212"/>
                  </a:lnTo>
                  <a:lnTo>
                    <a:pt x="331" y="205"/>
                  </a:lnTo>
                  <a:lnTo>
                    <a:pt x="338" y="199"/>
                  </a:lnTo>
                  <a:lnTo>
                    <a:pt x="342" y="192"/>
                  </a:lnTo>
                  <a:lnTo>
                    <a:pt x="346" y="185"/>
                  </a:lnTo>
                  <a:lnTo>
                    <a:pt x="350" y="177"/>
                  </a:lnTo>
                  <a:lnTo>
                    <a:pt x="352" y="169"/>
                  </a:lnTo>
                  <a:lnTo>
                    <a:pt x="352" y="159"/>
                  </a:lnTo>
                  <a:lnTo>
                    <a:pt x="351" y="149"/>
                  </a:lnTo>
                  <a:lnTo>
                    <a:pt x="349" y="137"/>
                  </a:lnTo>
                  <a:lnTo>
                    <a:pt x="344" y="125"/>
                  </a:lnTo>
                  <a:lnTo>
                    <a:pt x="339" y="113"/>
                  </a:lnTo>
                  <a:lnTo>
                    <a:pt x="330" y="91"/>
                  </a:lnTo>
                  <a:lnTo>
                    <a:pt x="325" y="79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66" name="Freeform 364"/>
            <p:cNvSpPr>
              <a:spLocks/>
            </p:cNvSpPr>
            <p:nvPr/>
          </p:nvSpPr>
          <p:spPr bwMode="auto">
            <a:xfrm>
              <a:off x="923" y="2662"/>
              <a:ext cx="17" cy="26"/>
            </a:xfrm>
            <a:custGeom>
              <a:avLst/>
              <a:gdLst>
                <a:gd name="T0" fmla="*/ 2 w 52"/>
                <a:gd name="T1" fmla="*/ 0 h 78"/>
                <a:gd name="T2" fmla="*/ 2 w 52"/>
                <a:gd name="T3" fmla="*/ 0 h 78"/>
                <a:gd name="T4" fmla="*/ 3 w 52"/>
                <a:gd name="T5" fmla="*/ 0 h 78"/>
                <a:gd name="T6" fmla="*/ 3 w 52"/>
                <a:gd name="T7" fmla="*/ 1 h 78"/>
                <a:gd name="T8" fmla="*/ 4 w 52"/>
                <a:gd name="T9" fmla="*/ 1 h 78"/>
                <a:gd name="T10" fmla="*/ 4 w 52"/>
                <a:gd name="T11" fmla="*/ 1 h 78"/>
                <a:gd name="T12" fmla="*/ 5 w 52"/>
                <a:gd name="T13" fmla="*/ 2 h 78"/>
                <a:gd name="T14" fmla="*/ 5 w 52"/>
                <a:gd name="T15" fmla="*/ 2 h 78"/>
                <a:gd name="T16" fmla="*/ 5 w 52"/>
                <a:gd name="T17" fmla="*/ 3 h 78"/>
                <a:gd name="T18" fmla="*/ 6 w 52"/>
                <a:gd name="T19" fmla="*/ 4 h 78"/>
                <a:gd name="T20" fmla="*/ 6 w 52"/>
                <a:gd name="T21" fmla="*/ 5 h 78"/>
                <a:gd name="T22" fmla="*/ 6 w 52"/>
                <a:gd name="T23" fmla="*/ 5 h 78"/>
                <a:gd name="T24" fmla="*/ 5 w 52"/>
                <a:gd name="T25" fmla="*/ 6 h 78"/>
                <a:gd name="T26" fmla="*/ 5 w 52"/>
                <a:gd name="T27" fmla="*/ 6 h 78"/>
                <a:gd name="T28" fmla="*/ 5 w 52"/>
                <a:gd name="T29" fmla="*/ 7 h 78"/>
                <a:gd name="T30" fmla="*/ 4 w 52"/>
                <a:gd name="T31" fmla="*/ 7 h 78"/>
                <a:gd name="T32" fmla="*/ 4 w 52"/>
                <a:gd name="T33" fmla="*/ 8 h 78"/>
                <a:gd name="T34" fmla="*/ 3 w 52"/>
                <a:gd name="T35" fmla="*/ 8 h 78"/>
                <a:gd name="T36" fmla="*/ 2 w 52"/>
                <a:gd name="T37" fmla="*/ 9 h 78"/>
                <a:gd name="T38" fmla="*/ 1 w 52"/>
                <a:gd name="T39" fmla="*/ 9 h 78"/>
                <a:gd name="T40" fmla="*/ 1 w 52"/>
                <a:gd name="T41" fmla="*/ 9 h 78"/>
                <a:gd name="T42" fmla="*/ 0 w 52"/>
                <a:gd name="T43" fmla="*/ 9 h 78"/>
                <a:gd name="T44" fmla="*/ 0 w 52"/>
                <a:gd name="T45" fmla="*/ 9 h 78"/>
                <a:gd name="T46" fmla="*/ 0 w 52"/>
                <a:gd name="T47" fmla="*/ 8 h 78"/>
                <a:gd name="T48" fmla="*/ 0 w 52"/>
                <a:gd name="T49" fmla="*/ 8 h 78"/>
                <a:gd name="T50" fmla="*/ 0 w 52"/>
                <a:gd name="T51" fmla="*/ 8 h 78"/>
                <a:gd name="T52" fmla="*/ 0 w 52"/>
                <a:gd name="T53" fmla="*/ 7 h 78"/>
                <a:gd name="T54" fmla="*/ 0 w 52"/>
                <a:gd name="T55" fmla="*/ 7 h 78"/>
                <a:gd name="T56" fmla="*/ 1 w 52"/>
                <a:gd name="T57" fmla="*/ 6 h 78"/>
                <a:gd name="T58" fmla="*/ 2 w 52"/>
                <a:gd name="T59" fmla="*/ 5 h 78"/>
                <a:gd name="T60" fmla="*/ 3 w 52"/>
                <a:gd name="T61" fmla="*/ 5 h 78"/>
                <a:gd name="T62" fmla="*/ 3 w 52"/>
                <a:gd name="T63" fmla="*/ 4 h 78"/>
                <a:gd name="T64" fmla="*/ 2 w 52"/>
                <a:gd name="T65" fmla="*/ 2 h 78"/>
                <a:gd name="T66" fmla="*/ 2 w 52"/>
                <a:gd name="T67" fmla="*/ 1 h 78"/>
                <a:gd name="T68" fmla="*/ 2 w 52"/>
                <a:gd name="T69" fmla="*/ 0 h 7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52"/>
                <a:gd name="T106" fmla="*/ 0 h 78"/>
                <a:gd name="T107" fmla="*/ 52 w 52"/>
                <a:gd name="T108" fmla="*/ 78 h 7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52" h="78">
                  <a:moveTo>
                    <a:pt x="14" y="0"/>
                  </a:moveTo>
                  <a:lnTo>
                    <a:pt x="20" y="0"/>
                  </a:lnTo>
                  <a:lnTo>
                    <a:pt x="25" y="2"/>
                  </a:lnTo>
                  <a:lnTo>
                    <a:pt x="30" y="6"/>
                  </a:lnTo>
                  <a:lnTo>
                    <a:pt x="36" y="9"/>
                  </a:lnTo>
                  <a:lnTo>
                    <a:pt x="40" y="13"/>
                  </a:lnTo>
                  <a:lnTo>
                    <a:pt x="45" y="17"/>
                  </a:lnTo>
                  <a:lnTo>
                    <a:pt x="47" y="21"/>
                  </a:lnTo>
                  <a:lnTo>
                    <a:pt x="48" y="24"/>
                  </a:lnTo>
                  <a:lnTo>
                    <a:pt x="51" y="34"/>
                  </a:lnTo>
                  <a:lnTo>
                    <a:pt x="52" y="41"/>
                  </a:lnTo>
                  <a:lnTo>
                    <a:pt x="51" y="46"/>
                  </a:lnTo>
                  <a:lnTo>
                    <a:pt x="49" y="50"/>
                  </a:lnTo>
                  <a:lnTo>
                    <a:pt x="47" y="54"/>
                  </a:lnTo>
                  <a:lnTo>
                    <a:pt x="44" y="60"/>
                  </a:lnTo>
                  <a:lnTo>
                    <a:pt x="41" y="65"/>
                  </a:lnTo>
                  <a:lnTo>
                    <a:pt x="41" y="73"/>
                  </a:lnTo>
                  <a:lnTo>
                    <a:pt x="29" y="75"/>
                  </a:lnTo>
                  <a:lnTo>
                    <a:pt x="16" y="78"/>
                  </a:lnTo>
                  <a:lnTo>
                    <a:pt x="11" y="78"/>
                  </a:lnTo>
                  <a:lnTo>
                    <a:pt x="5" y="78"/>
                  </a:lnTo>
                  <a:lnTo>
                    <a:pt x="4" y="78"/>
                  </a:lnTo>
                  <a:lnTo>
                    <a:pt x="2" y="77"/>
                  </a:lnTo>
                  <a:lnTo>
                    <a:pt x="2" y="75"/>
                  </a:lnTo>
                  <a:lnTo>
                    <a:pt x="1" y="73"/>
                  </a:lnTo>
                  <a:lnTo>
                    <a:pt x="0" y="69"/>
                  </a:lnTo>
                  <a:lnTo>
                    <a:pt x="1" y="64"/>
                  </a:lnTo>
                  <a:lnTo>
                    <a:pt x="3" y="60"/>
                  </a:lnTo>
                  <a:lnTo>
                    <a:pt x="7" y="56"/>
                  </a:lnTo>
                  <a:lnTo>
                    <a:pt x="17" y="47"/>
                  </a:lnTo>
                  <a:lnTo>
                    <a:pt x="28" y="42"/>
                  </a:lnTo>
                  <a:lnTo>
                    <a:pt x="24" y="32"/>
                  </a:lnTo>
                  <a:lnTo>
                    <a:pt x="21" y="21"/>
                  </a:lnTo>
                  <a:lnTo>
                    <a:pt x="18" y="10"/>
                  </a:lnTo>
                  <a:lnTo>
                    <a:pt x="14" y="0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67" name="Freeform 365"/>
            <p:cNvSpPr>
              <a:spLocks/>
            </p:cNvSpPr>
            <p:nvPr/>
          </p:nvSpPr>
          <p:spPr bwMode="auto">
            <a:xfrm>
              <a:off x="912" y="2666"/>
              <a:ext cx="9" cy="10"/>
            </a:xfrm>
            <a:custGeom>
              <a:avLst/>
              <a:gdLst>
                <a:gd name="T0" fmla="*/ 1 w 33"/>
                <a:gd name="T1" fmla="*/ 1 h 30"/>
                <a:gd name="T2" fmla="*/ 0 w 33"/>
                <a:gd name="T3" fmla="*/ 3 h 30"/>
                <a:gd name="T4" fmla="*/ 1 w 33"/>
                <a:gd name="T5" fmla="*/ 3 h 30"/>
                <a:gd name="T6" fmla="*/ 1 w 33"/>
                <a:gd name="T7" fmla="*/ 3 h 30"/>
                <a:gd name="T8" fmla="*/ 2 w 33"/>
                <a:gd name="T9" fmla="*/ 3 h 30"/>
                <a:gd name="T10" fmla="*/ 2 w 33"/>
                <a:gd name="T11" fmla="*/ 3 h 30"/>
                <a:gd name="T12" fmla="*/ 2 w 33"/>
                <a:gd name="T13" fmla="*/ 0 h 30"/>
                <a:gd name="T14" fmla="*/ 1 w 33"/>
                <a:gd name="T15" fmla="*/ 0 h 30"/>
                <a:gd name="T16" fmla="*/ 1 w 33"/>
                <a:gd name="T17" fmla="*/ 1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3"/>
                <a:gd name="T28" fmla="*/ 0 h 30"/>
                <a:gd name="T29" fmla="*/ 33 w 33"/>
                <a:gd name="T30" fmla="*/ 30 h 3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3" h="30">
                  <a:moveTo>
                    <a:pt x="13" y="6"/>
                  </a:moveTo>
                  <a:lnTo>
                    <a:pt x="0" y="24"/>
                  </a:lnTo>
                  <a:lnTo>
                    <a:pt x="7" y="25"/>
                  </a:lnTo>
                  <a:lnTo>
                    <a:pt x="15" y="27"/>
                  </a:lnTo>
                  <a:lnTo>
                    <a:pt x="23" y="29"/>
                  </a:lnTo>
                  <a:lnTo>
                    <a:pt x="33" y="30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368" name="Freeform 366"/>
          <p:cNvSpPr>
            <a:spLocks/>
          </p:cNvSpPr>
          <p:nvPr userDrawn="1">
            <p:custDataLst>
              <p:tags r:id="rId265"/>
            </p:custDataLst>
          </p:nvPr>
        </p:nvSpPr>
        <p:spPr bwMode="auto">
          <a:xfrm>
            <a:off x="5427663" y="3443297"/>
            <a:ext cx="19050" cy="44054"/>
          </a:xfrm>
          <a:custGeom>
            <a:avLst/>
            <a:gdLst>
              <a:gd name="T0" fmla="*/ 2135627 w 47"/>
              <a:gd name="T1" fmla="*/ 0 h 28"/>
              <a:gd name="T2" fmla="*/ 4107099 w 47"/>
              <a:gd name="T3" fmla="*/ 0 h 28"/>
              <a:gd name="T4" fmla="*/ 5092835 w 47"/>
              <a:gd name="T5" fmla="*/ 8802311 h 28"/>
              <a:gd name="T6" fmla="*/ 5421549 w 47"/>
              <a:gd name="T7" fmla="*/ 17602523 h 28"/>
              <a:gd name="T8" fmla="*/ 5421549 w 47"/>
              <a:gd name="T9" fmla="*/ 26404830 h 28"/>
              <a:gd name="T10" fmla="*/ 5256989 w 47"/>
              <a:gd name="T11" fmla="*/ 35205047 h 28"/>
              <a:gd name="T12" fmla="*/ 5421549 w 47"/>
              <a:gd name="T13" fmla="*/ 44007353 h 28"/>
              <a:gd name="T14" fmla="*/ 6078571 w 47"/>
              <a:gd name="T15" fmla="*/ 52807562 h 28"/>
              <a:gd name="T16" fmla="*/ 7721330 w 47"/>
              <a:gd name="T17" fmla="*/ 52807562 h 28"/>
              <a:gd name="T18" fmla="*/ 6899749 w 47"/>
              <a:gd name="T19" fmla="*/ 83613553 h 28"/>
              <a:gd name="T20" fmla="*/ 6078571 w 47"/>
              <a:gd name="T21" fmla="*/ 110018375 h 28"/>
              <a:gd name="T22" fmla="*/ 5421549 w 47"/>
              <a:gd name="T23" fmla="*/ 118818583 h 28"/>
              <a:gd name="T24" fmla="*/ 4599967 w 47"/>
              <a:gd name="T25" fmla="*/ 123219736 h 28"/>
              <a:gd name="T26" fmla="*/ 2628495 w 47"/>
              <a:gd name="T27" fmla="*/ 118818583 h 28"/>
              <a:gd name="T28" fmla="*/ 0 w 47"/>
              <a:gd name="T29" fmla="*/ 110018375 h 28"/>
              <a:gd name="T30" fmla="*/ 164154 w 47"/>
              <a:gd name="T31" fmla="*/ 83613553 h 28"/>
              <a:gd name="T32" fmla="*/ 328714 w 47"/>
              <a:gd name="T33" fmla="*/ 66011021 h 28"/>
              <a:gd name="T34" fmla="*/ 657022 w 47"/>
              <a:gd name="T35" fmla="*/ 57208715 h 28"/>
              <a:gd name="T36" fmla="*/ 985736 w 47"/>
              <a:gd name="T37" fmla="*/ 52807562 h 28"/>
              <a:gd name="T38" fmla="*/ 1478604 w 47"/>
              <a:gd name="T39" fmla="*/ 48408506 h 28"/>
              <a:gd name="T40" fmla="*/ 1807318 w 47"/>
              <a:gd name="T41" fmla="*/ 39606200 h 28"/>
              <a:gd name="T42" fmla="*/ 2135627 w 47"/>
              <a:gd name="T43" fmla="*/ 22003677 h 28"/>
              <a:gd name="T44" fmla="*/ 2135627 w 47"/>
              <a:gd name="T45" fmla="*/ 0 h 28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47"/>
              <a:gd name="T70" fmla="*/ 0 h 28"/>
              <a:gd name="T71" fmla="*/ 47 w 47"/>
              <a:gd name="T72" fmla="*/ 28 h 28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47" h="28">
                <a:moveTo>
                  <a:pt x="13" y="0"/>
                </a:moveTo>
                <a:lnTo>
                  <a:pt x="25" y="0"/>
                </a:lnTo>
                <a:lnTo>
                  <a:pt x="31" y="2"/>
                </a:lnTo>
                <a:lnTo>
                  <a:pt x="33" y="4"/>
                </a:lnTo>
                <a:lnTo>
                  <a:pt x="33" y="6"/>
                </a:lnTo>
                <a:lnTo>
                  <a:pt x="32" y="8"/>
                </a:lnTo>
                <a:lnTo>
                  <a:pt x="33" y="10"/>
                </a:lnTo>
                <a:lnTo>
                  <a:pt x="37" y="12"/>
                </a:lnTo>
                <a:lnTo>
                  <a:pt x="47" y="12"/>
                </a:lnTo>
                <a:lnTo>
                  <a:pt x="42" y="19"/>
                </a:lnTo>
                <a:lnTo>
                  <a:pt x="37" y="25"/>
                </a:lnTo>
                <a:lnTo>
                  <a:pt x="33" y="27"/>
                </a:lnTo>
                <a:lnTo>
                  <a:pt x="28" y="28"/>
                </a:lnTo>
                <a:lnTo>
                  <a:pt x="16" y="27"/>
                </a:lnTo>
                <a:lnTo>
                  <a:pt x="0" y="25"/>
                </a:lnTo>
                <a:lnTo>
                  <a:pt x="1" y="19"/>
                </a:lnTo>
                <a:lnTo>
                  <a:pt x="2" y="15"/>
                </a:lnTo>
                <a:lnTo>
                  <a:pt x="4" y="13"/>
                </a:lnTo>
                <a:lnTo>
                  <a:pt x="6" y="12"/>
                </a:lnTo>
                <a:lnTo>
                  <a:pt x="9" y="11"/>
                </a:lnTo>
                <a:lnTo>
                  <a:pt x="11" y="9"/>
                </a:lnTo>
                <a:lnTo>
                  <a:pt x="13" y="5"/>
                </a:lnTo>
                <a:lnTo>
                  <a:pt x="13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69" name="Freeform 367"/>
          <p:cNvSpPr>
            <a:spLocks/>
          </p:cNvSpPr>
          <p:nvPr userDrawn="1">
            <p:custDataLst>
              <p:tags r:id="rId266"/>
            </p:custDataLst>
          </p:nvPr>
        </p:nvSpPr>
        <p:spPr bwMode="auto">
          <a:xfrm>
            <a:off x="5399094" y="3463540"/>
            <a:ext cx="23813" cy="42863"/>
          </a:xfrm>
          <a:custGeom>
            <a:avLst/>
            <a:gdLst>
              <a:gd name="T0" fmla="*/ 2624372 w 53"/>
              <a:gd name="T1" fmla="*/ 0 h 33"/>
              <a:gd name="T2" fmla="*/ 5248745 w 53"/>
              <a:gd name="T3" fmla="*/ 2999509 h 33"/>
              <a:gd name="T4" fmla="*/ 6863535 w 53"/>
              <a:gd name="T5" fmla="*/ 2999509 h 33"/>
              <a:gd name="T6" fmla="*/ 7469196 w 53"/>
              <a:gd name="T7" fmla="*/ 8996795 h 33"/>
              <a:gd name="T8" fmla="*/ 7469196 w 53"/>
              <a:gd name="T9" fmla="*/ 11996302 h 33"/>
              <a:gd name="T10" fmla="*/ 7469196 w 53"/>
              <a:gd name="T11" fmla="*/ 17995321 h 33"/>
              <a:gd name="T12" fmla="*/ 7873118 w 53"/>
              <a:gd name="T13" fmla="*/ 23994337 h 33"/>
              <a:gd name="T14" fmla="*/ 8882250 w 53"/>
              <a:gd name="T15" fmla="*/ 29991627 h 33"/>
              <a:gd name="T16" fmla="*/ 10699226 w 53"/>
              <a:gd name="T17" fmla="*/ 35990642 h 33"/>
              <a:gd name="T18" fmla="*/ 9689645 w 53"/>
              <a:gd name="T19" fmla="*/ 65982269 h 33"/>
              <a:gd name="T20" fmla="*/ 8882250 w 53"/>
              <a:gd name="T21" fmla="*/ 83977584 h 33"/>
              <a:gd name="T22" fmla="*/ 8478777 w 53"/>
              <a:gd name="T23" fmla="*/ 92974375 h 33"/>
              <a:gd name="T24" fmla="*/ 7670932 w 53"/>
              <a:gd name="T25" fmla="*/ 95973883 h 33"/>
              <a:gd name="T26" fmla="*/ 7267458 w 53"/>
              <a:gd name="T27" fmla="*/ 98973390 h 33"/>
              <a:gd name="T28" fmla="*/ 6863535 w 53"/>
              <a:gd name="T29" fmla="*/ 98973390 h 33"/>
              <a:gd name="T30" fmla="*/ 4037427 w 53"/>
              <a:gd name="T31" fmla="*/ 89976599 h 33"/>
              <a:gd name="T32" fmla="*/ 0 w 53"/>
              <a:gd name="T33" fmla="*/ 71981285 h 33"/>
              <a:gd name="T34" fmla="*/ 0 w 53"/>
              <a:gd name="T35" fmla="*/ 56985478 h 33"/>
              <a:gd name="T36" fmla="*/ 403922 w 53"/>
              <a:gd name="T37" fmla="*/ 47986941 h 33"/>
              <a:gd name="T38" fmla="*/ 807395 w 53"/>
              <a:gd name="T39" fmla="*/ 41987926 h 33"/>
              <a:gd name="T40" fmla="*/ 1413054 w 53"/>
              <a:gd name="T41" fmla="*/ 35990642 h 33"/>
              <a:gd name="T42" fmla="*/ 1816977 w 53"/>
              <a:gd name="T43" fmla="*/ 32991135 h 33"/>
              <a:gd name="T44" fmla="*/ 2220450 w 53"/>
              <a:gd name="T45" fmla="*/ 26992112 h 33"/>
              <a:gd name="T46" fmla="*/ 2422636 w 53"/>
              <a:gd name="T47" fmla="*/ 17995321 h 33"/>
              <a:gd name="T48" fmla="*/ 2624372 w 53"/>
              <a:gd name="T49" fmla="*/ 0 h 33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53"/>
              <a:gd name="T76" fmla="*/ 0 h 33"/>
              <a:gd name="T77" fmla="*/ 53 w 53"/>
              <a:gd name="T78" fmla="*/ 33 h 33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53" h="33">
                <a:moveTo>
                  <a:pt x="13" y="0"/>
                </a:moveTo>
                <a:lnTo>
                  <a:pt x="26" y="1"/>
                </a:lnTo>
                <a:lnTo>
                  <a:pt x="34" y="1"/>
                </a:lnTo>
                <a:lnTo>
                  <a:pt x="37" y="3"/>
                </a:lnTo>
                <a:lnTo>
                  <a:pt x="37" y="4"/>
                </a:lnTo>
                <a:lnTo>
                  <a:pt x="37" y="6"/>
                </a:lnTo>
                <a:lnTo>
                  <a:pt x="39" y="8"/>
                </a:lnTo>
                <a:lnTo>
                  <a:pt x="44" y="10"/>
                </a:lnTo>
                <a:lnTo>
                  <a:pt x="53" y="12"/>
                </a:lnTo>
                <a:lnTo>
                  <a:pt x="48" y="22"/>
                </a:lnTo>
                <a:lnTo>
                  <a:pt x="44" y="28"/>
                </a:lnTo>
                <a:lnTo>
                  <a:pt x="42" y="31"/>
                </a:lnTo>
                <a:lnTo>
                  <a:pt x="38" y="32"/>
                </a:lnTo>
                <a:lnTo>
                  <a:pt x="36" y="33"/>
                </a:lnTo>
                <a:lnTo>
                  <a:pt x="34" y="33"/>
                </a:lnTo>
                <a:lnTo>
                  <a:pt x="20" y="30"/>
                </a:lnTo>
                <a:lnTo>
                  <a:pt x="0" y="24"/>
                </a:lnTo>
                <a:lnTo>
                  <a:pt x="0" y="19"/>
                </a:lnTo>
                <a:lnTo>
                  <a:pt x="2" y="16"/>
                </a:lnTo>
                <a:lnTo>
                  <a:pt x="4" y="14"/>
                </a:lnTo>
                <a:lnTo>
                  <a:pt x="7" y="12"/>
                </a:lnTo>
                <a:lnTo>
                  <a:pt x="9" y="11"/>
                </a:lnTo>
                <a:lnTo>
                  <a:pt x="11" y="9"/>
                </a:lnTo>
                <a:lnTo>
                  <a:pt x="12" y="6"/>
                </a:lnTo>
                <a:lnTo>
                  <a:pt x="13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grpSp>
        <p:nvGrpSpPr>
          <p:cNvPr id="167" name="Group 368"/>
          <p:cNvGrpSpPr>
            <a:grpSpLocks/>
          </p:cNvGrpSpPr>
          <p:nvPr userDrawn="1">
            <p:custDataLst>
              <p:tags r:id="rId267"/>
            </p:custDataLst>
          </p:nvPr>
        </p:nvGrpSpPr>
        <p:grpSpPr bwMode="auto">
          <a:xfrm>
            <a:off x="5240346" y="3082533"/>
            <a:ext cx="168275" cy="77390"/>
            <a:chOff x="3481" y="2773"/>
            <a:chExt cx="125" cy="65"/>
          </a:xfrm>
          <a:solidFill>
            <a:sysClr val="window" lastClr="FFFFFF">
              <a:lumMod val="85000"/>
            </a:sysClr>
          </a:solidFill>
        </p:grpSpPr>
        <p:sp>
          <p:nvSpPr>
            <p:cNvPr id="371" name="Freeform 369"/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2 w 13"/>
                <a:gd name="T1" fmla="*/ 0 h 18"/>
                <a:gd name="T2" fmla="*/ 2 w 13"/>
                <a:gd name="T3" fmla="*/ 1 h 18"/>
                <a:gd name="T4" fmla="*/ 1 w 13"/>
                <a:gd name="T5" fmla="*/ 2 h 18"/>
                <a:gd name="T6" fmla="*/ 1 w 13"/>
                <a:gd name="T7" fmla="*/ 2 h 18"/>
                <a:gd name="T8" fmla="*/ 0 w 13"/>
                <a:gd name="T9" fmla="*/ 2 h 18"/>
                <a:gd name="T10" fmla="*/ 0 w 13"/>
                <a:gd name="T11" fmla="*/ 1 h 18"/>
                <a:gd name="T12" fmla="*/ 0 w 13"/>
                <a:gd name="T13" fmla="*/ 1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3"/>
                <a:gd name="T22" fmla="*/ 0 h 18"/>
                <a:gd name="T23" fmla="*/ 13 w 13"/>
                <a:gd name="T24" fmla="*/ 18 h 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2" name="Line 370"/>
            <p:cNvSpPr>
              <a:spLocks noChangeShapeType="1"/>
            </p:cNvSpPr>
            <p:nvPr/>
          </p:nvSpPr>
          <p:spPr bwMode="auto">
            <a:xfrm>
              <a:off x="3583" y="2800"/>
              <a:ext cx="2" cy="1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3" name="Freeform 371"/>
            <p:cNvSpPr>
              <a:spLocks/>
            </p:cNvSpPr>
            <p:nvPr/>
          </p:nvSpPr>
          <p:spPr bwMode="auto">
            <a:xfrm>
              <a:off x="3554" y="2819"/>
              <a:ext cx="5" cy="6"/>
            </a:xfrm>
            <a:custGeom>
              <a:avLst/>
              <a:gdLst>
                <a:gd name="T0" fmla="*/ 2 w 14"/>
                <a:gd name="T1" fmla="*/ 2 h 19"/>
                <a:gd name="T2" fmla="*/ 0 w 14"/>
                <a:gd name="T3" fmla="*/ 0 h 19"/>
                <a:gd name="T4" fmla="*/ 2 w 14"/>
                <a:gd name="T5" fmla="*/ 2 h 19"/>
                <a:gd name="T6" fmla="*/ 0 60000 65536"/>
                <a:gd name="T7" fmla="*/ 0 60000 65536"/>
                <a:gd name="T8" fmla="*/ 0 60000 65536"/>
                <a:gd name="T9" fmla="*/ 0 w 14"/>
                <a:gd name="T10" fmla="*/ 0 h 19"/>
                <a:gd name="T11" fmla="*/ 14 w 14"/>
                <a:gd name="T12" fmla="*/ 19 h 1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4" h="19">
                  <a:moveTo>
                    <a:pt x="14" y="19"/>
                  </a:moveTo>
                  <a:lnTo>
                    <a:pt x="0" y="0"/>
                  </a:lnTo>
                  <a:lnTo>
                    <a:pt x="14" y="19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4" name="Freeform 372"/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1 h 18"/>
                <a:gd name="T2" fmla="*/ 1 w 7"/>
                <a:gd name="T3" fmla="*/ 2 h 18"/>
                <a:gd name="T4" fmla="*/ 0 w 7"/>
                <a:gd name="T5" fmla="*/ 2 h 18"/>
                <a:gd name="T6" fmla="*/ 0 w 7"/>
                <a:gd name="T7" fmla="*/ 0 h 18"/>
                <a:gd name="T8" fmla="*/ 1 w 7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18"/>
                <a:gd name="T17" fmla="*/ 7 w 7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5" name="Freeform 373"/>
            <p:cNvSpPr>
              <a:spLocks/>
            </p:cNvSpPr>
            <p:nvPr/>
          </p:nvSpPr>
          <p:spPr bwMode="auto">
            <a:xfrm>
              <a:off x="3599" y="2773"/>
              <a:ext cx="7" cy="4"/>
            </a:xfrm>
            <a:custGeom>
              <a:avLst/>
              <a:gdLst>
                <a:gd name="T0" fmla="*/ 2 w 20"/>
                <a:gd name="T1" fmla="*/ 1 h 12"/>
                <a:gd name="T2" fmla="*/ 1 w 20"/>
                <a:gd name="T3" fmla="*/ 1 h 12"/>
                <a:gd name="T4" fmla="*/ 0 w 20"/>
                <a:gd name="T5" fmla="*/ 1 h 12"/>
                <a:gd name="T6" fmla="*/ 0 w 20"/>
                <a:gd name="T7" fmla="*/ 1 h 12"/>
                <a:gd name="T8" fmla="*/ 0 w 20"/>
                <a:gd name="T9" fmla="*/ 0 h 12"/>
                <a:gd name="T10" fmla="*/ 1 w 20"/>
                <a:gd name="T11" fmla="*/ 0 h 12"/>
                <a:gd name="T12" fmla="*/ 2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0"/>
                <a:gd name="T22" fmla="*/ 0 h 12"/>
                <a:gd name="T23" fmla="*/ 20 w 20"/>
                <a:gd name="T24" fmla="*/ 12 h 1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0" h="12">
                  <a:moveTo>
                    <a:pt x="20" y="12"/>
                  </a:moveTo>
                  <a:lnTo>
                    <a:pt x="10" y="9"/>
                  </a:lnTo>
                  <a:lnTo>
                    <a:pt x="0" y="6"/>
                  </a:lnTo>
                  <a:lnTo>
                    <a:pt x="1" y="5"/>
                  </a:lnTo>
                  <a:lnTo>
                    <a:pt x="3" y="3"/>
                  </a:lnTo>
                  <a:lnTo>
                    <a:pt x="8" y="1"/>
                  </a:lnTo>
                  <a:lnTo>
                    <a:pt x="13" y="0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6" name="Line 374"/>
            <p:cNvSpPr>
              <a:spLocks noChangeShapeType="1"/>
            </p:cNvSpPr>
            <p:nvPr/>
          </p:nvSpPr>
          <p:spPr bwMode="auto">
            <a:xfrm>
              <a:off x="3603" y="2773"/>
              <a:ext cx="1" cy="2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7" name="Freeform 375"/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2 h 18"/>
                <a:gd name="T4" fmla="*/ 2 w 20"/>
                <a:gd name="T5" fmla="*/ 2 h 18"/>
                <a:gd name="T6" fmla="*/ 0 60000 65536"/>
                <a:gd name="T7" fmla="*/ 0 60000 65536"/>
                <a:gd name="T8" fmla="*/ 0 60000 65536"/>
                <a:gd name="T9" fmla="*/ 0 w 20"/>
                <a:gd name="T10" fmla="*/ 0 h 18"/>
                <a:gd name="T11" fmla="*/ 20 w 20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8" name="Freeform 376"/>
            <p:cNvSpPr>
              <a:spLocks/>
            </p:cNvSpPr>
            <p:nvPr/>
          </p:nvSpPr>
          <p:spPr bwMode="auto">
            <a:xfrm>
              <a:off x="3485" y="2830"/>
              <a:ext cx="3" cy="4"/>
            </a:xfrm>
            <a:custGeom>
              <a:avLst/>
              <a:gdLst>
                <a:gd name="T0" fmla="*/ 1 w 7"/>
                <a:gd name="T1" fmla="*/ 1 h 12"/>
                <a:gd name="T2" fmla="*/ 1 w 7"/>
                <a:gd name="T3" fmla="*/ 1 h 12"/>
                <a:gd name="T4" fmla="*/ 0 w 7"/>
                <a:gd name="T5" fmla="*/ 0 h 12"/>
                <a:gd name="T6" fmla="*/ 0 60000 65536"/>
                <a:gd name="T7" fmla="*/ 0 60000 65536"/>
                <a:gd name="T8" fmla="*/ 0 60000 65536"/>
                <a:gd name="T9" fmla="*/ 0 w 7"/>
                <a:gd name="T10" fmla="*/ 0 h 12"/>
                <a:gd name="T11" fmla="*/ 7 w 7"/>
                <a:gd name="T12" fmla="*/ 12 h 1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" h="12">
                  <a:moveTo>
                    <a:pt x="7" y="12"/>
                  </a:moveTo>
                  <a:lnTo>
                    <a:pt x="4" y="6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9" name="Freeform 377"/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2 h 18"/>
                <a:gd name="T4" fmla="*/ 2 w 20"/>
                <a:gd name="T5" fmla="*/ 2 h 18"/>
                <a:gd name="T6" fmla="*/ 2 w 20"/>
                <a:gd name="T7" fmla="*/ 1 h 18"/>
                <a:gd name="T8" fmla="*/ 2 w 20"/>
                <a:gd name="T9" fmla="*/ 1 h 18"/>
                <a:gd name="T10" fmla="*/ 0 w 20"/>
                <a:gd name="T11" fmla="*/ 0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0"/>
                <a:gd name="T19" fmla="*/ 0 h 18"/>
                <a:gd name="T20" fmla="*/ 20 w 2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  <a:lnTo>
                    <a:pt x="17" y="12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80" name="Freeform 378"/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1 h 18"/>
                <a:gd name="T2" fmla="*/ 1 w 7"/>
                <a:gd name="T3" fmla="*/ 2 h 18"/>
                <a:gd name="T4" fmla="*/ 0 w 7"/>
                <a:gd name="T5" fmla="*/ 2 h 18"/>
                <a:gd name="T6" fmla="*/ 0 w 7"/>
                <a:gd name="T7" fmla="*/ 0 h 18"/>
                <a:gd name="T8" fmla="*/ 1 w 7"/>
                <a:gd name="T9" fmla="*/ 0 h 18"/>
                <a:gd name="T10" fmla="*/ 0 w 7"/>
                <a:gd name="T11" fmla="*/ 1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18"/>
                <a:gd name="T20" fmla="*/ 7 w 7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  <a:lnTo>
                    <a:pt x="0" y="6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81" name="Freeform 379"/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2 w 13"/>
                <a:gd name="T1" fmla="*/ 0 h 18"/>
                <a:gd name="T2" fmla="*/ 2 w 13"/>
                <a:gd name="T3" fmla="*/ 1 h 18"/>
                <a:gd name="T4" fmla="*/ 1 w 13"/>
                <a:gd name="T5" fmla="*/ 2 h 18"/>
                <a:gd name="T6" fmla="*/ 1 w 13"/>
                <a:gd name="T7" fmla="*/ 2 h 18"/>
                <a:gd name="T8" fmla="*/ 0 w 13"/>
                <a:gd name="T9" fmla="*/ 2 h 18"/>
                <a:gd name="T10" fmla="*/ 0 w 13"/>
                <a:gd name="T11" fmla="*/ 1 h 18"/>
                <a:gd name="T12" fmla="*/ 0 w 13"/>
                <a:gd name="T13" fmla="*/ 1 h 18"/>
                <a:gd name="T14" fmla="*/ 1 w 13"/>
                <a:gd name="T15" fmla="*/ 1 h 18"/>
                <a:gd name="T16" fmla="*/ 2 w 13"/>
                <a:gd name="T17" fmla="*/ 0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3"/>
                <a:gd name="T28" fmla="*/ 0 h 18"/>
                <a:gd name="T29" fmla="*/ 13 w 13"/>
                <a:gd name="T30" fmla="*/ 18 h 1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3" y="0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382" name="Freeform 380"/>
          <p:cNvSpPr>
            <a:spLocks/>
          </p:cNvSpPr>
          <p:nvPr userDrawn="1">
            <p:custDataLst>
              <p:tags r:id="rId268"/>
            </p:custDataLst>
          </p:nvPr>
        </p:nvSpPr>
        <p:spPr bwMode="auto">
          <a:xfrm>
            <a:off x="4368810" y="3076585"/>
            <a:ext cx="319087" cy="284560"/>
          </a:xfrm>
          <a:custGeom>
            <a:avLst/>
            <a:gdLst>
              <a:gd name="T0" fmla="*/ 11277731 w 736"/>
              <a:gd name="T1" fmla="*/ 189690188 h 721"/>
              <a:gd name="T2" fmla="*/ 17104105 w 736"/>
              <a:gd name="T3" fmla="*/ 184982522 h 721"/>
              <a:gd name="T4" fmla="*/ 23682671 w 736"/>
              <a:gd name="T5" fmla="*/ 184982522 h 721"/>
              <a:gd name="T6" fmla="*/ 36839809 w 736"/>
              <a:gd name="T7" fmla="*/ 191628299 h 721"/>
              <a:gd name="T8" fmla="*/ 46049975 w 736"/>
              <a:gd name="T9" fmla="*/ 195228248 h 721"/>
              <a:gd name="T10" fmla="*/ 54883826 w 736"/>
              <a:gd name="T11" fmla="*/ 194674653 h 721"/>
              <a:gd name="T12" fmla="*/ 114842722 w 736"/>
              <a:gd name="T13" fmla="*/ 198551400 h 721"/>
              <a:gd name="T14" fmla="*/ 122361207 w 736"/>
              <a:gd name="T15" fmla="*/ 195782370 h 721"/>
              <a:gd name="T16" fmla="*/ 117850203 w 736"/>
              <a:gd name="T17" fmla="*/ 181936168 h 721"/>
              <a:gd name="T18" fmla="*/ 124804650 w 736"/>
              <a:gd name="T19" fmla="*/ 119906077 h 721"/>
              <a:gd name="T20" fmla="*/ 133262620 w 736"/>
              <a:gd name="T21" fmla="*/ 118798360 h 721"/>
              <a:gd name="T22" fmla="*/ 135894220 w 736"/>
              <a:gd name="T23" fmla="*/ 115198411 h 721"/>
              <a:gd name="T24" fmla="*/ 137961782 w 736"/>
              <a:gd name="T25" fmla="*/ 99690896 h 721"/>
              <a:gd name="T26" fmla="*/ 135706063 w 736"/>
              <a:gd name="T27" fmla="*/ 83629787 h 721"/>
              <a:gd name="T28" fmla="*/ 133074897 w 736"/>
              <a:gd name="T29" fmla="*/ 84183382 h 721"/>
              <a:gd name="T30" fmla="*/ 127059935 w 736"/>
              <a:gd name="T31" fmla="*/ 83075665 h 721"/>
              <a:gd name="T32" fmla="*/ 119166003 w 736"/>
              <a:gd name="T33" fmla="*/ 82798867 h 721"/>
              <a:gd name="T34" fmla="*/ 117098441 w 736"/>
              <a:gd name="T35" fmla="*/ 80306635 h 721"/>
              <a:gd name="T36" fmla="*/ 115970799 w 736"/>
              <a:gd name="T37" fmla="*/ 70060909 h 721"/>
              <a:gd name="T38" fmla="*/ 114090961 w 736"/>
              <a:gd name="T39" fmla="*/ 60645559 h 721"/>
              <a:gd name="T40" fmla="*/ 112211529 w 736"/>
              <a:gd name="T41" fmla="*/ 51507024 h 721"/>
              <a:gd name="T42" fmla="*/ 114090961 w 736"/>
              <a:gd name="T43" fmla="*/ 46245762 h 721"/>
              <a:gd name="T44" fmla="*/ 115970799 w 736"/>
              <a:gd name="T45" fmla="*/ 40983974 h 721"/>
              <a:gd name="T46" fmla="*/ 114842722 w 736"/>
              <a:gd name="T47" fmla="*/ 27691886 h 721"/>
              <a:gd name="T48" fmla="*/ 102249601 w 736"/>
              <a:gd name="T49" fmla="*/ 19384270 h 721"/>
              <a:gd name="T50" fmla="*/ 89656508 w 736"/>
              <a:gd name="T51" fmla="*/ 18276553 h 721"/>
              <a:gd name="T52" fmla="*/ 88528431 w 736"/>
              <a:gd name="T53" fmla="*/ 22430624 h 721"/>
              <a:gd name="T54" fmla="*/ 87024908 w 736"/>
              <a:gd name="T55" fmla="*/ 27968683 h 721"/>
              <a:gd name="T56" fmla="*/ 82702061 w 736"/>
              <a:gd name="T57" fmla="*/ 33784067 h 721"/>
              <a:gd name="T58" fmla="*/ 73680052 w 736"/>
              <a:gd name="T59" fmla="*/ 35999510 h 721"/>
              <a:gd name="T60" fmla="*/ 68416853 w 736"/>
              <a:gd name="T61" fmla="*/ 31845957 h 721"/>
              <a:gd name="T62" fmla="*/ 63718125 w 736"/>
              <a:gd name="T63" fmla="*/ 22707421 h 721"/>
              <a:gd name="T64" fmla="*/ 59958882 w 736"/>
              <a:gd name="T65" fmla="*/ 10799852 h 721"/>
              <a:gd name="T66" fmla="*/ 58643082 w 736"/>
              <a:gd name="T67" fmla="*/ 0 h 721"/>
              <a:gd name="T68" fmla="*/ 5638649 w 736"/>
              <a:gd name="T69" fmla="*/ 4153546 h 721"/>
              <a:gd name="T70" fmla="*/ 8833855 w 736"/>
              <a:gd name="T71" fmla="*/ 8030820 h 721"/>
              <a:gd name="T72" fmla="*/ 14097054 w 736"/>
              <a:gd name="T73" fmla="*/ 20768785 h 721"/>
              <a:gd name="T74" fmla="*/ 19171666 w 736"/>
              <a:gd name="T75" fmla="*/ 35999510 h 721"/>
              <a:gd name="T76" fmla="*/ 19359824 w 736"/>
              <a:gd name="T77" fmla="*/ 47353479 h 721"/>
              <a:gd name="T78" fmla="*/ 17479986 w 736"/>
              <a:gd name="T79" fmla="*/ 56214691 h 721"/>
              <a:gd name="T80" fmla="*/ 18044024 w 736"/>
              <a:gd name="T81" fmla="*/ 63414589 h 721"/>
              <a:gd name="T82" fmla="*/ 22367304 w 736"/>
              <a:gd name="T83" fmla="*/ 75322171 h 721"/>
              <a:gd name="T84" fmla="*/ 24622590 w 736"/>
              <a:gd name="T85" fmla="*/ 85014301 h 721"/>
              <a:gd name="T86" fmla="*/ 23870828 w 736"/>
              <a:gd name="T87" fmla="*/ 97475988 h 721"/>
              <a:gd name="T88" fmla="*/ 19923428 w 736"/>
              <a:gd name="T89" fmla="*/ 111598462 h 721"/>
              <a:gd name="T90" fmla="*/ 14472939 w 736"/>
              <a:gd name="T91" fmla="*/ 123506027 h 721"/>
              <a:gd name="T92" fmla="*/ 7706212 w 736"/>
              <a:gd name="T93" fmla="*/ 132090440 h 721"/>
              <a:gd name="T94" fmla="*/ 4699163 w 736"/>
              <a:gd name="T95" fmla="*/ 163659624 h 721"/>
              <a:gd name="T96" fmla="*/ 2067563 w 736"/>
              <a:gd name="T97" fmla="*/ 173628552 h 721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736"/>
              <a:gd name="T148" fmla="*/ 0 h 721"/>
              <a:gd name="T149" fmla="*/ 736 w 736"/>
              <a:gd name="T150" fmla="*/ 721 h 721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736" h="721">
                <a:moveTo>
                  <a:pt x="0" y="691"/>
                </a:moveTo>
                <a:lnTo>
                  <a:pt x="46" y="697"/>
                </a:lnTo>
                <a:lnTo>
                  <a:pt x="53" y="690"/>
                </a:lnTo>
                <a:lnTo>
                  <a:pt x="60" y="685"/>
                </a:lnTo>
                <a:lnTo>
                  <a:pt x="68" y="679"/>
                </a:lnTo>
                <a:lnTo>
                  <a:pt x="75" y="674"/>
                </a:lnTo>
                <a:lnTo>
                  <a:pt x="83" y="671"/>
                </a:lnTo>
                <a:lnTo>
                  <a:pt x="91" y="668"/>
                </a:lnTo>
                <a:lnTo>
                  <a:pt x="97" y="666"/>
                </a:lnTo>
                <a:lnTo>
                  <a:pt x="105" y="666"/>
                </a:lnTo>
                <a:lnTo>
                  <a:pt x="116" y="666"/>
                </a:lnTo>
                <a:lnTo>
                  <a:pt x="126" y="668"/>
                </a:lnTo>
                <a:lnTo>
                  <a:pt x="137" y="671"/>
                </a:lnTo>
                <a:lnTo>
                  <a:pt x="149" y="674"/>
                </a:lnTo>
                <a:lnTo>
                  <a:pt x="172" y="683"/>
                </a:lnTo>
                <a:lnTo>
                  <a:pt x="196" y="692"/>
                </a:lnTo>
                <a:lnTo>
                  <a:pt x="208" y="696"/>
                </a:lnTo>
                <a:lnTo>
                  <a:pt x="220" y="700"/>
                </a:lnTo>
                <a:lnTo>
                  <a:pt x="232" y="703"/>
                </a:lnTo>
                <a:lnTo>
                  <a:pt x="245" y="705"/>
                </a:lnTo>
                <a:lnTo>
                  <a:pt x="257" y="706"/>
                </a:lnTo>
                <a:lnTo>
                  <a:pt x="269" y="707"/>
                </a:lnTo>
                <a:lnTo>
                  <a:pt x="280" y="706"/>
                </a:lnTo>
                <a:lnTo>
                  <a:pt x="292" y="703"/>
                </a:lnTo>
                <a:lnTo>
                  <a:pt x="411" y="703"/>
                </a:lnTo>
                <a:lnTo>
                  <a:pt x="411" y="721"/>
                </a:lnTo>
                <a:lnTo>
                  <a:pt x="604" y="721"/>
                </a:lnTo>
                <a:lnTo>
                  <a:pt x="611" y="717"/>
                </a:lnTo>
                <a:lnTo>
                  <a:pt x="619" y="714"/>
                </a:lnTo>
                <a:lnTo>
                  <a:pt x="627" y="712"/>
                </a:lnTo>
                <a:lnTo>
                  <a:pt x="634" y="710"/>
                </a:lnTo>
                <a:lnTo>
                  <a:pt x="651" y="707"/>
                </a:lnTo>
                <a:lnTo>
                  <a:pt x="671" y="703"/>
                </a:lnTo>
                <a:lnTo>
                  <a:pt x="658" y="691"/>
                </a:lnTo>
                <a:lnTo>
                  <a:pt x="643" y="674"/>
                </a:lnTo>
                <a:lnTo>
                  <a:pt x="627" y="657"/>
                </a:lnTo>
                <a:lnTo>
                  <a:pt x="610" y="641"/>
                </a:lnTo>
                <a:lnTo>
                  <a:pt x="610" y="432"/>
                </a:lnTo>
                <a:lnTo>
                  <a:pt x="631" y="433"/>
                </a:lnTo>
                <a:lnTo>
                  <a:pt x="664" y="433"/>
                </a:lnTo>
                <a:lnTo>
                  <a:pt x="680" y="433"/>
                </a:lnTo>
                <a:lnTo>
                  <a:pt x="696" y="432"/>
                </a:lnTo>
                <a:lnTo>
                  <a:pt x="703" y="431"/>
                </a:lnTo>
                <a:lnTo>
                  <a:pt x="709" y="429"/>
                </a:lnTo>
                <a:lnTo>
                  <a:pt x="713" y="428"/>
                </a:lnTo>
                <a:lnTo>
                  <a:pt x="717" y="426"/>
                </a:lnTo>
                <a:lnTo>
                  <a:pt x="720" y="421"/>
                </a:lnTo>
                <a:lnTo>
                  <a:pt x="723" y="416"/>
                </a:lnTo>
                <a:lnTo>
                  <a:pt x="725" y="408"/>
                </a:lnTo>
                <a:lnTo>
                  <a:pt x="728" y="400"/>
                </a:lnTo>
                <a:lnTo>
                  <a:pt x="732" y="380"/>
                </a:lnTo>
                <a:lnTo>
                  <a:pt x="734" y="360"/>
                </a:lnTo>
                <a:lnTo>
                  <a:pt x="736" y="324"/>
                </a:lnTo>
                <a:lnTo>
                  <a:pt x="736" y="309"/>
                </a:lnTo>
                <a:lnTo>
                  <a:pt x="728" y="304"/>
                </a:lnTo>
                <a:lnTo>
                  <a:pt x="722" y="302"/>
                </a:lnTo>
                <a:lnTo>
                  <a:pt x="718" y="302"/>
                </a:lnTo>
                <a:lnTo>
                  <a:pt x="714" y="303"/>
                </a:lnTo>
                <a:lnTo>
                  <a:pt x="711" y="304"/>
                </a:lnTo>
                <a:lnTo>
                  <a:pt x="708" y="304"/>
                </a:lnTo>
                <a:lnTo>
                  <a:pt x="703" y="302"/>
                </a:lnTo>
                <a:lnTo>
                  <a:pt x="697" y="297"/>
                </a:lnTo>
                <a:lnTo>
                  <a:pt x="685" y="298"/>
                </a:lnTo>
                <a:lnTo>
                  <a:pt x="676" y="300"/>
                </a:lnTo>
                <a:lnTo>
                  <a:pt x="666" y="302"/>
                </a:lnTo>
                <a:lnTo>
                  <a:pt x="650" y="303"/>
                </a:lnTo>
                <a:lnTo>
                  <a:pt x="641" y="302"/>
                </a:lnTo>
                <a:lnTo>
                  <a:pt x="634" y="299"/>
                </a:lnTo>
                <a:lnTo>
                  <a:pt x="631" y="298"/>
                </a:lnTo>
                <a:lnTo>
                  <a:pt x="628" y="295"/>
                </a:lnTo>
                <a:lnTo>
                  <a:pt x="626" y="293"/>
                </a:lnTo>
                <a:lnTo>
                  <a:pt x="623" y="290"/>
                </a:lnTo>
                <a:lnTo>
                  <a:pt x="620" y="282"/>
                </a:lnTo>
                <a:lnTo>
                  <a:pt x="619" y="274"/>
                </a:lnTo>
                <a:lnTo>
                  <a:pt x="618" y="264"/>
                </a:lnTo>
                <a:lnTo>
                  <a:pt x="617" y="253"/>
                </a:lnTo>
                <a:lnTo>
                  <a:pt x="616" y="244"/>
                </a:lnTo>
                <a:lnTo>
                  <a:pt x="613" y="236"/>
                </a:lnTo>
                <a:lnTo>
                  <a:pt x="610" y="227"/>
                </a:lnTo>
                <a:lnTo>
                  <a:pt x="607" y="219"/>
                </a:lnTo>
                <a:lnTo>
                  <a:pt x="604" y="211"/>
                </a:lnTo>
                <a:lnTo>
                  <a:pt x="600" y="203"/>
                </a:lnTo>
                <a:lnTo>
                  <a:pt x="598" y="195"/>
                </a:lnTo>
                <a:lnTo>
                  <a:pt x="597" y="186"/>
                </a:lnTo>
                <a:lnTo>
                  <a:pt x="598" y="181"/>
                </a:lnTo>
                <a:lnTo>
                  <a:pt x="600" y="177"/>
                </a:lnTo>
                <a:lnTo>
                  <a:pt x="604" y="171"/>
                </a:lnTo>
                <a:lnTo>
                  <a:pt x="607" y="167"/>
                </a:lnTo>
                <a:lnTo>
                  <a:pt x="610" y="162"/>
                </a:lnTo>
                <a:lnTo>
                  <a:pt x="613" y="157"/>
                </a:lnTo>
                <a:lnTo>
                  <a:pt x="616" y="153"/>
                </a:lnTo>
                <a:lnTo>
                  <a:pt x="617" y="148"/>
                </a:lnTo>
                <a:lnTo>
                  <a:pt x="616" y="136"/>
                </a:lnTo>
                <a:lnTo>
                  <a:pt x="612" y="120"/>
                </a:lnTo>
                <a:lnTo>
                  <a:pt x="611" y="109"/>
                </a:lnTo>
                <a:lnTo>
                  <a:pt x="611" y="100"/>
                </a:lnTo>
                <a:lnTo>
                  <a:pt x="613" y="90"/>
                </a:lnTo>
                <a:lnTo>
                  <a:pt x="617" y="81"/>
                </a:lnTo>
                <a:lnTo>
                  <a:pt x="594" y="77"/>
                </a:lnTo>
                <a:lnTo>
                  <a:pt x="544" y="70"/>
                </a:lnTo>
                <a:lnTo>
                  <a:pt x="517" y="67"/>
                </a:lnTo>
                <a:lnTo>
                  <a:pt x="494" y="66"/>
                </a:lnTo>
                <a:lnTo>
                  <a:pt x="484" y="65"/>
                </a:lnTo>
                <a:lnTo>
                  <a:pt x="477" y="66"/>
                </a:lnTo>
                <a:lnTo>
                  <a:pt x="473" y="67"/>
                </a:lnTo>
                <a:lnTo>
                  <a:pt x="471" y="69"/>
                </a:lnTo>
                <a:lnTo>
                  <a:pt x="471" y="73"/>
                </a:lnTo>
                <a:lnTo>
                  <a:pt x="471" y="81"/>
                </a:lnTo>
                <a:lnTo>
                  <a:pt x="470" y="86"/>
                </a:lnTo>
                <a:lnTo>
                  <a:pt x="469" y="91"/>
                </a:lnTo>
                <a:lnTo>
                  <a:pt x="466" y="96"/>
                </a:lnTo>
                <a:lnTo>
                  <a:pt x="463" y="101"/>
                </a:lnTo>
                <a:lnTo>
                  <a:pt x="460" y="107"/>
                </a:lnTo>
                <a:lnTo>
                  <a:pt x="454" y="112"/>
                </a:lnTo>
                <a:lnTo>
                  <a:pt x="448" y="117"/>
                </a:lnTo>
                <a:lnTo>
                  <a:pt x="440" y="122"/>
                </a:lnTo>
                <a:lnTo>
                  <a:pt x="430" y="125"/>
                </a:lnTo>
                <a:lnTo>
                  <a:pt x="419" y="128"/>
                </a:lnTo>
                <a:lnTo>
                  <a:pt x="406" y="130"/>
                </a:lnTo>
                <a:lnTo>
                  <a:pt x="392" y="130"/>
                </a:lnTo>
                <a:lnTo>
                  <a:pt x="385" y="129"/>
                </a:lnTo>
                <a:lnTo>
                  <a:pt x="378" y="127"/>
                </a:lnTo>
                <a:lnTo>
                  <a:pt x="372" y="122"/>
                </a:lnTo>
                <a:lnTo>
                  <a:pt x="364" y="115"/>
                </a:lnTo>
                <a:lnTo>
                  <a:pt x="358" y="108"/>
                </a:lnTo>
                <a:lnTo>
                  <a:pt x="351" y="100"/>
                </a:lnTo>
                <a:lnTo>
                  <a:pt x="344" y="91"/>
                </a:lnTo>
                <a:lnTo>
                  <a:pt x="339" y="82"/>
                </a:lnTo>
                <a:lnTo>
                  <a:pt x="333" y="72"/>
                </a:lnTo>
                <a:lnTo>
                  <a:pt x="328" y="60"/>
                </a:lnTo>
                <a:lnTo>
                  <a:pt x="324" y="50"/>
                </a:lnTo>
                <a:lnTo>
                  <a:pt x="319" y="39"/>
                </a:lnTo>
                <a:lnTo>
                  <a:pt x="316" y="29"/>
                </a:lnTo>
                <a:lnTo>
                  <a:pt x="314" y="19"/>
                </a:lnTo>
                <a:lnTo>
                  <a:pt x="312" y="10"/>
                </a:lnTo>
                <a:lnTo>
                  <a:pt x="312" y="0"/>
                </a:lnTo>
                <a:lnTo>
                  <a:pt x="26" y="0"/>
                </a:lnTo>
                <a:lnTo>
                  <a:pt x="26" y="5"/>
                </a:lnTo>
                <a:lnTo>
                  <a:pt x="28" y="10"/>
                </a:lnTo>
                <a:lnTo>
                  <a:pt x="30" y="15"/>
                </a:lnTo>
                <a:lnTo>
                  <a:pt x="34" y="19"/>
                </a:lnTo>
                <a:lnTo>
                  <a:pt x="38" y="22"/>
                </a:lnTo>
                <a:lnTo>
                  <a:pt x="42" y="26"/>
                </a:lnTo>
                <a:lnTo>
                  <a:pt x="47" y="29"/>
                </a:lnTo>
                <a:lnTo>
                  <a:pt x="52" y="31"/>
                </a:lnTo>
                <a:lnTo>
                  <a:pt x="58" y="47"/>
                </a:lnTo>
                <a:lnTo>
                  <a:pt x="67" y="61"/>
                </a:lnTo>
                <a:lnTo>
                  <a:pt x="75" y="75"/>
                </a:lnTo>
                <a:lnTo>
                  <a:pt x="84" y="89"/>
                </a:lnTo>
                <a:lnTo>
                  <a:pt x="92" y="104"/>
                </a:lnTo>
                <a:lnTo>
                  <a:pt x="98" y="121"/>
                </a:lnTo>
                <a:lnTo>
                  <a:pt x="102" y="130"/>
                </a:lnTo>
                <a:lnTo>
                  <a:pt x="104" y="139"/>
                </a:lnTo>
                <a:lnTo>
                  <a:pt x="105" y="150"/>
                </a:lnTo>
                <a:lnTo>
                  <a:pt x="105" y="161"/>
                </a:lnTo>
                <a:lnTo>
                  <a:pt x="103" y="171"/>
                </a:lnTo>
                <a:lnTo>
                  <a:pt x="98" y="183"/>
                </a:lnTo>
                <a:lnTo>
                  <a:pt x="96" y="190"/>
                </a:lnTo>
                <a:lnTo>
                  <a:pt x="94" y="196"/>
                </a:lnTo>
                <a:lnTo>
                  <a:pt x="93" y="203"/>
                </a:lnTo>
                <a:lnTo>
                  <a:pt x="92" y="210"/>
                </a:lnTo>
                <a:lnTo>
                  <a:pt x="93" y="217"/>
                </a:lnTo>
                <a:lnTo>
                  <a:pt x="94" y="223"/>
                </a:lnTo>
                <a:lnTo>
                  <a:pt x="96" y="229"/>
                </a:lnTo>
                <a:lnTo>
                  <a:pt x="98" y="236"/>
                </a:lnTo>
                <a:lnTo>
                  <a:pt x="105" y="248"/>
                </a:lnTo>
                <a:lnTo>
                  <a:pt x="112" y="260"/>
                </a:lnTo>
                <a:lnTo>
                  <a:pt x="119" y="272"/>
                </a:lnTo>
                <a:lnTo>
                  <a:pt x="126" y="285"/>
                </a:lnTo>
                <a:lnTo>
                  <a:pt x="128" y="293"/>
                </a:lnTo>
                <a:lnTo>
                  <a:pt x="130" y="300"/>
                </a:lnTo>
                <a:lnTo>
                  <a:pt x="131" y="307"/>
                </a:lnTo>
                <a:lnTo>
                  <a:pt x="133" y="315"/>
                </a:lnTo>
                <a:lnTo>
                  <a:pt x="131" y="326"/>
                </a:lnTo>
                <a:lnTo>
                  <a:pt x="129" y="338"/>
                </a:lnTo>
                <a:lnTo>
                  <a:pt x="127" y="352"/>
                </a:lnTo>
                <a:lnTo>
                  <a:pt x="123" y="364"/>
                </a:lnTo>
                <a:lnTo>
                  <a:pt x="118" y="377"/>
                </a:lnTo>
                <a:lnTo>
                  <a:pt x="113" y="389"/>
                </a:lnTo>
                <a:lnTo>
                  <a:pt x="106" y="403"/>
                </a:lnTo>
                <a:lnTo>
                  <a:pt x="100" y="414"/>
                </a:lnTo>
                <a:lnTo>
                  <a:pt x="92" y="426"/>
                </a:lnTo>
                <a:lnTo>
                  <a:pt x="84" y="436"/>
                </a:lnTo>
                <a:lnTo>
                  <a:pt x="77" y="446"/>
                </a:lnTo>
                <a:lnTo>
                  <a:pt x="68" y="457"/>
                </a:lnTo>
                <a:lnTo>
                  <a:pt x="59" y="465"/>
                </a:lnTo>
                <a:lnTo>
                  <a:pt x="50" y="471"/>
                </a:lnTo>
                <a:lnTo>
                  <a:pt x="41" y="477"/>
                </a:lnTo>
                <a:lnTo>
                  <a:pt x="33" y="481"/>
                </a:lnTo>
                <a:lnTo>
                  <a:pt x="33" y="586"/>
                </a:lnTo>
                <a:lnTo>
                  <a:pt x="28" y="588"/>
                </a:lnTo>
                <a:lnTo>
                  <a:pt x="25" y="591"/>
                </a:lnTo>
                <a:lnTo>
                  <a:pt x="23" y="595"/>
                </a:lnTo>
                <a:lnTo>
                  <a:pt x="19" y="600"/>
                </a:lnTo>
                <a:lnTo>
                  <a:pt x="15" y="612"/>
                </a:lnTo>
                <a:lnTo>
                  <a:pt x="11" y="627"/>
                </a:lnTo>
                <a:lnTo>
                  <a:pt x="4" y="659"/>
                </a:lnTo>
                <a:lnTo>
                  <a:pt x="0" y="691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83" name="Freeform 381"/>
          <p:cNvSpPr>
            <a:spLocks/>
          </p:cNvSpPr>
          <p:nvPr userDrawn="1">
            <p:custDataLst>
              <p:tags r:id="rId269"/>
            </p:custDataLst>
          </p:nvPr>
        </p:nvSpPr>
        <p:spPr bwMode="auto">
          <a:xfrm>
            <a:off x="4379921" y="3056336"/>
            <a:ext cx="15875" cy="45244"/>
          </a:xfrm>
          <a:custGeom>
            <a:avLst/>
            <a:gdLst>
              <a:gd name="T0" fmla="*/ 0 w 39"/>
              <a:gd name="T1" fmla="*/ 117390506 h 31"/>
              <a:gd name="T2" fmla="*/ 1988446 w 39"/>
              <a:gd name="T3" fmla="*/ 106029949 h 31"/>
              <a:gd name="T4" fmla="*/ 3645144 w 39"/>
              <a:gd name="T5" fmla="*/ 106029949 h 31"/>
              <a:gd name="T6" fmla="*/ 4307824 w 39"/>
              <a:gd name="T7" fmla="*/ 106029949 h 31"/>
              <a:gd name="T8" fmla="*/ 4970910 w 39"/>
              <a:gd name="T9" fmla="*/ 106029949 h 31"/>
              <a:gd name="T10" fmla="*/ 5799259 w 39"/>
              <a:gd name="T11" fmla="*/ 102243096 h 31"/>
              <a:gd name="T12" fmla="*/ 6461938 w 39"/>
              <a:gd name="T13" fmla="*/ 94669392 h 31"/>
              <a:gd name="T14" fmla="*/ 6461938 w 39"/>
              <a:gd name="T15" fmla="*/ 0 h 31"/>
              <a:gd name="T16" fmla="*/ 4307824 w 39"/>
              <a:gd name="T17" fmla="*/ 0 h 31"/>
              <a:gd name="T18" fmla="*/ 2816795 w 39"/>
              <a:gd name="T19" fmla="*/ 0 h 31"/>
              <a:gd name="T20" fmla="*/ 1325359 w 39"/>
              <a:gd name="T21" fmla="*/ 0 h 31"/>
              <a:gd name="T22" fmla="*/ 0 w 39"/>
              <a:gd name="T23" fmla="*/ 0 h 31"/>
              <a:gd name="T24" fmla="*/ 0 w 39"/>
              <a:gd name="T25" fmla="*/ 117390506 h 3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9"/>
              <a:gd name="T40" fmla="*/ 0 h 31"/>
              <a:gd name="T41" fmla="*/ 39 w 39"/>
              <a:gd name="T42" fmla="*/ 31 h 31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9" h="31">
                <a:moveTo>
                  <a:pt x="0" y="31"/>
                </a:moveTo>
                <a:lnTo>
                  <a:pt x="12" y="28"/>
                </a:lnTo>
                <a:lnTo>
                  <a:pt x="22" y="28"/>
                </a:lnTo>
                <a:lnTo>
                  <a:pt x="26" y="28"/>
                </a:lnTo>
                <a:lnTo>
                  <a:pt x="30" y="28"/>
                </a:lnTo>
                <a:lnTo>
                  <a:pt x="35" y="27"/>
                </a:lnTo>
                <a:lnTo>
                  <a:pt x="39" y="25"/>
                </a:lnTo>
                <a:lnTo>
                  <a:pt x="39" y="0"/>
                </a:lnTo>
                <a:lnTo>
                  <a:pt x="26" y="0"/>
                </a:lnTo>
                <a:lnTo>
                  <a:pt x="17" y="0"/>
                </a:lnTo>
                <a:lnTo>
                  <a:pt x="8" y="0"/>
                </a:lnTo>
                <a:lnTo>
                  <a:pt x="0" y="0"/>
                </a:lnTo>
                <a:lnTo>
                  <a:pt x="0" y="31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84" name="Freeform 382"/>
          <p:cNvSpPr>
            <a:spLocks/>
          </p:cNvSpPr>
          <p:nvPr userDrawn="1">
            <p:custDataLst>
              <p:tags r:id="rId270"/>
            </p:custDataLst>
          </p:nvPr>
        </p:nvSpPr>
        <p:spPr bwMode="auto">
          <a:xfrm>
            <a:off x="4481522" y="3463540"/>
            <a:ext cx="396875" cy="298847"/>
          </a:xfrm>
          <a:custGeom>
            <a:avLst/>
            <a:gdLst>
              <a:gd name="T0" fmla="*/ 173656774 w 903"/>
              <a:gd name="T1" fmla="*/ 80201640 h 759"/>
              <a:gd name="T2" fmla="*/ 166702893 w 903"/>
              <a:gd name="T3" fmla="*/ 106935335 h 759"/>
              <a:gd name="T4" fmla="*/ 160714609 w 903"/>
              <a:gd name="T5" fmla="*/ 114101349 h 759"/>
              <a:gd name="T6" fmla="*/ 146999790 w 903"/>
              <a:gd name="T7" fmla="*/ 139732612 h 759"/>
              <a:gd name="T8" fmla="*/ 139079873 w 903"/>
              <a:gd name="T9" fmla="*/ 154615346 h 759"/>
              <a:gd name="T10" fmla="*/ 124978728 w 903"/>
              <a:gd name="T11" fmla="*/ 168947374 h 759"/>
              <a:gd name="T12" fmla="*/ 112616245 w 903"/>
              <a:gd name="T13" fmla="*/ 183554493 h 759"/>
              <a:gd name="T14" fmla="*/ 107593998 w 903"/>
              <a:gd name="T15" fmla="*/ 192373677 h 759"/>
              <a:gd name="T16" fmla="*/ 100446733 w 903"/>
              <a:gd name="T17" fmla="*/ 194302989 h 759"/>
              <a:gd name="T18" fmla="*/ 95810813 w 903"/>
              <a:gd name="T19" fmla="*/ 195681068 h 759"/>
              <a:gd name="T20" fmla="*/ 93685796 w 903"/>
              <a:gd name="T21" fmla="*/ 200366539 h 759"/>
              <a:gd name="T22" fmla="*/ 71858116 w 903"/>
              <a:gd name="T23" fmla="*/ 200366539 h 759"/>
              <a:gd name="T24" fmla="*/ 65483506 w 903"/>
              <a:gd name="T25" fmla="*/ 201744094 h 759"/>
              <a:gd name="T26" fmla="*/ 61040529 w 903"/>
              <a:gd name="T27" fmla="*/ 201744094 h 759"/>
              <a:gd name="T28" fmla="*/ 55245614 w 903"/>
              <a:gd name="T29" fmla="*/ 200366539 h 759"/>
              <a:gd name="T30" fmla="*/ 50802637 w 903"/>
              <a:gd name="T31" fmla="*/ 203122173 h 759"/>
              <a:gd name="T32" fmla="*/ 28202297 w 903"/>
              <a:gd name="T33" fmla="*/ 209185724 h 759"/>
              <a:gd name="T34" fmla="*/ 22407396 w 903"/>
              <a:gd name="T35" fmla="*/ 207532028 h 759"/>
              <a:gd name="T36" fmla="*/ 17385149 w 903"/>
              <a:gd name="T37" fmla="*/ 203673405 h 759"/>
              <a:gd name="T38" fmla="*/ 14680862 w 903"/>
              <a:gd name="T39" fmla="*/ 198161612 h 759"/>
              <a:gd name="T40" fmla="*/ 15260132 w 903"/>
              <a:gd name="T41" fmla="*/ 192098062 h 759"/>
              <a:gd name="T42" fmla="*/ 14487479 w 903"/>
              <a:gd name="T43" fmla="*/ 173081088 h 759"/>
              <a:gd name="T44" fmla="*/ 15260132 w 903"/>
              <a:gd name="T45" fmla="*/ 167569295 h 759"/>
              <a:gd name="T46" fmla="*/ 13135112 w 903"/>
              <a:gd name="T47" fmla="*/ 157647122 h 759"/>
              <a:gd name="T48" fmla="*/ 4249596 w 903"/>
              <a:gd name="T49" fmla="*/ 142213155 h 759"/>
              <a:gd name="T50" fmla="*/ 2317961 w 903"/>
              <a:gd name="T51" fmla="*/ 133393938 h 759"/>
              <a:gd name="T52" fmla="*/ 1931634 w 903"/>
              <a:gd name="T53" fmla="*/ 120991222 h 759"/>
              <a:gd name="T54" fmla="*/ 0 w 903"/>
              <a:gd name="T55" fmla="*/ 103904084 h 759"/>
              <a:gd name="T56" fmla="*/ 7533594 w 903"/>
              <a:gd name="T57" fmla="*/ 103904084 h 759"/>
              <a:gd name="T58" fmla="*/ 11010535 w 903"/>
              <a:gd name="T59" fmla="*/ 109140262 h 759"/>
              <a:gd name="T60" fmla="*/ 18157802 w 903"/>
              <a:gd name="T61" fmla="*/ 112998885 h 759"/>
              <a:gd name="T62" fmla="*/ 26077280 w 903"/>
              <a:gd name="T63" fmla="*/ 113274501 h 759"/>
              <a:gd name="T64" fmla="*/ 30906591 w 903"/>
              <a:gd name="T65" fmla="*/ 110242726 h 759"/>
              <a:gd name="T66" fmla="*/ 35156185 w 903"/>
              <a:gd name="T67" fmla="*/ 102526005 h 759"/>
              <a:gd name="T68" fmla="*/ 38053855 w 903"/>
              <a:gd name="T69" fmla="*/ 63113962 h 759"/>
              <a:gd name="T70" fmla="*/ 39405779 w 903"/>
              <a:gd name="T71" fmla="*/ 50711771 h 759"/>
              <a:gd name="T72" fmla="*/ 40565199 w 903"/>
              <a:gd name="T73" fmla="*/ 46301916 h 759"/>
              <a:gd name="T74" fmla="*/ 46166716 w 903"/>
              <a:gd name="T75" fmla="*/ 49058075 h 759"/>
              <a:gd name="T76" fmla="*/ 47325697 w 903"/>
              <a:gd name="T77" fmla="*/ 65594505 h 759"/>
              <a:gd name="T78" fmla="*/ 47712023 w 903"/>
              <a:gd name="T79" fmla="*/ 75516170 h 759"/>
              <a:gd name="T80" fmla="*/ 49450713 w 903"/>
              <a:gd name="T81" fmla="*/ 79099177 h 759"/>
              <a:gd name="T82" fmla="*/ 55438997 w 903"/>
              <a:gd name="T83" fmla="*/ 81304104 h 759"/>
              <a:gd name="T84" fmla="*/ 60267875 w 903"/>
              <a:gd name="T85" fmla="*/ 80752872 h 759"/>
              <a:gd name="T86" fmla="*/ 64324526 w 903"/>
              <a:gd name="T87" fmla="*/ 74964938 h 759"/>
              <a:gd name="T88" fmla="*/ 67608522 w 903"/>
              <a:gd name="T89" fmla="*/ 64492042 h 759"/>
              <a:gd name="T90" fmla="*/ 71085463 w 903"/>
              <a:gd name="T91" fmla="*/ 55397241 h 759"/>
              <a:gd name="T92" fmla="*/ 74755347 w 903"/>
              <a:gd name="T93" fmla="*/ 52641082 h 759"/>
              <a:gd name="T94" fmla="*/ 79970978 w 903"/>
              <a:gd name="T95" fmla="*/ 53192314 h 759"/>
              <a:gd name="T96" fmla="*/ 87118242 w 903"/>
              <a:gd name="T97" fmla="*/ 57326028 h 759"/>
              <a:gd name="T98" fmla="*/ 92333433 w 903"/>
              <a:gd name="T99" fmla="*/ 59530955 h 759"/>
              <a:gd name="T100" fmla="*/ 98901427 w 903"/>
              <a:gd name="T101" fmla="*/ 58704107 h 759"/>
              <a:gd name="T102" fmla="*/ 102571311 w 903"/>
              <a:gd name="T103" fmla="*/ 55121625 h 759"/>
              <a:gd name="T104" fmla="*/ 108945921 w 903"/>
              <a:gd name="T105" fmla="*/ 35002188 h 759"/>
              <a:gd name="T106" fmla="*/ 119763097 w 903"/>
              <a:gd name="T107" fmla="*/ 22048757 h 759"/>
              <a:gd name="T108" fmla="*/ 141397833 w 903"/>
              <a:gd name="T109" fmla="*/ 3031776 h 759"/>
              <a:gd name="T110" fmla="*/ 155692361 w 903"/>
              <a:gd name="T111" fmla="*/ 826848 h 759"/>
              <a:gd name="T112" fmla="*/ 160328282 w 903"/>
              <a:gd name="T113" fmla="*/ 1653696 h 759"/>
              <a:gd name="T114" fmla="*/ 164964203 w 903"/>
              <a:gd name="T115" fmla="*/ 9646036 h 759"/>
              <a:gd name="T116" fmla="*/ 168634526 w 903"/>
              <a:gd name="T117" fmla="*/ 19568213 h 759"/>
              <a:gd name="T118" fmla="*/ 170566160 w 903"/>
              <a:gd name="T119" fmla="*/ 29489862 h 759"/>
              <a:gd name="T120" fmla="*/ 167668490 w 903"/>
              <a:gd name="T121" fmla="*/ 57050412 h 759"/>
              <a:gd name="T122" fmla="*/ 160328282 w 903"/>
              <a:gd name="T123" fmla="*/ 56224089 h 759"/>
              <a:gd name="T124" fmla="*/ 159555628 w 903"/>
              <a:gd name="T125" fmla="*/ 77445481 h 759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903"/>
              <a:gd name="T190" fmla="*/ 0 h 759"/>
              <a:gd name="T191" fmla="*/ 903 w 903"/>
              <a:gd name="T192" fmla="*/ 759 h 759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903" h="759">
                <a:moveTo>
                  <a:pt x="870" y="296"/>
                </a:moveTo>
                <a:lnTo>
                  <a:pt x="875" y="295"/>
                </a:lnTo>
                <a:lnTo>
                  <a:pt x="886" y="293"/>
                </a:lnTo>
                <a:lnTo>
                  <a:pt x="899" y="291"/>
                </a:lnTo>
                <a:lnTo>
                  <a:pt x="903" y="290"/>
                </a:lnTo>
                <a:lnTo>
                  <a:pt x="863" y="364"/>
                </a:lnTo>
                <a:lnTo>
                  <a:pt x="863" y="376"/>
                </a:lnTo>
                <a:lnTo>
                  <a:pt x="863" y="388"/>
                </a:lnTo>
                <a:lnTo>
                  <a:pt x="857" y="392"/>
                </a:lnTo>
                <a:lnTo>
                  <a:pt x="849" y="397"/>
                </a:lnTo>
                <a:lnTo>
                  <a:pt x="840" y="405"/>
                </a:lnTo>
                <a:lnTo>
                  <a:pt x="832" y="414"/>
                </a:lnTo>
                <a:lnTo>
                  <a:pt x="813" y="436"/>
                </a:lnTo>
                <a:lnTo>
                  <a:pt x="794" y="460"/>
                </a:lnTo>
                <a:lnTo>
                  <a:pt x="776" y="485"/>
                </a:lnTo>
                <a:lnTo>
                  <a:pt x="761" y="507"/>
                </a:lnTo>
                <a:lnTo>
                  <a:pt x="749" y="525"/>
                </a:lnTo>
                <a:lnTo>
                  <a:pt x="744" y="537"/>
                </a:lnTo>
                <a:lnTo>
                  <a:pt x="732" y="550"/>
                </a:lnTo>
                <a:lnTo>
                  <a:pt x="720" y="561"/>
                </a:lnTo>
                <a:lnTo>
                  <a:pt x="706" y="571"/>
                </a:lnTo>
                <a:lnTo>
                  <a:pt x="694" y="581"/>
                </a:lnTo>
                <a:lnTo>
                  <a:pt x="670" y="598"/>
                </a:lnTo>
                <a:lnTo>
                  <a:pt x="647" y="613"/>
                </a:lnTo>
                <a:lnTo>
                  <a:pt x="624" y="628"/>
                </a:lnTo>
                <a:lnTo>
                  <a:pt x="603" y="646"/>
                </a:lnTo>
                <a:lnTo>
                  <a:pt x="592" y="655"/>
                </a:lnTo>
                <a:lnTo>
                  <a:pt x="583" y="666"/>
                </a:lnTo>
                <a:lnTo>
                  <a:pt x="574" y="677"/>
                </a:lnTo>
                <a:lnTo>
                  <a:pt x="565" y="690"/>
                </a:lnTo>
                <a:lnTo>
                  <a:pt x="561" y="694"/>
                </a:lnTo>
                <a:lnTo>
                  <a:pt x="557" y="698"/>
                </a:lnTo>
                <a:lnTo>
                  <a:pt x="553" y="700"/>
                </a:lnTo>
                <a:lnTo>
                  <a:pt x="546" y="702"/>
                </a:lnTo>
                <a:lnTo>
                  <a:pt x="534" y="704"/>
                </a:lnTo>
                <a:lnTo>
                  <a:pt x="520" y="705"/>
                </a:lnTo>
                <a:lnTo>
                  <a:pt x="513" y="705"/>
                </a:lnTo>
                <a:lnTo>
                  <a:pt x="507" y="706"/>
                </a:lnTo>
                <a:lnTo>
                  <a:pt x="501" y="708"/>
                </a:lnTo>
                <a:lnTo>
                  <a:pt x="496" y="710"/>
                </a:lnTo>
                <a:lnTo>
                  <a:pt x="491" y="713"/>
                </a:lnTo>
                <a:lnTo>
                  <a:pt x="488" y="716"/>
                </a:lnTo>
                <a:lnTo>
                  <a:pt x="486" y="721"/>
                </a:lnTo>
                <a:lnTo>
                  <a:pt x="485" y="727"/>
                </a:lnTo>
                <a:lnTo>
                  <a:pt x="444" y="727"/>
                </a:lnTo>
                <a:lnTo>
                  <a:pt x="415" y="727"/>
                </a:lnTo>
                <a:lnTo>
                  <a:pt x="395" y="727"/>
                </a:lnTo>
                <a:lnTo>
                  <a:pt x="372" y="727"/>
                </a:lnTo>
                <a:lnTo>
                  <a:pt x="359" y="727"/>
                </a:lnTo>
                <a:lnTo>
                  <a:pt x="348" y="729"/>
                </a:lnTo>
                <a:lnTo>
                  <a:pt x="344" y="730"/>
                </a:lnTo>
                <a:lnTo>
                  <a:pt x="339" y="732"/>
                </a:lnTo>
                <a:lnTo>
                  <a:pt x="332" y="735"/>
                </a:lnTo>
                <a:lnTo>
                  <a:pt x="325" y="739"/>
                </a:lnTo>
                <a:lnTo>
                  <a:pt x="320" y="735"/>
                </a:lnTo>
                <a:lnTo>
                  <a:pt x="316" y="732"/>
                </a:lnTo>
                <a:lnTo>
                  <a:pt x="310" y="730"/>
                </a:lnTo>
                <a:lnTo>
                  <a:pt x="306" y="729"/>
                </a:lnTo>
                <a:lnTo>
                  <a:pt x="296" y="727"/>
                </a:lnTo>
                <a:lnTo>
                  <a:pt x="286" y="727"/>
                </a:lnTo>
                <a:lnTo>
                  <a:pt x="283" y="730"/>
                </a:lnTo>
                <a:lnTo>
                  <a:pt x="278" y="732"/>
                </a:lnTo>
                <a:lnTo>
                  <a:pt x="272" y="735"/>
                </a:lnTo>
                <a:lnTo>
                  <a:pt x="263" y="737"/>
                </a:lnTo>
                <a:lnTo>
                  <a:pt x="242" y="742"/>
                </a:lnTo>
                <a:lnTo>
                  <a:pt x="218" y="747"/>
                </a:lnTo>
                <a:lnTo>
                  <a:pt x="173" y="756"/>
                </a:lnTo>
                <a:lnTo>
                  <a:pt x="146" y="759"/>
                </a:lnTo>
                <a:lnTo>
                  <a:pt x="139" y="758"/>
                </a:lnTo>
                <a:lnTo>
                  <a:pt x="131" y="757"/>
                </a:lnTo>
                <a:lnTo>
                  <a:pt x="123" y="756"/>
                </a:lnTo>
                <a:lnTo>
                  <a:pt x="116" y="753"/>
                </a:lnTo>
                <a:lnTo>
                  <a:pt x="109" y="750"/>
                </a:lnTo>
                <a:lnTo>
                  <a:pt x="103" y="746"/>
                </a:lnTo>
                <a:lnTo>
                  <a:pt x="96" y="743"/>
                </a:lnTo>
                <a:lnTo>
                  <a:pt x="90" y="739"/>
                </a:lnTo>
                <a:lnTo>
                  <a:pt x="85" y="734"/>
                </a:lnTo>
                <a:lnTo>
                  <a:pt x="82" y="730"/>
                </a:lnTo>
                <a:lnTo>
                  <a:pt x="78" y="725"/>
                </a:lnTo>
                <a:lnTo>
                  <a:pt x="76" y="719"/>
                </a:lnTo>
                <a:lnTo>
                  <a:pt x="75" y="714"/>
                </a:lnTo>
                <a:lnTo>
                  <a:pt x="75" y="708"/>
                </a:lnTo>
                <a:lnTo>
                  <a:pt x="76" y="703"/>
                </a:lnTo>
                <a:lnTo>
                  <a:pt x="79" y="697"/>
                </a:lnTo>
                <a:lnTo>
                  <a:pt x="60" y="648"/>
                </a:lnTo>
                <a:lnTo>
                  <a:pt x="65" y="639"/>
                </a:lnTo>
                <a:lnTo>
                  <a:pt x="72" y="632"/>
                </a:lnTo>
                <a:lnTo>
                  <a:pt x="75" y="628"/>
                </a:lnTo>
                <a:lnTo>
                  <a:pt x="77" y="625"/>
                </a:lnTo>
                <a:lnTo>
                  <a:pt x="79" y="621"/>
                </a:lnTo>
                <a:lnTo>
                  <a:pt x="79" y="616"/>
                </a:lnTo>
                <a:lnTo>
                  <a:pt x="79" y="608"/>
                </a:lnTo>
                <a:lnTo>
                  <a:pt x="78" y="600"/>
                </a:lnTo>
                <a:lnTo>
                  <a:pt x="76" y="592"/>
                </a:lnTo>
                <a:lnTo>
                  <a:pt x="74" y="584"/>
                </a:lnTo>
                <a:lnTo>
                  <a:pt x="68" y="572"/>
                </a:lnTo>
                <a:lnTo>
                  <a:pt x="61" y="561"/>
                </a:lnTo>
                <a:lnTo>
                  <a:pt x="43" y="542"/>
                </a:lnTo>
                <a:lnTo>
                  <a:pt x="27" y="524"/>
                </a:lnTo>
                <a:lnTo>
                  <a:pt x="22" y="516"/>
                </a:lnTo>
                <a:lnTo>
                  <a:pt x="18" y="509"/>
                </a:lnTo>
                <a:lnTo>
                  <a:pt x="16" y="502"/>
                </a:lnTo>
                <a:lnTo>
                  <a:pt x="14" y="496"/>
                </a:lnTo>
                <a:lnTo>
                  <a:pt x="12" y="484"/>
                </a:lnTo>
                <a:lnTo>
                  <a:pt x="11" y="472"/>
                </a:lnTo>
                <a:lnTo>
                  <a:pt x="11" y="461"/>
                </a:lnTo>
                <a:lnTo>
                  <a:pt x="11" y="450"/>
                </a:lnTo>
                <a:lnTo>
                  <a:pt x="10" y="439"/>
                </a:lnTo>
                <a:lnTo>
                  <a:pt x="7" y="426"/>
                </a:lnTo>
                <a:lnTo>
                  <a:pt x="6" y="412"/>
                </a:lnTo>
                <a:lnTo>
                  <a:pt x="4" y="395"/>
                </a:lnTo>
                <a:lnTo>
                  <a:pt x="0" y="377"/>
                </a:lnTo>
                <a:lnTo>
                  <a:pt x="0" y="364"/>
                </a:lnTo>
                <a:lnTo>
                  <a:pt x="33" y="364"/>
                </a:lnTo>
                <a:lnTo>
                  <a:pt x="36" y="371"/>
                </a:lnTo>
                <a:lnTo>
                  <a:pt x="39" y="377"/>
                </a:lnTo>
                <a:lnTo>
                  <a:pt x="43" y="382"/>
                </a:lnTo>
                <a:lnTo>
                  <a:pt x="48" y="387"/>
                </a:lnTo>
                <a:lnTo>
                  <a:pt x="52" y="392"/>
                </a:lnTo>
                <a:lnTo>
                  <a:pt x="57" y="396"/>
                </a:lnTo>
                <a:lnTo>
                  <a:pt x="63" y="399"/>
                </a:lnTo>
                <a:lnTo>
                  <a:pt x="68" y="402"/>
                </a:lnTo>
                <a:lnTo>
                  <a:pt x="81" y="407"/>
                </a:lnTo>
                <a:lnTo>
                  <a:pt x="94" y="410"/>
                </a:lnTo>
                <a:lnTo>
                  <a:pt x="107" y="412"/>
                </a:lnTo>
                <a:lnTo>
                  <a:pt x="119" y="413"/>
                </a:lnTo>
                <a:lnTo>
                  <a:pt x="128" y="412"/>
                </a:lnTo>
                <a:lnTo>
                  <a:pt x="135" y="411"/>
                </a:lnTo>
                <a:lnTo>
                  <a:pt x="142" y="409"/>
                </a:lnTo>
                <a:lnTo>
                  <a:pt x="149" y="407"/>
                </a:lnTo>
                <a:lnTo>
                  <a:pt x="154" y="404"/>
                </a:lnTo>
                <a:lnTo>
                  <a:pt x="160" y="400"/>
                </a:lnTo>
                <a:lnTo>
                  <a:pt x="164" y="396"/>
                </a:lnTo>
                <a:lnTo>
                  <a:pt x="168" y="392"/>
                </a:lnTo>
                <a:lnTo>
                  <a:pt x="176" y="382"/>
                </a:lnTo>
                <a:lnTo>
                  <a:pt x="182" y="372"/>
                </a:lnTo>
                <a:lnTo>
                  <a:pt x="187" y="361"/>
                </a:lnTo>
                <a:lnTo>
                  <a:pt x="193" y="351"/>
                </a:lnTo>
                <a:lnTo>
                  <a:pt x="193" y="240"/>
                </a:lnTo>
                <a:lnTo>
                  <a:pt x="197" y="229"/>
                </a:lnTo>
                <a:lnTo>
                  <a:pt x="199" y="217"/>
                </a:lnTo>
                <a:lnTo>
                  <a:pt x="201" y="206"/>
                </a:lnTo>
                <a:lnTo>
                  <a:pt x="202" y="194"/>
                </a:lnTo>
                <a:lnTo>
                  <a:pt x="204" y="184"/>
                </a:lnTo>
                <a:lnTo>
                  <a:pt x="206" y="176"/>
                </a:lnTo>
                <a:lnTo>
                  <a:pt x="207" y="173"/>
                </a:lnTo>
                <a:lnTo>
                  <a:pt x="208" y="170"/>
                </a:lnTo>
                <a:lnTo>
                  <a:pt x="210" y="168"/>
                </a:lnTo>
                <a:lnTo>
                  <a:pt x="212" y="167"/>
                </a:lnTo>
                <a:lnTo>
                  <a:pt x="220" y="171"/>
                </a:lnTo>
                <a:lnTo>
                  <a:pt x="229" y="175"/>
                </a:lnTo>
                <a:lnTo>
                  <a:pt x="239" y="178"/>
                </a:lnTo>
                <a:lnTo>
                  <a:pt x="245" y="179"/>
                </a:lnTo>
                <a:lnTo>
                  <a:pt x="245" y="201"/>
                </a:lnTo>
                <a:lnTo>
                  <a:pt x="245" y="219"/>
                </a:lnTo>
                <a:lnTo>
                  <a:pt x="245" y="238"/>
                </a:lnTo>
                <a:lnTo>
                  <a:pt x="245" y="259"/>
                </a:lnTo>
                <a:lnTo>
                  <a:pt x="246" y="265"/>
                </a:lnTo>
                <a:lnTo>
                  <a:pt x="246" y="270"/>
                </a:lnTo>
                <a:lnTo>
                  <a:pt x="247" y="274"/>
                </a:lnTo>
                <a:lnTo>
                  <a:pt x="250" y="278"/>
                </a:lnTo>
                <a:lnTo>
                  <a:pt x="252" y="281"/>
                </a:lnTo>
                <a:lnTo>
                  <a:pt x="254" y="284"/>
                </a:lnTo>
                <a:lnTo>
                  <a:pt x="256" y="287"/>
                </a:lnTo>
                <a:lnTo>
                  <a:pt x="260" y="289"/>
                </a:lnTo>
                <a:lnTo>
                  <a:pt x="267" y="292"/>
                </a:lnTo>
                <a:lnTo>
                  <a:pt x="276" y="294"/>
                </a:lnTo>
                <a:lnTo>
                  <a:pt x="287" y="295"/>
                </a:lnTo>
                <a:lnTo>
                  <a:pt x="299" y="296"/>
                </a:lnTo>
                <a:lnTo>
                  <a:pt x="303" y="295"/>
                </a:lnTo>
                <a:lnTo>
                  <a:pt x="308" y="295"/>
                </a:lnTo>
                <a:lnTo>
                  <a:pt x="312" y="293"/>
                </a:lnTo>
                <a:lnTo>
                  <a:pt x="316" y="291"/>
                </a:lnTo>
                <a:lnTo>
                  <a:pt x="322" y="286"/>
                </a:lnTo>
                <a:lnTo>
                  <a:pt x="329" y="280"/>
                </a:lnTo>
                <a:lnTo>
                  <a:pt x="333" y="272"/>
                </a:lnTo>
                <a:lnTo>
                  <a:pt x="337" y="263"/>
                </a:lnTo>
                <a:lnTo>
                  <a:pt x="342" y="254"/>
                </a:lnTo>
                <a:lnTo>
                  <a:pt x="345" y="243"/>
                </a:lnTo>
                <a:lnTo>
                  <a:pt x="350" y="234"/>
                </a:lnTo>
                <a:lnTo>
                  <a:pt x="353" y="224"/>
                </a:lnTo>
                <a:lnTo>
                  <a:pt x="357" y="216"/>
                </a:lnTo>
                <a:lnTo>
                  <a:pt x="363" y="208"/>
                </a:lnTo>
                <a:lnTo>
                  <a:pt x="368" y="201"/>
                </a:lnTo>
                <a:lnTo>
                  <a:pt x="375" y="195"/>
                </a:lnTo>
                <a:lnTo>
                  <a:pt x="378" y="193"/>
                </a:lnTo>
                <a:lnTo>
                  <a:pt x="382" y="192"/>
                </a:lnTo>
                <a:lnTo>
                  <a:pt x="387" y="191"/>
                </a:lnTo>
                <a:lnTo>
                  <a:pt x="392" y="191"/>
                </a:lnTo>
                <a:lnTo>
                  <a:pt x="400" y="191"/>
                </a:lnTo>
                <a:lnTo>
                  <a:pt x="408" y="192"/>
                </a:lnTo>
                <a:lnTo>
                  <a:pt x="414" y="193"/>
                </a:lnTo>
                <a:lnTo>
                  <a:pt x="421" y="195"/>
                </a:lnTo>
                <a:lnTo>
                  <a:pt x="431" y="200"/>
                </a:lnTo>
                <a:lnTo>
                  <a:pt x="441" y="204"/>
                </a:lnTo>
                <a:lnTo>
                  <a:pt x="451" y="208"/>
                </a:lnTo>
                <a:lnTo>
                  <a:pt x="460" y="212"/>
                </a:lnTo>
                <a:lnTo>
                  <a:pt x="466" y="214"/>
                </a:lnTo>
                <a:lnTo>
                  <a:pt x="471" y="215"/>
                </a:lnTo>
                <a:lnTo>
                  <a:pt x="478" y="216"/>
                </a:lnTo>
                <a:lnTo>
                  <a:pt x="485" y="216"/>
                </a:lnTo>
                <a:lnTo>
                  <a:pt x="496" y="216"/>
                </a:lnTo>
                <a:lnTo>
                  <a:pt x="504" y="215"/>
                </a:lnTo>
                <a:lnTo>
                  <a:pt x="512" y="213"/>
                </a:lnTo>
                <a:lnTo>
                  <a:pt x="518" y="211"/>
                </a:lnTo>
                <a:lnTo>
                  <a:pt x="523" y="208"/>
                </a:lnTo>
                <a:lnTo>
                  <a:pt x="527" y="204"/>
                </a:lnTo>
                <a:lnTo>
                  <a:pt x="531" y="200"/>
                </a:lnTo>
                <a:lnTo>
                  <a:pt x="534" y="194"/>
                </a:lnTo>
                <a:lnTo>
                  <a:pt x="544" y="169"/>
                </a:lnTo>
                <a:lnTo>
                  <a:pt x="558" y="135"/>
                </a:lnTo>
                <a:lnTo>
                  <a:pt x="564" y="127"/>
                </a:lnTo>
                <a:lnTo>
                  <a:pt x="572" y="119"/>
                </a:lnTo>
                <a:lnTo>
                  <a:pt x="582" y="110"/>
                </a:lnTo>
                <a:lnTo>
                  <a:pt x="593" y="100"/>
                </a:lnTo>
                <a:lnTo>
                  <a:pt x="620" y="80"/>
                </a:lnTo>
                <a:lnTo>
                  <a:pt x="649" y="61"/>
                </a:lnTo>
                <a:lnTo>
                  <a:pt x="679" y="43"/>
                </a:lnTo>
                <a:lnTo>
                  <a:pt x="708" y="25"/>
                </a:lnTo>
                <a:lnTo>
                  <a:pt x="732" y="11"/>
                </a:lnTo>
                <a:lnTo>
                  <a:pt x="750" y="0"/>
                </a:lnTo>
                <a:lnTo>
                  <a:pt x="777" y="1"/>
                </a:lnTo>
                <a:lnTo>
                  <a:pt x="798" y="3"/>
                </a:lnTo>
                <a:lnTo>
                  <a:pt x="806" y="3"/>
                </a:lnTo>
                <a:lnTo>
                  <a:pt x="815" y="3"/>
                </a:lnTo>
                <a:lnTo>
                  <a:pt x="823" y="2"/>
                </a:lnTo>
                <a:lnTo>
                  <a:pt x="830" y="0"/>
                </a:lnTo>
                <a:lnTo>
                  <a:pt x="830" y="6"/>
                </a:lnTo>
                <a:lnTo>
                  <a:pt x="850" y="6"/>
                </a:lnTo>
                <a:lnTo>
                  <a:pt x="850" y="17"/>
                </a:lnTo>
                <a:lnTo>
                  <a:pt x="851" y="26"/>
                </a:lnTo>
                <a:lnTo>
                  <a:pt x="854" y="35"/>
                </a:lnTo>
                <a:lnTo>
                  <a:pt x="856" y="41"/>
                </a:lnTo>
                <a:lnTo>
                  <a:pt x="861" y="52"/>
                </a:lnTo>
                <a:lnTo>
                  <a:pt x="867" y="62"/>
                </a:lnTo>
                <a:lnTo>
                  <a:pt x="873" y="71"/>
                </a:lnTo>
                <a:lnTo>
                  <a:pt x="879" y="82"/>
                </a:lnTo>
                <a:lnTo>
                  <a:pt x="880" y="90"/>
                </a:lnTo>
                <a:lnTo>
                  <a:pt x="882" y="98"/>
                </a:lnTo>
                <a:lnTo>
                  <a:pt x="883" y="107"/>
                </a:lnTo>
                <a:lnTo>
                  <a:pt x="883" y="117"/>
                </a:lnTo>
                <a:lnTo>
                  <a:pt x="883" y="204"/>
                </a:lnTo>
                <a:lnTo>
                  <a:pt x="875" y="206"/>
                </a:lnTo>
                <a:lnTo>
                  <a:pt x="868" y="207"/>
                </a:lnTo>
                <a:lnTo>
                  <a:pt x="860" y="207"/>
                </a:lnTo>
                <a:lnTo>
                  <a:pt x="852" y="206"/>
                </a:lnTo>
                <a:lnTo>
                  <a:pt x="838" y="205"/>
                </a:lnTo>
                <a:lnTo>
                  <a:pt x="830" y="204"/>
                </a:lnTo>
                <a:lnTo>
                  <a:pt x="826" y="236"/>
                </a:lnTo>
                <a:lnTo>
                  <a:pt x="825" y="262"/>
                </a:lnTo>
                <a:lnTo>
                  <a:pt x="826" y="272"/>
                </a:lnTo>
                <a:lnTo>
                  <a:pt x="826" y="281"/>
                </a:lnTo>
                <a:lnTo>
                  <a:pt x="828" y="289"/>
                </a:lnTo>
                <a:lnTo>
                  <a:pt x="830" y="296"/>
                </a:lnTo>
                <a:lnTo>
                  <a:pt x="870" y="296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385" name="Freeform 383"/>
          <p:cNvSpPr>
            <a:spLocks/>
          </p:cNvSpPr>
          <p:nvPr userDrawn="1">
            <p:custDataLst>
              <p:tags r:id="rId271"/>
            </p:custDataLst>
          </p:nvPr>
        </p:nvSpPr>
        <p:spPr bwMode="auto">
          <a:xfrm>
            <a:off x="4629150" y="2389588"/>
            <a:ext cx="411162" cy="458390"/>
          </a:xfrm>
          <a:custGeom>
            <a:avLst/>
            <a:gdLst>
              <a:gd name="T0" fmla="*/ 141060849 w 943"/>
              <a:gd name="T1" fmla="*/ 1359526 h 1172"/>
              <a:gd name="T2" fmla="*/ 145433205 w 943"/>
              <a:gd name="T3" fmla="*/ 6254758 h 1172"/>
              <a:gd name="T4" fmla="*/ 152657533 w 943"/>
              <a:gd name="T5" fmla="*/ 8158719 h 1172"/>
              <a:gd name="T6" fmla="*/ 154748660 w 943"/>
              <a:gd name="T7" fmla="*/ 14957392 h 1172"/>
              <a:gd name="T8" fmla="*/ 158740811 w 943"/>
              <a:gd name="T9" fmla="*/ 29642565 h 1172"/>
              <a:gd name="T10" fmla="*/ 159121015 w 943"/>
              <a:gd name="T11" fmla="*/ 50855238 h 1172"/>
              <a:gd name="T12" fmla="*/ 162923500 w 943"/>
              <a:gd name="T13" fmla="*/ 66084322 h 1172"/>
              <a:gd name="T14" fmla="*/ 175280593 w 943"/>
              <a:gd name="T15" fmla="*/ 79409983 h 1172"/>
              <a:gd name="T16" fmla="*/ 167105753 w 943"/>
              <a:gd name="T17" fmla="*/ 98174772 h 1172"/>
              <a:gd name="T18" fmla="*/ 161782885 w 943"/>
              <a:gd name="T19" fmla="*/ 111500416 h 1172"/>
              <a:gd name="T20" fmla="*/ 153798147 w 943"/>
              <a:gd name="T21" fmla="*/ 172690046 h 1172"/>
              <a:gd name="T22" fmla="*/ 146383717 w 943"/>
              <a:gd name="T23" fmla="*/ 184111728 h 1172"/>
              <a:gd name="T24" fmla="*/ 145053000 w 943"/>
              <a:gd name="T25" fmla="*/ 196077847 h 1172"/>
              <a:gd name="T26" fmla="*/ 141631156 w 943"/>
              <a:gd name="T27" fmla="*/ 199885248 h 1172"/>
              <a:gd name="T28" fmla="*/ 137448903 w 943"/>
              <a:gd name="T29" fmla="*/ 217017772 h 1172"/>
              <a:gd name="T30" fmla="*/ 131555292 w 943"/>
              <a:gd name="T31" fmla="*/ 238502134 h 1172"/>
              <a:gd name="T32" fmla="*/ 125852219 w 943"/>
              <a:gd name="T33" fmla="*/ 245573022 h 1172"/>
              <a:gd name="T34" fmla="*/ 126232424 w 943"/>
              <a:gd name="T35" fmla="*/ 254003436 h 1172"/>
              <a:gd name="T36" fmla="*/ 130414677 w 943"/>
              <a:gd name="T37" fmla="*/ 255363483 h 1172"/>
              <a:gd name="T38" fmla="*/ 134787469 w 943"/>
              <a:gd name="T39" fmla="*/ 258354752 h 1172"/>
              <a:gd name="T40" fmla="*/ 141060849 w 943"/>
              <a:gd name="T41" fmla="*/ 264065593 h 1172"/>
              <a:gd name="T42" fmla="*/ 143722283 w 943"/>
              <a:gd name="T43" fmla="*/ 273856119 h 1172"/>
              <a:gd name="T44" fmla="*/ 147334665 w 943"/>
              <a:gd name="T45" fmla="*/ 283646580 h 1172"/>
              <a:gd name="T46" fmla="*/ 152657533 w 943"/>
              <a:gd name="T47" fmla="*/ 286366152 h 1172"/>
              <a:gd name="T48" fmla="*/ 153798147 w 943"/>
              <a:gd name="T49" fmla="*/ 297516138 h 1172"/>
              <a:gd name="T50" fmla="*/ 136498391 w 943"/>
              <a:gd name="T51" fmla="*/ 303226980 h 1172"/>
              <a:gd name="T52" fmla="*/ 130604780 w 943"/>
              <a:gd name="T53" fmla="*/ 314649184 h 1172"/>
              <a:gd name="T54" fmla="*/ 113685201 w 943"/>
              <a:gd name="T55" fmla="*/ 318184367 h 1172"/>
              <a:gd name="T56" fmla="*/ 97906264 w 943"/>
              <a:gd name="T57" fmla="*/ 314920880 h 1172"/>
              <a:gd name="T58" fmla="*/ 88210604 w 943"/>
              <a:gd name="T59" fmla="*/ 305402638 h 1172"/>
              <a:gd name="T60" fmla="*/ 74142589 w 943"/>
              <a:gd name="T61" fmla="*/ 305946552 h 1172"/>
              <a:gd name="T62" fmla="*/ 60644880 w 943"/>
              <a:gd name="T63" fmla="*/ 304586505 h 1172"/>
              <a:gd name="T64" fmla="*/ 56462178 w 943"/>
              <a:gd name="T65" fmla="*/ 300235711 h 1172"/>
              <a:gd name="T66" fmla="*/ 55891870 w 943"/>
              <a:gd name="T67" fmla="*/ 292348690 h 1172"/>
              <a:gd name="T68" fmla="*/ 52089822 w 943"/>
              <a:gd name="T69" fmla="*/ 279839178 h 1172"/>
              <a:gd name="T70" fmla="*/ 41063445 w 943"/>
              <a:gd name="T71" fmla="*/ 264881726 h 1172"/>
              <a:gd name="T72" fmla="*/ 36691089 w 943"/>
              <a:gd name="T73" fmla="*/ 251556081 h 1172"/>
              <a:gd name="T74" fmla="*/ 28896454 w 943"/>
              <a:gd name="T75" fmla="*/ 245573022 h 1172"/>
              <a:gd name="T76" fmla="*/ 22813170 w 943"/>
              <a:gd name="T77" fmla="*/ 230071720 h 1172"/>
              <a:gd name="T78" fmla="*/ 18440378 w 943"/>
              <a:gd name="T79" fmla="*/ 214298722 h 1172"/>
              <a:gd name="T80" fmla="*/ 12357097 w 943"/>
              <a:gd name="T81" fmla="*/ 206140004 h 1172"/>
              <a:gd name="T82" fmla="*/ 6273382 w 943"/>
              <a:gd name="T83" fmla="*/ 183840032 h 1172"/>
              <a:gd name="T84" fmla="*/ 760410 w 943"/>
              <a:gd name="T85" fmla="*/ 166163072 h 1172"/>
              <a:gd name="T86" fmla="*/ 3421844 w 943"/>
              <a:gd name="T87" fmla="*/ 156916526 h 1172"/>
              <a:gd name="T88" fmla="*/ 5512972 w 943"/>
              <a:gd name="T89" fmla="*/ 141687442 h 1172"/>
              <a:gd name="T90" fmla="*/ 12166995 w 943"/>
              <a:gd name="T91" fmla="*/ 128905679 h 1172"/>
              <a:gd name="T92" fmla="*/ 21482453 w 943"/>
              <a:gd name="T93" fmla="*/ 60373481 h 1172"/>
              <a:gd name="T94" fmla="*/ 23383477 w 943"/>
              <a:gd name="T95" fmla="*/ 48679580 h 1172"/>
              <a:gd name="T96" fmla="*/ 29086556 w 943"/>
              <a:gd name="T97" fmla="*/ 46503922 h 1172"/>
              <a:gd name="T98" fmla="*/ 30417273 w 943"/>
              <a:gd name="T99" fmla="*/ 33178270 h 1172"/>
              <a:gd name="T100" fmla="*/ 30227171 w 943"/>
              <a:gd name="T101" fmla="*/ 18220883 h 1172"/>
              <a:gd name="T102" fmla="*/ 129083960 w 943"/>
              <a:gd name="T103" fmla="*/ 18764797 h 1172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943"/>
              <a:gd name="T157" fmla="*/ 0 h 1172"/>
              <a:gd name="T158" fmla="*/ 943 w 943"/>
              <a:gd name="T159" fmla="*/ 1172 h 1172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grpSp>
        <p:nvGrpSpPr>
          <p:cNvPr id="284" name="Group 384"/>
          <p:cNvGrpSpPr>
            <a:grpSpLocks/>
          </p:cNvGrpSpPr>
          <p:nvPr userDrawn="1">
            <p:custDataLst>
              <p:tags r:id="rId272"/>
            </p:custDataLst>
          </p:nvPr>
        </p:nvGrpSpPr>
        <p:grpSpPr bwMode="auto">
          <a:xfrm>
            <a:off x="3413127" y="2540797"/>
            <a:ext cx="80962" cy="61913"/>
            <a:chOff x="2352" y="2343"/>
            <a:chExt cx="65" cy="53"/>
          </a:xfrm>
          <a:solidFill>
            <a:sysClr val="window" lastClr="FFFFFF">
              <a:lumMod val="85000"/>
            </a:sysClr>
          </a:solidFill>
        </p:grpSpPr>
        <p:sp>
          <p:nvSpPr>
            <p:cNvPr id="387" name="Freeform 385"/>
            <p:cNvSpPr>
              <a:spLocks/>
            </p:cNvSpPr>
            <p:nvPr/>
          </p:nvSpPr>
          <p:spPr bwMode="auto">
            <a:xfrm>
              <a:off x="2352" y="2343"/>
              <a:ext cx="16" cy="11"/>
            </a:xfrm>
            <a:custGeom>
              <a:avLst/>
              <a:gdLst>
                <a:gd name="T0" fmla="*/ 4 w 51"/>
                <a:gd name="T1" fmla="*/ 0 h 33"/>
                <a:gd name="T2" fmla="*/ 0 w 51"/>
                <a:gd name="T3" fmla="*/ 1 h 33"/>
                <a:gd name="T4" fmla="*/ 0 w 51"/>
                <a:gd name="T5" fmla="*/ 3 h 33"/>
                <a:gd name="T6" fmla="*/ 1 w 51"/>
                <a:gd name="T7" fmla="*/ 4 h 33"/>
                <a:gd name="T8" fmla="*/ 3 w 51"/>
                <a:gd name="T9" fmla="*/ 3 h 33"/>
                <a:gd name="T10" fmla="*/ 5 w 51"/>
                <a:gd name="T11" fmla="*/ 2 h 33"/>
                <a:gd name="T12" fmla="*/ 5 w 51"/>
                <a:gd name="T13" fmla="*/ 1 h 33"/>
                <a:gd name="T14" fmla="*/ 4 w 51"/>
                <a:gd name="T15" fmla="*/ 0 h 3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1"/>
                <a:gd name="T25" fmla="*/ 0 h 33"/>
                <a:gd name="T26" fmla="*/ 51 w 51"/>
                <a:gd name="T27" fmla="*/ 33 h 3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1" h="33">
                  <a:moveTo>
                    <a:pt x="46" y="0"/>
                  </a:moveTo>
                  <a:lnTo>
                    <a:pt x="0" y="5"/>
                  </a:lnTo>
                  <a:lnTo>
                    <a:pt x="4" y="28"/>
                  </a:lnTo>
                  <a:lnTo>
                    <a:pt x="10" y="33"/>
                  </a:lnTo>
                  <a:lnTo>
                    <a:pt x="35" y="25"/>
                  </a:lnTo>
                  <a:lnTo>
                    <a:pt x="48" y="15"/>
                  </a:lnTo>
                  <a:lnTo>
                    <a:pt x="51" y="8"/>
                  </a:lnTo>
                  <a:lnTo>
                    <a:pt x="46" y="0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88" name="Freeform 386"/>
            <p:cNvSpPr>
              <a:spLocks/>
            </p:cNvSpPr>
            <p:nvPr/>
          </p:nvSpPr>
          <p:spPr bwMode="auto">
            <a:xfrm>
              <a:off x="2372" y="2354"/>
              <a:ext cx="20" cy="7"/>
            </a:xfrm>
            <a:custGeom>
              <a:avLst/>
              <a:gdLst>
                <a:gd name="T0" fmla="*/ 7 w 61"/>
                <a:gd name="T1" fmla="*/ 1 h 20"/>
                <a:gd name="T2" fmla="*/ 6 w 61"/>
                <a:gd name="T3" fmla="*/ 0 h 20"/>
                <a:gd name="T4" fmla="*/ 0 w 61"/>
                <a:gd name="T5" fmla="*/ 0 h 20"/>
                <a:gd name="T6" fmla="*/ 0 w 61"/>
                <a:gd name="T7" fmla="*/ 2 h 20"/>
                <a:gd name="T8" fmla="*/ 1 w 61"/>
                <a:gd name="T9" fmla="*/ 2 h 20"/>
                <a:gd name="T10" fmla="*/ 2 w 61"/>
                <a:gd name="T11" fmla="*/ 2 h 20"/>
                <a:gd name="T12" fmla="*/ 7 w 61"/>
                <a:gd name="T13" fmla="*/ 1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1"/>
                <a:gd name="T22" fmla="*/ 0 h 20"/>
                <a:gd name="T23" fmla="*/ 61 w 61"/>
                <a:gd name="T24" fmla="*/ 20 h 2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1" h="20">
                  <a:moveTo>
                    <a:pt x="61" y="6"/>
                  </a:moveTo>
                  <a:lnTo>
                    <a:pt x="53" y="2"/>
                  </a:lnTo>
                  <a:lnTo>
                    <a:pt x="0" y="0"/>
                  </a:lnTo>
                  <a:lnTo>
                    <a:pt x="2" y="14"/>
                  </a:lnTo>
                  <a:lnTo>
                    <a:pt x="7" y="20"/>
                  </a:lnTo>
                  <a:lnTo>
                    <a:pt x="18" y="13"/>
                  </a:lnTo>
                  <a:lnTo>
                    <a:pt x="61" y="6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89" name="Freeform 387"/>
            <p:cNvSpPr>
              <a:spLocks/>
            </p:cNvSpPr>
            <p:nvPr/>
          </p:nvSpPr>
          <p:spPr bwMode="auto">
            <a:xfrm>
              <a:off x="2407" y="2346"/>
              <a:ext cx="5" cy="12"/>
            </a:xfrm>
            <a:custGeom>
              <a:avLst/>
              <a:gdLst>
                <a:gd name="T0" fmla="*/ 0 w 15"/>
                <a:gd name="T1" fmla="*/ 0 h 36"/>
                <a:gd name="T2" fmla="*/ 0 w 15"/>
                <a:gd name="T3" fmla="*/ 2 h 36"/>
                <a:gd name="T4" fmla="*/ 0 w 15"/>
                <a:gd name="T5" fmla="*/ 4 h 36"/>
                <a:gd name="T6" fmla="*/ 1 w 15"/>
                <a:gd name="T7" fmla="*/ 4 h 36"/>
                <a:gd name="T8" fmla="*/ 2 w 15"/>
                <a:gd name="T9" fmla="*/ 2 h 36"/>
                <a:gd name="T10" fmla="*/ 0 w 15"/>
                <a:gd name="T11" fmla="*/ 0 h 3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36"/>
                <a:gd name="T20" fmla="*/ 15 w 15"/>
                <a:gd name="T21" fmla="*/ 36 h 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36">
                  <a:moveTo>
                    <a:pt x="2" y="0"/>
                  </a:moveTo>
                  <a:lnTo>
                    <a:pt x="0" y="20"/>
                  </a:lnTo>
                  <a:lnTo>
                    <a:pt x="0" y="36"/>
                  </a:lnTo>
                  <a:lnTo>
                    <a:pt x="11" y="35"/>
                  </a:lnTo>
                  <a:lnTo>
                    <a:pt x="15" y="14"/>
                  </a:lnTo>
                  <a:lnTo>
                    <a:pt x="2" y="0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90" name="Freeform 388"/>
            <p:cNvSpPr>
              <a:spLocks/>
            </p:cNvSpPr>
            <p:nvPr/>
          </p:nvSpPr>
          <p:spPr bwMode="auto">
            <a:xfrm>
              <a:off x="2406" y="2361"/>
              <a:ext cx="11" cy="11"/>
            </a:xfrm>
            <a:custGeom>
              <a:avLst/>
              <a:gdLst>
                <a:gd name="T0" fmla="*/ 0 w 37"/>
                <a:gd name="T1" fmla="*/ 0 h 33"/>
                <a:gd name="T2" fmla="*/ 2 w 37"/>
                <a:gd name="T3" fmla="*/ 0 h 33"/>
                <a:gd name="T4" fmla="*/ 3 w 37"/>
                <a:gd name="T5" fmla="*/ 1 h 33"/>
                <a:gd name="T6" fmla="*/ 3 w 37"/>
                <a:gd name="T7" fmla="*/ 2 h 33"/>
                <a:gd name="T8" fmla="*/ 2 w 37"/>
                <a:gd name="T9" fmla="*/ 4 h 33"/>
                <a:gd name="T10" fmla="*/ 1 w 37"/>
                <a:gd name="T11" fmla="*/ 4 h 33"/>
                <a:gd name="T12" fmla="*/ 0 w 37"/>
                <a:gd name="T13" fmla="*/ 3 h 33"/>
                <a:gd name="T14" fmla="*/ 0 w 37"/>
                <a:gd name="T15" fmla="*/ 2 h 33"/>
                <a:gd name="T16" fmla="*/ 0 w 37"/>
                <a:gd name="T17" fmla="*/ 0 h 3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7"/>
                <a:gd name="T28" fmla="*/ 0 h 33"/>
                <a:gd name="T29" fmla="*/ 37 w 37"/>
                <a:gd name="T30" fmla="*/ 33 h 3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7" h="33">
                  <a:moveTo>
                    <a:pt x="4" y="4"/>
                  </a:moveTo>
                  <a:lnTo>
                    <a:pt x="22" y="0"/>
                  </a:lnTo>
                  <a:lnTo>
                    <a:pt x="35" y="6"/>
                  </a:lnTo>
                  <a:lnTo>
                    <a:pt x="37" y="22"/>
                  </a:lnTo>
                  <a:lnTo>
                    <a:pt x="24" y="33"/>
                  </a:lnTo>
                  <a:lnTo>
                    <a:pt x="11" y="33"/>
                  </a:lnTo>
                  <a:lnTo>
                    <a:pt x="2" y="24"/>
                  </a:lnTo>
                  <a:lnTo>
                    <a:pt x="0" y="16"/>
                  </a:lnTo>
                  <a:lnTo>
                    <a:pt x="4" y="4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91" name="Freeform 389"/>
            <p:cNvSpPr>
              <a:spLocks/>
            </p:cNvSpPr>
            <p:nvPr/>
          </p:nvSpPr>
          <p:spPr bwMode="auto">
            <a:xfrm>
              <a:off x="2388" y="2378"/>
              <a:ext cx="16" cy="18"/>
            </a:xfrm>
            <a:custGeom>
              <a:avLst/>
              <a:gdLst>
                <a:gd name="T0" fmla="*/ 0 w 49"/>
                <a:gd name="T1" fmla="*/ 0 h 54"/>
                <a:gd name="T2" fmla="*/ 0 w 49"/>
                <a:gd name="T3" fmla="*/ 0 h 54"/>
                <a:gd name="T4" fmla="*/ 0 w 49"/>
                <a:gd name="T5" fmla="*/ 6 h 54"/>
                <a:gd name="T6" fmla="*/ 2 w 49"/>
                <a:gd name="T7" fmla="*/ 6 h 54"/>
                <a:gd name="T8" fmla="*/ 5 w 49"/>
                <a:gd name="T9" fmla="*/ 5 h 54"/>
                <a:gd name="T10" fmla="*/ 5 w 49"/>
                <a:gd name="T11" fmla="*/ 3 h 54"/>
                <a:gd name="T12" fmla="*/ 4 w 49"/>
                <a:gd name="T13" fmla="*/ 2 h 54"/>
                <a:gd name="T14" fmla="*/ 2 w 49"/>
                <a:gd name="T15" fmla="*/ 1 h 54"/>
                <a:gd name="T16" fmla="*/ 0 w 49"/>
                <a:gd name="T17" fmla="*/ 0 h 5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9"/>
                <a:gd name="T28" fmla="*/ 0 h 54"/>
                <a:gd name="T29" fmla="*/ 49 w 49"/>
                <a:gd name="T30" fmla="*/ 54 h 5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9" h="54">
                  <a:moveTo>
                    <a:pt x="2" y="0"/>
                  </a:moveTo>
                  <a:lnTo>
                    <a:pt x="0" y="0"/>
                  </a:lnTo>
                  <a:lnTo>
                    <a:pt x="2" y="50"/>
                  </a:lnTo>
                  <a:lnTo>
                    <a:pt x="18" y="54"/>
                  </a:lnTo>
                  <a:lnTo>
                    <a:pt x="44" y="45"/>
                  </a:lnTo>
                  <a:lnTo>
                    <a:pt x="49" y="31"/>
                  </a:lnTo>
                  <a:lnTo>
                    <a:pt x="40" y="21"/>
                  </a:lnTo>
                  <a:lnTo>
                    <a:pt x="19" y="8"/>
                  </a:lnTo>
                  <a:lnTo>
                    <a:pt x="2" y="0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92" name="Freeform 390"/>
            <p:cNvSpPr>
              <a:spLocks/>
            </p:cNvSpPr>
            <p:nvPr/>
          </p:nvSpPr>
          <p:spPr bwMode="auto">
            <a:xfrm>
              <a:off x="2374" y="2388"/>
              <a:ext cx="9" cy="7"/>
            </a:xfrm>
            <a:custGeom>
              <a:avLst/>
              <a:gdLst>
                <a:gd name="T0" fmla="*/ 2 w 26"/>
                <a:gd name="T1" fmla="*/ 0 h 22"/>
                <a:gd name="T2" fmla="*/ 0 w 26"/>
                <a:gd name="T3" fmla="*/ 0 h 22"/>
                <a:gd name="T4" fmla="*/ 0 w 26"/>
                <a:gd name="T5" fmla="*/ 2 h 22"/>
                <a:gd name="T6" fmla="*/ 1 w 26"/>
                <a:gd name="T7" fmla="*/ 2 h 22"/>
                <a:gd name="T8" fmla="*/ 2 w 26"/>
                <a:gd name="T9" fmla="*/ 2 h 22"/>
                <a:gd name="T10" fmla="*/ 3 w 26"/>
                <a:gd name="T11" fmla="*/ 1 h 22"/>
                <a:gd name="T12" fmla="*/ 2 w 26"/>
                <a:gd name="T13" fmla="*/ 0 h 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6"/>
                <a:gd name="T22" fmla="*/ 0 h 22"/>
                <a:gd name="T23" fmla="*/ 26 w 26"/>
                <a:gd name="T24" fmla="*/ 22 h 2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6" h="22">
                  <a:moveTo>
                    <a:pt x="18" y="0"/>
                  </a:moveTo>
                  <a:lnTo>
                    <a:pt x="3" y="2"/>
                  </a:lnTo>
                  <a:lnTo>
                    <a:pt x="0" y="15"/>
                  </a:lnTo>
                  <a:lnTo>
                    <a:pt x="6" y="21"/>
                  </a:lnTo>
                  <a:lnTo>
                    <a:pt x="19" y="22"/>
                  </a:lnTo>
                  <a:lnTo>
                    <a:pt x="26" y="11"/>
                  </a:lnTo>
                  <a:lnTo>
                    <a:pt x="18" y="0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364" name="Group 391"/>
          <p:cNvGrpSpPr>
            <a:grpSpLocks/>
          </p:cNvGrpSpPr>
          <p:nvPr userDrawn="1">
            <p:custDataLst>
              <p:tags r:id="rId273"/>
            </p:custDataLst>
          </p:nvPr>
        </p:nvGrpSpPr>
        <p:grpSpPr bwMode="auto">
          <a:xfrm>
            <a:off x="1258896" y="1085852"/>
            <a:ext cx="1897063" cy="850106"/>
            <a:chOff x="527" y="1110"/>
            <a:chExt cx="1410" cy="709"/>
          </a:xfrm>
          <a:solidFill>
            <a:sysClr val="window" lastClr="FFFFFF">
              <a:lumMod val="85000"/>
            </a:sysClr>
          </a:solidFill>
        </p:grpSpPr>
        <p:sp>
          <p:nvSpPr>
            <p:cNvPr id="394" name="Freeform 392"/>
            <p:cNvSpPr>
              <a:spLocks/>
            </p:cNvSpPr>
            <p:nvPr/>
          </p:nvSpPr>
          <p:spPr bwMode="auto">
            <a:xfrm>
              <a:off x="1401" y="1427"/>
              <a:ext cx="31" cy="17"/>
            </a:xfrm>
            <a:custGeom>
              <a:avLst/>
              <a:gdLst>
                <a:gd name="T0" fmla="*/ 0 w 98"/>
                <a:gd name="T1" fmla="*/ 4 h 54"/>
                <a:gd name="T2" fmla="*/ 1 w 98"/>
                <a:gd name="T3" fmla="*/ 4 h 54"/>
                <a:gd name="T4" fmla="*/ 1 w 98"/>
                <a:gd name="T5" fmla="*/ 5 h 54"/>
                <a:gd name="T6" fmla="*/ 2 w 98"/>
                <a:gd name="T7" fmla="*/ 5 h 54"/>
                <a:gd name="T8" fmla="*/ 3 w 98"/>
                <a:gd name="T9" fmla="*/ 5 h 54"/>
                <a:gd name="T10" fmla="*/ 4 w 98"/>
                <a:gd name="T11" fmla="*/ 5 h 54"/>
                <a:gd name="T12" fmla="*/ 4 w 98"/>
                <a:gd name="T13" fmla="*/ 5 h 54"/>
                <a:gd name="T14" fmla="*/ 5 w 98"/>
                <a:gd name="T15" fmla="*/ 5 h 54"/>
                <a:gd name="T16" fmla="*/ 6 w 98"/>
                <a:gd name="T17" fmla="*/ 5 h 54"/>
                <a:gd name="T18" fmla="*/ 7 w 98"/>
                <a:gd name="T19" fmla="*/ 4 h 54"/>
                <a:gd name="T20" fmla="*/ 8 w 98"/>
                <a:gd name="T21" fmla="*/ 3 h 54"/>
                <a:gd name="T22" fmla="*/ 9 w 98"/>
                <a:gd name="T23" fmla="*/ 3 h 54"/>
                <a:gd name="T24" fmla="*/ 9 w 98"/>
                <a:gd name="T25" fmla="*/ 2 h 54"/>
                <a:gd name="T26" fmla="*/ 9 w 98"/>
                <a:gd name="T27" fmla="*/ 1 h 54"/>
                <a:gd name="T28" fmla="*/ 10 w 98"/>
                <a:gd name="T29" fmla="*/ 0 h 54"/>
                <a:gd name="T30" fmla="*/ 9 w 98"/>
                <a:gd name="T31" fmla="*/ 0 h 54"/>
                <a:gd name="T32" fmla="*/ 8 w 98"/>
                <a:gd name="T33" fmla="*/ 0 h 54"/>
                <a:gd name="T34" fmla="*/ 8 w 98"/>
                <a:gd name="T35" fmla="*/ 0 h 54"/>
                <a:gd name="T36" fmla="*/ 7 w 98"/>
                <a:gd name="T37" fmla="*/ 0 h 54"/>
                <a:gd name="T38" fmla="*/ 6 w 98"/>
                <a:gd name="T39" fmla="*/ 0 h 54"/>
                <a:gd name="T40" fmla="*/ 5 w 98"/>
                <a:gd name="T41" fmla="*/ 0 h 54"/>
                <a:gd name="T42" fmla="*/ 4 w 98"/>
                <a:gd name="T43" fmla="*/ 1 h 54"/>
                <a:gd name="T44" fmla="*/ 4 w 98"/>
                <a:gd name="T45" fmla="*/ 1 h 54"/>
                <a:gd name="T46" fmla="*/ 2 w 98"/>
                <a:gd name="T47" fmla="*/ 2 h 54"/>
                <a:gd name="T48" fmla="*/ 1 w 98"/>
                <a:gd name="T49" fmla="*/ 3 h 54"/>
                <a:gd name="T50" fmla="*/ 1 w 98"/>
                <a:gd name="T51" fmla="*/ 3 h 54"/>
                <a:gd name="T52" fmla="*/ 0 w 98"/>
                <a:gd name="T53" fmla="*/ 3 h 54"/>
                <a:gd name="T54" fmla="*/ 0 w 98"/>
                <a:gd name="T55" fmla="*/ 4 h 54"/>
                <a:gd name="T56" fmla="*/ 0 w 98"/>
                <a:gd name="T57" fmla="*/ 4 h 5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98"/>
                <a:gd name="T88" fmla="*/ 0 h 54"/>
                <a:gd name="T89" fmla="*/ 98 w 98"/>
                <a:gd name="T90" fmla="*/ 54 h 5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98" h="54">
                  <a:moveTo>
                    <a:pt x="0" y="41"/>
                  </a:moveTo>
                  <a:lnTo>
                    <a:pt x="5" y="46"/>
                  </a:lnTo>
                  <a:lnTo>
                    <a:pt x="13" y="50"/>
                  </a:lnTo>
                  <a:lnTo>
                    <a:pt x="23" y="53"/>
                  </a:lnTo>
                  <a:lnTo>
                    <a:pt x="32" y="54"/>
                  </a:lnTo>
                  <a:lnTo>
                    <a:pt x="38" y="54"/>
                  </a:lnTo>
                  <a:lnTo>
                    <a:pt x="45" y="53"/>
                  </a:lnTo>
                  <a:lnTo>
                    <a:pt x="50" y="51"/>
                  </a:lnTo>
                  <a:lnTo>
                    <a:pt x="56" y="49"/>
                  </a:lnTo>
                  <a:lnTo>
                    <a:pt x="67" y="42"/>
                  </a:lnTo>
                  <a:lnTo>
                    <a:pt x="75" y="35"/>
                  </a:lnTo>
                  <a:lnTo>
                    <a:pt x="84" y="28"/>
                  </a:lnTo>
                  <a:lnTo>
                    <a:pt x="91" y="20"/>
                  </a:lnTo>
                  <a:lnTo>
                    <a:pt x="95" y="12"/>
                  </a:lnTo>
                  <a:lnTo>
                    <a:pt x="98" y="4"/>
                  </a:lnTo>
                  <a:lnTo>
                    <a:pt x="91" y="2"/>
                  </a:lnTo>
                  <a:lnTo>
                    <a:pt x="83" y="0"/>
                  </a:lnTo>
                  <a:lnTo>
                    <a:pt x="75" y="0"/>
                  </a:lnTo>
                  <a:lnTo>
                    <a:pt x="68" y="0"/>
                  </a:lnTo>
                  <a:lnTo>
                    <a:pt x="59" y="1"/>
                  </a:lnTo>
                  <a:lnTo>
                    <a:pt x="51" y="3"/>
                  </a:lnTo>
                  <a:lnTo>
                    <a:pt x="43" y="6"/>
                  </a:lnTo>
                  <a:lnTo>
                    <a:pt x="37" y="9"/>
                  </a:lnTo>
                  <a:lnTo>
                    <a:pt x="23" y="17"/>
                  </a:lnTo>
                  <a:lnTo>
                    <a:pt x="12" y="25"/>
                  </a:lnTo>
                  <a:lnTo>
                    <a:pt x="7" y="29"/>
                  </a:lnTo>
                  <a:lnTo>
                    <a:pt x="4" y="33"/>
                  </a:lnTo>
                  <a:lnTo>
                    <a:pt x="1" y="37"/>
                  </a:lnTo>
                  <a:lnTo>
                    <a:pt x="0" y="41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95" name="Freeform 393"/>
            <p:cNvSpPr>
              <a:spLocks/>
            </p:cNvSpPr>
            <p:nvPr/>
          </p:nvSpPr>
          <p:spPr bwMode="auto">
            <a:xfrm>
              <a:off x="1387" y="1551"/>
              <a:ext cx="21" cy="8"/>
            </a:xfrm>
            <a:custGeom>
              <a:avLst/>
              <a:gdLst>
                <a:gd name="T0" fmla="*/ 0 w 67"/>
                <a:gd name="T1" fmla="*/ 2 h 28"/>
                <a:gd name="T2" fmla="*/ 1 w 67"/>
                <a:gd name="T3" fmla="*/ 2 h 28"/>
                <a:gd name="T4" fmla="*/ 2 w 67"/>
                <a:gd name="T5" fmla="*/ 2 h 28"/>
                <a:gd name="T6" fmla="*/ 3 w 67"/>
                <a:gd name="T7" fmla="*/ 2 h 28"/>
                <a:gd name="T8" fmla="*/ 4 w 67"/>
                <a:gd name="T9" fmla="*/ 2 h 28"/>
                <a:gd name="T10" fmla="*/ 5 w 67"/>
                <a:gd name="T11" fmla="*/ 1 h 28"/>
                <a:gd name="T12" fmla="*/ 6 w 67"/>
                <a:gd name="T13" fmla="*/ 1 h 28"/>
                <a:gd name="T14" fmla="*/ 6 w 67"/>
                <a:gd name="T15" fmla="*/ 1 h 28"/>
                <a:gd name="T16" fmla="*/ 7 w 67"/>
                <a:gd name="T17" fmla="*/ 0 h 28"/>
                <a:gd name="T18" fmla="*/ 6 w 67"/>
                <a:gd name="T19" fmla="*/ 0 h 28"/>
                <a:gd name="T20" fmla="*/ 4 w 67"/>
                <a:gd name="T21" fmla="*/ 0 h 28"/>
                <a:gd name="T22" fmla="*/ 3 w 67"/>
                <a:gd name="T23" fmla="*/ 0 h 28"/>
                <a:gd name="T24" fmla="*/ 3 w 67"/>
                <a:gd name="T25" fmla="*/ 0 h 28"/>
                <a:gd name="T26" fmla="*/ 2 w 67"/>
                <a:gd name="T27" fmla="*/ 1 h 28"/>
                <a:gd name="T28" fmla="*/ 1 w 67"/>
                <a:gd name="T29" fmla="*/ 1 h 28"/>
                <a:gd name="T30" fmla="*/ 1 w 67"/>
                <a:gd name="T31" fmla="*/ 1 h 28"/>
                <a:gd name="T32" fmla="*/ 0 w 67"/>
                <a:gd name="T33" fmla="*/ 1 h 28"/>
                <a:gd name="T34" fmla="*/ 0 w 67"/>
                <a:gd name="T35" fmla="*/ 2 h 28"/>
                <a:gd name="T36" fmla="*/ 0 w 67"/>
                <a:gd name="T37" fmla="*/ 2 h 2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7"/>
                <a:gd name="T58" fmla="*/ 0 h 28"/>
                <a:gd name="T59" fmla="*/ 67 w 67"/>
                <a:gd name="T60" fmla="*/ 28 h 2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7" h="28">
                  <a:moveTo>
                    <a:pt x="0" y="27"/>
                  </a:moveTo>
                  <a:lnTo>
                    <a:pt x="11" y="28"/>
                  </a:lnTo>
                  <a:lnTo>
                    <a:pt x="21" y="27"/>
                  </a:lnTo>
                  <a:lnTo>
                    <a:pt x="31" y="25"/>
                  </a:lnTo>
                  <a:lnTo>
                    <a:pt x="41" y="21"/>
                  </a:lnTo>
                  <a:lnTo>
                    <a:pt x="49" y="17"/>
                  </a:lnTo>
                  <a:lnTo>
                    <a:pt x="57" y="12"/>
                  </a:lnTo>
                  <a:lnTo>
                    <a:pt x="63" y="7"/>
                  </a:lnTo>
                  <a:lnTo>
                    <a:pt x="67" y="3"/>
                  </a:lnTo>
                  <a:lnTo>
                    <a:pt x="57" y="1"/>
                  </a:lnTo>
                  <a:lnTo>
                    <a:pt x="46" y="0"/>
                  </a:lnTo>
                  <a:lnTo>
                    <a:pt x="36" y="1"/>
                  </a:lnTo>
                  <a:lnTo>
                    <a:pt x="26" y="3"/>
                  </a:lnTo>
                  <a:lnTo>
                    <a:pt x="17" y="7"/>
                  </a:lnTo>
                  <a:lnTo>
                    <a:pt x="10" y="12"/>
                  </a:lnTo>
                  <a:lnTo>
                    <a:pt x="7" y="15"/>
                  </a:lnTo>
                  <a:lnTo>
                    <a:pt x="4" y="19"/>
                  </a:lnTo>
                  <a:lnTo>
                    <a:pt x="2" y="22"/>
                  </a:lnTo>
                  <a:lnTo>
                    <a:pt x="0" y="27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96" name="Freeform 394"/>
            <p:cNvSpPr>
              <a:spLocks/>
            </p:cNvSpPr>
            <p:nvPr/>
          </p:nvSpPr>
          <p:spPr bwMode="auto">
            <a:xfrm>
              <a:off x="1332" y="1608"/>
              <a:ext cx="11" cy="11"/>
            </a:xfrm>
            <a:custGeom>
              <a:avLst/>
              <a:gdLst>
                <a:gd name="T0" fmla="*/ 0 w 32"/>
                <a:gd name="T1" fmla="*/ 2 h 36"/>
                <a:gd name="T2" fmla="*/ 0 w 32"/>
                <a:gd name="T3" fmla="*/ 2 h 36"/>
                <a:gd name="T4" fmla="*/ 0 w 32"/>
                <a:gd name="T5" fmla="*/ 3 h 36"/>
                <a:gd name="T6" fmla="*/ 1 w 32"/>
                <a:gd name="T7" fmla="*/ 3 h 36"/>
                <a:gd name="T8" fmla="*/ 1 w 32"/>
                <a:gd name="T9" fmla="*/ 3 h 36"/>
                <a:gd name="T10" fmla="*/ 1 w 32"/>
                <a:gd name="T11" fmla="*/ 3 h 36"/>
                <a:gd name="T12" fmla="*/ 1 w 32"/>
                <a:gd name="T13" fmla="*/ 3 h 36"/>
                <a:gd name="T14" fmla="*/ 4 w 32"/>
                <a:gd name="T15" fmla="*/ 3 h 36"/>
                <a:gd name="T16" fmla="*/ 4 w 32"/>
                <a:gd name="T17" fmla="*/ 2 h 36"/>
                <a:gd name="T18" fmla="*/ 4 w 32"/>
                <a:gd name="T19" fmla="*/ 1 h 36"/>
                <a:gd name="T20" fmla="*/ 3 w 32"/>
                <a:gd name="T21" fmla="*/ 1 h 36"/>
                <a:gd name="T22" fmla="*/ 3 w 32"/>
                <a:gd name="T23" fmla="*/ 0 h 36"/>
                <a:gd name="T24" fmla="*/ 2 w 32"/>
                <a:gd name="T25" fmla="*/ 0 h 36"/>
                <a:gd name="T26" fmla="*/ 1 w 32"/>
                <a:gd name="T27" fmla="*/ 1 h 36"/>
                <a:gd name="T28" fmla="*/ 1 w 32"/>
                <a:gd name="T29" fmla="*/ 1 h 36"/>
                <a:gd name="T30" fmla="*/ 0 w 32"/>
                <a:gd name="T31" fmla="*/ 1 h 36"/>
                <a:gd name="T32" fmla="*/ 0 w 32"/>
                <a:gd name="T33" fmla="*/ 2 h 36"/>
                <a:gd name="T34" fmla="*/ 0 w 32"/>
                <a:gd name="T35" fmla="*/ 2 h 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2"/>
                <a:gd name="T55" fmla="*/ 0 h 36"/>
                <a:gd name="T56" fmla="*/ 32 w 32"/>
                <a:gd name="T57" fmla="*/ 36 h 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2" h="36">
                  <a:moveTo>
                    <a:pt x="0" y="18"/>
                  </a:moveTo>
                  <a:lnTo>
                    <a:pt x="1" y="24"/>
                  </a:lnTo>
                  <a:lnTo>
                    <a:pt x="4" y="29"/>
                  </a:lnTo>
                  <a:lnTo>
                    <a:pt x="6" y="32"/>
                  </a:lnTo>
                  <a:lnTo>
                    <a:pt x="8" y="34"/>
                  </a:lnTo>
                  <a:lnTo>
                    <a:pt x="11" y="36"/>
                  </a:lnTo>
                  <a:lnTo>
                    <a:pt x="13" y="36"/>
                  </a:lnTo>
                  <a:lnTo>
                    <a:pt x="32" y="36"/>
                  </a:lnTo>
                  <a:lnTo>
                    <a:pt x="32" y="22"/>
                  </a:lnTo>
                  <a:lnTo>
                    <a:pt x="31" y="14"/>
                  </a:lnTo>
                  <a:lnTo>
                    <a:pt x="30" y="7"/>
                  </a:lnTo>
                  <a:lnTo>
                    <a:pt x="26" y="0"/>
                  </a:lnTo>
                  <a:lnTo>
                    <a:pt x="19" y="2"/>
                  </a:lnTo>
                  <a:lnTo>
                    <a:pt x="11" y="7"/>
                  </a:lnTo>
                  <a:lnTo>
                    <a:pt x="6" y="10"/>
                  </a:lnTo>
                  <a:lnTo>
                    <a:pt x="3" y="13"/>
                  </a:lnTo>
                  <a:lnTo>
                    <a:pt x="1" y="16"/>
                  </a:lnTo>
                  <a:lnTo>
                    <a:pt x="0" y="18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97" name="Freeform 395"/>
            <p:cNvSpPr>
              <a:spLocks/>
            </p:cNvSpPr>
            <p:nvPr/>
          </p:nvSpPr>
          <p:spPr bwMode="auto">
            <a:xfrm>
              <a:off x="1279" y="1314"/>
              <a:ext cx="46" cy="17"/>
            </a:xfrm>
            <a:custGeom>
              <a:avLst/>
              <a:gdLst>
                <a:gd name="T0" fmla="*/ 0 w 146"/>
                <a:gd name="T1" fmla="*/ 5 h 52"/>
                <a:gd name="T2" fmla="*/ 1 w 146"/>
                <a:gd name="T3" fmla="*/ 5 h 52"/>
                <a:gd name="T4" fmla="*/ 2 w 146"/>
                <a:gd name="T5" fmla="*/ 5 h 52"/>
                <a:gd name="T6" fmla="*/ 3 w 146"/>
                <a:gd name="T7" fmla="*/ 6 h 52"/>
                <a:gd name="T8" fmla="*/ 4 w 146"/>
                <a:gd name="T9" fmla="*/ 6 h 52"/>
                <a:gd name="T10" fmla="*/ 6 w 146"/>
                <a:gd name="T11" fmla="*/ 6 h 52"/>
                <a:gd name="T12" fmla="*/ 8 w 146"/>
                <a:gd name="T13" fmla="*/ 6 h 52"/>
                <a:gd name="T14" fmla="*/ 12 w 146"/>
                <a:gd name="T15" fmla="*/ 5 h 52"/>
                <a:gd name="T16" fmla="*/ 14 w 146"/>
                <a:gd name="T17" fmla="*/ 5 h 52"/>
                <a:gd name="T18" fmla="*/ 14 w 146"/>
                <a:gd name="T19" fmla="*/ 4 h 52"/>
                <a:gd name="T20" fmla="*/ 14 w 146"/>
                <a:gd name="T21" fmla="*/ 3 h 52"/>
                <a:gd name="T22" fmla="*/ 14 w 146"/>
                <a:gd name="T23" fmla="*/ 3 h 52"/>
                <a:gd name="T24" fmla="*/ 14 w 146"/>
                <a:gd name="T25" fmla="*/ 2 h 52"/>
                <a:gd name="T26" fmla="*/ 13 w 146"/>
                <a:gd name="T27" fmla="*/ 2 h 52"/>
                <a:gd name="T28" fmla="*/ 13 w 146"/>
                <a:gd name="T29" fmla="*/ 1 h 52"/>
                <a:gd name="T30" fmla="*/ 12 w 146"/>
                <a:gd name="T31" fmla="*/ 1 h 52"/>
                <a:gd name="T32" fmla="*/ 12 w 146"/>
                <a:gd name="T33" fmla="*/ 1 h 52"/>
                <a:gd name="T34" fmla="*/ 11 w 146"/>
                <a:gd name="T35" fmla="*/ 0 h 52"/>
                <a:gd name="T36" fmla="*/ 10 w 146"/>
                <a:gd name="T37" fmla="*/ 0 h 52"/>
                <a:gd name="T38" fmla="*/ 9 w 146"/>
                <a:gd name="T39" fmla="*/ 0 h 52"/>
                <a:gd name="T40" fmla="*/ 8 w 146"/>
                <a:gd name="T41" fmla="*/ 0 h 52"/>
                <a:gd name="T42" fmla="*/ 7 w 146"/>
                <a:gd name="T43" fmla="*/ 1 h 52"/>
                <a:gd name="T44" fmla="*/ 5 w 146"/>
                <a:gd name="T45" fmla="*/ 1 h 52"/>
                <a:gd name="T46" fmla="*/ 4 w 146"/>
                <a:gd name="T47" fmla="*/ 2 h 52"/>
                <a:gd name="T48" fmla="*/ 3 w 146"/>
                <a:gd name="T49" fmla="*/ 2 h 52"/>
                <a:gd name="T50" fmla="*/ 2 w 146"/>
                <a:gd name="T51" fmla="*/ 3 h 52"/>
                <a:gd name="T52" fmla="*/ 1 w 146"/>
                <a:gd name="T53" fmla="*/ 3 h 52"/>
                <a:gd name="T54" fmla="*/ 1 w 146"/>
                <a:gd name="T55" fmla="*/ 4 h 52"/>
                <a:gd name="T56" fmla="*/ 0 w 146"/>
                <a:gd name="T57" fmla="*/ 5 h 5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46"/>
                <a:gd name="T88" fmla="*/ 0 h 52"/>
                <a:gd name="T89" fmla="*/ 146 w 146"/>
                <a:gd name="T90" fmla="*/ 52 h 52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46" h="52">
                  <a:moveTo>
                    <a:pt x="0" y="43"/>
                  </a:moveTo>
                  <a:lnTo>
                    <a:pt x="11" y="46"/>
                  </a:lnTo>
                  <a:lnTo>
                    <a:pt x="22" y="48"/>
                  </a:lnTo>
                  <a:lnTo>
                    <a:pt x="33" y="51"/>
                  </a:lnTo>
                  <a:lnTo>
                    <a:pt x="43" y="52"/>
                  </a:lnTo>
                  <a:lnTo>
                    <a:pt x="63" y="52"/>
                  </a:lnTo>
                  <a:lnTo>
                    <a:pt x="82" y="51"/>
                  </a:lnTo>
                  <a:lnTo>
                    <a:pt x="117" y="46"/>
                  </a:lnTo>
                  <a:lnTo>
                    <a:pt x="146" y="43"/>
                  </a:lnTo>
                  <a:lnTo>
                    <a:pt x="144" y="36"/>
                  </a:lnTo>
                  <a:lnTo>
                    <a:pt x="142" y="30"/>
                  </a:lnTo>
                  <a:lnTo>
                    <a:pt x="139" y="24"/>
                  </a:lnTo>
                  <a:lnTo>
                    <a:pt x="137" y="19"/>
                  </a:lnTo>
                  <a:lnTo>
                    <a:pt x="134" y="15"/>
                  </a:lnTo>
                  <a:lnTo>
                    <a:pt x="129" y="11"/>
                  </a:lnTo>
                  <a:lnTo>
                    <a:pt x="125" y="8"/>
                  </a:lnTo>
                  <a:lnTo>
                    <a:pt x="121" y="6"/>
                  </a:lnTo>
                  <a:lnTo>
                    <a:pt x="111" y="2"/>
                  </a:lnTo>
                  <a:lnTo>
                    <a:pt x="101" y="0"/>
                  </a:lnTo>
                  <a:lnTo>
                    <a:pt x="89" y="1"/>
                  </a:lnTo>
                  <a:lnTo>
                    <a:pt x="78" y="2"/>
                  </a:lnTo>
                  <a:lnTo>
                    <a:pt x="66" y="5"/>
                  </a:lnTo>
                  <a:lnTo>
                    <a:pt x="54" y="9"/>
                  </a:lnTo>
                  <a:lnTo>
                    <a:pt x="43" y="14"/>
                  </a:lnTo>
                  <a:lnTo>
                    <a:pt x="32" y="19"/>
                  </a:lnTo>
                  <a:lnTo>
                    <a:pt x="22" y="25"/>
                  </a:lnTo>
                  <a:lnTo>
                    <a:pt x="13" y="31"/>
                  </a:lnTo>
                  <a:lnTo>
                    <a:pt x="5" y="37"/>
                  </a:lnTo>
                  <a:lnTo>
                    <a:pt x="0" y="43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98" name="Freeform 396"/>
            <p:cNvSpPr>
              <a:spLocks/>
            </p:cNvSpPr>
            <p:nvPr/>
          </p:nvSpPr>
          <p:spPr bwMode="auto">
            <a:xfrm>
              <a:off x="1261" y="1252"/>
              <a:ext cx="20" cy="10"/>
            </a:xfrm>
            <a:custGeom>
              <a:avLst/>
              <a:gdLst>
                <a:gd name="T0" fmla="*/ 7 w 60"/>
                <a:gd name="T1" fmla="*/ 0 h 31"/>
                <a:gd name="T2" fmla="*/ 5 w 60"/>
                <a:gd name="T3" fmla="*/ 0 h 31"/>
                <a:gd name="T4" fmla="*/ 4 w 60"/>
                <a:gd name="T5" fmla="*/ 0 h 31"/>
                <a:gd name="T6" fmla="*/ 3 w 60"/>
                <a:gd name="T7" fmla="*/ 0 h 31"/>
                <a:gd name="T8" fmla="*/ 3 w 60"/>
                <a:gd name="T9" fmla="*/ 0 h 31"/>
                <a:gd name="T10" fmla="*/ 2 w 60"/>
                <a:gd name="T11" fmla="*/ 0 h 31"/>
                <a:gd name="T12" fmla="*/ 1 w 60"/>
                <a:gd name="T13" fmla="*/ 0 h 31"/>
                <a:gd name="T14" fmla="*/ 1 w 60"/>
                <a:gd name="T15" fmla="*/ 0 h 31"/>
                <a:gd name="T16" fmla="*/ 0 w 60"/>
                <a:gd name="T17" fmla="*/ 1 h 31"/>
                <a:gd name="T18" fmla="*/ 0 w 60"/>
                <a:gd name="T19" fmla="*/ 1 h 31"/>
                <a:gd name="T20" fmla="*/ 0 w 60"/>
                <a:gd name="T21" fmla="*/ 1 h 31"/>
                <a:gd name="T22" fmla="*/ 0 w 60"/>
                <a:gd name="T23" fmla="*/ 2 h 31"/>
                <a:gd name="T24" fmla="*/ 0 w 60"/>
                <a:gd name="T25" fmla="*/ 2 h 31"/>
                <a:gd name="T26" fmla="*/ 1 w 60"/>
                <a:gd name="T27" fmla="*/ 2 h 31"/>
                <a:gd name="T28" fmla="*/ 1 w 60"/>
                <a:gd name="T29" fmla="*/ 3 h 31"/>
                <a:gd name="T30" fmla="*/ 1 w 60"/>
                <a:gd name="T31" fmla="*/ 3 h 31"/>
                <a:gd name="T32" fmla="*/ 2 w 60"/>
                <a:gd name="T33" fmla="*/ 3 h 31"/>
                <a:gd name="T34" fmla="*/ 2 w 60"/>
                <a:gd name="T35" fmla="*/ 3 h 31"/>
                <a:gd name="T36" fmla="*/ 3 w 60"/>
                <a:gd name="T37" fmla="*/ 3 h 31"/>
                <a:gd name="T38" fmla="*/ 4 w 60"/>
                <a:gd name="T39" fmla="*/ 3 h 31"/>
                <a:gd name="T40" fmla="*/ 4 w 60"/>
                <a:gd name="T41" fmla="*/ 3 h 31"/>
                <a:gd name="T42" fmla="*/ 5 w 60"/>
                <a:gd name="T43" fmla="*/ 3 h 31"/>
                <a:gd name="T44" fmla="*/ 5 w 60"/>
                <a:gd name="T45" fmla="*/ 2 h 31"/>
                <a:gd name="T46" fmla="*/ 6 w 60"/>
                <a:gd name="T47" fmla="*/ 1 h 31"/>
                <a:gd name="T48" fmla="*/ 7 w 60"/>
                <a:gd name="T49" fmla="*/ 1 h 31"/>
                <a:gd name="T50" fmla="*/ 7 w 60"/>
                <a:gd name="T51" fmla="*/ 0 h 3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60"/>
                <a:gd name="T79" fmla="*/ 0 h 31"/>
                <a:gd name="T80" fmla="*/ 60 w 60"/>
                <a:gd name="T81" fmla="*/ 31 h 31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60" h="31">
                  <a:moveTo>
                    <a:pt x="60" y="0"/>
                  </a:moveTo>
                  <a:lnTo>
                    <a:pt x="49" y="0"/>
                  </a:lnTo>
                  <a:lnTo>
                    <a:pt x="38" y="0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9" y="2"/>
                  </a:lnTo>
                  <a:lnTo>
                    <a:pt x="5" y="3"/>
                  </a:lnTo>
                  <a:lnTo>
                    <a:pt x="2" y="5"/>
                  </a:lnTo>
                  <a:lnTo>
                    <a:pt x="1" y="8"/>
                  </a:lnTo>
                  <a:lnTo>
                    <a:pt x="0" y="12"/>
                  </a:lnTo>
                  <a:lnTo>
                    <a:pt x="1" y="15"/>
                  </a:lnTo>
                  <a:lnTo>
                    <a:pt x="2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12" y="27"/>
                  </a:lnTo>
                  <a:lnTo>
                    <a:pt x="18" y="29"/>
                  </a:lnTo>
                  <a:lnTo>
                    <a:pt x="22" y="31"/>
                  </a:lnTo>
                  <a:lnTo>
                    <a:pt x="27" y="31"/>
                  </a:lnTo>
                  <a:lnTo>
                    <a:pt x="32" y="30"/>
                  </a:lnTo>
                  <a:lnTo>
                    <a:pt x="37" y="28"/>
                  </a:lnTo>
                  <a:lnTo>
                    <a:pt x="43" y="24"/>
                  </a:lnTo>
                  <a:lnTo>
                    <a:pt x="48" y="18"/>
                  </a:lnTo>
                  <a:lnTo>
                    <a:pt x="57" y="10"/>
                  </a:lnTo>
                  <a:lnTo>
                    <a:pt x="60" y="6"/>
                  </a:lnTo>
                  <a:lnTo>
                    <a:pt x="60" y="0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99" name="Freeform 397"/>
            <p:cNvSpPr>
              <a:spLocks/>
            </p:cNvSpPr>
            <p:nvPr/>
          </p:nvSpPr>
          <p:spPr bwMode="auto">
            <a:xfrm>
              <a:off x="1730" y="1713"/>
              <a:ext cx="26" cy="20"/>
            </a:xfrm>
            <a:custGeom>
              <a:avLst/>
              <a:gdLst>
                <a:gd name="T0" fmla="*/ 0 w 80"/>
                <a:gd name="T1" fmla="*/ 5 h 62"/>
                <a:gd name="T2" fmla="*/ 0 w 80"/>
                <a:gd name="T3" fmla="*/ 5 h 62"/>
                <a:gd name="T4" fmla="*/ 0 w 80"/>
                <a:gd name="T5" fmla="*/ 5 h 62"/>
                <a:gd name="T6" fmla="*/ 0 w 80"/>
                <a:gd name="T7" fmla="*/ 5 h 62"/>
                <a:gd name="T8" fmla="*/ 0 w 80"/>
                <a:gd name="T9" fmla="*/ 5 h 62"/>
                <a:gd name="T10" fmla="*/ 1 w 80"/>
                <a:gd name="T11" fmla="*/ 6 h 62"/>
                <a:gd name="T12" fmla="*/ 2 w 80"/>
                <a:gd name="T13" fmla="*/ 6 h 62"/>
                <a:gd name="T14" fmla="*/ 3 w 80"/>
                <a:gd name="T15" fmla="*/ 6 h 62"/>
                <a:gd name="T16" fmla="*/ 4 w 80"/>
                <a:gd name="T17" fmla="*/ 6 h 62"/>
                <a:gd name="T18" fmla="*/ 5 w 80"/>
                <a:gd name="T19" fmla="*/ 6 h 62"/>
                <a:gd name="T20" fmla="*/ 5 w 80"/>
                <a:gd name="T21" fmla="*/ 6 h 62"/>
                <a:gd name="T22" fmla="*/ 6 w 80"/>
                <a:gd name="T23" fmla="*/ 6 h 62"/>
                <a:gd name="T24" fmla="*/ 6 w 80"/>
                <a:gd name="T25" fmla="*/ 5 h 62"/>
                <a:gd name="T26" fmla="*/ 7 w 80"/>
                <a:gd name="T27" fmla="*/ 5 h 62"/>
                <a:gd name="T28" fmla="*/ 7 w 80"/>
                <a:gd name="T29" fmla="*/ 4 h 62"/>
                <a:gd name="T30" fmla="*/ 8 w 80"/>
                <a:gd name="T31" fmla="*/ 3 h 62"/>
                <a:gd name="T32" fmla="*/ 8 w 80"/>
                <a:gd name="T33" fmla="*/ 2 h 62"/>
                <a:gd name="T34" fmla="*/ 8 w 80"/>
                <a:gd name="T35" fmla="*/ 1 h 62"/>
                <a:gd name="T36" fmla="*/ 8 w 80"/>
                <a:gd name="T37" fmla="*/ 0 h 62"/>
                <a:gd name="T38" fmla="*/ 7 w 80"/>
                <a:gd name="T39" fmla="*/ 0 h 62"/>
                <a:gd name="T40" fmla="*/ 6 w 80"/>
                <a:gd name="T41" fmla="*/ 0 h 62"/>
                <a:gd name="T42" fmla="*/ 5 w 80"/>
                <a:gd name="T43" fmla="*/ 1 h 62"/>
                <a:gd name="T44" fmla="*/ 4 w 80"/>
                <a:gd name="T45" fmla="*/ 1 h 62"/>
                <a:gd name="T46" fmla="*/ 2 w 80"/>
                <a:gd name="T47" fmla="*/ 2 h 62"/>
                <a:gd name="T48" fmla="*/ 1 w 80"/>
                <a:gd name="T49" fmla="*/ 3 h 62"/>
                <a:gd name="T50" fmla="*/ 1 w 80"/>
                <a:gd name="T51" fmla="*/ 3 h 62"/>
                <a:gd name="T52" fmla="*/ 0 w 80"/>
                <a:gd name="T53" fmla="*/ 4 h 62"/>
                <a:gd name="T54" fmla="*/ 0 w 80"/>
                <a:gd name="T55" fmla="*/ 4 h 62"/>
                <a:gd name="T56" fmla="*/ 0 w 80"/>
                <a:gd name="T57" fmla="*/ 5 h 6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80"/>
                <a:gd name="T88" fmla="*/ 0 h 62"/>
                <a:gd name="T89" fmla="*/ 80 w 80"/>
                <a:gd name="T90" fmla="*/ 62 h 62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80" h="62">
                  <a:moveTo>
                    <a:pt x="0" y="43"/>
                  </a:moveTo>
                  <a:lnTo>
                    <a:pt x="1" y="46"/>
                  </a:lnTo>
                  <a:lnTo>
                    <a:pt x="1" y="49"/>
                  </a:lnTo>
                  <a:lnTo>
                    <a:pt x="3" y="51"/>
                  </a:lnTo>
                  <a:lnTo>
                    <a:pt x="4" y="53"/>
                  </a:lnTo>
                  <a:lnTo>
                    <a:pt x="10" y="57"/>
                  </a:lnTo>
                  <a:lnTo>
                    <a:pt x="15" y="59"/>
                  </a:lnTo>
                  <a:lnTo>
                    <a:pt x="28" y="62"/>
                  </a:lnTo>
                  <a:lnTo>
                    <a:pt x="40" y="62"/>
                  </a:lnTo>
                  <a:lnTo>
                    <a:pt x="45" y="62"/>
                  </a:lnTo>
                  <a:lnTo>
                    <a:pt x="49" y="59"/>
                  </a:lnTo>
                  <a:lnTo>
                    <a:pt x="54" y="57"/>
                  </a:lnTo>
                  <a:lnTo>
                    <a:pt x="58" y="54"/>
                  </a:lnTo>
                  <a:lnTo>
                    <a:pt x="65" y="47"/>
                  </a:lnTo>
                  <a:lnTo>
                    <a:pt x="70" y="38"/>
                  </a:lnTo>
                  <a:lnTo>
                    <a:pt x="74" y="28"/>
                  </a:lnTo>
                  <a:lnTo>
                    <a:pt x="78" y="18"/>
                  </a:lnTo>
                  <a:lnTo>
                    <a:pt x="79" y="8"/>
                  </a:lnTo>
                  <a:lnTo>
                    <a:pt x="80" y="0"/>
                  </a:lnTo>
                  <a:lnTo>
                    <a:pt x="71" y="0"/>
                  </a:lnTo>
                  <a:lnTo>
                    <a:pt x="59" y="3"/>
                  </a:lnTo>
                  <a:lnTo>
                    <a:pt x="46" y="8"/>
                  </a:lnTo>
                  <a:lnTo>
                    <a:pt x="33" y="13"/>
                  </a:lnTo>
                  <a:lnTo>
                    <a:pt x="21" y="19"/>
                  </a:lnTo>
                  <a:lnTo>
                    <a:pt x="10" y="26"/>
                  </a:lnTo>
                  <a:lnTo>
                    <a:pt x="6" y="30"/>
                  </a:lnTo>
                  <a:lnTo>
                    <a:pt x="3" y="34"/>
                  </a:lnTo>
                  <a:lnTo>
                    <a:pt x="1" y="39"/>
                  </a:lnTo>
                  <a:lnTo>
                    <a:pt x="0" y="43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00" name="Freeform 398"/>
            <p:cNvSpPr>
              <a:spLocks/>
            </p:cNvSpPr>
            <p:nvPr/>
          </p:nvSpPr>
          <p:spPr bwMode="auto">
            <a:xfrm>
              <a:off x="1583" y="1674"/>
              <a:ext cx="33" cy="16"/>
            </a:xfrm>
            <a:custGeom>
              <a:avLst/>
              <a:gdLst>
                <a:gd name="T0" fmla="*/ 8 w 106"/>
                <a:gd name="T1" fmla="*/ 1 h 49"/>
                <a:gd name="T2" fmla="*/ 7 w 106"/>
                <a:gd name="T3" fmla="*/ 1 h 49"/>
                <a:gd name="T4" fmla="*/ 7 w 106"/>
                <a:gd name="T5" fmla="*/ 1 h 49"/>
                <a:gd name="T6" fmla="*/ 6 w 106"/>
                <a:gd name="T7" fmla="*/ 1 h 49"/>
                <a:gd name="T8" fmla="*/ 5 w 106"/>
                <a:gd name="T9" fmla="*/ 1 h 49"/>
                <a:gd name="T10" fmla="*/ 5 w 106"/>
                <a:gd name="T11" fmla="*/ 0 h 49"/>
                <a:gd name="T12" fmla="*/ 4 w 106"/>
                <a:gd name="T13" fmla="*/ 0 h 49"/>
                <a:gd name="T14" fmla="*/ 3 w 106"/>
                <a:gd name="T15" fmla="*/ 0 h 49"/>
                <a:gd name="T16" fmla="*/ 2 w 106"/>
                <a:gd name="T17" fmla="*/ 0 h 49"/>
                <a:gd name="T18" fmla="*/ 2 w 106"/>
                <a:gd name="T19" fmla="*/ 0 h 49"/>
                <a:gd name="T20" fmla="*/ 0 w 106"/>
                <a:gd name="T21" fmla="*/ 0 h 49"/>
                <a:gd name="T22" fmla="*/ 1 w 106"/>
                <a:gd name="T23" fmla="*/ 1 h 49"/>
                <a:gd name="T24" fmla="*/ 2 w 106"/>
                <a:gd name="T25" fmla="*/ 2 h 49"/>
                <a:gd name="T26" fmla="*/ 2 w 106"/>
                <a:gd name="T27" fmla="*/ 3 h 49"/>
                <a:gd name="T28" fmla="*/ 3 w 106"/>
                <a:gd name="T29" fmla="*/ 4 h 49"/>
                <a:gd name="T30" fmla="*/ 4 w 106"/>
                <a:gd name="T31" fmla="*/ 5 h 49"/>
                <a:gd name="T32" fmla="*/ 5 w 106"/>
                <a:gd name="T33" fmla="*/ 5 h 49"/>
                <a:gd name="T34" fmla="*/ 6 w 106"/>
                <a:gd name="T35" fmla="*/ 5 h 49"/>
                <a:gd name="T36" fmla="*/ 7 w 106"/>
                <a:gd name="T37" fmla="*/ 5 h 49"/>
                <a:gd name="T38" fmla="*/ 8 w 106"/>
                <a:gd name="T39" fmla="*/ 5 h 49"/>
                <a:gd name="T40" fmla="*/ 8 w 106"/>
                <a:gd name="T41" fmla="*/ 5 h 49"/>
                <a:gd name="T42" fmla="*/ 9 w 106"/>
                <a:gd name="T43" fmla="*/ 4 h 49"/>
                <a:gd name="T44" fmla="*/ 10 w 106"/>
                <a:gd name="T45" fmla="*/ 3 h 49"/>
                <a:gd name="T46" fmla="*/ 10 w 106"/>
                <a:gd name="T47" fmla="*/ 3 h 49"/>
                <a:gd name="T48" fmla="*/ 10 w 106"/>
                <a:gd name="T49" fmla="*/ 3 h 49"/>
                <a:gd name="T50" fmla="*/ 9 w 106"/>
                <a:gd name="T51" fmla="*/ 3 h 49"/>
                <a:gd name="T52" fmla="*/ 9 w 106"/>
                <a:gd name="T53" fmla="*/ 2 h 49"/>
                <a:gd name="T54" fmla="*/ 8 w 106"/>
                <a:gd name="T55" fmla="*/ 2 h 49"/>
                <a:gd name="T56" fmla="*/ 8 w 106"/>
                <a:gd name="T57" fmla="*/ 2 h 49"/>
                <a:gd name="T58" fmla="*/ 8 w 106"/>
                <a:gd name="T59" fmla="*/ 2 h 49"/>
                <a:gd name="T60" fmla="*/ 8 w 106"/>
                <a:gd name="T61" fmla="*/ 1 h 4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6"/>
                <a:gd name="T94" fmla="*/ 0 h 49"/>
                <a:gd name="T95" fmla="*/ 106 w 106"/>
                <a:gd name="T96" fmla="*/ 49 h 49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6" h="49">
                  <a:moveTo>
                    <a:pt x="80" y="13"/>
                  </a:moveTo>
                  <a:lnTo>
                    <a:pt x="72" y="12"/>
                  </a:lnTo>
                  <a:lnTo>
                    <a:pt x="66" y="11"/>
                  </a:lnTo>
                  <a:lnTo>
                    <a:pt x="59" y="8"/>
                  </a:lnTo>
                  <a:lnTo>
                    <a:pt x="53" y="6"/>
                  </a:lnTo>
                  <a:lnTo>
                    <a:pt x="47" y="4"/>
                  </a:lnTo>
                  <a:lnTo>
                    <a:pt x="41" y="2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  <a:lnTo>
                    <a:pt x="9" y="11"/>
                  </a:lnTo>
                  <a:lnTo>
                    <a:pt x="17" y="21"/>
                  </a:lnTo>
                  <a:lnTo>
                    <a:pt x="26" y="29"/>
                  </a:lnTo>
                  <a:lnTo>
                    <a:pt x="34" y="36"/>
                  </a:lnTo>
                  <a:lnTo>
                    <a:pt x="42" y="42"/>
                  </a:lnTo>
                  <a:lnTo>
                    <a:pt x="52" y="46"/>
                  </a:lnTo>
                  <a:lnTo>
                    <a:pt x="61" y="48"/>
                  </a:lnTo>
                  <a:lnTo>
                    <a:pt x="72" y="49"/>
                  </a:lnTo>
                  <a:lnTo>
                    <a:pt x="79" y="48"/>
                  </a:lnTo>
                  <a:lnTo>
                    <a:pt x="87" y="45"/>
                  </a:lnTo>
                  <a:lnTo>
                    <a:pt x="97" y="39"/>
                  </a:lnTo>
                  <a:lnTo>
                    <a:pt x="106" y="31"/>
                  </a:lnTo>
                  <a:lnTo>
                    <a:pt x="101" y="30"/>
                  </a:lnTo>
                  <a:lnTo>
                    <a:pt x="98" y="28"/>
                  </a:lnTo>
                  <a:lnTo>
                    <a:pt x="93" y="25"/>
                  </a:lnTo>
                  <a:lnTo>
                    <a:pt x="90" y="22"/>
                  </a:lnTo>
                  <a:lnTo>
                    <a:pt x="88" y="19"/>
                  </a:lnTo>
                  <a:lnTo>
                    <a:pt x="84" y="16"/>
                  </a:lnTo>
                  <a:lnTo>
                    <a:pt x="82" y="14"/>
                  </a:lnTo>
                  <a:lnTo>
                    <a:pt x="80" y="13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01" name="Freeform 399"/>
            <p:cNvSpPr>
              <a:spLocks/>
            </p:cNvSpPr>
            <p:nvPr/>
          </p:nvSpPr>
          <p:spPr bwMode="auto">
            <a:xfrm>
              <a:off x="1599" y="1713"/>
              <a:ext cx="15" cy="7"/>
            </a:xfrm>
            <a:custGeom>
              <a:avLst/>
              <a:gdLst>
                <a:gd name="T0" fmla="*/ 0 w 47"/>
                <a:gd name="T1" fmla="*/ 2 h 22"/>
                <a:gd name="T2" fmla="*/ 1 w 47"/>
                <a:gd name="T3" fmla="*/ 2 h 22"/>
                <a:gd name="T4" fmla="*/ 1 w 47"/>
                <a:gd name="T5" fmla="*/ 2 h 22"/>
                <a:gd name="T6" fmla="*/ 2 w 47"/>
                <a:gd name="T7" fmla="*/ 2 h 22"/>
                <a:gd name="T8" fmla="*/ 3 w 47"/>
                <a:gd name="T9" fmla="*/ 2 h 22"/>
                <a:gd name="T10" fmla="*/ 4 w 47"/>
                <a:gd name="T11" fmla="*/ 2 h 22"/>
                <a:gd name="T12" fmla="*/ 4 w 47"/>
                <a:gd name="T13" fmla="*/ 2 h 22"/>
                <a:gd name="T14" fmla="*/ 4 w 47"/>
                <a:gd name="T15" fmla="*/ 1 h 22"/>
                <a:gd name="T16" fmla="*/ 4 w 47"/>
                <a:gd name="T17" fmla="*/ 1 h 22"/>
                <a:gd name="T18" fmla="*/ 4 w 47"/>
                <a:gd name="T19" fmla="*/ 1 h 22"/>
                <a:gd name="T20" fmla="*/ 5 w 47"/>
                <a:gd name="T21" fmla="*/ 0 h 22"/>
                <a:gd name="T22" fmla="*/ 0 w 47"/>
                <a:gd name="T23" fmla="*/ 2 h 2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7"/>
                <a:gd name="T37" fmla="*/ 0 h 22"/>
                <a:gd name="T38" fmla="*/ 47 w 47"/>
                <a:gd name="T39" fmla="*/ 22 h 22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7" h="22">
                  <a:moveTo>
                    <a:pt x="0" y="19"/>
                  </a:moveTo>
                  <a:lnTo>
                    <a:pt x="5" y="21"/>
                  </a:lnTo>
                  <a:lnTo>
                    <a:pt x="12" y="22"/>
                  </a:lnTo>
                  <a:lnTo>
                    <a:pt x="18" y="22"/>
                  </a:lnTo>
                  <a:lnTo>
                    <a:pt x="26" y="21"/>
                  </a:lnTo>
                  <a:lnTo>
                    <a:pt x="33" y="19"/>
                  </a:lnTo>
                  <a:lnTo>
                    <a:pt x="38" y="15"/>
                  </a:lnTo>
                  <a:lnTo>
                    <a:pt x="41" y="12"/>
                  </a:lnTo>
                  <a:lnTo>
                    <a:pt x="44" y="9"/>
                  </a:lnTo>
                  <a:lnTo>
                    <a:pt x="45" y="5"/>
                  </a:lnTo>
                  <a:lnTo>
                    <a:pt x="47" y="0"/>
                  </a:lnTo>
                  <a:lnTo>
                    <a:pt x="0" y="19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02" name="Freeform 400"/>
            <p:cNvSpPr>
              <a:spLocks/>
            </p:cNvSpPr>
            <p:nvPr/>
          </p:nvSpPr>
          <p:spPr bwMode="auto">
            <a:xfrm>
              <a:off x="1608" y="1742"/>
              <a:ext cx="17" cy="11"/>
            </a:xfrm>
            <a:custGeom>
              <a:avLst/>
              <a:gdLst>
                <a:gd name="T0" fmla="*/ 5 w 53"/>
                <a:gd name="T1" fmla="*/ 0 h 32"/>
                <a:gd name="T2" fmla="*/ 4 w 53"/>
                <a:gd name="T3" fmla="*/ 1 h 32"/>
                <a:gd name="T4" fmla="*/ 2 w 53"/>
                <a:gd name="T5" fmla="*/ 2 h 32"/>
                <a:gd name="T6" fmla="*/ 1 w 53"/>
                <a:gd name="T7" fmla="*/ 3 h 32"/>
                <a:gd name="T8" fmla="*/ 0 w 53"/>
                <a:gd name="T9" fmla="*/ 4 h 32"/>
                <a:gd name="T10" fmla="*/ 1 w 53"/>
                <a:gd name="T11" fmla="*/ 4 h 32"/>
                <a:gd name="T12" fmla="*/ 3 w 53"/>
                <a:gd name="T13" fmla="*/ 4 h 32"/>
                <a:gd name="T14" fmla="*/ 4 w 53"/>
                <a:gd name="T15" fmla="*/ 4 h 32"/>
                <a:gd name="T16" fmla="*/ 5 w 53"/>
                <a:gd name="T17" fmla="*/ 4 h 32"/>
                <a:gd name="T18" fmla="*/ 5 w 53"/>
                <a:gd name="T19" fmla="*/ 3 h 32"/>
                <a:gd name="T20" fmla="*/ 5 w 53"/>
                <a:gd name="T21" fmla="*/ 2 h 32"/>
                <a:gd name="T22" fmla="*/ 5 w 53"/>
                <a:gd name="T23" fmla="*/ 1 h 32"/>
                <a:gd name="T24" fmla="*/ 5 w 53"/>
                <a:gd name="T25" fmla="*/ 0 h 3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3"/>
                <a:gd name="T40" fmla="*/ 0 h 32"/>
                <a:gd name="T41" fmla="*/ 53 w 53"/>
                <a:gd name="T42" fmla="*/ 32 h 3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3" h="32">
                  <a:moveTo>
                    <a:pt x="53" y="0"/>
                  </a:moveTo>
                  <a:lnTo>
                    <a:pt x="37" y="9"/>
                  </a:lnTo>
                  <a:lnTo>
                    <a:pt x="23" y="18"/>
                  </a:lnTo>
                  <a:lnTo>
                    <a:pt x="11" y="26"/>
                  </a:lnTo>
                  <a:lnTo>
                    <a:pt x="0" y="32"/>
                  </a:lnTo>
                  <a:lnTo>
                    <a:pt x="13" y="32"/>
                  </a:lnTo>
                  <a:lnTo>
                    <a:pt x="26" y="32"/>
                  </a:lnTo>
                  <a:lnTo>
                    <a:pt x="39" y="32"/>
                  </a:lnTo>
                  <a:lnTo>
                    <a:pt x="53" y="32"/>
                  </a:lnTo>
                  <a:lnTo>
                    <a:pt x="53" y="24"/>
                  </a:lnTo>
                  <a:lnTo>
                    <a:pt x="53" y="16"/>
                  </a:lnTo>
                  <a:lnTo>
                    <a:pt x="53" y="9"/>
                  </a:lnTo>
                  <a:lnTo>
                    <a:pt x="53" y="0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03" name="Freeform 401"/>
            <p:cNvSpPr>
              <a:spLocks/>
            </p:cNvSpPr>
            <p:nvPr/>
          </p:nvSpPr>
          <p:spPr bwMode="auto">
            <a:xfrm>
              <a:off x="1450" y="1438"/>
              <a:ext cx="14" cy="12"/>
            </a:xfrm>
            <a:custGeom>
              <a:avLst/>
              <a:gdLst>
                <a:gd name="T0" fmla="*/ 2 w 46"/>
                <a:gd name="T1" fmla="*/ 0 h 34"/>
                <a:gd name="T2" fmla="*/ 0 w 46"/>
                <a:gd name="T3" fmla="*/ 2 h 34"/>
                <a:gd name="T4" fmla="*/ 0 w 46"/>
                <a:gd name="T5" fmla="*/ 4 h 34"/>
                <a:gd name="T6" fmla="*/ 2 w 46"/>
                <a:gd name="T7" fmla="*/ 4 h 34"/>
                <a:gd name="T8" fmla="*/ 3 w 46"/>
                <a:gd name="T9" fmla="*/ 4 h 34"/>
                <a:gd name="T10" fmla="*/ 3 w 46"/>
                <a:gd name="T11" fmla="*/ 4 h 34"/>
                <a:gd name="T12" fmla="*/ 4 w 46"/>
                <a:gd name="T13" fmla="*/ 3 h 34"/>
                <a:gd name="T14" fmla="*/ 4 w 46"/>
                <a:gd name="T15" fmla="*/ 2 h 34"/>
                <a:gd name="T16" fmla="*/ 4 w 46"/>
                <a:gd name="T17" fmla="*/ 2 h 34"/>
                <a:gd name="T18" fmla="*/ 4 w 46"/>
                <a:gd name="T19" fmla="*/ 2 h 34"/>
                <a:gd name="T20" fmla="*/ 4 w 46"/>
                <a:gd name="T21" fmla="*/ 1 h 34"/>
                <a:gd name="T22" fmla="*/ 4 w 46"/>
                <a:gd name="T23" fmla="*/ 0 h 34"/>
                <a:gd name="T24" fmla="*/ 4 w 46"/>
                <a:gd name="T25" fmla="*/ 0 h 34"/>
                <a:gd name="T26" fmla="*/ 4 w 46"/>
                <a:gd name="T27" fmla="*/ 0 h 34"/>
                <a:gd name="T28" fmla="*/ 4 w 46"/>
                <a:gd name="T29" fmla="*/ 0 h 34"/>
                <a:gd name="T30" fmla="*/ 4 w 46"/>
                <a:gd name="T31" fmla="*/ 0 h 34"/>
                <a:gd name="T32" fmla="*/ 3 w 46"/>
                <a:gd name="T33" fmla="*/ 0 h 34"/>
                <a:gd name="T34" fmla="*/ 2 w 46"/>
                <a:gd name="T35" fmla="*/ 0 h 3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6"/>
                <a:gd name="T55" fmla="*/ 0 h 34"/>
                <a:gd name="T56" fmla="*/ 46 w 46"/>
                <a:gd name="T57" fmla="*/ 34 h 3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6" h="34">
                  <a:moveTo>
                    <a:pt x="27" y="3"/>
                  </a:moveTo>
                  <a:lnTo>
                    <a:pt x="0" y="16"/>
                  </a:lnTo>
                  <a:lnTo>
                    <a:pt x="0" y="34"/>
                  </a:lnTo>
                  <a:lnTo>
                    <a:pt x="27" y="34"/>
                  </a:lnTo>
                  <a:lnTo>
                    <a:pt x="31" y="32"/>
                  </a:lnTo>
                  <a:lnTo>
                    <a:pt x="35" y="28"/>
                  </a:lnTo>
                  <a:lnTo>
                    <a:pt x="39" y="25"/>
                  </a:lnTo>
                  <a:lnTo>
                    <a:pt x="42" y="21"/>
                  </a:lnTo>
                  <a:lnTo>
                    <a:pt x="44" y="17"/>
                  </a:lnTo>
                  <a:lnTo>
                    <a:pt x="45" y="13"/>
                  </a:lnTo>
                  <a:lnTo>
                    <a:pt x="46" y="8"/>
                  </a:lnTo>
                  <a:lnTo>
                    <a:pt x="46" y="3"/>
                  </a:lnTo>
                  <a:lnTo>
                    <a:pt x="46" y="1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39" y="0"/>
                  </a:lnTo>
                  <a:lnTo>
                    <a:pt x="32" y="2"/>
                  </a:lnTo>
                  <a:lnTo>
                    <a:pt x="27" y="3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04" name="Freeform 402"/>
            <p:cNvSpPr>
              <a:spLocks/>
            </p:cNvSpPr>
            <p:nvPr/>
          </p:nvSpPr>
          <p:spPr bwMode="auto">
            <a:xfrm>
              <a:off x="1305" y="1224"/>
              <a:ext cx="16" cy="8"/>
            </a:xfrm>
            <a:custGeom>
              <a:avLst/>
              <a:gdLst>
                <a:gd name="T0" fmla="*/ 0 w 48"/>
                <a:gd name="T1" fmla="*/ 3 h 25"/>
                <a:gd name="T2" fmla="*/ 2 w 48"/>
                <a:gd name="T3" fmla="*/ 3 h 25"/>
                <a:gd name="T4" fmla="*/ 3 w 48"/>
                <a:gd name="T5" fmla="*/ 3 h 25"/>
                <a:gd name="T6" fmla="*/ 3 w 48"/>
                <a:gd name="T7" fmla="*/ 3 h 25"/>
                <a:gd name="T8" fmla="*/ 4 w 48"/>
                <a:gd name="T9" fmla="*/ 2 h 25"/>
                <a:gd name="T10" fmla="*/ 4 w 48"/>
                <a:gd name="T11" fmla="*/ 2 h 25"/>
                <a:gd name="T12" fmla="*/ 4 w 48"/>
                <a:gd name="T13" fmla="*/ 2 h 25"/>
                <a:gd name="T14" fmla="*/ 5 w 48"/>
                <a:gd name="T15" fmla="*/ 1 h 25"/>
                <a:gd name="T16" fmla="*/ 5 w 48"/>
                <a:gd name="T17" fmla="*/ 0 h 25"/>
                <a:gd name="T18" fmla="*/ 4 w 48"/>
                <a:gd name="T19" fmla="*/ 0 h 25"/>
                <a:gd name="T20" fmla="*/ 4 w 48"/>
                <a:gd name="T21" fmla="*/ 0 h 25"/>
                <a:gd name="T22" fmla="*/ 3 w 48"/>
                <a:gd name="T23" fmla="*/ 1 h 25"/>
                <a:gd name="T24" fmla="*/ 2 w 48"/>
                <a:gd name="T25" fmla="*/ 1 h 25"/>
                <a:gd name="T26" fmla="*/ 1 w 48"/>
                <a:gd name="T27" fmla="*/ 2 h 25"/>
                <a:gd name="T28" fmla="*/ 0 w 48"/>
                <a:gd name="T29" fmla="*/ 3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8"/>
                <a:gd name="T46" fmla="*/ 0 h 25"/>
                <a:gd name="T47" fmla="*/ 48 w 48"/>
                <a:gd name="T48" fmla="*/ 25 h 2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8" h="25">
                  <a:moveTo>
                    <a:pt x="0" y="25"/>
                  </a:moveTo>
                  <a:lnTo>
                    <a:pt x="14" y="25"/>
                  </a:lnTo>
                  <a:lnTo>
                    <a:pt x="28" y="25"/>
                  </a:lnTo>
                  <a:lnTo>
                    <a:pt x="30" y="24"/>
                  </a:lnTo>
                  <a:lnTo>
                    <a:pt x="33" y="22"/>
                  </a:lnTo>
                  <a:lnTo>
                    <a:pt x="37" y="18"/>
                  </a:lnTo>
                  <a:lnTo>
                    <a:pt x="40" y="15"/>
                  </a:lnTo>
                  <a:lnTo>
                    <a:pt x="45" y="7"/>
                  </a:lnTo>
                  <a:lnTo>
                    <a:pt x="48" y="0"/>
                  </a:lnTo>
                  <a:lnTo>
                    <a:pt x="40" y="1"/>
                  </a:lnTo>
                  <a:lnTo>
                    <a:pt x="33" y="2"/>
                  </a:lnTo>
                  <a:lnTo>
                    <a:pt x="28" y="5"/>
                  </a:lnTo>
                  <a:lnTo>
                    <a:pt x="21" y="8"/>
                  </a:lnTo>
                  <a:lnTo>
                    <a:pt x="11" y="16"/>
                  </a:lnTo>
                  <a:lnTo>
                    <a:pt x="0" y="25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05" name="Freeform 403"/>
            <p:cNvSpPr>
              <a:spLocks/>
            </p:cNvSpPr>
            <p:nvPr/>
          </p:nvSpPr>
          <p:spPr bwMode="auto">
            <a:xfrm>
              <a:off x="1343" y="1188"/>
              <a:ext cx="8" cy="11"/>
            </a:xfrm>
            <a:custGeom>
              <a:avLst/>
              <a:gdLst>
                <a:gd name="T0" fmla="*/ 0 w 30"/>
                <a:gd name="T1" fmla="*/ 0 h 37"/>
                <a:gd name="T2" fmla="*/ 0 w 30"/>
                <a:gd name="T3" fmla="*/ 3 h 37"/>
                <a:gd name="T4" fmla="*/ 1 w 30"/>
                <a:gd name="T5" fmla="*/ 3 h 37"/>
                <a:gd name="T6" fmla="*/ 1 w 30"/>
                <a:gd name="T7" fmla="*/ 3 h 37"/>
                <a:gd name="T8" fmla="*/ 2 w 30"/>
                <a:gd name="T9" fmla="*/ 3 h 37"/>
                <a:gd name="T10" fmla="*/ 2 w 30"/>
                <a:gd name="T11" fmla="*/ 3 h 37"/>
                <a:gd name="T12" fmla="*/ 2 w 30"/>
                <a:gd name="T13" fmla="*/ 3 h 37"/>
                <a:gd name="T14" fmla="*/ 2 w 30"/>
                <a:gd name="T15" fmla="*/ 2 h 37"/>
                <a:gd name="T16" fmla="*/ 2 w 30"/>
                <a:gd name="T17" fmla="*/ 2 h 37"/>
                <a:gd name="T18" fmla="*/ 2 w 30"/>
                <a:gd name="T19" fmla="*/ 1 h 37"/>
                <a:gd name="T20" fmla="*/ 2 w 30"/>
                <a:gd name="T21" fmla="*/ 1 h 37"/>
                <a:gd name="T22" fmla="*/ 2 w 30"/>
                <a:gd name="T23" fmla="*/ 0 h 37"/>
                <a:gd name="T24" fmla="*/ 0 w 30"/>
                <a:gd name="T25" fmla="*/ 0 h 3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0"/>
                <a:gd name="T40" fmla="*/ 0 h 37"/>
                <a:gd name="T41" fmla="*/ 30 w 30"/>
                <a:gd name="T42" fmla="*/ 37 h 3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0" h="37">
                  <a:moveTo>
                    <a:pt x="0" y="0"/>
                  </a:moveTo>
                  <a:lnTo>
                    <a:pt x="0" y="37"/>
                  </a:lnTo>
                  <a:lnTo>
                    <a:pt x="11" y="36"/>
                  </a:lnTo>
                  <a:lnTo>
                    <a:pt x="20" y="34"/>
                  </a:lnTo>
                  <a:lnTo>
                    <a:pt x="22" y="33"/>
                  </a:lnTo>
                  <a:lnTo>
                    <a:pt x="26" y="32"/>
                  </a:lnTo>
                  <a:lnTo>
                    <a:pt x="28" y="30"/>
                  </a:lnTo>
                  <a:lnTo>
                    <a:pt x="29" y="28"/>
                  </a:lnTo>
                  <a:lnTo>
                    <a:pt x="30" y="23"/>
                  </a:lnTo>
                  <a:lnTo>
                    <a:pt x="30" y="16"/>
                  </a:lnTo>
                  <a:lnTo>
                    <a:pt x="29" y="9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06" name="Freeform 404"/>
            <p:cNvSpPr>
              <a:spLocks/>
            </p:cNvSpPr>
            <p:nvPr/>
          </p:nvSpPr>
          <p:spPr bwMode="auto">
            <a:xfrm>
              <a:off x="1334" y="1208"/>
              <a:ext cx="36" cy="16"/>
            </a:xfrm>
            <a:custGeom>
              <a:avLst/>
              <a:gdLst>
                <a:gd name="T0" fmla="*/ 4 w 113"/>
                <a:gd name="T1" fmla="*/ 0 h 46"/>
                <a:gd name="T2" fmla="*/ 2 w 113"/>
                <a:gd name="T3" fmla="*/ 0 h 46"/>
                <a:gd name="T4" fmla="*/ 1 w 113"/>
                <a:gd name="T5" fmla="*/ 1 h 46"/>
                <a:gd name="T6" fmla="*/ 1 w 113"/>
                <a:gd name="T7" fmla="*/ 1 h 46"/>
                <a:gd name="T8" fmla="*/ 0 w 113"/>
                <a:gd name="T9" fmla="*/ 1 h 46"/>
                <a:gd name="T10" fmla="*/ 0 w 113"/>
                <a:gd name="T11" fmla="*/ 2 h 46"/>
                <a:gd name="T12" fmla="*/ 0 w 113"/>
                <a:gd name="T13" fmla="*/ 2 h 46"/>
                <a:gd name="T14" fmla="*/ 1 w 113"/>
                <a:gd name="T15" fmla="*/ 3 h 46"/>
                <a:gd name="T16" fmla="*/ 1 w 113"/>
                <a:gd name="T17" fmla="*/ 4 h 46"/>
                <a:gd name="T18" fmla="*/ 2 w 113"/>
                <a:gd name="T19" fmla="*/ 5 h 46"/>
                <a:gd name="T20" fmla="*/ 2 w 113"/>
                <a:gd name="T21" fmla="*/ 5 h 46"/>
                <a:gd name="T22" fmla="*/ 3 w 113"/>
                <a:gd name="T23" fmla="*/ 5 h 46"/>
                <a:gd name="T24" fmla="*/ 3 w 113"/>
                <a:gd name="T25" fmla="*/ 6 h 46"/>
                <a:gd name="T26" fmla="*/ 4 w 113"/>
                <a:gd name="T27" fmla="*/ 6 h 46"/>
                <a:gd name="T28" fmla="*/ 4 w 113"/>
                <a:gd name="T29" fmla="*/ 6 h 46"/>
                <a:gd name="T30" fmla="*/ 6 w 113"/>
                <a:gd name="T31" fmla="*/ 6 h 46"/>
                <a:gd name="T32" fmla="*/ 7 w 113"/>
                <a:gd name="T33" fmla="*/ 5 h 46"/>
                <a:gd name="T34" fmla="*/ 8 w 113"/>
                <a:gd name="T35" fmla="*/ 5 h 46"/>
                <a:gd name="T36" fmla="*/ 8 w 113"/>
                <a:gd name="T37" fmla="*/ 5 h 46"/>
                <a:gd name="T38" fmla="*/ 9 w 113"/>
                <a:gd name="T39" fmla="*/ 5 h 46"/>
                <a:gd name="T40" fmla="*/ 9 w 113"/>
                <a:gd name="T41" fmla="*/ 4 h 46"/>
                <a:gd name="T42" fmla="*/ 10 w 113"/>
                <a:gd name="T43" fmla="*/ 3 h 46"/>
                <a:gd name="T44" fmla="*/ 11 w 113"/>
                <a:gd name="T45" fmla="*/ 2 h 46"/>
                <a:gd name="T46" fmla="*/ 11 w 113"/>
                <a:gd name="T47" fmla="*/ 1 h 46"/>
                <a:gd name="T48" fmla="*/ 11 w 113"/>
                <a:gd name="T49" fmla="*/ 0 h 46"/>
                <a:gd name="T50" fmla="*/ 10 w 113"/>
                <a:gd name="T51" fmla="*/ 0 h 46"/>
                <a:gd name="T52" fmla="*/ 9 w 113"/>
                <a:gd name="T53" fmla="*/ 0 h 46"/>
                <a:gd name="T54" fmla="*/ 8 w 113"/>
                <a:gd name="T55" fmla="*/ 0 h 46"/>
                <a:gd name="T56" fmla="*/ 7 w 113"/>
                <a:gd name="T57" fmla="*/ 0 h 46"/>
                <a:gd name="T58" fmla="*/ 5 w 113"/>
                <a:gd name="T59" fmla="*/ 0 h 46"/>
                <a:gd name="T60" fmla="*/ 4 w 113"/>
                <a:gd name="T61" fmla="*/ 0 h 4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13"/>
                <a:gd name="T94" fmla="*/ 0 h 46"/>
                <a:gd name="T95" fmla="*/ 113 w 113"/>
                <a:gd name="T96" fmla="*/ 46 h 4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13" h="46">
                  <a:moveTo>
                    <a:pt x="33" y="3"/>
                  </a:moveTo>
                  <a:lnTo>
                    <a:pt x="22" y="3"/>
                  </a:lnTo>
                  <a:lnTo>
                    <a:pt x="12" y="5"/>
                  </a:lnTo>
                  <a:lnTo>
                    <a:pt x="7" y="7"/>
                  </a:lnTo>
                  <a:lnTo>
                    <a:pt x="3" y="11"/>
                  </a:lnTo>
                  <a:lnTo>
                    <a:pt x="1" y="15"/>
                  </a:lnTo>
                  <a:lnTo>
                    <a:pt x="0" y="21"/>
                  </a:lnTo>
                  <a:lnTo>
                    <a:pt x="6" y="27"/>
                  </a:lnTo>
                  <a:lnTo>
                    <a:pt x="10" y="33"/>
                  </a:lnTo>
                  <a:lnTo>
                    <a:pt x="16" y="37"/>
                  </a:lnTo>
                  <a:lnTo>
                    <a:pt x="20" y="41"/>
                  </a:lnTo>
                  <a:lnTo>
                    <a:pt x="25" y="43"/>
                  </a:lnTo>
                  <a:lnTo>
                    <a:pt x="30" y="45"/>
                  </a:lnTo>
                  <a:lnTo>
                    <a:pt x="35" y="46"/>
                  </a:lnTo>
                  <a:lnTo>
                    <a:pt x="40" y="46"/>
                  </a:lnTo>
                  <a:lnTo>
                    <a:pt x="56" y="46"/>
                  </a:lnTo>
                  <a:lnTo>
                    <a:pt x="70" y="43"/>
                  </a:lnTo>
                  <a:lnTo>
                    <a:pt x="76" y="41"/>
                  </a:lnTo>
                  <a:lnTo>
                    <a:pt x="81" y="38"/>
                  </a:lnTo>
                  <a:lnTo>
                    <a:pt x="87" y="36"/>
                  </a:lnTo>
                  <a:lnTo>
                    <a:pt x="91" y="33"/>
                  </a:lnTo>
                  <a:lnTo>
                    <a:pt x="99" y="27"/>
                  </a:lnTo>
                  <a:lnTo>
                    <a:pt x="106" y="20"/>
                  </a:lnTo>
                  <a:lnTo>
                    <a:pt x="110" y="12"/>
                  </a:lnTo>
                  <a:lnTo>
                    <a:pt x="113" y="3"/>
                  </a:lnTo>
                  <a:lnTo>
                    <a:pt x="99" y="1"/>
                  </a:lnTo>
                  <a:lnTo>
                    <a:pt x="87" y="0"/>
                  </a:lnTo>
                  <a:lnTo>
                    <a:pt x="76" y="0"/>
                  </a:lnTo>
                  <a:lnTo>
                    <a:pt x="66" y="1"/>
                  </a:lnTo>
                  <a:lnTo>
                    <a:pt x="48" y="2"/>
                  </a:lnTo>
                  <a:lnTo>
                    <a:pt x="33" y="3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07" name="Freeform 405"/>
            <p:cNvSpPr>
              <a:spLocks/>
            </p:cNvSpPr>
            <p:nvPr/>
          </p:nvSpPr>
          <p:spPr bwMode="auto">
            <a:xfrm>
              <a:off x="1365" y="1201"/>
              <a:ext cx="49" cy="28"/>
            </a:xfrm>
            <a:custGeom>
              <a:avLst/>
              <a:gdLst>
                <a:gd name="T0" fmla="*/ 0 w 153"/>
                <a:gd name="T1" fmla="*/ 9 h 82"/>
                <a:gd name="T2" fmla="*/ 0 w 153"/>
                <a:gd name="T3" fmla="*/ 10 h 82"/>
                <a:gd name="T4" fmla="*/ 1 w 153"/>
                <a:gd name="T5" fmla="*/ 10 h 82"/>
                <a:gd name="T6" fmla="*/ 1 w 153"/>
                <a:gd name="T7" fmla="*/ 10 h 82"/>
                <a:gd name="T8" fmla="*/ 1 w 153"/>
                <a:gd name="T9" fmla="*/ 10 h 82"/>
                <a:gd name="T10" fmla="*/ 2 w 153"/>
                <a:gd name="T11" fmla="*/ 9 h 82"/>
                <a:gd name="T12" fmla="*/ 4 w 153"/>
                <a:gd name="T13" fmla="*/ 9 h 82"/>
                <a:gd name="T14" fmla="*/ 4 w 153"/>
                <a:gd name="T15" fmla="*/ 9 h 82"/>
                <a:gd name="T16" fmla="*/ 5 w 153"/>
                <a:gd name="T17" fmla="*/ 9 h 82"/>
                <a:gd name="T18" fmla="*/ 6 w 153"/>
                <a:gd name="T19" fmla="*/ 9 h 82"/>
                <a:gd name="T20" fmla="*/ 7 w 153"/>
                <a:gd name="T21" fmla="*/ 9 h 82"/>
                <a:gd name="T22" fmla="*/ 9 w 153"/>
                <a:gd name="T23" fmla="*/ 8 h 82"/>
                <a:gd name="T24" fmla="*/ 11 w 153"/>
                <a:gd name="T25" fmla="*/ 7 h 82"/>
                <a:gd name="T26" fmla="*/ 12 w 153"/>
                <a:gd name="T27" fmla="*/ 6 h 82"/>
                <a:gd name="T28" fmla="*/ 12 w 153"/>
                <a:gd name="T29" fmla="*/ 6 h 82"/>
                <a:gd name="T30" fmla="*/ 13 w 153"/>
                <a:gd name="T31" fmla="*/ 5 h 82"/>
                <a:gd name="T32" fmla="*/ 14 w 153"/>
                <a:gd name="T33" fmla="*/ 4 h 82"/>
                <a:gd name="T34" fmla="*/ 14 w 153"/>
                <a:gd name="T35" fmla="*/ 4 h 82"/>
                <a:gd name="T36" fmla="*/ 15 w 153"/>
                <a:gd name="T37" fmla="*/ 3 h 82"/>
                <a:gd name="T38" fmla="*/ 15 w 153"/>
                <a:gd name="T39" fmla="*/ 2 h 82"/>
                <a:gd name="T40" fmla="*/ 16 w 153"/>
                <a:gd name="T41" fmla="*/ 1 h 82"/>
                <a:gd name="T42" fmla="*/ 14 w 153"/>
                <a:gd name="T43" fmla="*/ 1 h 82"/>
                <a:gd name="T44" fmla="*/ 12 w 153"/>
                <a:gd name="T45" fmla="*/ 0 h 82"/>
                <a:gd name="T46" fmla="*/ 10 w 153"/>
                <a:gd name="T47" fmla="*/ 0 h 82"/>
                <a:gd name="T48" fmla="*/ 8 w 153"/>
                <a:gd name="T49" fmla="*/ 0 h 82"/>
                <a:gd name="T50" fmla="*/ 7 w 153"/>
                <a:gd name="T51" fmla="*/ 0 h 82"/>
                <a:gd name="T52" fmla="*/ 6 w 153"/>
                <a:gd name="T53" fmla="*/ 0 h 82"/>
                <a:gd name="T54" fmla="*/ 5 w 153"/>
                <a:gd name="T55" fmla="*/ 0 h 82"/>
                <a:gd name="T56" fmla="*/ 4 w 153"/>
                <a:gd name="T57" fmla="*/ 0 h 82"/>
                <a:gd name="T58" fmla="*/ 4 w 153"/>
                <a:gd name="T59" fmla="*/ 1 h 82"/>
                <a:gd name="T60" fmla="*/ 4 w 153"/>
                <a:gd name="T61" fmla="*/ 1 h 82"/>
                <a:gd name="T62" fmla="*/ 3 w 153"/>
                <a:gd name="T63" fmla="*/ 2 h 82"/>
                <a:gd name="T64" fmla="*/ 3 w 153"/>
                <a:gd name="T65" fmla="*/ 2 h 82"/>
                <a:gd name="T66" fmla="*/ 3 w 153"/>
                <a:gd name="T67" fmla="*/ 3 h 82"/>
                <a:gd name="T68" fmla="*/ 4 w 153"/>
                <a:gd name="T69" fmla="*/ 3 h 82"/>
                <a:gd name="T70" fmla="*/ 4 w 153"/>
                <a:gd name="T71" fmla="*/ 4 h 82"/>
                <a:gd name="T72" fmla="*/ 4 w 153"/>
                <a:gd name="T73" fmla="*/ 4 h 82"/>
                <a:gd name="T74" fmla="*/ 4 w 153"/>
                <a:gd name="T75" fmla="*/ 4 h 82"/>
                <a:gd name="T76" fmla="*/ 5 w 153"/>
                <a:gd name="T77" fmla="*/ 4 h 82"/>
                <a:gd name="T78" fmla="*/ 4 w 153"/>
                <a:gd name="T79" fmla="*/ 5 h 82"/>
                <a:gd name="T80" fmla="*/ 4 w 153"/>
                <a:gd name="T81" fmla="*/ 5 h 82"/>
                <a:gd name="T82" fmla="*/ 3 w 153"/>
                <a:gd name="T83" fmla="*/ 6 h 82"/>
                <a:gd name="T84" fmla="*/ 2 w 153"/>
                <a:gd name="T85" fmla="*/ 6 h 82"/>
                <a:gd name="T86" fmla="*/ 2 w 153"/>
                <a:gd name="T87" fmla="*/ 8 h 82"/>
                <a:gd name="T88" fmla="*/ 1 w 153"/>
                <a:gd name="T89" fmla="*/ 8 h 82"/>
                <a:gd name="T90" fmla="*/ 1 w 153"/>
                <a:gd name="T91" fmla="*/ 9 h 82"/>
                <a:gd name="T92" fmla="*/ 0 w 153"/>
                <a:gd name="T93" fmla="*/ 9 h 8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53"/>
                <a:gd name="T142" fmla="*/ 0 h 82"/>
                <a:gd name="T143" fmla="*/ 153 w 153"/>
                <a:gd name="T144" fmla="*/ 82 h 8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53" h="82">
                  <a:moveTo>
                    <a:pt x="0" y="79"/>
                  </a:moveTo>
                  <a:lnTo>
                    <a:pt x="2" y="81"/>
                  </a:lnTo>
                  <a:lnTo>
                    <a:pt x="6" y="82"/>
                  </a:lnTo>
                  <a:lnTo>
                    <a:pt x="10" y="82"/>
                  </a:lnTo>
                  <a:lnTo>
                    <a:pt x="14" y="82"/>
                  </a:lnTo>
                  <a:lnTo>
                    <a:pt x="23" y="80"/>
                  </a:lnTo>
                  <a:lnTo>
                    <a:pt x="33" y="79"/>
                  </a:lnTo>
                  <a:lnTo>
                    <a:pt x="40" y="79"/>
                  </a:lnTo>
                  <a:lnTo>
                    <a:pt x="47" y="78"/>
                  </a:lnTo>
                  <a:lnTo>
                    <a:pt x="56" y="76"/>
                  </a:lnTo>
                  <a:lnTo>
                    <a:pt x="65" y="74"/>
                  </a:lnTo>
                  <a:lnTo>
                    <a:pt x="83" y="68"/>
                  </a:lnTo>
                  <a:lnTo>
                    <a:pt x="103" y="59"/>
                  </a:lnTo>
                  <a:lnTo>
                    <a:pt x="112" y="54"/>
                  </a:lnTo>
                  <a:lnTo>
                    <a:pt x="121" y="49"/>
                  </a:lnTo>
                  <a:lnTo>
                    <a:pt x="129" y="43"/>
                  </a:lnTo>
                  <a:lnTo>
                    <a:pt x="136" y="38"/>
                  </a:lnTo>
                  <a:lnTo>
                    <a:pt x="142" y="32"/>
                  </a:lnTo>
                  <a:lnTo>
                    <a:pt x="147" y="25"/>
                  </a:lnTo>
                  <a:lnTo>
                    <a:pt x="150" y="19"/>
                  </a:lnTo>
                  <a:lnTo>
                    <a:pt x="153" y="12"/>
                  </a:lnTo>
                  <a:lnTo>
                    <a:pt x="134" y="8"/>
                  </a:lnTo>
                  <a:lnTo>
                    <a:pt x="115" y="3"/>
                  </a:lnTo>
                  <a:lnTo>
                    <a:pt x="96" y="1"/>
                  </a:lnTo>
                  <a:lnTo>
                    <a:pt x="77" y="0"/>
                  </a:lnTo>
                  <a:lnTo>
                    <a:pt x="68" y="1"/>
                  </a:lnTo>
                  <a:lnTo>
                    <a:pt x="60" y="1"/>
                  </a:lnTo>
                  <a:lnTo>
                    <a:pt x="52" y="2"/>
                  </a:lnTo>
                  <a:lnTo>
                    <a:pt x="45" y="4"/>
                  </a:lnTo>
                  <a:lnTo>
                    <a:pt x="38" y="7"/>
                  </a:lnTo>
                  <a:lnTo>
                    <a:pt x="34" y="10"/>
                  </a:lnTo>
                  <a:lnTo>
                    <a:pt x="30" y="14"/>
                  </a:lnTo>
                  <a:lnTo>
                    <a:pt x="26" y="18"/>
                  </a:lnTo>
                  <a:lnTo>
                    <a:pt x="32" y="23"/>
                  </a:lnTo>
                  <a:lnTo>
                    <a:pt x="36" y="29"/>
                  </a:lnTo>
                  <a:lnTo>
                    <a:pt x="38" y="32"/>
                  </a:lnTo>
                  <a:lnTo>
                    <a:pt x="42" y="34"/>
                  </a:lnTo>
                  <a:lnTo>
                    <a:pt x="44" y="36"/>
                  </a:lnTo>
                  <a:lnTo>
                    <a:pt x="46" y="36"/>
                  </a:lnTo>
                  <a:lnTo>
                    <a:pt x="40" y="41"/>
                  </a:lnTo>
                  <a:lnTo>
                    <a:pt x="33" y="46"/>
                  </a:lnTo>
                  <a:lnTo>
                    <a:pt x="29" y="52"/>
                  </a:lnTo>
                  <a:lnTo>
                    <a:pt x="23" y="57"/>
                  </a:lnTo>
                  <a:lnTo>
                    <a:pt x="18" y="64"/>
                  </a:lnTo>
                  <a:lnTo>
                    <a:pt x="13" y="69"/>
                  </a:lnTo>
                  <a:lnTo>
                    <a:pt x="7" y="75"/>
                  </a:lnTo>
                  <a:lnTo>
                    <a:pt x="0" y="79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08" name="Freeform 406"/>
            <p:cNvSpPr>
              <a:spLocks/>
            </p:cNvSpPr>
            <p:nvPr/>
          </p:nvSpPr>
          <p:spPr bwMode="auto">
            <a:xfrm>
              <a:off x="1414" y="1217"/>
              <a:ext cx="29" cy="17"/>
            </a:xfrm>
            <a:custGeom>
              <a:avLst/>
              <a:gdLst>
                <a:gd name="T0" fmla="*/ 0 w 86"/>
                <a:gd name="T1" fmla="*/ 4 h 50"/>
                <a:gd name="T2" fmla="*/ 1 w 86"/>
                <a:gd name="T3" fmla="*/ 5 h 50"/>
                <a:gd name="T4" fmla="*/ 1 w 86"/>
                <a:gd name="T5" fmla="*/ 5 h 50"/>
                <a:gd name="T6" fmla="*/ 2 w 86"/>
                <a:gd name="T7" fmla="*/ 5 h 50"/>
                <a:gd name="T8" fmla="*/ 3 w 86"/>
                <a:gd name="T9" fmla="*/ 5 h 50"/>
                <a:gd name="T10" fmla="*/ 4 w 86"/>
                <a:gd name="T11" fmla="*/ 6 h 50"/>
                <a:gd name="T12" fmla="*/ 5 w 86"/>
                <a:gd name="T13" fmla="*/ 6 h 50"/>
                <a:gd name="T14" fmla="*/ 7 w 86"/>
                <a:gd name="T15" fmla="*/ 6 h 50"/>
                <a:gd name="T16" fmla="*/ 8 w 86"/>
                <a:gd name="T17" fmla="*/ 5 h 50"/>
                <a:gd name="T18" fmla="*/ 8 w 86"/>
                <a:gd name="T19" fmla="*/ 5 h 50"/>
                <a:gd name="T20" fmla="*/ 9 w 86"/>
                <a:gd name="T21" fmla="*/ 5 h 50"/>
                <a:gd name="T22" fmla="*/ 9 w 86"/>
                <a:gd name="T23" fmla="*/ 5 h 50"/>
                <a:gd name="T24" fmla="*/ 9 w 86"/>
                <a:gd name="T25" fmla="*/ 4 h 50"/>
                <a:gd name="T26" fmla="*/ 10 w 86"/>
                <a:gd name="T27" fmla="*/ 4 h 50"/>
                <a:gd name="T28" fmla="*/ 10 w 86"/>
                <a:gd name="T29" fmla="*/ 3 h 50"/>
                <a:gd name="T30" fmla="*/ 10 w 86"/>
                <a:gd name="T31" fmla="*/ 2 h 50"/>
                <a:gd name="T32" fmla="*/ 9 w 86"/>
                <a:gd name="T33" fmla="*/ 1 h 50"/>
                <a:gd name="T34" fmla="*/ 9 w 86"/>
                <a:gd name="T35" fmla="*/ 1 h 50"/>
                <a:gd name="T36" fmla="*/ 9 w 86"/>
                <a:gd name="T37" fmla="*/ 1 h 50"/>
                <a:gd name="T38" fmla="*/ 9 w 86"/>
                <a:gd name="T39" fmla="*/ 0 h 50"/>
                <a:gd name="T40" fmla="*/ 8 w 86"/>
                <a:gd name="T41" fmla="*/ 0 h 50"/>
                <a:gd name="T42" fmla="*/ 0 w 86"/>
                <a:gd name="T43" fmla="*/ 4 h 5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86"/>
                <a:gd name="T67" fmla="*/ 0 h 50"/>
                <a:gd name="T68" fmla="*/ 86 w 86"/>
                <a:gd name="T69" fmla="*/ 50 h 50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86" h="50">
                  <a:moveTo>
                    <a:pt x="0" y="37"/>
                  </a:moveTo>
                  <a:lnTo>
                    <a:pt x="5" y="41"/>
                  </a:lnTo>
                  <a:lnTo>
                    <a:pt x="11" y="44"/>
                  </a:lnTo>
                  <a:lnTo>
                    <a:pt x="16" y="47"/>
                  </a:lnTo>
                  <a:lnTo>
                    <a:pt x="23" y="48"/>
                  </a:lnTo>
                  <a:lnTo>
                    <a:pt x="35" y="49"/>
                  </a:lnTo>
                  <a:lnTo>
                    <a:pt x="46" y="50"/>
                  </a:lnTo>
                  <a:lnTo>
                    <a:pt x="58" y="49"/>
                  </a:lnTo>
                  <a:lnTo>
                    <a:pt x="67" y="48"/>
                  </a:lnTo>
                  <a:lnTo>
                    <a:pt x="73" y="47"/>
                  </a:lnTo>
                  <a:lnTo>
                    <a:pt x="79" y="44"/>
                  </a:lnTo>
                  <a:lnTo>
                    <a:pt x="82" y="41"/>
                  </a:lnTo>
                  <a:lnTo>
                    <a:pt x="84" y="37"/>
                  </a:lnTo>
                  <a:lnTo>
                    <a:pt x="85" y="32"/>
                  </a:lnTo>
                  <a:lnTo>
                    <a:pt x="86" y="25"/>
                  </a:lnTo>
                  <a:lnTo>
                    <a:pt x="85" y="17"/>
                  </a:lnTo>
                  <a:lnTo>
                    <a:pt x="84" y="10"/>
                  </a:lnTo>
                  <a:lnTo>
                    <a:pt x="83" y="7"/>
                  </a:lnTo>
                  <a:lnTo>
                    <a:pt x="81" y="5"/>
                  </a:lnTo>
                  <a:lnTo>
                    <a:pt x="77" y="2"/>
                  </a:lnTo>
                  <a:lnTo>
                    <a:pt x="73" y="0"/>
                  </a:lnTo>
                  <a:lnTo>
                    <a:pt x="0" y="37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09" name="Freeform 407"/>
            <p:cNvSpPr>
              <a:spLocks/>
            </p:cNvSpPr>
            <p:nvPr/>
          </p:nvSpPr>
          <p:spPr bwMode="auto">
            <a:xfrm>
              <a:off x="1379" y="1163"/>
              <a:ext cx="55" cy="25"/>
            </a:xfrm>
            <a:custGeom>
              <a:avLst/>
              <a:gdLst>
                <a:gd name="T0" fmla="*/ 12 w 172"/>
                <a:gd name="T1" fmla="*/ 7 h 74"/>
                <a:gd name="T2" fmla="*/ 11 w 172"/>
                <a:gd name="T3" fmla="*/ 7 h 74"/>
                <a:gd name="T4" fmla="*/ 10 w 172"/>
                <a:gd name="T5" fmla="*/ 7 h 74"/>
                <a:gd name="T6" fmla="*/ 9 w 172"/>
                <a:gd name="T7" fmla="*/ 7 h 74"/>
                <a:gd name="T8" fmla="*/ 8 w 172"/>
                <a:gd name="T9" fmla="*/ 7 h 74"/>
                <a:gd name="T10" fmla="*/ 6 w 172"/>
                <a:gd name="T11" fmla="*/ 8 h 74"/>
                <a:gd name="T12" fmla="*/ 4 w 172"/>
                <a:gd name="T13" fmla="*/ 8 h 74"/>
                <a:gd name="T14" fmla="*/ 4 w 172"/>
                <a:gd name="T15" fmla="*/ 7 h 74"/>
                <a:gd name="T16" fmla="*/ 4 w 172"/>
                <a:gd name="T17" fmla="*/ 6 h 74"/>
                <a:gd name="T18" fmla="*/ 3 w 172"/>
                <a:gd name="T19" fmla="*/ 6 h 74"/>
                <a:gd name="T20" fmla="*/ 2 w 172"/>
                <a:gd name="T21" fmla="*/ 5 h 74"/>
                <a:gd name="T22" fmla="*/ 2 w 172"/>
                <a:gd name="T23" fmla="*/ 5 h 74"/>
                <a:gd name="T24" fmla="*/ 1 w 172"/>
                <a:gd name="T25" fmla="*/ 5 h 74"/>
                <a:gd name="T26" fmla="*/ 1 w 172"/>
                <a:gd name="T27" fmla="*/ 5 h 74"/>
                <a:gd name="T28" fmla="*/ 0 w 172"/>
                <a:gd name="T29" fmla="*/ 4 h 74"/>
                <a:gd name="T30" fmla="*/ 0 w 172"/>
                <a:gd name="T31" fmla="*/ 4 h 74"/>
                <a:gd name="T32" fmla="*/ 0 w 172"/>
                <a:gd name="T33" fmla="*/ 3 h 74"/>
                <a:gd name="T34" fmla="*/ 0 w 172"/>
                <a:gd name="T35" fmla="*/ 3 h 74"/>
                <a:gd name="T36" fmla="*/ 0 w 172"/>
                <a:gd name="T37" fmla="*/ 2 h 74"/>
                <a:gd name="T38" fmla="*/ 1 w 172"/>
                <a:gd name="T39" fmla="*/ 2 h 74"/>
                <a:gd name="T40" fmla="*/ 1 w 172"/>
                <a:gd name="T41" fmla="*/ 2 h 74"/>
                <a:gd name="T42" fmla="*/ 1 w 172"/>
                <a:gd name="T43" fmla="*/ 1 h 74"/>
                <a:gd name="T44" fmla="*/ 2 w 172"/>
                <a:gd name="T45" fmla="*/ 1 h 74"/>
                <a:gd name="T46" fmla="*/ 3 w 172"/>
                <a:gd name="T47" fmla="*/ 1 h 74"/>
                <a:gd name="T48" fmla="*/ 3 w 172"/>
                <a:gd name="T49" fmla="*/ 0 h 74"/>
                <a:gd name="T50" fmla="*/ 4 w 172"/>
                <a:gd name="T51" fmla="*/ 0 h 74"/>
                <a:gd name="T52" fmla="*/ 6 w 172"/>
                <a:gd name="T53" fmla="*/ 0 h 74"/>
                <a:gd name="T54" fmla="*/ 7 w 172"/>
                <a:gd name="T55" fmla="*/ 0 h 74"/>
                <a:gd name="T56" fmla="*/ 8 w 172"/>
                <a:gd name="T57" fmla="*/ 0 h 74"/>
                <a:gd name="T58" fmla="*/ 10 w 172"/>
                <a:gd name="T59" fmla="*/ 0 h 74"/>
                <a:gd name="T60" fmla="*/ 11 w 172"/>
                <a:gd name="T61" fmla="*/ 0 h 74"/>
                <a:gd name="T62" fmla="*/ 12 w 172"/>
                <a:gd name="T63" fmla="*/ 1 h 74"/>
                <a:gd name="T64" fmla="*/ 13 w 172"/>
                <a:gd name="T65" fmla="*/ 1 h 74"/>
                <a:gd name="T66" fmla="*/ 14 w 172"/>
                <a:gd name="T67" fmla="*/ 2 h 74"/>
                <a:gd name="T68" fmla="*/ 15 w 172"/>
                <a:gd name="T69" fmla="*/ 2 h 74"/>
                <a:gd name="T70" fmla="*/ 16 w 172"/>
                <a:gd name="T71" fmla="*/ 3 h 74"/>
                <a:gd name="T72" fmla="*/ 18 w 172"/>
                <a:gd name="T73" fmla="*/ 3 h 74"/>
                <a:gd name="T74" fmla="*/ 18 w 172"/>
                <a:gd name="T75" fmla="*/ 5 h 74"/>
                <a:gd name="T76" fmla="*/ 17 w 172"/>
                <a:gd name="T77" fmla="*/ 5 h 74"/>
                <a:gd name="T78" fmla="*/ 17 w 172"/>
                <a:gd name="T79" fmla="*/ 6 h 74"/>
                <a:gd name="T80" fmla="*/ 16 w 172"/>
                <a:gd name="T81" fmla="*/ 6 h 74"/>
                <a:gd name="T82" fmla="*/ 16 w 172"/>
                <a:gd name="T83" fmla="*/ 7 h 74"/>
                <a:gd name="T84" fmla="*/ 16 w 172"/>
                <a:gd name="T85" fmla="*/ 7 h 74"/>
                <a:gd name="T86" fmla="*/ 15 w 172"/>
                <a:gd name="T87" fmla="*/ 7 h 74"/>
                <a:gd name="T88" fmla="*/ 15 w 172"/>
                <a:gd name="T89" fmla="*/ 7 h 74"/>
                <a:gd name="T90" fmla="*/ 14 w 172"/>
                <a:gd name="T91" fmla="*/ 7 h 74"/>
                <a:gd name="T92" fmla="*/ 13 w 172"/>
                <a:gd name="T93" fmla="*/ 7 h 74"/>
                <a:gd name="T94" fmla="*/ 12 w 172"/>
                <a:gd name="T95" fmla="*/ 7 h 74"/>
                <a:gd name="T96" fmla="*/ 12 w 172"/>
                <a:gd name="T97" fmla="*/ 7 h 74"/>
                <a:gd name="T98" fmla="*/ 10 w 172"/>
                <a:gd name="T99" fmla="*/ 6 h 74"/>
                <a:gd name="T100" fmla="*/ 11 w 172"/>
                <a:gd name="T101" fmla="*/ 6 h 74"/>
                <a:gd name="T102" fmla="*/ 12 w 172"/>
                <a:gd name="T103" fmla="*/ 7 h 74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72"/>
                <a:gd name="T157" fmla="*/ 0 h 74"/>
                <a:gd name="T158" fmla="*/ 172 w 172"/>
                <a:gd name="T159" fmla="*/ 74 h 74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72" h="74">
                  <a:moveTo>
                    <a:pt x="119" y="61"/>
                  </a:moveTo>
                  <a:lnTo>
                    <a:pt x="109" y="61"/>
                  </a:lnTo>
                  <a:lnTo>
                    <a:pt x="99" y="61"/>
                  </a:lnTo>
                  <a:lnTo>
                    <a:pt x="90" y="61"/>
                  </a:lnTo>
                  <a:lnTo>
                    <a:pt x="80" y="61"/>
                  </a:lnTo>
                  <a:lnTo>
                    <a:pt x="60" y="74"/>
                  </a:lnTo>
                  <a:lnTo>
                    <a:pt x="33" y="74"/>
                  </a:lnTo>
                  <a:lnTo>
                    <a:pt x="36" y="61"/>
                  </a:lnTo>
                  <a:lnTo>
                    <a:pt x="39" y="49"/>
                  </a:lnTo>
                  <a:lnTo>
                    <a:pt x="30" y="49"/>
                  </a:lnTo>
                  <a:lnTo>
                    <a:pt x="23" y="48"/>
                  </a:lnTo>
                  <a:lnTo>
                    <a:pt x="15" y="47"/>
                  </a:lnTo>
                  <a:lnTo>
                    <a:pt x="9" y="45"/>
                  </a:lnTo>
                  <a:lnTo>
                    <a:pt x="5" y="42"/>
                  </a:lnTo>
                  <a:lnTo>
                    <a:pt x="2" y="39"/>
                  </a:lnTo>
                  <a:lnTo>
                    <a:pt x="1" y="35"/>
                  </a:lnTo>
                  <a:lnTo>
                    <a:pt x="0" y="31"/>
                  </a:lnTo>
                  <a:lnTo>
                    <a:pt x="1" y="26"/>
                  </a:lnTo>
                  <a:lnTo>
                    <a:pt x="2" y="21"/>
                  </a:lnTo>
                  <a:lnTo>
                    <a:pt x="5" y="17"/>
                  </a:lnTo>
                  <a:lnTo>
                    <a:pt x="8" y="14"/>
                  </a:lnTo>
                  <a:lnTo>
                    <a:pt x="13" y="10"/>
                  </a:lnTo>
                  <a:lnTo>
                    <a:pt x="18" y="7"/>
                  </a:lnTo>
                  <a:lnTo>
                    <a:pt x="24" y="5"/>
                  </a:lnTo>
                  <a:lnTo>
                    <a:pt x="29" y="4"/>
                  </a:lnTo>
                  <a:lnTo>
                    <a:pt x="42" y="1"/>
                  </a:lnTo>
                  <a:lnTo>
                    <a:pt x="56" y="0"/>
                  </a:lnTo>
                  <a:lnTo>
                    <a:pt x="69" y="0"/>
                  </a:lnTo>
                  <a:lnTo>
                    <a:pt x="80" y="0"/>
                  </a:lnTo>
                  <a:lnTo>
                    <a:pt x="94" y="1"/>
                  </a:lnTo>
                  <a:lnTo>
                    <a:pt x="106" y="4"/>
                  </a:lnTo>
                  <a:lnTo>
                    <a:pt x="117" y="7"/>
                  </a:lnTo>
                  <a:lnTo>
                    <a:pt x="128" y="13"/>
                  </a:lnTo>
                  <a:lnTo>
                    <a:pt x="139" y="17"/>
                  </a:lnTo>
                  <a:lnTo>
                    <a:pt x="150" y="21"/>
                  </a:lnTo>
                  <a:lnTo>
                    <a:pt x="161" y="24"/>
                  </a:lnTo>
                  <a:lnTo>
                    <a:pt x="172" y="25"/>
                  </a:lnTo>
                  <a:lnTo>
                    <a:pt x="172" y="43"/>
                  </a:lnTo>
                  <a:lnTo>
                    <a:pt x="169" y="48"/>
                  </a:lnTo>
                  <a:lnTo>
                    <a:pt x="165" y="53"/>
                  </a:lnTo>
                  <a:lnTo>
                    <a:pt x="161" y="57"/>
                  </a:lnTo>
                  <a:lnTo>
                    <a:pt x="158" y="60"/>
                  </a:lnTo>
                  <a:lnTo>
                    <a:pt x="153" y="62"/>
                  </a:lnTo>
                  <a:lnTo>
                    <a:pt x="149" y="63"/>
                  </a:lnTo>
                  <a:lnTo>
                    <a:pt x="146" y="65"/>
                  </a:lnTo>
                  <a:lnTo>
                    <a:pt x="141" y="65"/>
                  </a:lnTo>
                  <a:lnTo>
                    <a:pt x="131" y="65"/>
                  </a:lnTo>
                  <a:lnTo>
                    <a:pt x="121" y="63"/>
                  </a:lnTo>
                  <a:lnTo>
                    <a:pt x="112" y="59"/>
                  </a:lnTo>
                  <a:lnTo>
                    <a:pt x="99" y="55"/>
                  </a:lnTo>
                  <a:lnTo>
                    <a:pt x="106" y="55"/>
                  </a:lnTo>
                  <a:lnTo>
                    <a:pt x="119" y="61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10" name="Freeform 408"/>
            <p:cNvSpPr>
              <a:spLocks/>
            </p:cNvSpPr>
            <p:nvPr/>
          </p:nvSpPr>
          <p:spPr bwMode="auto">
            <a:xfrm>
              <a:off x="1450" y="1171"/>
              <a:ext cx="38" cy="17"/>
            </a:xfrm>
            <a:custGeom>
              <a:avLst/>
              <a:gdLst>
                <a:gd name="T0" fmla="*/ 3 w 120"/>
                <a:gd name="T1" fmla="*/ 6 h 49"/>
                <a:gd name="T2" fmla="*/ 5 w 120"/>
                <a:gd name="T3" fmla="*/ 6 h 49"/>
                <a:gd name="T4" fmla="*/ 6 w 120"/>
                <a:gd name="T5" fmla="*/ 6 h 49"/>
                <a:gd name="T6" fmla="*/ 8 w 120"/>
                <a:gd name="T7" fmla="*/ 6 h 49"/>
                <a:gd name="T8" fmla="*/ 9 w 120"/>
                <a:gd name="T9" fmla="*/ 5 h 49"/>
                <a:gd name="T10" fmla="*/ 10 w 120"/>
                <a:gd name="T11" fmla="*/ 5 h 49"/>
                <a:gd name="T12" fmla="*/ 10 w 120"/>
                <a:gd name="T13" fmla="*/ 5 h 49"/>
                <a:gd name="T14" fmla="*/ 10 w 120"/>
                <a:gd name="T15" fmla="*/ 4 h 49"/>
                <a:gd name="T16" fmla="*/ 11 w 120"/>
                <a:gd name="T17" fmla="*/ 4 h 49"/>
                <a:gd name="T18" fmla="*/ 11 w 120"/>
                <a:gd name="T19" fmla="*/ 3 h 49"/>
                <a:gd name="T20" fmla="*/ 12 w 120"/>
                <a:gd name="T21" fmla="*/ 1 h 49"/>
                <a:gd name="T22" fmla="*/ 10 w 120"/>
                <a:gd name="T23" fmla="*/ 1 h 49"/>
                <a:gd name="T24" fmla="*/ 9 w 120"/>
                <a:gd name="T25" fmla="*/ 0 h 49"/>
                <a:gd name="T26" fmla="*/ 7 w 120"/>
                <a:gd name="T27" fmla="*/ 0 h 49"/>
                <a:gd name="T28" fmla="*/ 5 w 120"/>
                <a:gd name="T29" fmla="*/ 0 h 49"/>
                <a:gd name="T30" fmla="*/ 3 w 120"/>
                <a:gd name="T31" fmla="*/ 0 h 49"/>
                <a:gd name="T32" fmla="*/ 2 w 120"/>
                <a:gd name="T33" fmla="*/ 0 h 49"/>
                <a:gd name="T34" fmla="*/ 1 w 120"/>
                <a:gd name="T35" fmla="*/ 0 h 49"/>
                <a:gd name="T36" fmla="*/ 0 w 120"/>
                <a:gd name="T37" fmla="*/ 1 h 49"/>
                <a:gd name="T38" fmla="*/ 0 w 120"/>
                <a:gd name="T39" fmla="*/ 3 h 49"/>
                <a:gd name="T40" fmla="*/ 0 w 120"/>
                <a:gd name="T41" fmla="*/ 4 h 49"/>
                <a:gd name="T42" fmla="*/ 1 w 120"/>
                <a:gd name="T43" fmla="*/ 5 h 49"/>
                <a:gd name="T44" fmla="*/ 1 w 120"/>
                <a:gd name="T45" fmla="*/ 5 h 49"/>
                <a:gd name="T46" fmla="*/ 1 w 120"/>
                <a:gd name="T47" fmla="*/ 6 h 49"/>
                <a:gd name="T48" fmla="*/ 2 w 120"/>
                <a:gd name="T49" fmla="*/ 6 h 49"/>
                <a:gd name="T50" fmla="*/ 3 w 120"/>
                <a:gd name="T51" fmla="*/ 6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49"/>
                <a:gd name="T80" fmla="*/ 120 w 120"/>
                <a:gd name="T81" fmla="*/ 49 h 49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49">
                  <a:moveTo>
                    <a:pt x="27" y="49"/>
                  </a:moveTo>
                  <a:lnTo>
                    <a:pt x="47" y="49"/>
                  </a:lnTo>
                  <a:lnTo>
                    <a:pt x="64" y="48"/>
                  </a:lnTo>
                  <a:lnTo>
                    <a:pt x="78" y="46"/>
                  </a:lnTo>
                  <a:lnTo>
                    <a:pt x="90" y="43"/>
                  </a:lnTo>
                  <a:lnTo>
                    <a:pt x="96" y="39"/>
                  </a:lnTo>
                  <a:lnTo>
                    <a:pt x="100" y="37"/>
                  </a:lnTo>
                  <a:lnTo>
                    <a:pt x="104" y="34"/>
                  </a:lnTo>
                  <a:lnTo>
                    <a:pt x="108" y="31"/>
                  </a:lnTo>
                  <a:lnTo>
                    <a:pt x="114" y="22"/>
                  </a:lnTo>
                  <a:lnTo>
                    <a:pt x="120" y="12"/>
                  </a:lnTo>
                  <a:lnTo>
                    <a:pt x="102" y="6"/>
                  </a:lnTo>
                  <a:lnTo>
                    <a:pt x="84" y="3"/>
                  </a:lnTo>
                  <a:lnTo>
                    <a:pt x="66" y="1"/>
                  </a:lnTo>
                  <a:lnTo>
                    <a:pt x="50" y="0"/>
                  </a:lnTo>
                  <a:lnTo>
                    <a:pt x="34" y="1"/>
                  </a:lnTo>
                  <a:lnTo>
                    <a:pt x="20" y="2"/>
                  </a:lnTo>
                  <a:lnTo>
                    <a:pt x="9" y="4"/>
                  </a:lnTo>
                  <a:lnTo>
                    <a:pt x="0" y="6"/>
                  </a:lnTo>
                  <a:lnTo>
                    <a:pt x="0" y="30"/>
                  </a:lnTo>
                  <a:lnTo>
                    <a:pt x="2" y="35"/>
                  </a:lnTo>
                  <a:lnTo>
                    <a:pt x="6" y="38"/>
                  </a:lnTo>
                  <a:lnTo>
                    <a:pt x="9" y="41"/>
                  </a:lnTo>
                  <a:lnTo>
                    <a:pt x="13" y="45"/>
                  </a:lnTo>
                  <a:lnTo>
                    <a:pt x="20" y="48"/>
                  </a:lnTo>
                  <a:lnTo>
                    <a:pt x="27" y="49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11" name="Freeform 409"/>
            <p:cNvSpPr>
              <a:spLocks/>
            </p:cNvSpPr>
            <p:nvPr/>
          </p:nvSpPr>
          <p:spPr bwMode="auto">
            <a:xfrm>
              <a:off x="1441" y="1194"/>
              <a:ext cx="26" cy="19"/>
            </a:xfrm>
            <a:custGeom>
              <a:avLst/>
              <a:gdLst>
                <a:gd name="T0" fmla="*/ 3 w 85"/>
                <a:gd name="T1" fmla="*/ 0 h 61"/>
                <a:gd name="T2" fmla="*/ 2 w 85"/>
                <a:gd name="T3" fmla="*/ 1 h 61"/>
                <a:gd name="T4" fmla="*/ 1 w 85"/>
                <a:gd name="T5" fmla="*/ 1 h 61"/>
                <a:gd name="T6" fmla="*/ 1 w 85"/>
                <a:gd name="T7" fmla="*/ 2 h 61"/>
                <a:gd name="T8" fmla="*/ 0 w 85"/>
                <a:gd name="T9" fmla="*/ 2 h 61"/>
                <a:gd name="T10" fmla="*/ 0 w 85"/>
                <a:gd name="T11" fmla="*/ 2 h 61"/>
                <a:gd name="T12" fmla="*/ 0 w 85"/>
                <a:gd name="T13" fmla="*/ 3 h 61"/>
                <a:gd name="T14" fmla="*/ 0 w 85"/>
                <a:gd name="T15" fmla="*/ 3 h 61"/>
                <a:gd name="T16" fmla="*/ 0 w 85"/>
                <a:gd name="T17" fmla="*/ 4 h 61"/>
                <a:gd name="T18" fmla="*/ 0 w 85"/>
                <a:gd name="T19" fmla="*/ 4 h 61"/>
                <a:gd name="T20" fmla="*/ 1 w 85"/>
                <a:gd name="T21" fmla="*/ 4 h 61"/>
                <a:gd name="T22" fmla="*/ 1 w 85"/>
                <a:gd name="T23" fmla="*/ 5 h 61"/>
                <a:gd name="T24" fmla="*/ 2 w 85"/>
                <a:gd name="T25" fmla="*/ 5 h 61"/>
                <a:gd name="T26" fmla="*/ 2 w 85"/>
                <a:gd name="T27" fmla="*/ 5 h 61"/>
                <a:gd name="T28" fmla="*/ 3 w 85"/>
                <a:gd name="T29" fmla="*/ 6 h 61"/>
                <a:gd name="T30" fmla="*/ 4 w 85"/>
                <a:gd name="T31" fmla="*/ 6 h 61"/>
                <a:gd name="T32" fmla="*/ 5 w 85"/>
                <a:gd name="T33" fmla="*/ 6 h 61"/>
                <a:gd name="T34" fmla="*/ 5 w 85"/>
                <a:gd name="T35" fmla="*/ 6 h 61"/>
                <a:gd name="T36" fmla="*/ 6 w 85"/>
                <a:gd name="T37" fmla="*/ 6 h 61"/>
                <a:gd name="T38" fmla="*/ 6 w 85"/>
                <a:gd name="T39" fmla="*/ 6 h 61"/>
                <a:gd name="T40" fmla="*/ 6 w 85"/>
                <a:gd name="T41" fmla="*/ 6 h 61"/>
                <a:gd name="T42" fmla="*/ 7 w 85"/>
                <a:gd name="T43" fmla="*/ 5 h 61"/>
                <a:gd name="T44" fmla="*/ 7 w 85"/>
                <a:gd name="T45" fmla="*/ 5 h 61"/>
                <a:gd name="T46" fmla="*/ 7 w 85"/>
                <a:gd name="T47" fmla="*/ 4 h 61"/>
                <a:gd name="T48" fmla="*/ 8 w 85"/>
                <a:gd name="T49" fmla="*/ 3 h 61"/>
                <a:gd name="T50" fmla="*/ 8 w 85"/>
                <a:gd name="T51" fmla="*/ 2 h 61"/>
                <a:gd name="T52" fmla="*/ 8 w 85"/>
                <a:gd name="T53" fmla="*/ 2 h 61"/>
                <a:gd name="T54" fmla="*/ 3 w 85"/>
                <a:gd name="T55" fmla="*/ 0 h 61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85"/>
                <a:gd name="T85" fmla="*/ 0 h 61"/>
                <a:gd name="T86" fmla="*/ 85 w 85"/>
                <a:gd name="T87" fmla="*/ 61 h 61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85" h="61">
                  <a:moveTo>
                    <a:pt x="33" y="0"/>
                  </a:moveTo>
                  <a:lnTo>
                    <a:pt x="22" y="5"/>
                  </a:lnTo>
                  <a:lnTo>
                    <a:pt x="11" y="12"/>
                  </a:lnTo>
                  <a:lnTo>
                    <a:pt x="6" y="17"/>
                  </a:lnTo>
                  <a:lnTo>
                    <a:pt x="3" y="21"/>
                  </a:lnTo>
                  <a:lnTo>
                    <a:pt x="0" y="25"/>
                  </a:lnTo>
                  <a:lnTo>
                    <a:pt x="0" y="31"/>
                  </a:lnTo>
                  <a:lnTo>
                    <a:pt x="0" y="34"/>
                  </a:lnTo>
                  <a:lnTo>
                    <a:pt x="1" y="37"/>
                  </a:lnTo>
                  <a:lnTo>
                    <a:pt x="2" y="40"/>
                  </a:lnTo>
                  <a:lnTo>
                    <a:pt x="5" y="43"/>
                  </a:lnTo>
                  <a:lnTo>
                    <a:pt x="11" y="48"/>
                  </a:lnTo>
                  <a:lnTo>
                    <a:pt x="18" y="53"/>
                  </a:lnTo>
                  <a:lnTo>
                    <a:pt x="27" y="56"/>
                  </a:lnTo>
                  <a:lnTo>
                    <a:pt x="36" y="59"/>
                  </a:lnTo>
                  <a:lnTo>
                    <a:pt x="45" y="61"/>
                  </a:lnTo>
                  <a:lnTo>
                    <a:pt x="53" y="61"/>
                  </a:lnTo>
                  <a:lnTo>
                    <a:pt x="56" y="61"/>
                  </a:lnTo>
                  <a:lnTo>
                    <a:pt x="59" y="60"/>
                  </a:lnTo>
                  <a:lnTo>
                    <a:pt x="62" y="59"/>
                  </a:lnTo>
                  <a:lnTo>
                    <a:pt x="66" y="57"/>
                  </a:lnTo>
                  <a:lnTo>
                    <a:pt x="72" y="52"/>
                  </a:lnTo>
                  <a:lnTo>
                    <a:pt x="77" y="47"/>
                  </a:lnTo>
                  <a:lnTo>
                    <a:pt x="80" y="40"/>
                  </a:lnTo>
                  <a:lnTo>
                    <a:pt x="83" y="33"/>
                  </a:lnTo>
                  <a:lnTo>
                    <a:pt x="85" y="25"/>
                  </a:lnTo>
                  <a:lnTo>
                    <a:pt x="85" y="18"/>
                  </a:lnTo>
                  <a:lnTo>
                    <a:pt x="33" y="0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12" name="Freeform 410"/>
            <p:cNvSpPr>
              <a:spLocks/>
            </p:cNvSpPr>
            <p:nvPr/>
          </p:nvSpPr>
          <p:spPr bwMode="auto">
            <a:xfrm>
              <a:off x="1254" y="1188"/>
              <a:ext cx="31" cy="6"/>
            </a:xfrm>
            <a:custGeom>
              <a:avLst/>
              <a:gdLst>
                <a:gd name="T0" fmla="*/ 0 w 100"/>
                <a:gd name="T1" fmla="*/ 1 h 19"/>
                <a:gd name="T2" fmla="*/ 1 w 100"/>
                <a:gd name="T3" fmla="*/ 1 h 19"/>
                <a:gd name="T4" fmla="*/ 1 w 100"/>
                <a:gd name="T5" fmla="*/ 2 h 19"/>
                <a:gd name="T6" fmla="*/ 2 w 100"/>
                <a:gd name="T7" fmla="*/ 2 h 19"/>
                <a:gd name="T8" fmla="*/ 2 w 100"/>
                <a:gd name="T9" fmla="*/ 2 h 19"/>
                <a:gd name="T10" fmla="*/ 10 w 100"/>
                <a:gd name="T11" fmla="*/ 1 h 19"/>
                <a:gd name="T12" fmla="*/ 7 w 100"/>
                <a:gd name="T13" fmla="*/ 0 h 19"/>
                <a:gd name="T14" fmla="*/ 5 w 100"/>
                <a:gd name="T15" fmla="*/ 0 h 19"/>
                <a:gd name="T16" fmla="*/ 3 w 100"/>
                <a:gd name="T17" fmla="*/ 0 h 19"/>
                <a:gd name="T18" fmla="*/ 2 w 100"/>
                <a:gd name="T19" fmla="*/ 0 h 19"/>
                <a:gd name="T20" fmla="*/ 1 w 100"/>
                <a:gd name="T21" fmla="*/ 0 h 19"/>
                <a:gd name="T22" fmla="*/ 0 w 100"/>
                <a:gd name="T23" fmla="*/ 1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00"/>
                <a:gd name="T37" fmla="*/ 0 h 19"/>
                <a:gd name="T38" fmla="*/ 100 w 100"/>
                <a:gd name="T39" fmla="*/ 19 h 1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00" h="19">
                  <a:moveTo>
                    <a:pt x="0" y="6"/>
                  </a:moveTo>
                  <a:lnTo>
                    <a:pt x="7" y="11"/>
                  </a:lnTo>
                  <a:lnTo>
                    <a:pt x="13" y="15"/>
                  </a:lnTo>
                  <a:lnTo>
                    <a:pt x="21" y="18"/>
                  </a:lnTo>
                  <a:lnTo>
                    <a:pt x="27" y="19"/>
                  </a:lnTo>
                  <a:lnTo>
                    <a:pt x="100" y="6"/>
                  </a:lnTo>
                  <a:lnTo>
                    <a:pt x="73" y="2"/>
                  </a:lnTo>
                  <a:lnTo>
                    <a:pt x="47" y="0"/>
                  </a:lnTo>
                  <a:lnTo>
                    <a:pt x="36" y="0"/>
                  </a:lnTo>
                  <a:lnTo>
                    <a:pt x="24" y="1"/>
                  </a:lnTo>
                  <a:lnTo>
                    <a:pt x="12" y="3"/>
                  </a:lnTo>
                  <a:lnTo>
                    <a:pt x="0" y="6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13" name="Freeform 411"/>
            <p:cNvSpPr>
              <a:spLocks/>
            </p:cNvSpPr>
            <p:nvPr/>
          </p:nvSpPr>
          <p:spPr bwMode="auto">
            <a:xfrm>
              <a:off x="1272" y="1168"/>
              <a:ext cx="53" cy="15"/>
            </a:xfrm>
            <a:custGeom>
              <a:avLst/>
              <a:gdLst>
                <a:gd name="T0" fmla="*/ 0 w 166"/>
                <a:gd name="T1" fmla="*/ 3 h 45"/>
                <a:gd name="T2" fmla="*/ 0 w 166"/>
                <a:gd name="T3" fmla="*/ 3 h 45"/>
                <a:gd name="T4" fmla="*/ 0 w 166"/>
                <a:gd name="T5" fmla="*/ 3 h 45"/>
                <a:gd name="T6" fmla="*/ 1 w 166"/>
                <a:gd name="T7" fmla="*/ 4 h 45"/>
                <a:gd name="T8" fmla="*/ 1 w 166"/>
                <a:gd name="T9" fmla="*/ 4 h 45"/>
                <a:gd name="T10" fmla="*/ 3 w 166"/>
                <a:gd name="T11" fmla="*/ 4 h 45"/>
                <a:gd name="T12" fmla="*/ 4 w 166"/>
                <a:gd name="T13" fmla="*/ 5 h 45"/>
                <a:gd name="T14" fmla="*/ 8 w 166"/>
                <a:gd name="T15" fmla="*/ 5 h 45"/>
                <a:gd name="T16" fmla="*/ 9 w 166"/>
                <a:gd name="T17" fmla="*/ 5 h 45"/>
                <a:gd name="T18" fmla="*/ 17 w 166"/>
                <a:gd name="T19" fmla="*/ 3 h 45"/>
                <a:gd name="T20" fmla="*/ 16 w 166"/>
                <a:gd name="T21" fmla="*/ 3 h 45"/>
                <a:gd name="T22" fmla="*/ 14 w 166"/>
                <a:gd name="T23" fmla="*/ 2 h 45"/>
                <a:gd name="T24" fmla="*/ 11 w 166"/>
                <a:gd name="T25" fmla="*/ 1 h 45"/>
                <a:gd name="T26" fmla="*/ 8 w 166"/>
                <a:gd name="T27" fmla="*/ 0 h 45"/>
                <a:gd name="T28" fmla="*/ 7 w 166"/>
                <a:gd name="T29" fmla="*/ 0 h 45"/>
                <a:gd name="T30" fmla="*/ 5 w 166"/>
                <a:gd name="T31" fmla="*/ 0 h 45"/>
                <a:gd name="T32" fmla="*/ 4 w 166"/>
                <a:gd name="T33" fmla="*/ 0 h 45"/>
                <a:gd name="T34" fmla="*/ 3 w 166"/>
                <a:gd name="T35" fmla="*/ 0 h 45"/>
                <a:gd name="T36" fmla="*/ 2 w 166"/>
                <a:gd name="T37" fmla="*/ 0 h 45"/>
                <a:gd name="T38" fmla="*/ 1 w 166"/>
                <a:gd name="T39" fmla="*/ 1 h 45"/>
                <a:gd name="T40" fmla="*/ 1 w 166"/>
                <a:gd name="T41" fmla="*/ 1 h 45"/>
                <a:gd name="T42" fmla="*/ 1 w 166"/>
                <a:gd name="T43" fmla="*/ 1 h 45"/>
                <a:gd name="T44" fmla="*/ 0 w 166"/>
                <a:gd name="T45" fmla="*/ 1 h 45"/>
                <a:gd name="T46" fmla="*/ 0 w 166"/>
                <a:gd name="T47" fmla="*/ 2 h 45"/>
                <a:gd name="T48" fmla="*/ 0 w 166"/>
                <a:gd name="T49" fmla="*/ 2 h 45"/>
                <a:gd name="T50" fmla="*/ 0 w 166"/>
                <a:gd name="T51" fmla="*/ 3 h 4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66"/>
                <a:gd name="T79" fmla="*/ 0 h 45"/>
                <a:gd name="T80" fmla="*/ 166 w 166"/>
                <a:gd name="T81" fmla="*/ 45 h 45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66" h="45">
                  <a:moveTo>
                    <a:pt x="0" y="27"/>
                  </a:moveTo>
                  <a:lnTo>
                    <a:pt x="0" y="29"/>
                  </a:lnTo>
                  <a:lnTo>
                    <a:pt x="3" y="31"/>
                  </a:lnTo>
                  <a:lnTo>
                    <a:pt x="8" y="33"/>
                  </a:lnTo>
                  <a:lnTo>
                    <a:pt x="13" y="35"/>
                  </a:lnTo>
                  <a:lnTo>
                    <a:pt x="27" y="38"/>
                  </a:lnTo>
                  <a:lnTo>
                    <a:pt x="44" y="41"/>
                  </a:lnTo>
                  <a:lnTo>
                    <a:pt x="75" y="44"/>
                  </a:lnTo>
                  <a:lnTo>
                    <a:pt x="92" y="45"/>
                  </a:lnTo>
                  <a:lnTo>
                    <a:pt x="166" y="27"/>
                  </a:lnTo>
                  <a:lnTo>
                    <a:pt x="157" y="25"/>
                  </a:lnTo>
                  <a:lnTo>
                    <a:pt x="137" y="19"/>
                  </a:lnTo>
                  <a:lnTo>
                    <a:pt x="110" y="11"/>
                  </a:lnTo>
                  <a:lnTo>
                    <a:pt x="80" y="4"/>
                  </a:lnTo>
                  <a:lnTo>
                    <a:pt x="65" y="2"/>
                  </a:lnTo>
                  <a:lnTo>
                    <a:pt x="50" y="1"/>
                  </a:lnTo>
                  <a:lnTo>
                    <a:pt x="36" y="0"/>
                  </a:lnTo>
                  <a:lnTo>
                    <a:pt x="24" y="2"/>
                  </a:lnTo>
                  <a:lnTo>
                    <a:pt x="19" y="3"/>
                  </a:lnTo>
                  <a:lnTo>
                    <a:pt x="14" y="5"/>
                  </a:lnTo>
                  <a:lnTo>
                    <a:pt x="10" y="7"/>
                  </a:lnTo>
                  <a:lnTo>
                    <a:pt x="7" y="10"/>
                  </a:lnTo>
                  <a:lnTo>
                    <a:pt x="3" y="13"/>
                  </a:lnTo>
                  <a:lnTo>
                    <a:pt x="1" y="17"/>
                  </a:lnTo>
                  <a:lnTo>
                    <a:pt x="0" y="22"/>
                  </a:lnTo>
                  <a:lnTo>
                    <a:pt x="0" y="27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14" name="Freeform 412"/>
            <p:cNvSpPr>
              <a:spLocks/>
            </p:cNvSpPr>
            <p:nvPr/>
          </p:nvSpPr>
          <p:spPr bwMode="auto">
            <a:xfrm>
              <a:off x="1488" y="1422"/>
              <a:ext cx="11" cy="8"/>
            </a:xfrm>
            <a:custGeom>
              <a:avLst/>
              <a:gdLst>
                <a:gd name="T0" fmla="*/ 0 w 33"/>
                <a:gd name="T1" fmla="*/ 0 h 25"/>
                <a:gd name="T2" fmla="*/ 0 w 33"/>
                <a:gd name="T3" fmla="*/ 1 h 25"/>
                <a:gd name="T4" fmla="*/ 0 w 33"/>
                <a:gd name="T5" fmla="*/ 2 h 25"/>
                <a:gd name="T6" fmla="*/ 1 w 33"/>
                <a:gd name="T7" fmla="*/ 2 h 25"/>
                <a:gd name="T8" fmla="*/ 1 w 33"/>
                <a:gd name="T9" fmla="*/ 2 h 25"/>
                <a:gd name="T10" fmla="*/ 2 w 33"/>
                <a:gd name="T11" fmla="*/ 3 h 25"/>
                <a:gd name="T12" fmla="*/ 2 w 33"/>
                <a:gd name="T13" fmla="*/ 3 h 25"/>
                <a:gd name="T14" fmla="*/ 3 w 33"/>
                <a:gd name="T15" fmla="*/ 3 h 25"/>
                <a:gd name="T16" fmla="*/ 4 w 33"/>
                <a:gd name="T17" fmla="*/ 3 h 25"/>
                <a:gd name="T18" fmla="*/ 4 w 33"/>
                <a:gd name="T19" fmla="*/ 0 h 25"/>
                <a:gd name="T20" fmla="*/ 3 w 33"/>
                <a:gd name="T21" fmla="*/ 0 h 25"/>
                <a:gd name="T22" fmla="*/ 2 w 33"/>
                <a:gd name="T23" fmla="*/ 0 h 25"/>
                <a:gd name="T24" fmla="*/ 1 w 33"/>
                <a:gd name="T25" fmla="*/ 0 h 25"/>
                <a:gd name="T26" fmla="*/ 0 w 33"/>
                <a:gd name="T27" fmla="*/ 0 h 2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33"/>
                <a:gd name="T43" fmla="*/ 0 h 25"/>
                <a:gd name="T44" fmla="*/ 33 w 33"/>
                <a:gd name="T45" fmla="*/ 25 h 2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33" h="25">
                  <a:moveTo>
                    <a:pt x="0" y="0"/>
                  </a:moveTo>
                  <a:lnTo>
                    <a:pt x="0" y="9"/>
                  </a:lnTo>
                  <a:lnTo>
                    <a:pt x="3" y="15"/>
                  </a:lnTo>
                  <a:lnTo>
                    <a:pt x="6" y="20"/>
                  </a:lnTo>
                  <a:lnTo>
                    <a:pt x="11" y="22"/>
                  </a:lnTo>
                  <a:lnTo>
                    <a:pt x="16" y="24"/>
                  </a:lnTo>
                  <a:lnTo>
                    <a:pt x="22" y="25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15" name="Freeform 413"/>
            <p:cNvSpPr>
              <a:spLocks/>
            </p:cNvSpPr>
            <p:nvPr/>
          </p:nvSpPr>
          <p:spPr bwMode="auto">
            <a:xfrm>
              <a:off x="1605" y="1729"/>
              <a:ext cx="16" cy="20"/>
            </a:xfrm>
            <a:custGeom>
              <a:avLst/>
              <a:gdLst>
                <a:gd name="T0" fmla="*/ 0 w 48"/>
                <a:gd name="T1" fmla="*/ 6 h 62"/>
                <a:gd name="T2" fmla="*/ 1 w 48"/>
                <a:gd name="T3" fmla="*/ 6 h 62"/>
                <a:gd name="T4" fmla="*/ 2 w 48"/>
                <a:gd name="T5" fmla="*/ 5 h 62"/>
                <a:gd name="T6" fmla="*/ 3 w 48"/>
                <a:gd name="T7" fmla="*/ 5 h 62"/>
                <a:gd name="T8" fmla="*/ 4 w 48"/>
                <a:gd name="T9" fmla="*/ 4 h 62"/>
                <a:gd name="T10" fmla="*/ 5 w 48"/>
                <a:gd name="T11" fmla="*/ 3 h 62"/>
                <a:gd name="T12" fmla="*/ 5 w 48"/>
                <a:gd name="T13" fmla="*/ 2 h 62"/>
                <a:gd name="T14" fmla="*/ 5 w 48"/>
                <a:gd name="T15" fmla="*/ 1 h 62"/>
                <a:gd name="T16" fmla="*/ 5 w 48"/>
                <a:gd name="T17" fmla="*/ 0 h 62"/>
                <a:gd name="T18" fmla="*/ 4 w 48"/>
                <a:gd name="T19" fmla="*/ 0 h 62"/>
                <a:gd name="T20" fmla="*/ 4 w 48"/>
                <a:gd name="T21" fmla="*/ 1 h 62"/>
                <a:gd name="T22" fmla="*/ 3 w 48"/>
                <a:gd name="T23" fmla="*/ 1 h 62"/>
                <a:gd name="T24" fmla="*/ 2 w 48"/>
                <a:gd name="T25" fmla="*/ 2 h 62"/>
                <a:gd name="T26" fmla="*/ 1 w 48"/>
                <a:gd name="T27" fmla="*/ 2 h 62"/>
                <a:gd name="T28" fmla="*/ 1 w 48"/>
                <a:gd name="T29" fmla="*/ 3 h 62"/>
                <a:gd name="T30" fmla="*/ 0 w 48"/>
                <a:gd name="T31" fmla="*/ 3 h 62"/>
                <a:gd name="T32" fmla="*/ 0 w 48"/>
                <a:gd name="T33" fmla="*/ 4 h 62"/>
                <a:gd name="T34" fmla="*/ 0 w 48"/>
                <a:gd name="T35" fmla="*/ 4 h 62"/>
                <a:gd name="T36" fmla="*/ 0 w 48"/>
                <a:gd name="T37" fmla="*/ 5 h 62"/>
                <a:gd name="T38" fmla="*/ 0 w 48"/>
                <a:gd name="T39" fmla="*/ 5 h 62"/>
                <a:gd name="T40" fmla="*/ 0 w 48"/>
                <a:gd name="T41" fmla="*/ 6 h 62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48"/>
                <a:gd name="T64" fmla="*/ 0 h 62"/>
                <a:gd name="T65" fmla="*/ 48 w 48"/>
                <a:gd name="T66" fmla="*/ 62 h 62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48" h="62">
                  <a:moveTo>
                    <a:pt x="0" y="62"/>
                  </a:moveTo>
                  <a:lnTo>
                    <a:pt x="12" y="56"/>
                  </a:lnTo>
                  <a:lnTo>
                    <a:pt x="22" y="50"/>
                  </a:lnTo>
                  <a:lnTo>
                    <a:pt x="30" y="43"/>
                  </a:lnTo>
                  <a:lnTo>
                    <a:pt x="37" y="36"/>
                  </a:lnTo>
                  <a:lnTo>
                    <a:pt x="41" y="28"/>
                  </a:lnTo>
                  <a:lnTo>
                    <a:pt x="44" y="19"/>
                  </a:lnTo>
                  <a:lnTo>
                    <a:pt x="47" y="9"/>
                  </a:lnTo>
                  <a:lnTo>
                    <a:pt x="48" y="0"/>
                  </a:lnTo>
                  <a:lnTo>
                    <a:pt x="40" y="3"/>
                  </a:lnTo>
                  <a:lnTo>
                    <a:pt x="32" y="6"/>
                  </a:lnTo>
                  <a:lnTo>
                    <a:pt x="23" y="10"/>
                  </a:lnTo>
                  <a:lnTo>
                    <a:pt x="17" y="15"/>
                  </a:lnTo>
                  <a:lnTo>
                    <a:pt x="10" y="21"/>
                  </a:lnTo>
                  <a:lnTo>
                    <a:pt x="6" y="27"/>
                  </a:lnTo>
                  <a:lnTo>
                    <a:pt x="4" y="31"/>
                  </a:lnTo>
                  <a:lnTo>
                    <a:pt x="3" y="35"/>
                  </a:lnTo>
                  <a:lnTo>
                    <a:pt x="1" y="39"/>
                  </a:lnTo>
                  <a:lnTo>
                    <a:pt x="0" y="43"/>
                  </a:lnTo>
                  <a:lnTo>
                    <a:pt x="0" y="52"/>
                  </a:lnTo>
                  <a:lnTo>
                    <a:pt x="0" y="62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16" name="Freeform 414"/>
            <p:cNvSpPr>
              <a:spLocks/>
            </p:cNvSpPr>
            <p:nvPr/>
          </p:nvSpPr>
          <p:spPr bwMode="auto">
            <a:xfrm>
              <a:off x="1554" y="1729"/>
              <a:ext cx="36" cy="20"/>
            </a:xfrm>
            <a:custGeom>
              <a:avLst/>
              <a:gdLst>
                <a:gd name="T0" fmla="*/ 5 w 113"/>
                <a:gd name="T1" fmla="*/ 0 h 62"/>
                <a:gd name="T2" fmla="*/ 4 w 113"/>
                <a:gd name="T3" fmla="*/ 1 h 62"/>
                <a:gd name="T4" fmla="*/ 2 w 113"/>
                <a:gd name="T5" fmla="*/ 2 h 62"/>
                <a:gd name="T6" fmla="*/ 1 w 113"/>
                <a:gd name="T7" fmla="*/ 3 h 62"/>
                <a:gd name="T8" fmla="*/ 0 w 113"/>
                <a:gd name="T9" fmla="*/ 4 h 62"/>
                <a:gd name="T10" fmla="*/ 2 w 113"/>
                <a:gd name="T11" fmla="*/ 5 h 62"/>
                <a:gd name="T12" fmla="*/ 4 w 113"/>
                <a:gd name="T13" fmla="*/ 5 h 62"/>
                <a:gd name="T14" fmla="*/ 5 w 113"/>
                <a:gd name="T15" fmla="*/ 6 h 62"/>
                <a:gd name="T16" fmla="*/ 6 w 113"/>
                <a:gd name="T17" fmla="*/ 6 h 62"/>
                <a:gd name="T18" fmla="*/ 7 w 113"/>
                <a:gd name="T19" fmla="*/ 6 h 62"/>
                <a:gd name="T20" fmla="*/ 9 w 113"/>
                <a:gd name="T21" fmla="*/ 6 h 62"/>
                <a:gd name="T22" fmla="*/ 10 w 113"/>
                <a:gd name="T23" fmla="*/ 6 h 62"/>
                <a:gd name="T24" fmla="*/ 11 w 113"/>
                <a:gd name="T25" fmla="*/ 6 h 62"/>
                <a:gd name="T26" fmla="*/ 11 w 113"/>
                <a:gd name="T27" fmla="*/ 6 h 62"/>
                <a:gd name="T28" fmla="*/ 11 w 113"/>
                <a:gd name="T29" fmla="*/ 5 h 62"/>
                <a:gd name="T30" fmla="*/ 11 w 113"/>
                <a:gd name="T31" fmla="*/ 5 h 62"/>
                <a:gd name="T32" fmla="*/ 11 w 113"/>
                <a:gd name="T33" fmla="*/ 5 h 62"/>
                <a:gd name="T34" fmla="*/ 9 w 113"/>
                <a:gd name="T35" fmla="*/ 4 h 62"/>
                <a:gd name="T36" fmla="*/ 7 w 113"/>
                <a:gd name="T37" fmla="*/ 3 h 62"/>
                <a:gd name="T38" fmla="*/ 7 w 113"/>
                <a:gd name="T39" fmla="*/ 3 h 62"/>
                <a:gd name="T40" fmla="*/ 6 w 113"/>
                <a:gd name="T41" fmla="*/ 3 h 62"/>
                <a:gd name="T42" fmla="*/ 6 w 113"/>
                <a:gd name="T43" fmla="*/ 2 h 62"/>
                <a:gd name="T44" fmla="*/ 5 w 113"/>
                <a:gd name="T45" fmla="*/ 2 h 62"/>
                <a:gd name="T46" fmla="*/ 5 w 113"/>
                <a:gd name="T47" fmla="*/ 2 h 62"/>
                <a:gd name="T48" fmla="*/ 5 w 113"/>
                <a:gd name="T49" fmla="*/ 1 h 62"/>
                <a:gd name="T50" fmla="*/ 5 w 113"/>
                <a:gd name="T51" fmla="*/ 1 h 62"/>
                <a:gd name="T52" fmla="*/ 5 w 113"/>
                <a:gd name="T53" fmla="*/ 0 h 6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13"/>
                <a:gd name="T82" fmla="*/ 0 h 62"/>
                <a:gd name="T83" fmla="*/ 113 w 113"/>
                <a:gd name="T84" fmla="*/ 62 h 62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13" h="62">
                  <a:moveTo>
                    <a:pt x="47" y="0"/>
                  </a:moveTo>
                  <a:lnTo>
                    <a:pt x="36" y="7"/>
                  </a:lnTo>
                  <a:lnTo>
                    <a:pt x="23" y="17"/>
                  </a:lnTo>
                  <a:lnTo>
                    <a:pt x="11" y="27"/>
                  </a:lnTo>
                  <a:lnTo>
                    <a:pt x="0" y="37"/>
                  </a:lnTo>
                  <a:lnTo>
                    <a:pt x="22" y="46"/>
                  </a:lnTo>
                  <a:lnTo>
                    <a:pt x="41" y="54"/>
                  </a:lnTo>
                  <a:lnTo>
                    <a:pt x="51" y="57"/>
                  </a:lnTo>
                  <a:lnTo>
                    <a:pt x="62" y="59"/>
                  </a:lnTo>
                  <a:lnTo>
                    <a:pt x="73" y="61"/>
                  </a:lnTo>
                  <a:lnTo>
                    <a:pt x="87" y="62"/>
                  </a:lnTo>
                  <a:lnTo>
                    <a:pt x="97" y="61"/>
                  </a:lnTo>
                  <a:lnTo>
                    <a:pt x="106" y="58"/>
                  </a:lnTo>
                  <a:lnTo>
                    <a:pt x="109" y="56"/>
                  </a:lnTo>
                  <a:lnTo>
                    <a:pt x="111" y="54"/>
                  </a:lnTo>
                  <a:lnTo>
                    <a:pt x="113" y="52"/>
                  </a:lnTo>
                  <a:lnTo>
                    <a:pt x="113" y="49"/>
                  </a:lnTo>
                  <a:lnTo>
                    <a:pt x="91" y="41"/>
                  </a:lnTo>
                  <a:lnTo>
                    <a:pt x="70" y="32"/>
                  </a:lnTo>
                  <a:lnTo>
                    <a:pt x="65" y="29"/>
                  </a:lnTo>
                  <a:lnTo>
                    <a:pt x="61" y="26"/>
                  </a:lnTo>
                  <a:lnTo>
                    <a:pt x="57" y="23"/>
                  </a:lnTo>
                  <a:lnTo>
                    <a:pt x="54" y="20"/>
                  </a:lnTo>
                  <a:lnTo>
                    <a:pt x="51" y="16"/>
                  </a:lnTo>
                  <a:lnTo>
                    <a:pt x="48" y="10"/>
                  </a:lnTo>
                  <a:lnTo>
                    <a:pt x="47" y="5"/>
                  </a:lnTo>
                  <a:lnTo>
                    <a:pt x="47" y="0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17" name="Freeform 415"/>
            <p:cNvSpPr>
              <a:spLocks/>
            </p:cNvSpPr>
            <p:nvPr/>
          </p:nvSpPr>
          <p:spPr bwMode="auto">
            <a:xfrm>
              <a:off x="1748" y="1188"/>
              <a:ext cx="29" cy="15"/>
            </a:xfrm>
            <a:custGeom>
              <a:avLst/>
              <a:gdLst>
                <a:gd name="T0" fmla="*/ 0 w 93"/>
                <a:gd name="T1" fmla="*/ 0 h 50"/>
                <a:gd name="T2" fmla="*/ 2 w 93"/>
                <a:gd name="T3" fmla="*/ 0 h 50"/>
                <a:gd name="T4" fmla="*/ 3 w 93"/>
                <a:gd name="T5" fmla="*/ 0 h 50"/>
                <a:gd name="T6" fmla="*/ 4 w 93"/>
                <a:gd name="T7" fmla="*/ 0 h 50"/>
                <a:gd name="T8" fmla="*/ 6 w 93"/>
                <a:gd name="T9" fmla="*/ 1 h 50"/>
                <a:gd name="T10" fmla="*/ 6 w 93"/>
                <a:gd name="T11" fmla="*/ 1 h 50"/>
                <a:gd name="T12" fmla="*/ 7 w 93"/>
                <a:gd name="T13" fmla="*/ 1 h 50"/>
                <a:gd name="T14" fmla="*/ 7 w 93"/>
                <a:gd name="T15" fmla="*/ 1 h 50"/>
                <a:gd name="T16" fmla="*/ 8 w 93"/>
                <a:gd name="T17" fmla="*/ 2 h 50"/>
                <a:gd name="T18" fmla="*/ 8 w 93"/>
                <a:gd name="T19" fmla="*/ 2 h 50"/>
                <a:gd name="T20" fmla="*/ 9 w 93"/>
                <a:gd name="T21" fmla="*/ 2 h 50"/>
                <a:gd name="T22" fmla="*/ 9 w 93"/>
                <a:gd name="T23" fmla="*/ 3 h 50"/>
                <a:gd name="T24" fmla="*/ 9 w 93"/>
                <a:gd name="T25" fmla="*/ 3 h 50"/>
                <a:gd name="T26" fmla="*/ 8 w 93"/>
                <a:gd name="T27" fmla="*/ 3 h 50"/>
                <a:gd name="T28" fmla="*/ 7 w 93"/>
                <a:gd name="T29" fmla="*/ 4 h 50"/>
                <a:gd name="T30" fmla="*/ 6 w 93"/>
                <a:gd name="T31" fmla="*/ 4 h 50"/>
                <a:gd name="T32" fmla="*/ 5 w 93"/>
                <a:gd name="T33" fmla="*/ 4 h 50"/>
                <a:gd name="T34" fmla="*/ 4 w 93"/>
                <a:gd name="T35" fmla="*/ 4 h 50"/>
                <a:gd name="T36" fmla="*/ 3 w 93"/>
                <a:gd name="T37" fmla="*/ 4 h 50"/>
                <a:gd name="T38" fmla="*/ 3 w 93"/>
                <a:gd name="T39" fmla="*/ 4 h 50"/>
                <a:gd name="T40" fmla="*/ 3 w 93"/>
                <a:gd name="T41" fmla="*/ 4 h 50"/>
                <a:gd name="T42" fmla="*/ 2 w 93"/>
                <a:gd name="T43" fmla="*/ 4 h 50"/>
                <a:gd name="T44" fmla="*/ 2 w 93"/>
                <a:gd name="T45" fmla="*/ 4 h 50"/>
                <a:gd name="T46" fmla="*/ 2 w 93"/>
                <a:gd name="T47" fmla="*/ 4 h 50"/>
                <a:gd name="T48" fmla="*/ 2 w 93"/>
                <a:gd name="T49" fmla="*/ 3 h 50"/>
                <a:gd name="T50" fmla="*/ 2 w 93"/>
                <a:gd name="T51" fmla="*/ 3 h 50"/>
                <a:gd name="T52" fmla="*/ 2 w 93"/>
                <a:gd name="T53" fmla="*/ 2 h 50"/>
                <a:gd name="T54" fmla="*/ 2 w 93"/>
                <a:gd name="T55" fmla="*/ 2 h 50"/>
                <a:gd name="T56" fmla="*/ 2 w 93"/>
                <a:gd name="T57" fmla="*/ 2 h 50"/>
                <a:gd name="T58" fmla="*/ 0 w 93"/>
                <a:gd name="T59" fmla="*/ 2 h 50"/>
                <a:gd name="T60" fmla="*/ 0 w 93"/>
                <a:gd name="T61" fmla="*/ 0 h 5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93"/>
                <a:gd name="T94" fmla="*/ 0 h 50"/>
                <a:gd name="T95" fmla="*/ 93 w 93"/>
                <a:gd name="T96" fmla="*/ 50 h 5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93" h="50">
                  <a:moveTo>
                    <a:pt x="0" y="0"/>
                  </a:moveTo>
                  <a:lnTo>
                    <a:pt x="15" y="0"/>
                  </a:lnTo>
                  <a:lnTo>
                    <a:pt x="30" y="1"/>
                  </a:lnTo>
                  <a:lnTo>
                    <a:pt x="45" y="2"/>
                  </a:lnTo>
                  <a:lnTo>
                    <a:pt x="59" y="5"/>
                  </a:lnTo>
                  <a:lnTo>
                    <a:pt x="64" y="7"/>
                  </a:lnTo>
                  <a:lnTo>
                    <a:pt x="71" y="9"/>
                  </a:lnTo>
                  <a:lnTo>
                    <a:pt x="75" y="12"/>
                  </a:lnTo>
                  <a:lnTo>
                    <a:pt x="81" y="16"/>
                  </a:lnTo>
                  <a:lnTo>
                    <a:pt x="85" y="20"/>
                  </a:lnTo>
                  <a:lnTo>
                    <a:pt x="89" y="25"/>
                  </a:lnTo>
                  <a:lnTo>
                    <a:pt x="91" y="30"/>
                  </a:lnTo>
                  <a:lnTo>
                    <a:pt x="93" y="37"/>
                  </a:lnTo>
                  <a:lnTo>
                    <a:pt x="79" y="37"/>
                  </a:lnTo>
                  <a:lnTo>
                    <a:pt x="68" y="39"/>
                  </a:lnTo>
                  <a:lnTo>
                    <a:pt x="60" y="41"/>
                  </a:lnTo>
                  <a:lnTo>
                    <a:pt x="52" y="43"/>
                  </a:lnTo>
                  <a:lnTo>
                    <a:pt x="42" y="47"/>
                  </a:lnTo>
                  <a:lnTo>
                    <a:pt x="33" y="50"/>
                  </a:lnTo>
                  <a:lnTo>
                    <a:pt x="30" y="50"/>
                  </a:lnTo>
                  <a:lnTo>
                    <a:pt x="28" y="48"/>
                  </a:lnTo>
                  <a:lnTo>
                    <a:pt x="26" y="47"/>
                  </a:lnTo>
                  <a:lnTo>
                    <a:pt x="25" y="45"/>
                  </a:lnTo>
                  <a:lnTo>
                    <a:pt x="23" y="41"/>
                  </a:lnTo>
                  <a:lnTo>
                    <a:pt x="22" y="36"/>
                  </a:lnTo>
                  <a:lnTo>
                    <a:pt x="22" y="31"/>
                  </a:lnTo>
                  <a:lnTo>
                    <a:pt x="23" y="26"/>
                  </a:lnTo>
                  <a:lnTo>
                    <a:pt x="24" y="22"/>
                  </a:ln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18" name="Freeform 416"/>
            <p:cNvSpPr>
              <a:spLocks/>
            </p:cNvSpPr>
            <p:nvPr/>
          </p:nvSpPr>
          <p:spPr bwMode="auto">
            <a:xfrm>
              <a:off x="1436" y="1246"/>
              <a:ext cx="331" cy="198"/>
            </a:xfrm>
            <a:custGeom>
              <a:avLst/>
              <a:gdLst>
                <a:gd name="T0" fmla="*/ 2 w 1029"/>
                <a:gd name="T1" fmla="*/ 12 h 604"/>
                <a:gd name="T2" fmla="*/ 7 w 1029"/>
                <a:gd name="T3" fmla="*/ 7 h 604"/>
                <a:gd name="T4" fmla="*/ 28 w 1029"/>
                <a:gd name="T5" fmla="*/ 0 h 604"/>
                <a:gd name="T6" fmla="*/ 21 w 1029"/>
                <a:gd name="T7" fmla="*/ 5 h 604"/>
                <a:gd name="T8" fmla="*/ 19 w 1029"/>
                <a:gd name="T9" fmla="*/ 11 h 604"/>
                <a:gd name="T10" fmla="*/ 28 w 1029"/>
                <a:gd name="T11" fmla="*/ 7 h 604"/>
                <a:gd name="T12" fmla="*/ 41 w 1029"/>
                <a:gd name="T13" fmla="*/ 2 h 604"/>
                <a:gd name="T14" fmla="*/ 45 w 1029"/>
                <a:gd name="T15" fmla="*/ 3 h 604"/>
                <a:gd name="T16" fmla="*/ 45 w 1029"/>
                <a:gd name="T17" fmla="*/ 8 h 604"/>
                <a:gd name="T18" fmla="*/ 60 w 1029"/>
                <a:gd name="T19" fmla="*/ 9 h 604"/>
                <a:gd name="T20" fmla="*/ 70 w 1029"/>
                <a:gd name="T21" fmla="*/ 10 h 604"/>
                <a:gd name="T22" fmla="*/ 78 w 1029"/>
                <a:gd name="T23" fmla="*/ 12 h 604"/>
                <a:gd name="T24" fmla="*/ 78 w 1029"/>
                <a:gd name="T25" fmla="*/ 14 h 604"/>
                <a:gd name="T26" fmla="*/ 74 w 1029"/>
                <a:gd name="T27" fmla="*/ 20 h 604"/>
                <a:gd name="T28" fmla="*/ 83 w 1029"/>
                <a:gd name="T29" fmla="*/ 18 h 604"/>
                <a:gd name="T30" fmla="*/ 90 w 1029"/>
                <a:gd name="T31" fmla="*/ 21 h 604"/>
                <a:gd name="T32" fmla="*/ 88 w 1029"/>
                <a:gd name="T33" fmla="*/ 26 h 604"/>
                <a:gd name="T34" fmla="*/ 81 w 1029"/>
                <a:gd name="T35" fmla="*/ 27 h 604"/>
                <a:gd name="T36" fmla="*/ 89 w 1029"/>
                <a:gd name="T37" fmla="*/ 30 h 604"/>
                <a:gd name="T38" fmla="*/ 93 w 1029"/>
                <a:gd name="T39" fmla="*/ 35 h 604"/>
                <a:gd name="T40" fmla="*/ 101 w 1029"/>
                <a:gd name="T41" fmla="*/ 35 h 604"/>
                <a:gd name="T42" fmla="*/ 106 w 1029"/>
                <a:gd name="T43" fmla="*/ 38 h 604"/>
                <a:gd name="T44" fmla="*/ 97 w 1029"/>
                <a:gd name="T45" fmla="*/ 44 h 604"/>
                <a:gd name="T46" fmla="*/ 93 w 1029"/>
                <a:gd name="T47" fmla="*/ 45 h 604"/>
                <a:gd name="T48" fmla="*/ 90 w 1029"/>
                <a:gd name="T49" fmla="*/ 48 h 604"/>
                <a:gd name="T50" fmla="*/ 86 w 1029"/>
                <a:gd name="T51" fmla="*/ 45 h 604"/>
                <a:gd name="T52" fmla="*/ 88 w 1029"/>
                <a:gd name="T53" fmla="*/ 42 h 604"/>
                <a:gd name="T54" fmla="*/ 82 w 1029"/>
                <a:gd name="T55" fmla="*/ 41 h 604"/>
                <a:gd name="T56" fmla="*/ 78 w 1029"/>
                <a:gd name="T57" fmla="*/ 39 h 604"/>
                <a:gd name="T58" fmla="*/ 77 w 1029"/>
                <a:gd name="T59" fmla="*/ 42 h 604"/>
                <a:gd name="T60" fmla="*/ 77 w 1029"/>
                <a:gd name="T61" fmla="*/ 48 h 604"/>
                <a:gd name="T62" fmla="*/ 82 w 1029"/>
                <a:gd name="T63" fmla="*/ 56 h 604"/>
                <a:gd name="T64" fmla="*/ 80 w 1029"/>
                <a:gd name="T65" fmla="*/ 59 h 604"/>
                <a:gd name="T66" fmla="*/ 73 w 1029"/>
                <a:gd name="T67" fmla="*/ 60 h 604"/>
                <a:gd name="T68" fmla="*/ 64 w 1029"/>
                <a:gd name="T69" fmla="*/ 55 h 604"/>
                <a:gd name="T70" fmla="*/ 69 w 1029"/>
                <a:gd name="T71" fmla="*/ 61 h 604"/>
                <a:gd name="T72" fmla="*/ 69 w 1029"/>
                <a:gd name="T73" fmla="*/ 65 h 604"/>
                <a:gd name="T74" fmla="*/ 54 w 1029"/>
                <a:gd name="T75" fmla="*/ 61 h 604"/>
                <a:gd name="T76" fmla="*/ 49 w 1029"/>
                <a:gd name="T77" fmla="*/ 56 h 604"/>
                <a:gd name="T78" fmla="*/ 42 w 1029"/>
                <a:gd name="T79" fmla="*/ 51 h 604"/>
                <a:gd name="T80" fmla="*/ 38 w 1029"/>
                <a:gd name="T81" fmla="*/ 49 h 604"/>
                <a:gd name="T82" fmla="*/ 41 w 1029"/>
                <a:gd name="T83" fmla="*/ 47 h 604"/>
                <a:gd name="T84" fmla="*/ 48 w 1029"/>
                <a:gd name="T85" fmla="*/ 43 h 604"/>
                <a:gd name="T86" fmla="*/ 52 w 1029"/>
                <a:gd name="T87" fmla="*/ 41 h 604"/>
                <a:gd name="T88" fmla="*/ 60 w 1029"/>
                <a:gd name="T89" fmla="*/ 41 h 604"/>
                <a:gd name="T90" fmla="*/ 64 w 1029"/>
                <a:gd name="T91" fmla="*/ 42 h 604"/>
                <a:gd name="T92" fmla="*/ 71 w 1029"/>
                <a:gd name="T93" fmla="*/ 42 h 604"/>
                <a:gd name="T94" fmla="*/ 60 w 1029"/>
                <a:gd name="T95" fmla="*/ 38 h 604"/>
                <a:gd name="T96" fmla="*/ 56 w 1029"/>
                <a:gd name="T97" fmla="*/ 39 h 604"/>
                <a:gd name="T98" fmla="*/ 56 w 1029"/>
                <a:gd name="T99" fmla="*/ 38 h 604"/>
                <a:gd name="T100" fmla="*/ 60 w 1029"/>
                <a:gd name="T101" fmla="*/ 33 h 604"/>
                <a:gd name="T102" fmla="*/ 60 w 1029"/>
                <a:gd name="T103" fmla="*/ 30 h 604"/>
                <a:gd name="T104" fmla="*/ 54 w 1029"/>
                <a:gd name="T105" fmla="*/ 27 h 604"/>
                <a:gd name="T106" fmla="*/ 49 w 1029"/>
                <a:gd name="T107" fmla="*/ 21 h 604"/>
                <a:gd name="T108" fmla="*/ 45 w 1029"/>
                <a:gd name="T109" fmla="*/ 18 h 604"/>
                <a:gd name="T110" fmla="*/ 42 w 1029"/>
                <a:gd name="T111" fmla="*/ 17 h 604"/>
                <a:gd name="T112" fmla="*/ 39 w 1029"/>
                <a:gd name="T113" fmla="*/ 22 h 604"/>
                <a:gd name="T114" fmla="*/ 22 w 1029"/>
                <a:gd name="T115" fmla="*/ 19 h 604"/>
                <a:gd name="T116" fmla="*/ 12 w 1029"/>
                <a:gd name="T117" fmla="*/ 20 h 604"/>
                <a:gd name="T118" fmla="*/ 8 w 1029"/>
                <a:gd name="T119" fmla="*/ 20 h 604"/>
                <a:gd name="T120" fmla="*/ 2 w 1029"/>
                <a:gd name="T121" fmla="*/ 19 h 604"/>
                <a:gd name="T122" fmla="*/ 1 w 1029"/>
                <a:gd name="T123" fmla="*/ 17 h 604"/>
                <a:gd name="T124" fmla="*/ 8 w 1029"/>
                <a:gd name="T125" fmla="*/ 16 h 60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029"/>
                <a:gd name="T190" fmla="*/ 0 h 604"/>
                <a:gd name="T191" fmla="*/ 1029 w 1029"/>
                <a:gd name="T192" fmla="*/ 604 h 60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029" h="604">
                  <a:moveTo>
                    <a:pt x="73" y="129"/>
                  </a:moveTo>
                  <a:lnTo>
                    <a:pt x="34" y="129"/>
                  </a:lnTo>
                  <a:lnTo>
                    <a:pt x="28" y="128"/>
                  </a:lnTo>
                  <a:lnTo>
                    <a:pt x="24" y="125"/>
                  </a:lnTo>
                  <a:lnTo>
                    <a:pt x="22" y="121"/>
                  </a:lnTo>
                  <a:lnTo>
                    <a:pt x="20" y="117"/>
                  </a:lnTo>
                  <a:lnTo>
                    <a:pt x="20" y="112"/>
                  </a:lnTo>
                  <a:lnTo>
                    <a:pt x="22" y="107"/>
                  </a:lnTo>
                  <a:lnTo>
                    <a:pt x="24" y="102"/>
                  </a:lnTo>
                  <a:lnTo>
                    <a:pt x="26" y="97"/>
                  </a:lnTo>
                  <a:lnTo>
                    <a:pt x="34" y="87"/>
                  </a:lnTo>
                  <a:lnTo>
                    <a:pt x="42" y="77"/>
                  </a:lnTo>
                  <a:lnTo>
                    <a:pt x="54" y="69"/>
                  </a:lnTo>
                  <a:lnTo>
                    <a:pt x="67" y="60"/>
                  </a:lnTo>
                  <a:lnTo>
                    <a:pt x="81" y="52"/>
                  </a:lnTo>
                  <a:lnTo>
                    <a:pt x="96" y="45"/>
                  </a:lnTo>
                  <a:lnTo>
                    <a:pt x="128" y="30"/>
                  </a:lnTo>
                  <a:lnTo>
                    <a:pt x="160" y="18"/>
                  </a:lnTo>
                  <a:lnTo>
                    <a:pt x="190" y="8"/>
                  </a:lnTo>
                  <a:lnTo>
                    <a:pt x="213" y="0"/>
                  </a:lnTo>
                  <a:lnTo>
                    <a:pt x="266" y="0"/>
                  </a:lnTo>
                  <a:lnTo>
                    <a:pt x="264" y="7"/>
                  </a:lnTo>
                  <a:lnTo>
                    <a:pt x="260" y="14"/>
                  </a:lnTo>
                  <a:lnTo>
                    <a:pt x="255" y="19"/>
                  </a:lnTo>
                  <a:lnTo>
                    <a:pt x="250" y="24"/>
                  </a:lnTo>
                  <a:lnTo>
                    <a:pt x="236" y="32"/>
                  </a:lnTo>
                  <a:lnTo>
                    <a:pt x="220" y="40"/>
                  </a:lnTo>
                  <a:lnTo>
                    <a:pt x="205" y="47"/>
                  </a:lnTo>
                  <a:lnTo>
                    <a:pt x="192" y="55"/>
                  </a:lnTo>
                  <a:lnTo>
                    <a:pt x="187" y="60"/>
                  </a:lnTo>
                  <a:lnTo>
                    <a:pt x="183" y="66"/>
                  </a:lnTo>
                  <a:lnTo>
                    <a:pt x="181" y="72"/>
                  </a:lnTo>
                  <a:lnTo>
                    <a:pt x="180" y="80"/>
                  </a:lnTo>
                  <a:lnTo>
                    <a:pt x="180" y="95"/>
                  </a:lnTo>
                  <a:lnTo>
                    <a:pt x="180" y="105"/>
                  </a:lnTo>
                  <a:lnTo>
                    <a:pt x="198" y="104"/>
                  </a:lnTo>
                  <a:lnTo>
                    <a:pt x="216" y="101"/>
                  </a:lnTo>
                  <a:lnTo>
                    <a:pt x="233" y="97"/>
                  </a:lnTo>
                  <a:lnTo>
                    <a:pt x="252" y="93"/>
                  </a:lnTo>
                  <a:lnTo>
                    <a:pt x="252" y="82"/>
                  </a:lnTo>
                  <a:lnTo>
                    <a:pt x="252" y="67"/>
                  </a:lnTo>
                  <a:lnTo>
                    <a:pt x="274" y="60"/>
                  </a:lnTo>
                  <a:lnTo>
                    <a:pt x="295" y="51"/>
                  </a:lnTo>
                  <a:lnTo>
                    <a:pt x="316" y="42"/>
                  </a:lnTo>
                  <a:lnTo>
                    <a:pt x="336" y="32"/>
                  </a:lnTo>
                  <a:lnTo>
                    <a:pt x="355" y="24"/>
                  </a:lnTo>
                  <a:lnTo>
                    <a:pt x="376" y="18"/>
                  </a:lnTo>
                  <a:lnTo>
                    <a:pt x="386" y="15"/>
                  </a:lnTo>
                  <a:lnTo>
                    <a:pt x="397" y="14"/>
                  </a:lnTo>
                  <a:lnTo>
                    <a:pt x="408" y="12"/>
                  </a:lnTo>
                  <a:lnTo>
                    <a:pt x="419" y="12"/>
                  </a:lnTo>
                  <a:lnTo>
                    <a:pt x="422" y="12"/>
                  </a:lnTo>
                  <a:lnTo>
                    <a:pt x="426" y="14"/>
                  </a:lnTo>
                  <a:lnTo>
                    <a:pt x="429" y="15"/>
                  </a:lnTo>
                  <a:lnTo>
                    <a:pt x="432" y="18"/>
                  </a:lnTo>
                  <a:lnTo>
                    <a:pt x="438" y="23"/>
                  </a:lnTo>
                  <a:lnTo>
                    <a:pt x="443" y="30"/>
                  </a:lnTo>
                  <a:lnTo>
                    <a:pt x="450" y="44"/>
                  </a:lnTo>
                  <a:lnTo>
                    <a:pt x="452" y="49"/>
                  </a:lnTo>
                  <a:lnTo>
                    <a:pt x="443" y="57"/>
                  </a:lnTo>
                  <a:lnTo>
                    <a:pt x="437" y="64"/>
                  </a:lnTo>
                  <a:lnTo>
                    <a:pt x="434" y="68"/>
                  </a:lnTo>
                  <a:lnTo>
                    <a:pt x="433" y="71"/>
                  </a:lnTo>
                  <a:lnTo>
                    <a:pt x="432" y="75"/>
                  </a:lnTo>
                  <a:lnTo>
                    <a:pt x="432" y="80"/>
                  </a:lnTo>
                  <a:lnTo>
                    <a:pt x="467" y="80"/>
                  </a:lnTo>
                  <a:lnTo>
                    <a:pt x="504" y="80"/>
                  </a:lnTo>
                  <a:lnTo>
                    <a:pt x="536" y="80"/>
                  </a:lnTo>
                  <a:lnTo>
                    <a:pt x="565" y="80"/>
                  </a:lnTo>
                  <a:lnTo>
                    <a:pt x="581" y="80"/>
                  </a:lnTo>
                  <a:lnTo>
                    <a:pt x="601" y="83"/>
                  </a:lnTo>
                  <a:lnTo>
                    <a:pt x="621" y="85"/>
                  </a:lnTo>
                  <a:lnTo>
                    <a:pt x="637" y="86"/>
                  </a:lnTo>
                  <a:lnTo>
                    <a:pt x="648" y="86"/>
                  </a:lnTo>
                  <a:lnTo>
                    <a:pt x="658" y="87"/>
                  </a:lnTo>
                  <a:lnTo>
                    <a:pt x="667" y="88"/>
                  </a:lnTo>
                  <a:lnTo>
                    <a:pt x="675" y="89"/>
                  </a:lnTo>
                  <a:lnTo>
                    <a:pt x="690" y="94"/>
                  </a:lnTo>
                  <a:lnTo>
                    <a:pt x="702" y="99"/>
                  </a:lnTo>
                  <a:lnTo>
                    <a:pt x="715" y="103"/>
                  </a:lnTo>
                  <a:lnTo>
                    <a:pt x="728" y="107"/>
                  </a:lnTo>
                  <a:lnTo>
                    <a:pt x="734" y="109"/>
                  </a:lnTo>
                  <a:lnTo>
                    <a:pt x="742" y="110"/>
                  </a:lnTo>
                  <a:lnTo>
                    <a:pt x="749" y="111"/>
                  </a:lnTo>
                  <a:lnTo>
                    <a:pt x="757" y="111"/>
                  </a:lnTo>
                  <a:lnTo>
                    <a:pt x="753" y="115"/>
                  </a:lnTo>
                  <a:lnTo>
                    <a:pt x="751" y="119"/>
                  </a:lnTo>
                  <a:lnTo>
                    <a:pt x="748" y="122"/>
                  </a:lnTo>
                  <a:lnTo>
                    <a:pt x="747" y="125"/>
                  </a:lnTo>
                  <a:lnTo>
                    <a:pt x="747" y="130"/>
                  </a:lnTo>
                  <a:lnTo>
                    <a:pt x="749" y="134"/>
                  </a:lnTo>
                  <a:lnTo>
                    <a:pt x="752" y="138"/>
                  </a:lnTo>
                  <a:lnTo>
                    <a:pt x="754" y="142"/>
                  </a:lnTo>
                  <a:lnTo>
                    <a:pt x="754" y="145"/>
                  </a:lnTo>
                  <a:lnTo>
                    <a:pt x="754" y="147"/>
                  </a:lnTo>
                  <a:lnTo>
                    <a:pt x="753" y="151"/>
                  </a:lnTo>
                  <a:lnTo>
                    <a:pt x="751" y="154"/>
                  </a:lnTo>
                  <a:lnTo>
                    <a:pt x="711" y="184"/>
                  </a:lnTo>
                  <a:lnTo>
                    <a:pt x="728" y="179"/>
                  </a:lnTo>
                  <a:lnTo>
                    <a:pt x="746" y="172"/>
                  </a:lnTo>
                  <a:lnTo>
                    <a:pt x="764" y="166"/>
                  </a:lnTo>
                  <a:lnTo>
                    <a:pt x="777" y="160"/>
                  </a:lnTo>
                  <a:lnTo>
                    <a:pt x="798" y="160"/>
                  </a:lnTo>
                  <a:lnTo>
                    <a:pt x="797" y="164"/>
                  </a:lnTo>
                  <a:lnTo>
                    <a:pt x="799" y="168"/>
                  </a:lnTo>
                  <a:lnTo>
                    <a:pt x="802" y="172"/>
                  </a:lnTo>
                  <a:lnTo>
                    <a:pt x="807" y="174"/>
                  </a:lnTo>
                  <a:lnTo>
                    <a:pt x="820" y="179"/>
                  </a:lnTo>
                  <a:lnTo>
                    <a:pt x="834" y="183"/>
                  </a:lnTo>
                  <a:lnTo>
                    <a:pt x="848" y="186"/>
                  </a:lnTo>
                  <a:lnTo>
                    <a:pt x="860" y="189"/>
                  </a:lnTo>
                  <a:lnTo>
                    <a:pt x="866" y="191"/>
                  </a:lnTo>
                  <a:lnTo>
                    <a:pt x="869" y="192"/>
                  </a:lnTo>
                  <a:lnTo>
                    <a:pt x="870" y="194"/>
                  </a:lnTo>
                  <a:lnTo>
                    <a:pt x="870" y="196"/>
                  </a:lnTo>
                  <a:lnTo>
                    <a:pt x="864" y="234"/>
                  </a:lnTo>
                  <a:lnTo>
                    <a:pt x="863" y="236"/>
                  </a:lnTo>
                  <a:lnTo>
                    <a:pt x="860" y="238"/>
                  </a:lnTo>
                  <a:lnTo>
                    <a:pt x="856" y="239"/>
                  </a:lnTo>
                  <a:lnTo>
                    <a:pt x="852" y="240"/>
                  </a:lnTo>
                  <a:lnTo>
                    <a:pt x="838" y="242"/>
                  </a:lnTo>
                  <a:lnTo>
                    <a:pt x="824" y="243"/>
                  </a:lnTo>
                  <a:lnTo>
                    <a:pt x="809" y="244"/>
                  </a:lnTo>
                  <a:lnTo>
                    <a:pt x="797" y="246"/>
                  </a:lnTo>
                  <a:lnTo>
                    <a:pt x="791" y="247"/>
                  </a:lnTo>
                  <a:lnTo>
                    <a:pt x="788" y="248"/>
                  </a:lnTo>
                  <a:lnTo>
                    <a:pt x="785" y="250"/>
                  </a:lnTo>
                  <a:lnTo>
                    <a:pt x="784" y="252"/>
                  </a:lnTo>
                  <a:lnTo>
                    <a:pt x="799" y="262"/>
                  </a:lnTo>
                  <a:lnTo>
                    <a:pt x="813" y="269"/>
                  </a:lnTo>
                  <a:lnTo>
                    <a:pt x="827" y="275"/>
                  </a:lnTo>
                  <a:lnTo>
                    <a:pt x="843" y="280"/>
                  </a:lnTo>
                  <a:lnTo>
                    <a:pt x="859" y="284"/>
                  </a:lnTo>
                  <a:lnTo>
                    <a:pt x="877" y="287"/>
                  </a:lnTo>
                  <a:lnTo>
                    <a:pt x="896" y="289"/>
                  </a:lnTo>
                  <a:lnTo>
                    <a:pt x="916" y="289"/>
                  </a:lnTo>
                  <a:lnTo>
                    <a:pt x="915" y="298"/>
                  </a:lnTo>
                  <a:lnTo>
                    <a:pt x="913" y="307"/>
                  </a:lnTo>
                  <a:lnTo>
                    <a:pt x="909" y="317"/>
                  </a:lnTo>
                  <a:lnTo>
                    <a:pt x="903" y="327"/>
                  </a:lnTo>
                  <a:lnTo>
                    <a:pt x="914" y="330"/>
                  </a:lnTo>
                  <a:lnTo>
                    <a:pt x="925" y="333"/>
                  </a:lnTo>
                  <a:lnTo>
                    <a:pt x="937" y="333"/>
                  </a:lnTo>
                  <a:lnTo>
                    <a:pt x="948" y="333"/>
                  </a:lnTo>
                  <a:lnTo>
                    <a:pt x="959" y="332"/>
                  </a:lnTo>
                  <a:lnTo>
                    <a:pt x="969" y="331"/>
                  </a:lnTo>
                  <a:lnTo>
                    <a:pt x="977" y="329"/>
                  </a:lnTo>
                  <a:lnTo>
                    <a:pt x="983" y="327"/>
                  </a:lnTo>
                  <a:lnTo>
                    <a:pt x="987" y="333"/>
                  </a:lnTo>
                  <a:lnTo>
                    <a:pt x="991" y="337"/>
                  </a:lnTo>
                  <a:lnTo>
                    <a:pt x="995" y="341"/>
                  </a:lnTo>
                  <a:lnTo>
                    <a:pt x="1002" y="343"/>
                  </a:lnTo>
                  <a:lnTo>
                    <a:pt x="1015" y="347"/>
                  </a:lnTo>
                  <a:lnTo>
                    <a:pt x="1029" y="351"/>
                  </a:lnTo>
                  <a:lnTo>
                    <a:pt x="1012" y="360"/>
                  </a:lnTo>
                  <a:lnTo>
                    <a:pt x="997" y="371"/>
                  </a:lnTo>
                  <a:lnTo>
                    <a:pt x="983" y="382"/>
                  </a:lnTo>
                  <a:lnTo>
                    <a:pt x="971" y="391"/>
                  </a:lnTo>
                  <a:lnTo>
                    <a:pt x="959" y="400"/>
                  </a:lnTo>
                  <a:lnTo>
                    <a:pt x="947" y="406"/>
                  </a:lnTo>
                  <a:lnTo>
                    <a:pt x="939" y="409"/>
                  </a:lnTo>
                  <a:lnTo>
                    <a:pt x="933" y="411"/>
                  </a:lnTo>
                  <a:lnTo>
                    <a:pt x="925" y="412"/>
                  </a:lnTo>
                  <a:lnTo>
                    <a:pt x="916" y="412"/>
                  </a:lnTo>
                  <a:lnTo>
                    <a:pt x="911" y="413"/>
                  </a:lnTo>
                  <a:lnTo>
                    <a:pt x="907" y="414"/>
                  </a:lnTo>
                  <a:lnTo>
                    <a:pt x="902" y="415"/>
                  </a:lnTo>
                  <a:lnTo>
                    <a:pt x="899" y="417"/>
                  </a:lnTo>
                  <a:lnTo>
                    <a:pt x="893" y="422"/>
                  </a:lnTo>
                  <a:lnTo>
                    <a:pt x="889" y="428"/>
                  </a:lnTo>
                  <a:lnTo>
                    <a:pt x="885" y="434"/>
                  </a:lnTo>
                  <a:lnTo>
                    <a:pt x="881" y="439"/>
                  </a:lnTo>
                  <a:lnTo>
                    <a:pt x="879" y="441"/>
                  </a:lnTo>
                  <a:lnTo>
                    <a:pt x="877" y="442"/>
                  </a:lnTo>
                  <a:lnTo>
                    <a:pt x="874" y="443"/>
                  </a:lnTo>
                  <a:lnTo>
                    <a:pt x="870" y="444"/>
                  </a:lnTo>
                  <a:lnTo>
                    <a:pt x="865" y="442"/>
                  </a:lnTo>
                  <a:lnTo>
                    <a:pt x="857" y="439"/>
                  </a:lnTo>
                  <a:lnTo>
                    <a:pt x="849" y="435"/>
                  </a:lnTo>
                  <a:lnTo>
                    <a:pt x="842" y="429"/>
                  </a:lnTo>
                  <a:lnTo>
                    <a:pt x="835" y="422"/>
                  </a:lnTo>
                  <a:lnTo>
                    <a:pt x="830" y="414"/>
                  </a:lnTo>
                  <a:lnTo>
                    <a:pt x="827" y="411"/>
                  </a:lnTo>
                  <a:lnTo>
                    <a:pt x="825" y="407"/>
                  </a:lnTo>
                  <a:lnTo>
                    <a:pt x="824" y="404"/>
                  </a:lnTo>
                  <a:lnTo>
                    <a:pt x="824" y="400"/>
                  </a:lnTo>
                  <a:lnTo>
                    <a:pt x="840" y="400"/>
                  </a:lnTo>
                  <a:lnTo>
                    <a:pt x="851" y="400"/>
                  </a:lnTo>
                  <a:lnTo>
                    <a:pt x="851" y="393"/>
                  </a:lnTo>
                  <a:lnTo>
                    <a:pt x="851" y="382"/>
                  </a:lnTo>
                  <a:lnTo>
                    <a:pt x="837" y="382"/>
                  </a:lnTo>
                  <a:lnTo>
                    <a:pt x="827" y="382"/>
                  </a:lnTo>
                  <a:lnTo>
                    <a:pt x="816" y="382"/>
                  </a:lnTo>
                  <a:lnTo>
                    <a:pt x="804" y="382"/>
                  </a:lnTo>
                  <a:lnTo>
                    <a:pt x="798" y="381"/>
                  </a:lnTo>
                  <a:lnTo>
                    <a:pt x="792" y="379"/>
                  </a:lnTo>
                  <a:lnTo>
                    <a:pt x="788" y="376"/>
                  </a:lnTo>
                  <a:lnTo>
                    <a:pt x="784" y="373"/>
                  </a:lnTo>
                  <a:lnTo>
                    <a:pt x="780" y="369"/>
                  </a:lnTo>
                  <a:lnTo>
                    <a:pt x="776" y="366"/>
                  </a:lnTo>
                  <a:lnTo>
                    <a:pt x="770" y="364"/>
                  </a:lnTo>
                  <a:lnTo>
                    <a:pt x="764" y="363"/>
                  </a:lnTo>
                  <a:lnTo>
                    <a:pt x="759" y="364"/>
                  </a:lnTo>
                  <a:lnTo>
                    <a:pt x="755" y="366"/>
                  </a:lnTo>
                  <a:lnTo>
                    <a:pt x="752" y="369"/>
                  </a:lnTo>
                  <a:lnTo>
                    <a:pt x="749" y="374"/>
                  </a:lnTo>
                  <a:lnTo>
                    <a:pt x="747" y="379"/>
                  </a:lnTo>
                  <a:lnTo>
                    <a:pt x="745" y="384"/>
                  </a:lnTo>
                  <a:lnTo>
                    <a:pt x="744" y="389"/>
                  </a:lnTo>
                  <a:lnTo>
                    <a:pt x="744" y="394"/>
                  </a:lnTo>
                  <a:lnTo>
                    <a:pt x="711" y="394"/>
                  </a:lnTo>
                  <a:lnTo>
                    <a:pt x="711" y="412"/>
                  </a:lnTo>
                  <a:lnTo>
                    <a:pt x="715" y="414"/>
                  </a:lnTo>
                  <a:lnTo>
                    <a:pt x="720" y="418"/>
                  </a:lnTo>
                  <a:lnTo>
                    <a:pt x="726" y="423"/>
                  </a:lnTo>
                  <a:lnTo>
                    <a:pt x="733" y="430"/>
                  </a:lnTo>
                  <a:lnTo>
                    <a:pt x="747" y="445"/>
                  </a:lnTo>
                  <a:lnTo>
                    <a:pt x="762" y="462"/>
                  </a:lnTo>
                  <a:lnTo>
                    <a:pt x="775" y="478"/>
                  </a:lnTo>
                  <a:lnTo>
                    <a:pt x="787" y="494"/>
                  </a:lnTo>
                  <a:lnTo>
                    <a:pt x="795" y="505"/>
                  </a:lnTo>
                  <a:lnTo>
                    <a:pt x="798" y="511"/>
                  </a:lnTo>
                  <a:lnTo>
                    <a:pt x="797" y="517"/>
                  </a:lnTo>
                  <a:lnTo>
                    <a:pt x="795" y="523"/>
                  </a:lnTo>
                  <a:lnTo>
                    <a:pt x="795" y="527"/>
                  </a:lnTo>
                  <a:lnTo>
                    <a:pt x="795" y="530"/>
                  </a:lnTo>
                  <a:lnTo>
                    <a:pt x="796" y="533"/>
                  </a:lnTo>
                  <a:lnTo>
                    <a:pt x="798" y="535"/>
                  </a:lnTo>
                  <a:lnTo>
                    <a:pt x="788" y="539"/>
                  </a:lnTo>
                  <a:lnTo>
                    <a:pt x="779" y="543"/>
                  </a:lnTo>
                  <a:lnTo>
                    <a:pt x="771" y="547"/>
                  </a:lnTo>
                  <a:lnTo>
                    <a:pt x="765" y="551"/>
                  </a:lnTo>
                  <a:lnTo>
                    <a:pt x="758" y="554"/>
                  </a:lnTo>
                  <a:lnTo>
                    <a:pt x="752" y="558"/>
                  </a:lnTo>
                  <a:lnTo>
                    <a:pt x="745" y="560"/>
                  </a:lnTo>
                  <a:lnTo>
                    <a:pt x="737" y="560"/>
                  </a:lnTo>
                  <a:lnTo>
                    <a:pt x="723" y="559"/>
                  </a:lnTo>
                  <a:lnTo>
                    <a:pt x="708" y="556"/>
                  </a:lnTo>
                  <a:lnTo>
                    <a:pt x="695" y="552"/>
                  </a:lnTo>
                  <a:lnTo>
                    <a:pt x="681" y="546"/>
                  </a:lnTo>
                  <a:lnTo>
                    <a:pt x="669" y="540"/>
                  </a:lnTo>
                  <a:lnTo>
                    <a:pt x="659" y="531"/>
                  </a:lnTo>
                  <a:lnTo>
                    <a:pt x="651" y="524"/>
                  </a:lnTo>
                  <a:lnTo>
                    <a:pt x="644" y="517"/>
                  </a:lnTo>
                  <a:lnTo>
                    <a:pt x="618" y="517"/>
                  </a:lnTo>
                  <a:lnTo>
                    <a:pt x="621" y="525"/>
                  </a:lnTo>
                  <a:lnTo>
                    <a:pt x="624" y="531"/>
                  </a:lnTo>
                  <a:lnTo>
                    <a:pt x="629" y="538"/>
                  </a:lnTo>
                  <a:lnTo>
                    <a:pt x="634" y="543"/>
                  </a:lnTo>
                  <a:lnTo>
                    <a:pt x="645" y="552"/>
                  </a:lnTo>
                  <a:lnTo>
                    <a:pt x="657" y="560"/>
                  </a:lnTo>
                  <a:lnTo>
                    <a:pt x="668" y="567"/>
                  </a:lnTo>
                  <a:lnTo>
                    <a:pt x="678" y="575"/>
                  </a:lnTo>
                  <a:lnTo>
                    <a:pt x="683" y="580"/>
                  </a:lnTo>
                  <a:lnTo>
                    <a:pt x="687" y="585"/>
                  </a:lnTo>
                  <a:lnTo>
                    <a:pt x="689" y="590"/>
                  </a:lnTo>
                  <a:lnTo>
                    <a:pt x="691" y="598"/>
                  </a:lnTo>
                  <a:lnTo>
                    <a:pt x="678" y="601"/>
                  </a:lnTo>
                  <a:lnTo>
                    <a:pt x="665" y="604"/>
                  </a:lnTo>
                  <a:lnTo>
                    <a:pt x="644" y="603"/>
                  </a:lnTo>
                  <a:lnTo>
                    <a:pt x="618" y="599"/>
                  </a:lnTo>
                  <a:lnTo>
                    <a:pt x="589" y="592"/>
                  </a:lnTo>
                  <a:lnTo>
                    <a:pt x="558" y="584"/>
                  </a:lnTo>
                  <a:lnTo>
                    <a:pt x="544" y="580"/>
                  </a:lnTo>
                  <a:lnTo>
                    <a:pt x="531" y="575"/>
                  </a:lnTo>
                  <a:lnTo>
                    <a:pt x="518" y="570"/>
                  </a:lnTo>
                  <a:lnTo>
                    <a:pt x="507" y="565"/>
                  </a:lnTo>
                  <a:lnTo>
                    <a:pt x="497" y="559"/>
                  </a:lnTo>
                  <a:lnTo>
                    <a:pt x="488" y="554"/>
                  </a:lnTo>
                  <a:lnTo>
                    <a:pt x="483" y="548"/>
                  </a:lnTo>
                  <a:lnTo>
                    <a:pt x="478" y="542"/>
                  </a:lnTo>
                  <a:lnTo>
                    <a:pt x="475" y="532"/>
                  </a:lnTo>
                  <a:lnTo>
                    <a:pt x="471" y="523"/>
                  </a:lnTo>
                  <a:lnTo>
                    <a:pt x="464" y="513"/>
                  </a:lnTo>
                  <a:lnTo>
                    <a:pt x="457" y="504"/>
                  </a:lnTo>
                  <a:lnTo>
                    <a:pt x="451" y="496"/>
                  </a:lnTo>
                  <a:lnTo>
                    <a:pt x="444" y="489"/>
                  </a:lnTo>
                  <a:lnTo>
                    <a:pt x="438" y="484"/>
                  </a:lnTo>
                  <a:lnTo>
                    <a:pt x="432" y="480"/>
                  </a:lnTo>
                  <a:lnTo>
                    <a:pt x="410" y="473"/>
                  </a:lnTo>
                  <a:lnTo>
                    <a:pt x="388" y="468"/>
                  </a:lnTo>
                  <a:lnTo>
                    <a:pt x="384" y="467"/>
                  </a:lnTo>
                  <a:lnTo>
                    <a:pt x="379" y="465"/>
                  </a:lnTo>
                  <a:lnTo>
                    <a:pt x="375" y="463"/>
                  </a:lnTo>
                  <a:lnTo>
                    <a:pt x="372" y="460"/>
                  </a:lnTo>
                  <a:lnTo>
                    <a:pt x="370" y="457"/>
                  </a:lnTo>
                  <a:lnTo>
                    <a:pt x="367" y="453"/>
                  </a:lnTo>
                  <a:lnTo>
                    <a:pt x="366" y="449"/>
                  </a:lnTo>
                  <a:lnTo>
                    <a:pt x="365" y="444"/>
                  </a:lnTo>
                  <a:lnTo>
                    <a:pt x="366" y="441"/>
                  </a:lnTo>
                  <a:lnTo>
                    <a:pt x="368" y="439"/>
                  </a:lnTo>
                  <a:lnTo>
                    <a:pt x="373" y="437"/>
                  </a:lnTo>
                  <a:lnTo>
                    <a:pt x="378" y="436"/>
                  </a:lnTo>
                  <a:lnTo>
                    <a:pt x="392" y="433"/>
                  </a:lnTo>
                  <a:lnTo>
                    <a:pt x="406" y="430"/>
                  </a:lnTo>
                  <a:lnTo>
                    <a:pt x="435" y="427"/>
                  </a:lnTo>
                  <a:lnTo>
                    <a:pt x="452" y="424"/>
                  </a:lnTo>
                  <a:lnTo>
                    <a:pt x="452" y="416"/>
                  </a:lnTo>
                  <a:lnTo>
                    <a:pt x="454" y="409"/>
                  </a:lnTo>
                  <a:lnTo>
                    <a:pt x="456" y="404"/>
                  </a:lnTo>
                  <a:lnTo>
                    <a:pt x="459" y="399"/>
                  </a:lnTo>
                  <a:lnTo>
                    <a:pt x="461" y="394"/>
                  </a:lnTo>
                  <a:lnTo>
                    <a:pt x="463" y="390"/>
                  </a:lnTo>
                  <a:lnTo>
                    <a:pt x="465" y="386"/>
                  </a:lnTo>
                  <a:lnTo>
                    <a:pt x="465" y="382"/>
                  </a:lnTo>
                  <a:lnTo>
                    <a:pt x="479" y="382"/>
                  </a:lnTo>
                  <a:lnTo>
                    <a:pt x="490" y="380"/>
                  </a:lnTo>
                  <a:lnTo>
                    <a:pt x="500" y="378"/>
                  </a:lnTo>
                  <a:lnTo>
                    <a:pt x="508" y="375"/>
                  </a:lnTo>
                  <a:lnTo>
                    <a:pt x="521" y="368"/>
                  </a:lnTo>
                  <a:lnTo>
                    <a:pt x="532" y="363"/>
                  </a:lnTo>
                  <a:lnTo>
                    <a:pt x="572" y="363"/>
                  </a:lnTo>
                  <a:lnTo>
                    <a:pt x="573" y="369"/>
                  </a:lnTo>
                  <a:lnTo>
                    <a:pt x="575" y="376"/>
                  </a:lnTo>
                  <a:lnTo>
                    <a:pt x="577" y="380"/>
                  </a:lnTo>
                  <a:lnTo>
                    <a:pt x="580" y="384"/>
                  </a:lnTo>
                  <a:lnTo>
                    <a:pt x="583" y="387"/>
                  </a:lnTo>
                  <a:lnTo>
                    <a:pt x="587" y="389"/>
                  </a:lnTo>
                  <a:lnTo>
                    <a:pt x="590" y="391"/>
                  </a:lnTo>
                  <a:lnTo>
                    <a:pt x="595" y="393"/>
                  </a:lnTo>
                  <a:lnTo>
                    <a:pt x="603" y="394"/>
                  </a:lnTo>
                  <a:lnTo>
                    <a:pt x="614" y="395"/>
                  </a:lnTo>
                  <a:lnTo>
                    <a:pt x="625" y="394"/>
                  </a:lnTo>
                  <a:lnTo>
                    <a:pt x="637" y="394"/>
                  </a:lnTo>
                  <a:lnTo>
                    <a:pt x="650" y="394"/>
                  </a:lnTo>
                  <a:lnTo>
                    <a:pt x="659" y="393"/>
                  </a:lnTo>
                  <a:lnTo>
                    <a:pt x="668" y="392"/>
                  </a:lnTo>
                  <a:lnTo>
                    <a:pt x="675" y="390"/>
                  </a:lnTo>
                  <a:lnTo>
                    <a:pt x="687" y="387"/>
                  </a:lnTo>
                  <a:lnTo>
                    <a:pt x="698" y="382"/>
                  </a:lnTo>
                  <a:lnTo>
                    <a:pt x="698" y="373"/>
                  </a:lnTo>
                  <a:lnTo>
                    <a:pt x="698" y="363"/>
                  </a:lnTo>
                  <a:lnTo>
                    <a:pt x="605" y="351"/>
                  </a:lnTo>
                  <a:lnTo>
                    <a:pt x="596" y="351"/>
                  </a:lnTo>
                  <a:lnTo>
                    <a:pt x="588" y="353"/>
                  </a:lnTo>
                  <a:lnTo>
                    <a:pt x="581" y="355"/>
                  </a:lnTo>
                  <a:lnTo>
                    <a:pt x="576" y="357"/>
                  </a:lnTo>
                  <a:lnTo>
                    <a:pt x="572" y="359"/>
                  </a:lnTo>
                  <a:lnTo>
                    <a:pt x="567" y="361"/>
                  </a:lnTo>
                  <a:lnTo>
                    <a:pt x="563" y="362"/>
                  </a:lnTo>
                  <a:lnTo>
                    <a:pt x="558" y="363"/>
                  </a:lnTo>
                  <a:lnTo>
                    <a:pt x="550" y="362"/>
                  </a:lnTo>
                  <a:lnTo>
                    <a:pt x="542" y="361"/>
                  </a:lnTo>
                  <a:lnTo>
                    <a:pt x="540" y="360"/>
                  </a:lnTo>
                  <a:lnTo>
                    <a:pt x="536" y="360"/>
                  </a:lnTo>
                  <a:lnTo>
                    <a:pt x="534" y="361"/>
                  </a:lnTo>
                  <a:lnTo>
                    <a:pt x="532" y="363"/>
                  </a:lnTo>
                  <a:lnTo>
                    <a:pt x="533" y="358"/>
                  </a:lnTo>
                  <a:lnTo>
                    <a:pt x="535" y="354"/>
                  </a:lnTo>
                  <a:lnTo>
                    <a:pt x="539" y="350"/>
                  </a:lnTo>
                  <a:lnTo>
                    <a:pt x="542" y="347"/>
                  </a:lnTo>
                  <a:lnTo>
                    <a:pt x="550" y="339"/>
                  </a:lnTo>
                  <a:lnTo>
                    <a:pt x="557" y="332"/>
                  </a:lnTo>
                  <a:lnTo>
                    <a:pt x="565" y="324"/>
                  </a:lnTo>
                  <a:lnTo>
                    <a:pt x="572" y="316"/>
                  </a:lnTo>
                  <a:lnTo>
                    <a:pt x="574" y="311"/>
                  </a:lnTo>
                  <a:lnTo>
                    <a:pt x="576" y="306"/>
                  </a:lnTo>
                  <a:lnTo>
                    <a:pt x="577" y="301"/>
                  </a:lnTo>
                  <a:lnTo>
                    <a:pt x="578" y="295"/>
                  </a:lnTo>
                  <a:lnTo>
                    <a:pt x="577" y="290"/>
                  </a:lnTo>
                  <a:lnTo>
                    <a:pt x="576" y="283"/>
                  </a:lnTo>
                  <a:lnTo>
                    <a:pt x="575" y="280"/>
                  </a:lnTo>
                  <a:lnTo>
                    <a:pt x="575" y="277"/>
                  </a:lnTo>
                  <a:lnTo>
                    <a:pt x="576" y="274"/>
                  </a:lnTo>
                  <a:lnTo>
                    <a:pt x="578" y="271"/>
                  </a:lnTo>
                  <a:lnTo>
                    <a:pt x="568" y="271"/>
                  </a:lnTo>
                  <a:lnTo>
                    <a:pt x="558" y="269"/>
                  </a:lnTo>
                  <a:lnTo>
                    <a:pt x="550" y="267"/>
                  </a:lnTo>
                  <a:lnTo>
                    <a:pt x="541" y="263"/>
                  </a:lnTo>
                  <a:lnTo>
                    <a:pt x="533" y="258"/>
                  </a:lnTo>
                  <a:lnTo>
                    <a:pt x="524" y="254"/>
                  </a:lnTo>
                  <a:lnTo>
                    <a:pt x="518" y="248"/>
                  </a:lnTo>
                  <a:lnTo>
                    <a:pt x="511" y="243"/>
                  </a:lnTo>
                  <a:lnTo>
                    <a:pt x="499" y="231"/>
                  </a:lnTo>
                  <a:lnTo>
                    <a:pt x="489" y="219"/>
                  </a:lnTo>
                  <a:lnTo>
                    <a:pt x="483" y="208"/>
                  </a:lnTo>
                  <a:lnTo>
                    <a:pt x="478" y="196"/>
                  </a:lnTo>
                  <a:lnTo>
                    <a:pt x="473" y="198"/>
                  </a:lnTo>
                  <a:lnTo>
                    <a:pt x="467" y="198"/>
                  </a:lnTo>
                  <a:lnTo>
                    <a:pt x="463" y="198"/>
                  </a:lnTo>
                  <a:lnTo>
                    <a:pt x="459" y="196"/>
                  </a:lnTo>
                  <a:lnTo>
                    <a:pt x="452" y="190"/>
                  </a:lnTo>
                  <a:lnTo>
                    <a:pt x="446" y="183"/>
                  </a:lnTo>
                  <a:lnTo>
                    <a:pt x="441" y="175"/>
                  </a:lnTo>
                  <a:lnTo>
                    <a:pt x="434" y="168"/>
                  </a:lnTo>
                  <a:lnTo>
                    <a:pt x="431" y="165"/>
                  </a:lnTo>
                  <a:lnTo>
                    <a:pt x="428" y="162"/>
                  </a:lnTo>
                  <a:lnTo>
                    <a:pt x="423" y="161"/>
                  </a:lnTo>
                  <a:lnTo>
                    <a:pt x="419" y="160"/>
                  </a:lnTo>
                  <a:lnTo>
                    <a:pt x="415" y="161"/>
                  </a:lnTo>
                  <a:lnTo>
                    <a:pt x="411" y="162"/>
                  </a:lnTo>
                  <a:lnTo>
                    <a:pt x="408" y="163"/>
                  </a:lnTo>
                  <a:lnTo>
                    <a:pt x="404" y="165"/>
                  </a:lnTo>
                  <a:lnTo>
                    <a:pt x="397" y="170"/>
                  </a:lnTo>
                  <a:lnTo>
                    <a:pt x="392" y="177"/>
                  </a:lnTo>
                  <a:lnTo>
                    <a:pt x="386" y="184"/>
                  </a:lnTo>
                  <a:lnTo>
                    <a:pt x="382" y="191"/>
                  </a:lnTo>
                  <a:lnTo>
                    <a:pt x="379" y="197"/>
                  </a:lnTo>
                  <a:lnTo>
                    <a:pt x="378" y="203"/>
                  </a:lnTo>
                  <a:lnTo>
                    <a:pt x="339" y="203"/>
                  </a:lnTo>
                  <a:lnTo>
                    <a:pt x="317" y="194"/>
                  </a:lnTo>
                  <a:lnTo>
                    <a:pt x="295" y="188"/>
                  </a:lnTo>
                  <a:lnTo>
                    <a:pt x="273" y="182"/>
                  </a:lnTo>
                  <a:lnTo>
                    <a:pt x="252" y="178"/>
                  </a:lnTo>
                  <a:lnTo>
                    <a:pt x="230" y="176"/>
                  </a:lnTo>
                  <a:lnTo>
                    <a:pt x="207" y="174"/>
                  </a:lnTo>
                  <a:lnTo>
                    <a:pt x="184" y="173"/>
                  </a:lnTo>
                  <a:lnTo>
                    <a:pt x="160" y="172"/>
                  </a:lnTo>
                  <a:lnTo>
                    <a:pt x="148" y="173"/>
                  </a:lnTo>
                  <a:lnTo>
                    <a:pt x="138" y="176"/>
                  </a:lnTo>
                  <a:lnTo>
                    <a:pt x="129" y="180"/>
                  </a:lnTo>
                  <a:lnTo>
                    <a:pt x="121" y="184"/>
                  </a:lnTo>
                  <a:lnTo>
                    <a:pt x="114" y="189"/>
                  </a:lnTo>
                  <a:lnTo>
                    <a:pt x="107" y="193"/>
                  </a:lnTo>
                  <a:lnTo>
                    <a:pt x="101" y="195"/>
                  </a:lnTo>
                  <a:lnTo>
                    <a:pt x="93" y="196"/>
                  </a:lnTo>
                  <a:lnTo>
                    <a:pt x="88" y="196"/>
                  </a:lnTo>
                  <a:lnTo>
                    <a:pt x="84" y="194"/>
                  </a:lnTo>
                  <a:lnTo>
                    <a:pt x="81" y="190"/>
                  </a:lnTo>
                  <a:lnTo>
                    <a:pt x="79" y="187"/>
                  </a:lnTo>
                  <a:lnTo>
                    <a:pt x="74" y="179"/>
                  </a:lnTo>
                  <a:lnTo>
                    <a:pt x="73" y="172"/>
                  </a:lnTo>
                  <a:lnTo>
                    <a:pt x="50" y="177"/>
                  </a:lnTo>
                  <a:lnTo>
                    <a:pt x="29" y="181"/>
                  </a:lnTo>
                  <a:lnTo>
                    <a:pt x="25" y="181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13" y="178"/>
                  </a:lnTo>
                  <a:lnTo>
                    <a:pt x="8" y="176"/>
                  </a:lnTo>
                  <a:lnTo>
                    <a:pt x="6" y="174"/>
                  </a:lnTo>
                  <a:lnTo>
                    <a:pt x="3" y="170"/>
                  </a:lnTo>
                  <a:lnTo>
                    <a:pt x="0" y="166"/>
                  </a:lnTo>
                  <a:lnTo>
                    <a:pt x="4" y="162"/>
                  </a:lnTo>
                  <a:lnTo>
                    <a:pt x="9" y="158"/>
                  </a:lnTo>
                  <a:lnTo>
                    <a:pt x="14" y="155"/>
                  </a:lnTo>
                  <a:lnTo>
                    <a:pt x="20" y="152"/>
                  </a:lnTo>
                  <a:lnTo>
                    <a:pt x="32" y="149"/>
                  </a:lnTo>
                  <a:lnTo>
                    <a:pt x="46" y="146"/>
                  </a:lnTo>
                  <a:lnTo>
                    <a:pt x="59" y="145"/>
                  </a:lnTo>
                  <a:lnTo>
                    <a:pt x="70" y="147"/>
                  </a:lnTo>
                  <a:lnTo>
                    <a:pt x="75" y="149"/>
                  </a:lnTo>
                  <a:lnTo>
                    <a:pt x="80" y="150"/>
                  </a:lnTo>
                  <a:lnTo>
                    <a:pt x="83" y="152"/>
                  </a:lnTo>
                  <a:lnTo>
                    <a:pt x="86" y="154"/>
                  </a:lnTo>
                  <a:lnTo>
                    <a:pt x="86" y="139"/>
                  </a:lnTo>
                  <a:lnTo>
                    <a:pt x="86" y="129"/>
                  </a:lnTo>
                  <a:lnTo>
                    <a:pt x="73" y="129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19" name="Freeform 417"/>
            <p:cNvSpPr>
              <a:spLocks/>
            </p:cNvSpPr>
            <p:nvPr/>
          </p:nvSpPr>
          <p:spPr bwMode="auto">
            <a:xfrm>
              <a:off x="1528" y="1110"/>
              <a:ext cx="409" cy="105"/>
            </a:xfrm>
            <a:custGeom>
              <a:avLst/>
              <a:gdLst>
                <a:gd name="T0" fmla="*/ 83 w 1268"/>
                <a:gd name="T1" fmla="*/ 4 h 321"/>
                <a:gd name="T2" fmla="*/ 85 w 1268"/>
                <a:gd name="T3" fmla="*/ 2 h 321"/>
                <a:gd name="T4" fmla="*/ 88 w 1268"/>
                <a:gd name="T5" fmla="*/ 1 h 321"/>
                <a:gd name="T6" fmla="*/ 90 w 1268"/>
                <a:gd name="T7" fmla="*/ 3 h 321"/>
                <a:gd name="T8" fmla="*/ 98 w 1268"/>
                <a:gd name="T9" fmla="*/ 2 h 321"/>
                <a:gd name="T10" fmla="*/ 106 w 1268"/>
                <a:gd name="T11" fmla="*/ 0 h 321"/>
                <a:gd name="T12" fmla="*/ 113 w 1268"/>
                <a:gd name="T13" fmla="*/ 2 h 321"/>
                <a:gd name="T14" fmla="*/ 118 w 1268"/>
                <a:gd name="T15" fmla="*/ 2 h 321"/>
                <a:gd name="T16" fmla="*/ 132 w 1268"/>
                <a:gd name="T17" fmla="*/ 3 h 321"/>
                <a:gd name="T18" fmla="*/ 129 w 1268"/>
                <a:gd name="T19" fmla="*/ 5 h 321"/>
                <a:gd name="T20" fmla="*/ 121 w 1268"/>
                <a:gd name="T21" fmla="*/ 7 h 321"/>
                <a:gd name="T22" fmla="*/ 110 w 1268"/>
                <a:gd name="T23" fmla="*/ 8 h 321"/>
                <a:gd name="T24" fmla="*/ 107 w 1268"/>
                <a:gd name="T25" fmla="*/ 10 h 321"/>
                <a:gd name="T26" fmla="*/ 104 w 1268"/>
                <a:gd name="T27" fmla="*/ 11 h 321"/>
                <a:gd name="T28" fmla="*/ 98 w 1268"/>
                <a:gd name="T29" fmla="*/ 11 h 321"/>
                <a:gd name="T30" fmla="*/ 97 w 1268"/>
                <a:gd name="T31" fmla="*/ 13 h 321"/>
                <a:gd name="T32" fmla="*/ 78 w 1268"/>
                <a:gd name="T33" fmla="*/ 14 h 321"/>
                <a:gd name="T34" fmla="*/ 69 w 1268"/>
                <a:gd name="T35" fmla="*/ 17 h 321"/>
                <a:gd name="T36" fmla="*/ 66 w 1268"/>
                <a:gd name="T37" fmla="*/ 19 h 321"/>
                <a:gd name="T38" fmla="*/ 62 w 1268"/>
                <a:gd name="T39" fmla="*/ 18 h 321"/>
                <a:gd name="T40" fmla="*/ 59 w 1268"/>
                <a:gd name="T41" fmla="*/ 19 h 321"/>
                <a:gd name="T42" fmla="*/ 61 w 1268"/>
                <a:gd name="T43" fmla="*/ 22 h 321"/>
                <a:gd name="T44" fmla="*/ 57 w 1268"/>
                <a:gd name="T45" fmla="*/ 26 h 321"/>
                <a:gd name="T46" fmla="*/ 50 w 1268"/>
                <a:gd name="T47" fmla="*/ 25 h 321"/>
                <a:gd name="T48" fmla="*/ 42 w 1268"/>
                <a:gd name="T49" fmla="*/ 26 h 321"/>
                <a:gd name="T50" fmla="*/ 42 w 1268"/>
                <a:gd name="T51" fmla="*/ 27 h 321"/>
                <a:gd name="T52" fmla="*/ 41 w 1268"/>
                <a:gd name="T53" fmla="*/ 31 h 321"/>
                <a:gd name="T54" fmla="*/ 35 w 1268"/>
                <a:gd name="T55" fmla="*/ 34 h 321"/>
                <a:gd name="T56" fmla="*/ 30 w 1268"/>
                <a:gd name="T57" fmla="*/ 32 h 321"/>
                <a:gd name="T58" fmla="*/ 26 w 1268"/>
                <a:gd name="T59" fmla="*/ 30 h 321"/>
                <a:gd name="T60" fmla="*/ 10 w 1268"/>
                <a:gd name="T61" fmla="*/ 29 h 321"/>
                <a:gd name="T62" fmla="*/ 0 w 1268"/>
                <a:gd name="T63" fmla="*/ 30 h 321"/>
                <a:gd name="T64" fmla="*/ 1 w 1268"/>
                <a:gd name="T65" fmla="*/ 28 h 321"/>
                <a:gd name="T66" fmla="*/ 6 w 1268"/>
                <a:gd name="T67" fmla="*/ 26 h 321"/>
                <a:gd name="T68" fmla="*/ 15 w 1268"/>
                <a:gd name="T69" fmla="*/ 25 h 321"/>
                <a:gd name="T70" fmla="*/ 18 w 1268"/>
                <a:gd name="T71" fmla="*/ 24 h 321"/>
                <a:gd name="T72" fmla="*/ 20 w 1268"/>
                <a:gd name="T73" fmla="*/ 23 h 321"/>
                <a:gd name="T74" fmla="*/ 23 w 1268"/>
                <a:gd name="T75" fmla="*/ 25 h 321"/>
                <a:gd name="T76" fmla="*/ 26 w 1268"/>
                <a:gd name="T77" fmla="*/ 26 h 321"/>
                <a:gd name="T78" fmla="*/ 22 w 1268"/>
                <a:gd name="T79" fmla="*/ 22 h 321"/>
                <a:gd name="T80" fmla="*/ 20 w 1268"/>
                <a:gd name="T81" fmla="*/ 21 h 321"/>
                <a:gd name="T82" fmla="*/ 21 w 1268"/>
                <a:gd name="T83" fmla="*/ 19 h 321"/>
                <a:gd name="T84" fmla="*/ 25 w 1268"/>
                <a:gd name="T85" fmla="*/ 19 h 321"/>
                <a:gd name="T86" fmla="*/ 38 w 1268"/>
                <a:gd name="T87" fmla="*/ 20 h 321"/>
                <a:gd name="T88" fmla="*/ 44 w 1268"/>
                <a:gd name="T89" fmla="*/ 19 h 321"/>
                <a:gd name="T90" fmla="*/ 34 w 1268"/>
                <a:gd name="T91" fmla="*/ 18 h 321"/>
                <a:gd name="T92" fmla="*/ 31 w 1268"/>
                <a:gd name="T93" fmla="*/ 16 h 321"/>
                <a:gd name="T94" fmla="*/ 39 w 1268"/>
                <a:gd name="T95" fmla="*/ 15 h 321"/>
                <a:gd name="T96" fmla="*/ 45 w 1268"/>
                <a:gd name="T97" fmla="*/ 17 h 321"/>
                <a:gd name="T98" fmla="*/ 50 w 1268"/>
                <a:gd name="T99" fmla="*/ 13 h 321"/>
                <a:gd name="T100" fmla="*/ 69 w 1268"/>
                <a:gd name="T101" fmla="*/ 9 h 321"/>
                <a:gd name="T102" fmla="*/ 61 w 1268"/>
                <a:gd name="T103" fmla="*/ 12 h 321"/>
                <a:gd name="T104" fmla="*/ 47 w 1268"/>
                <a:gd name="T105" fmla="*/ 12 h 321"/>
                <a:gd name="T106" fmla="*/ 33 w 1268"/>
                <a:gd name="T107" fmla="*/ 12 h 321"/>
                <a:gd name="T108" fmla="*/ 26 w 1268"/>
                <a:gd name="T109" fmla="*/ 11 h 321"/>
                <a:gd name="T110" fmla="*/ 23 w 1268"/>
                <a:gd name="T111" fmla="*/ 9 h 321"/>
                <a:gd name="T112" fmla="*/ 26 w 1268"/>
                <a:gd name="T113" fmla="*/ 8 h 321"/>
                <a:gd name="T114" fmla="*/ 46 w 1268"/>
                <a:gd name="T115" fmla="*/ 5 h 321"/>
                <a:gd name="T116" fmla="*/ 64 w 1268"/>
                <a:gd name="T117" fmla="*/ 3 h 321"/>
                <a:gd name="T118" fmla="*/ 70 w 1268"/>
                <a:gd name="T119" fmla="*/ 2 h 321"/>
                <a:gd name="T120" fmla="*/ 79 w 1268"/>
                <a:gd name="T121" fmla="*/ 3 h 32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68"/>
                <a:gd name="T184" fmla="*/ 0 h 321"/>
                <a:gd name="T185" fmla="*/ 1268 w 1268"/>
                <a:gd name="T186" fmla="*/ 321 h 321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68" h="321">
                  <a:moveTo>
                    <a:pt x="764" y="26"/>
                  </a:moveTo>
                  <a:lnTo>
                    <a:pt x="770" y="30"/>
                  </a:lnTo>
                  <a:lnTo>
                    <a:pt x="778" y="34"/>
                  </a:lnTo>
                  <a:lnTo>
                    <a:pt x="787" y="37"/>
                  </a:lnTo>
                  <a:lnTo>
                    <a:pt x="797" y="38"/>
                  </a:lnTo>
                  <a:lnTo>
                    <a:pt x="797" y="35"/>
                  </a:lnTo>
                  <a:lnTo>
                    <a:pt x="799" y="31"/>
                  </a:lnTo>
                  <a:lnTo>
                    <a:pt x="803" y="26"/>
                  </a:lnTo>
                  <a:lnTo>
                    <a:pt x="807" y="20"/>
                  </a:lnTo>
                  <a:lnTo>
                    <a:pt x="813" y="16"/>
                  </a:lnTo>
                  <a:lnTo>
                    <a:pt x="819" y="11"/>
                  </a:lnTo>
                  <a:lnTo>
                    <a:pt x="828" y="9"/>
                  </a:lnTo>
                  <a:lnTo>
                    <a:pt x="837" y="8"/>
                  </a:lnTo>
                  <a:lnTo>
                    <a:pt x="841" y="8"/>
                  </a:lnTo>
                  <a:lnTo>
                    <a:pt x="846" y="10"/>
                  </a:lnTo>
                  <a:lnTo>
                    <a:pt x="850" y="13"/>
                  </a:lnTo>
                  <a:lnTo>
                    <a:pt x="853" y="17"/>
                  </a:lnTo>
                  <a:lnTo>
                    <a:pt x="858" y="20"/>
                  </a:lnTo>
                  <a:lnTo>
                    <a:pt x="861" y="23"/>
                  </a:lnTo>
                  <a:lnTo>
                    <a:pt x="865" y="25"/>
                  </a:lnTo>
                  <a:lnTo>
                    <a:pt x="870" y="26"/>
                  </a:lnTo>
                  <a:lnTo>
                    <a:pt x="888" y="25"/>
                  </a:lnTo>
                  <a:lnTo>
                    <a:pt x="906" y="22"/>
                  </a:lnTo>
                  <a:lnTo>
                    <a:pt x="921" y="18"/>
                  </a:lnTo>
                  <a:lnTo>
                    <a:pt x="938" y="14"/>
                  </a:lnTo>
                  <a:lnTo>
                    <a:pt x="953" y="9"/>
                  </a:lnTo>
                  <a:lnTo>
                    <a:pt x="970" y="4"/>
                  </a:lnTo>
                  <a:lnTo>
                    <a:pt x="988" y="2"/>
                  </a:lnTo>
                  <a:lnTo>
                    <a:pt x="1009" y="0"/>
                  </a:lnTo>
                  <a:lnTo>
                    <a:pt x="1020" y="1"/>
                  </a:lnTo>
                  <a:lnTo>
                    <a:pt x="1032" y="3"/>
                  </a:lnTo>
                  <a:lnTo>
                    <a:pt x="1045" y="7"/>
                  </a:lnTo>
                  <a:lnTo>
                    <a:pt x="1059" y="11"/>
                  </a:lnTo>
                  <a:lnTo>
                    <a:pt x="1072" y="14"/>
                  </a:lnTo>
                  <a:lnTo>
                    <a:pt x="1084" y="17"/>
                  </a:lnTo>
                  <a:lnTo>
                    <a:pt x="1094" y="19"/>
                  </a:lnTo>
                  <a:lnTo>
                    <a:pt x="1103" y="20"/>
                  </a:lnTo>
                  <a:lnTo>
                    <a:pt x="1115" y="20"/>
                  </a:lnTo>
                  <a:lnTo>
                    <a:pt x="1123" y="20"/>
                  </a:lnTo>
                  <a:lnTo>
                    <a:pt x="1133" y="20"/>
                  </a:lnTo>
                  <a:lnTo>
                    <a:pt x="1149" y="20"/>
                  </a:lnTo>
                  <a:lnTo>
                    <a:pt x="1180" y="21"/>
                  </a:lnTo>
                  <a:lnTo>
                    <a:pt x="1209" y="23"/>
                  </a:lnTo>
                  <a:lnTo>
                    <a:pt x="1236" y="27"/>
                  </a:lnTo>
                  <a:lnTo>
                    <a:pt x="1268" y="32"/>
                  </a:lnTo>
                  <a:lnTo>
                    <a:pt x="1266" y="36"/>
                  </a:lnTo>
                  <a:lnTo>
                    <a:pt x="1263" y="39"/>
                  </a:lnTo>
                  <a:lnTo>
                    <a:pt x="1258" y="42"/>
                  </a:lnTo>
                  <a:lnTo>
                    <a:pt x="1253" y="45"/>
                  </a:lnTo>
                  <a:lnTo>
                    <a:pt x="1242" y="50"/>
                  </a:lnTo>
                  <a:lnTo>
                    <a:pt x="1229" y="54"/>
                  </a:lnTo>
                  <a:lnTo>
                    <a:pt x="1213" y="57"/>
                  </a:lnTo>
                  <a:lnTo>
                    <a:pt x="1198" y="59"/>
                  </a:lnTo>
                  <a:lnTo>
                    <a:pt x="1180" y="62"/>
                  </a:lnTo>
                  <a:lnTo>
                    <a:pt x="1163" y="64"/>
                  </a:lnTo>
                  <a:lnTo>
                    <a:pt x="1128" y="66"/>
                  </a:lnTo>
                  <a:lnTo>
                    <a:pt x="1094" y="69"/>
                  </a:lnTo>
                  <a:lnTo>
                    <a:pt x="1078" y="71"/>
                  </a:lnTo>
                  <a:lnTo>
                    <a:pt x="1065" y="74"/>
                  </a:lnTo>
                  <a:lnTo>
                    <a:pt x="1053" y="77"/>
                  </a:lnTo>
                  <a:lnTo>
                    <a:pt x="1043" y="81"/>
                  </a:lnTo>
                  <a:lnTo>
                    <a:pt x="1039" y="84"/>
                  </a:lnTo>
                  <a:lnTo>
                    <a:pt x="1034" y="87"/>
                  </a:lnTo>
                  <a:lnTo>
                    <a:pt x="1031" y="91"/>
                  </a:lnTo>
                  <a:lnTo>
                    <a:pt x="1029" y="96"/>
                  </a:lnTo>
                  <a:lnTo>
                    <a:pt x="1026" y="99"/>
                  </a:lnTo>
                  <a:lnTo>
                    <a:pt x="1021" y="102"/>
                  </a:lnTo>
                  <a:lnTo>
                    <a:pt x="1016" y="105"/>
                  </a:lnTo>
                  <a:lnTo>
                    <a:pt x="1009" y="105"/>
                  </a:lnTo>
                  <a:lnTo>
                    <a:pt x="999" y="104"/>
                  </a:lnTo>
                  <a:lnTo>
                    <a:pt x="991" y="102"/>
                  </a:lnTo>
                  <a:lnTo>
                    <a:pt x="983" y="98"/>
                  </a:lnTo>
                  <a:lnTo>
                    <a:pt x="976" y="93"/>
                  </a:lnTo>
                  <a:lnTo>
                    <a:pt x="943" y="93"/>
                  </a:lnTo>
                  <a:lnTo>
                    <a:pt x="942" y="102"/>
                  </a:lnTo>
                  <a:lnTo>
                    <a:pt x="939" y="110"/>
                  </a:lnTo>
                  <a:lnTo>
                    <a:pt x="937" y="113"/>
                  </a:lnTo>
                  <a:lnTo>
                    <a:pt x="935" y="115"/>
                  </a:lnTo>
                  <a:lnTo>
                    <a:pt x="932" y="118"/>
                  </a:lnTo>
                  <a:lnTo>
                    <a:pt x="930" y="118"/>
                  </a:lnTo>
                  <a:lnTo>
                    <a:pt x="902" y="119"/>
                  </a:lnTo>
                  <a:lnTo>
                    <a:pt x="862" y="120"/>
                  </a:lnTo>
                  <a:lnTo>
                    <a:pt x="818" y="124"/>
                  </a:lnTo>
                  <a:lnTo>
                    <a:pt x="771" y="129"/>
                  </a:lnTo>
                  <a:lnTo>
                    <a:pt x="747" y="133"/>
                  </a:lnTo>
                  <a:lnTo>
                    <a:pt x="725" y="137"/>
                  </a:lnTo>
                  <a:lnTo>
                    <a:pt x="703" y="143"/>
                  </a:lnTo>
                  <a:lnTo>
                    <a:pt x="683" y="149"/>
                  </a:lnTo>
                  <a:lnTo>
                    <a:pt x="674" y="153"/>
                  </a:lnTo>
                  <a:lnTo>
                    <a:pt x="666" y="156"/>
                  </a:lnTo>
                  <a:lnTo>
                    <a:pt x="658" y="160"/>
                  </a:lnTo>
                  <a:lnTo>
                    <a:pt x="651" y="165"/>
                  </a:lnTo>
                  <a:lnTo>
                    <a:pt x="645" y="169"/>
                  </a:lnTo>
                  <a:lnTo>
                    <a:pt x="639" y="175"/>
                  </a:lnTo>
                  <a:lnTo>
                    <a:pt x="635" y="181"/>
                  </a:lnTo>
                  <a:lnTo>
                    <a:pt x="630" y="186"/>
                  </a:lnTo>
                  <a:lnTo>
                    <a:pt x="604" y="186"/>
                  </a:lnTo>
                  <a:lnTo>
                    <a:pt x="604" y="177"/>
                  </a:lnTo>
                  <a:lnTo>
                    <a:pt x="604" y="167"/>
                  </a:lnTo>
                  <a:lnTo>
                    <a:pt x="591" y="167"/>
                  </a:lnTo>
                  <a:lnTo>
                    <a:pt x="579" y="167"/>
                  </a:lnTo>
                  <a:lnTo>
                    <a:pt x="562" y="167"/>
                  </a:lnTo>
                  <a:lnTo>
                    <a:pt x="538" y="167"/>
                  </a:lnTo>
                  <a:lnTo>
                    <a:pt x="556" y="175"/>
                  </a:lnTo>
                  <a:lnTo>
                    <a:pt x="570" y="181"/>
                  </a:lnTo>
                  <a:lnTo>
                    <a:pt x="577" y="185"/>
                  </a:lnTo>
                  <a:lnTo>
                    <a:pt x="583" y="190"/>
                  </a:lnTo>
                  <a:lnTo>
                    <a:pt x="591" y="196"/>
                  </a:lnTo>
                  <a:lnTo>
                    <a:pt x="597" y="204"/>
                  </a:lnTo>
                  <a:lnTo>
                    <a:pt x="590" y="207"/>
                  </a:lnTo>
                  <a:lnTo>
                    <a:pt x="581" y="212"/>
                  </a:lnTo>
                  <a:lnTo>
                    <a:pt x="571" y="218"/>
                  </a:lnTo>
                  <a:lnTo>
                    <a:pt x="562" y="225"/>
                  </a:lnTo>
                  <a:lnTo>
                    <a:pt x="552" y="232"/>
                  </a:lnTo>
                  <a:lnTo>
                    <a:pt x="545" y="237"/>
                  </a:lnTo>
                  <a:lnTo>
                    <a:pt x="537" y="240"/>
                  </a:lnTo>
                  <a:lnTo>
                    <a:pt x="532" y="241"/>
                  </a:lnTo>
                  <a:lnTo>
                    <a:pt x="517" y="241"/>
                  </a:lnTo>
                  <a:lnTo>
                    <a:pt x="502" y="238"/>
                  </a:lnTo>
                  <a:lnTo>
                    <a:pt x="483" y="236"/>
                  </a:lnTo>
                  <a:lnTo>
                    <a:pt x="458" y="235"/>
                  </a:lnTo>
                  <a:lnTo>
                    <a:pt x="442" y="236"/>
                  </a:lnTo>
                  <a:lnTo>
                    <a:pt x="427" y="237"/>
                  </a:lnTo>
                  <a:lnTo>
                    <a:pt x="415" y="240"/>
                  </a:lnTo>
                  <a:lnTo>
                    <a:pt x="404" y="242"/>
                  </a:lnTo>
                  <a:lnTo>
                    <a:pt x="384" y="248"/>
                  </a:lnTo>
                  <a:lnTo>
                    <a:pt x="365" y="254"/>
                  </a:lnTo>
                  <a:lnTo>
                    <a:pt x="382" y="257"/>
                  </a:lnTo>
                  <a:lnTo>
                    <a:pt x="394" y="258"/>
                  </a:lnTo>
                  <a:lnTo>
                    <a:pt x="405" y="257"/>
                  </a:lnTo>
                  <a:lnTo>
                    <a:pt x="418" y="254"/>
                  </a:lnTo>
                  <a:lnTo>
                    <a:pt x="418" y="272"/>
                  </a:lnTo>
                  <a:lnTo>
                    <a:pt x="413" y="277"/>
                  </a:lnTo>
                  <a:lnTo>
                    <a:pt x="404" y="285"/>
                  </a:lnTo>
                  <a:lnTo>
                    <a:pt x="392" y="293"/>
                  </a:lnTo>
                  <a:lnTo>
                    <a:pt x="379" y="301"/>
                  </a:lnTo>
                  <a:lnTo>
                    <a:pt x="356" y="315"/>
                  </a:lnTo>
                  <a:lnTo>
                    <a:pt x="345" y="321"/>
                  </a:lnTo>
                  <a:lnTo>
                    <a:pt x="339" y="321"/>
                  </a:lnTo>
                  <a:lnTo>
                    <a:pt x="333" y="320"/>
                  </a:lnTo>
                  <a:lnTo>
                    <a:pt x="327" y="318"/>
                  </a:lnTo>
                  <a:lnTo>
                    <a:pt x="322" y="315"/>
                  </a:lnTo>
                  <a:lnTo>
                    <a:pt x="312" y="310"/>
                  </a:lnTo>
                  <a:lnTo>
                    <a:pt x="301" y="303"/>
                  </a:lnTo>
                  <a:lnTo>
                    <a:pt x="290" y="296"/>
                  </a:lnTo>
                  <a:lnTo>
                    <a:pt x="279" y="290"/>
                  </a:lnTo>
                  <a:lnTo>
                    <a:pt x="272" y="288"/>
                  </a:lnTo>
                  <a:lnTo>
                    <a:pt x="266" y="286"/>
                  </a:lnTo>
                  <a:lnTo>
                    <a:pt x="259" y="285"/>
                  </a:lnTo>
                  <a:lnTo>
                    <a:pt x="253" y="285"/>
                  </a:lnTo>
                  <a:lnTo>
                    <a:pt x="215" y="283"/>
                  </a:lnTo>
                  <a:lnTo>
                    <a:pt x="182" y="281"/>
                  </a:lnTo>
                  <a:lnTo>
                    <a:pt x="152" y="279"/>
                  </a:lnTo>
                  <a:lnTo>
                    <a:pt x="123" y="277"/>
                  </a:lnTo>
                  <a:lnTo>
                    <a:pt x="96" y="276"/>
                  </a:lnTo>
                  <a:lnTo>
                    <a:pt x="66" y="276"/>
                  </a:lnTo>
                  <a:lnTo>
                    <a:pt x="51" y="277"/>
                  </a:lnTo>
                  <a:lnTo>
                    <a:pt x="35" y="279"/>
                  </a:lnTo>
                  <a:lnTo>
                    <a:pt x="18" y="281"/>
                  </a:lnTo>
                  <a:lnTo>
                    <a:pt x="0" y="285"/>
                  </a:lnTo>
                  <a:lnTo>
                    <a:pt x="0" y="281"/>
                  </a:lnTo>
                  <a:lnTo>
                    <a:pt x="1" y="277"/>
                  </a:lnTo>
                  <a:lnTo>
                    <a:pt x="2" y="274"/>
                  </a:lnTo>
                  <a:lnTo>
                    <a:pt x="5" y="271"/>
                  </a:lnTo>
                  <a:lnTo>
                    <a:pt x="10" y="266"/>
                  </a:lnTo>
                  <a:lnTo>
                    <a:pt x="17" y="261"/>
                  </a:lnTo>
                  <a:lnTo>
                    <a:pt x="25" y="257"/>
                  </a:lnTo>
                  <a:lnTo>
                    <a:pt x="35" y="253"/>
                  </a:lnTo>
                  <a:lnTo>
                    <a:pt x="45" y="249"/>
                  </a:lnTo>
                  <a:lnTo>
                    <a:pt x="56" y="246"/>
                  </a:lnTo>
                  <a:lnTo>
                    <a:pt x="79" y="241"/>
                  </a:lnTo>
                  <a:lnTo>
                    <a:pt x="101" y="238"/>
                  </a:lnTo>
                  <a:lnTo>
                    <a:pt x="120" y="236"/>
                  </a:lnTo>
                  <a:lnTo>
                    <a:pt x="133" y="235"/>
                  </a:lnTo>
                  <a:lnTo>
                    <a:pt x="143" y="235"/>
                  </a:lnTo>
                  <a:lnTo>
                    <a:pt x="159" y="235"/>
                  </a:lnTo>
                  <a:lnTo>
                    <a:pt x="162" y="235"/>
                  </a:lnTo>
                  <a:lnTo>
                    <a:pt x="164" y="233"/>
                  </a:lnTo>
                  <a:lnTo>
                    <a:pt x="167" y="230"/>
                  </a:lnTo>
                  <a:lnTo>
                    <a:pt x="170" y="225"/>
                  </a:lnTo>
                  <a:lnTo>
                    <a:pt x="174" y="222"/>
                  </a:lnTo>
                  <a:lnTo>
                    <a:pt x="177" y="219"/>
                  </a:lnTo>
                  <a:lnTo>
                    <a:pt x="181" y="217"/>
                  </a:lnTo>
                  <a:lnTo>
                    <a:pt x="186" y="216"/>
                  </a:lnTo>
                  <a:lnTo>
                    <a:pt x="190" y="217"/>
                  </a:lnTo>
                  <a:lnTo>
                    <a:pt x="196" y="218"/>
                  </a:lnTo>
                  <a:lnTo>
                    <a:pt x="200" y="219"/>
                  </a:lnTo>
                  <a:lnTo>
                    <a:pt x="203" y="221"/>
                  </a:lnTo>
                  <a:lnTo>
                    <a:pt x="211" y="226"/>
                  </a:lnTo>
                  <a:lnTo>
                    <a:pt x="219" y="232"/>
                  </a:lnTo>
                  <a:lnTo>
                    <a:pt x="226" y="238"/>
                  </a:lnTo>
                  <a:lnTo>
                    <a:pt x="234" y="243"/>
                  </a:lnTo>
                  <a:lnTo>
                    <a:pt x="238" y="245"/>
                  </a:lnTo>
                  <a:lnTo>
                    <a:pt x="243" y="246"/>
                  </a:lnTo>
                  <a:lnTo>
                    <a:pt x="247" y="247"/>
                  </a:lnTo>
                  <a:lnTo>
                    <a:pt x="253" y="247"/>
                  </a:lnTo>
                  <a:lnTo>
                    <a:pt x="253" y="204"/>
                  </a:lnTo>
                  <a:lnTo>
                    <a:pt x="232" y="206"/>
                  </a:lnTo>
                  <a:lnTo>
                    <a:pt x="212" y="207"/>
                  </a:lnTo>
                  <a:lnTo>
                    <a:pt x="208" y="207"/>
                  </a:lnTo>
                  <a:lnTo>
                    <a:pt x="204" y="207"/>
                  </a:lnTo>
                  <a:lnTo>
                    <a:pt x="201" y="206"/>
                  </a:lnTo>
                  <a:lnTo>
                    <a:pt x="198" y="204"/>
                  </a:lnTo>
                  <a:lnTo>
                    <a:pt x="196" y="202"/>
                  </a:lnTo>
                  <a:lnTo>
                    <a:pt x="193" y="200"/>
                  </a:lnTo>
                  <a:lnTo>
                    <a:pt x="192" y="196"/>
                  </a:lnTo>
                  <a:lnTo>
                    <a:pt x="192" y="192"/>
                  </a:lnTo>
                  <a:lnTo>
                    <a:pt x="193" y="188"/>
                  </a:lnTo>
                  <a:lnTo>
                    <a:pt x="194" y="184"/>
                  </a:lnTo>
                  <a:lnTo>
                    <a:pt x="197" y="181"/>
                  </a:lnTo>
                  <a:lnTo>
                    <a:pt x="199" y="179"/>
                  </a:lnTo>
                  <a:lnTo>
                    <a:pt x="205" y="176"/>
                  </a:lnTo>
                  <a:lnTo>
                    <a:pt x="214" y="174"/>
                  </a:lnTo>
                  <a:lnTo>
                    <a:pt x="232" y="172"/>
                  </a:lnTo>
                  <a:lnTo>
                    <a:pt x="246" y="174"/>
                  </a:lnTo>
                  <a:lnTo>
                    <a:pt x="265" y="176"/>
                  </a:lnTo>
                  <a:lnTo>
                    <a:pt x="290" y="180"/>
                  </a:lnTo>
                  <a:lnTo>
                    <a:pt x="315" y="184"/>
                  </a:lnTo>
                  <a:lnTo>
                    <a:pt x="338" y="186"/>
                  </a:lnTo>
                  <a:lnTo>
                    <a:pt x="365" y="186"/>
                  </a:lnTo>
                  <a:lnTo>
                    <a:pt x="386" y="184"/>
                  </a:lnTo>
                  <a:lnTo>
                    <a:pt x="394" y="183"/>
                  </a:lnTo>
                  <a:lnTo>
                    <a:pt x="403" y="181"/>
                  </a:lnTo>
                  <a:lnTo>
                    <a:pt x="411" y="178"/>
                  </a:lnTo>
                  <a:lnTo>
                    <a:pt x="418" y="174"/>
                  </a:lnTo>
                  <a:lnTo>
                    <a:pt x="379" y="172"/>
                  </a:lnTo>
                  <a:lnTo>
                    <a:pt x="344" y="172"/>
                  </a:lnTo>
                  <a:lnTo>
                    <a:pt x="336" y="172"/>
                  </a:lnTo>
                  <a:lnTo>
                    <a:pt x="328" y="171"/>
                  </a:lnTo>
                  <a:lnTo>
                    <a:pt x="322" y="169"/>
                  </a:lnTo>
                  <a:lnTo>
                    <a:pt x="315" y="167"/>
                  </a:lnTo>
                  <a:lnTo>
                    <a:pt x="310" y="164"/>
                  </a:lnTo>
                  <a:lnTo>
                    <a:pt x="305" y="160"/>
                  </a:lnTo>
                  <a:lnTo>
                    <a:pt x="302" y="155"/>
                  </a:lnTo>
                  <a:lnTo>
                    <a:pt x="299" y="149"/>
                  </a:lnTo>
                  <a:lnTo>
                    <a:pt x="309" y="145"/>
                  </a:lnTo>
                  <a:lnTo>
                    <a:pt x="320" y="142"/>
                  </a:lnTo>
                  <a:lnTo>
                    <a:pt x="331" y="140"/>
                  </a:lnTo>
                  <a:lnTo>
                    <a:pt x="345" y="138"/>
                  </a:lnTo>
                  <a:lnTo>
                    <a:pt x="378" y="137"/>
                  </a:lnTo>
                  <a:lnTo>
                    <a:pt x="425" y="137"/>
                  </a:lnTo>
                  <a:lnTo>
                    <a:pt x="426" y="141"/>
                  </a:lnTo>
                  <a:lnTo>
                    <a:pt x="429" y="146"/>
                  </a:lnTo>
                  <a:lnTo>
                    <a:pt x="434" y="150"/>
                  </a:lnTo>
                  <a:lnTo>
                    <a:pt x="438" y="155"/>
                  </a:lnTo>
                  <a:lnTo>
                    <a:pt x="484" y="155"/>
                  </a:lnTo>
                  <a:lnTo>
                    <a:pt x="483" y="146"/>
                  </a:lnTo>
                  <a:lnTo>
                    <a:pt x="481" y="137"/>
                  </a:lnTo>
                  <a:lnTo>
                    <a:pt x="479" y="130"/>
                  </a:lnTo>
                  <a:lnTo>
                    <a:pt x="478" y="124"/>
                  </a:lnTo>
                  <a:lnTo>
                    <a:pt x="645" y="124"/>
                  </a:lnTo>
                  <a:lnTo>
                    <a:pt x="648" y="109"/>
                  </a:lnTo>
                  <a:lnTo>
                    <a:pt x="651" y="101"/>
                  </a:lnTo>
                  <a:lnTo>
                    <a:pt x="657" y="95"/>
                  </a:lnTo>
                  <a:lnTo>
                    <a:pt x="664" y="87"/>
                  </a:lnTo>
                  <a:lnTo>
                    <a:pt x="653" y="91"/>
                  </a:lnTo>
                  <a:lnTo>
                    <a:pt x="638" y="99"/>
                  </a:lnTo>
                  <a:lnTo>
                    <a:pt x="622" y="108"/>
                  </a:lnTo>
                  <a:lnTo>
                    <a:pt x="611" y="111"/>
                  </a:lnTo>
                  <a:lnTo>
                    <a:pt x="589" y="110"/>
                  </a:lnTo>
                  <a:lnTo>
                    <a:pt x="556" y="108"/>
                  </a:lnTo>
                  <a:lnTo>
                    <a:pt x="522" y="106"/>
                  </a:lnTo>
                  <a:lnTo>
                    <a:pt x="491" y="105"/>
                  </a:lnTo>
                  <a:lnTo>
                    <a:pt x="476" y="107"/>
                  </a:lnTo>
                  <a:lnTo>
                    <a:pt x="449" y="111"/>
                  </a:lnTo>
                  <a:lnTo>
                    <a:pt x="414" y="115"/>
                  </a:lnTo>
                  <a:lnTo>
                    <a:pt x="376" y="119"/>
                  </a:lnTo>
                  <a:lnTo>
                    <a:pt x="355" y="120"/>
                  </a:lnTo>
                  <a:lnTo>
                    <a:pt x="333" y="119"/>
                  </a:lnTo>
                  <a:lnTo>
                    <a:pt x="312" y="116"/>
                  </a:lnTo>
                  <a:lnTo>
                    <a:pt x="291" y="113"/>
                  </a:lnTo>
                  <a:lnTo>
                    <a:pt x="281" y="111"/>
                  </a:lnTo>
                  <a:lnTo>
                    <a:pt x="271" y="108"/>
                  </a:lnTo>
                  <a:lnTo>
                    <a:pt x="261" y="105"/>
                  </a:lnTo>
                  <a:lnTo>
                    <a:pt x="253" y="101"/>
                  </a:lnTo>
                  <a:lnTo>
                    <a:pt x="244" y="97"/>
                  </a:lnTo>
                  <a:lnTo>
                    <a:pt x="235" y="92"/>
                  </a:lnTo>
                  <a:lnTo>
                    <a:pt x="226" y="87"/>
                  </a:lnTo>
                  <a:lnTo>
                    <a:pt x="219" y="81"/>
                  </a:lnTo>
                  <a:lnTo>
                    <a:pt x="219" y="80"/>
                  </a:lnTo>
                  <a:lnTo>
                    <a:pt x="221" y="79"/>
                  </a:lnTo>
                  <a:lnTo>
                    <a:pt x="223" y="78"/>
                  </a:lnTo>
                  <a:lnTo>
                    <a:pt x="227" y="76"/>
                  </a:lnTo>
                  <a:lnTo>
                    <a:pt x="238" y="74"/>
                  </a:lnTo>
                  <a:lnTo>
                    <a:pt x="253" y="71"/>
                  </a:lnTo>
                  <a:lnTo>
                    <a:pt x="290" y="66"/>
                  </a:lnTo>
                  <a:lnTo>
                    <a:pt x="334" y="60"/>
                  </a:lnTo>
                  <a:lnTo>
                    <a:pt x="378" y="55"/>
                  </a:lnTo>
                  <a:lnTo>
                    <a:pt x="417" y="50"/>
                  </a:lnTo>
                  <a:lnTo>
                    <a:pt x="446" y="47"/>
                  </a:lnTo>
                  <a:lnTo>
                    <a:pt x="458" y="44"/>
                  </a:lnTo>
                  <a:lnTo>
                    <a:pt x="545" y="44"/>
                  </a:lnTo>
                  <a:lnTo>
                    <a:pt x="591" y="32"/>
                  </a:lnTo>
                  <a:lnTo>
                    <a:pt x="605" y="33"/>
                  </a:lnTo>
                  <a:lnTo>
                    <a:pt x="618" y="32"/>
                  </a:lnTo>
                  <a:lnTo>
                    <a:pt x="631" y="31"/>
                  </a:lnTo>
                  <a:lnTo>
                    <a:pt x="642" y="28"/>
                  </a:lnTo>
                  <a:lnTo>
                    <a:pt x="653" y="25"/>
                  </a:lnTo>
                  <a:lnTo>
                    <a:pt x="664" y="22"/>
                  </a:lnTo>
                  <a:lnTo>
                    <a:pt x="674" y="20"/>
                  </a:lnTo>
                  <a:lnTo>
                    <a:pt x="684" y="20"/>
                  </a:lnTo>
                  <a:lnTo>
                    <a:pt x="707" y="21"/>
                  </a:lnTo>
                  <a:lnTo>
                    <a:pt x="723" y="23"/>
                  </a:lnTo>
                  <a:lnTo>
                    <a:pt x="737" y="25"/>
                  </a:lnTo>
                  <a:lnTo>
                    <a:pt x="757" y="26"/>
                  </a:lnTo>
                  <a:lnTo>
                    <a:pt x="764" y="26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20" name="Freeform 418"/>
            <p:cNvSpPr>
              <a:spLocks/>
            </p:cNvSpPr>
            <p:nvPr/>
          </p:nvSpPr>
          <p:spPr bwMode="auto">
            <a:xfrm>
              <a:off x="553" y="1660"/>
              <a:ext cx="51" cy="38"/>
            </a:xfrm>
            <a:custGeom>
              <a:avLst/>
              <a:gdLst>
                <a:gd name="T0" fmla="*/ 0 w 160"/>
                <a:gd name="T1" fmla="*/ 0 h 117"/>
                <a:gd name="T2" fmla="*/ 0 w 160"/>
                <a:gd name="T3" fmla="*/ 1 h 117"/>
                <a:gd name="T4" fmla="*/ 0 w 160"/>
                <a:gd name="T5" fmla="*/ 2 h 117"/>
                <a:gd name="T6" fmla="*/ 1 w 160"/>
                <a:gd name="T7" fmla="*/ 3 h 117"/>
                <a:gd name="T8" fmla="*/ 2 w 160"/>
                <a:gd name="T9" fmla="*/ 4 h 117"/>
                <a:gd name="T10" fmla="*/ 2 w 160"/>
                <a:gd name="T11" fmla="*/ 5 h 117"/>
                <a:gd name="T12" fmla="*/ 3 w 160"/>
                <a:gd name="T13" fmla="*/ 6 h 117"/>
                <a:gd name="T14" fmla="*/ 4 w 160"/>
                <a:gd name="T15" fmla="*/ 7 h 117"/>
                <a:gd name="T16" fmla="*/ 5 w 160"/>
                <a:gd name="T17" fmla="*/ 8 h 117"/>
                <a:gd name="T18" fmla="*/ 6 w 160"/>
                <a:gd name="T19" fmla="*/ 9 h 117"/>
                <a:gd name="T20" fmla="*/ 7 w 160"/>
                <a:gd name="T21" fmla="*/ 10 h 117"/>
                <a:gd name="T22" fmla="*/ 9 w 160"/>
                <a:gd name="T23" fmla="*/ 10 h 117"/>
                <a:gd name="T24" fmla="*/ 10 w 160"/>
                <a:gd name="T25" fmla="*/ 11 h 117"/>
                <a:gd name="T26" fmla="*/ 11 w 160"/>
                <a:gd name="T27" fmla="*/ 12 h 117"/>
                <a:gd name="T28" fmla="*/ 12 w 160"/>
                <a:gd name="T29" fmla="*/ 12 h 117"/>
                <a:gd name="T30" fmla="*/ 13 w 160"/>
                <a:gd name="T31" fmla="*/ 12 h 117"/>
                <a:gd name="T32" fmla="*/ 13 w 160"/>
                <a:gd name="T33" fmla="*/ 12 h 117"/>
                <a:gd name="T34" fmla="*/ 14 w 160"/>
                <a:gd name="T35" fmla="*/ 12 h 117"/>
                <a:gd name="T36" fmla="*/ 15 w 160"/>
                <a:gd name="T37" fmla="*/ 12 h 117"/>
                <a:gd name="T38" fmla="*/ 16 w 160"/>
                <a:gd name="T39" fmla="*/ 12 h 117"/>
                <a:gd name="T40" fmla="*/ 16 w 160"/>
                <a:gd name="T41" fmla="*/ 11 h 117"/>
                <a:gd name="T42" fmla="*/ 15 w 160"/>
                <a:gd name="T43" fmla="*/ 10 h 117"/>
                <a:gd name="T44" fmla="*/ 14 w 160"/>
                <a:gd name="T45" fmla="*/ 8 h 117"/>
                <a:gd name="T46" fmla="*/ 14 w 160"/>
                <a:gd name="T47" fmla="*/ 8 h 117"/>
                <a:gd name="T48" fmla="*/ 14 w 160"/>
                <a:gd name="T49" fmla="*/ 7 h 117"/>
                <a:gd name="T50" fmla="*/ 13 w 160"/>
                <a:gd name="T51" fmla="*/ 6 h 117"/>
                <a:gd name="T52" fmla="*/ 13 w 160"/>
                <a:gd name="T53" fmla="*/ 5 h 117"/>
                <a:gd name="T54" fmla="*/ 13 w 160"/>
                <a:gd name="T55" fmla="*/ 5 h 117"/>
                <a:gd name="T56" fmla="*/ 12 w 160"/>
                <a:gd name="T57" fmla="*/ 5 h 117"/>
                <a:gd name="T58" fmla="*/ 11 w 160"/>
                <a:gd name="T59" fmla="*/ 4 h 117"/>
                <a:gd name="T60" fmla="*/ 10 w 160"/>
                <a:gd name="T61" fmla="*/ 4 h 117"/>
                <a:gd name="T62" fmla="*/ 9 w 160"/>
                <a:gd name="T63" fmla="*/ 3 h 117"/>
                <a:gd name="T64" fmla="*/ 8 w 160"/>
                <a:gd name="T65" fmla="*/ 2 h 117"/>
                <a:gd name="T66" fmla="*/ 8 w 160"/>
                <a:gd name="T67" fmla="*/ 2 h 117"/>
                <a:gd name="T68" fmla="*/ 7 w 160"/>
                <a:gd name="T69" fmla="*/ 1 h 117"/>
                <a:gd name="T70" fmla="*/ 7 w 160"/>
                <a:gd name="T71" fmla="*/ 1 h 117"/>
                <a:gd name="T72" fmla="*/ 7 w 160"/>
                <a:gd name="T73" fmla="*/ 1 h 117"/>
                <a:gd name="T74" fmla="*/ 6 w 160"/>
                <a:gd name="T75" fmla="*/ 1 h 117"/>
                <a:gd name="T76" fmla="*/ 5 w 160"/>
                <a:gd name="T77" fmla="*/ 1 h 117"/>
                <a:gd name="T78" fmla="*/ 4 w 160"/>
                <a:gd name="T79" fmla="*/ 0 h 117"/>
                <a:gd name="T80" fmla="*/ 4 w 160"/>
                <a:gd name="T81" fmla="*/ 0 h 117"/>
                <a:gd name="T82" fmla="*/ 0 w 160"/>
                <a:gd name="T83" fmla="*/ 0 h 117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60"/>
                <a:gd name="T127" fmla="*/ 0 h 117"/>
                <a:gd name="T128" fmla="*/ 160 w 160"/>
                <a:gd name="T129" fmla="*/ 117 h 117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60" h="117">
                  <a:moveTo>
                    <a:pt x="0" y="0"/>
                  </a:moveTo>
                  <a:lnTo>
                    <a:pt x="1" y="10"/>
                  </a:lnTo>
                  <a:lnTo>
                    <a:pt x="4" y="19"/>
                  </a:lnTo>
                  <a:lnTo>
                    <a:pt x="9" y="29"/>
                  </a:lnTo>
                  <a:lnTo>
                    <a:pt x="15" y="39"/>
                  </a:lnTo>
                  <a:lnTo>
                    <a:pt x="22" y="48"/>
                  </a:lnTo>
                  <a:lnTo>
                    <a:pt x="31" y="59"/>
                  </a:lnTo>
                  <a:lnTo>
                    <a:pt x="41" y="68"/>
                  </a:lnTo>
                  <a:lnTo>
                    <a:pt x="51" y="77"/>
                  </a:lnTo>
                  <a:lnTo>
                    <a:pt x="62" y="85"/>
                  </a:lnTo>
                  <a:lnTo>
                    <a:pt x="73" y="93"/>
                  </a:lnTo>
                  <a:lnTo>
                    <a:pt x="84" y="99"/>
                  </a:lnTo>
                  <a:lnTo>
                    <a:pt x="95" y="105"/>
                  </a:lnTo>
                  <a:lnTo>
                    <a:pt x="106" y="111"/>
                  </a:lnTo>
                  <a:lnTo>
                    <a:pt x="116" y="114"/>
                  </a:lnTo>
                  <a:lnTo>
                    <a:pt x="124" y="117"/>
                  </a:lnTo>
                  <a:lnTo>
                    <a:pt x="133" y="117"/>
                  </a:lnTo>
                  <a:lnTo>
                    <a:pt x="139" y="116"/>
                  </a:lnTo>
                  <a:lnTo>
                    <a:pt x="146" y="113"/>
                  </a:lnTo>
                  <a:lnTo>
                    <a:pt x="153" y="110"/>
                  </a:lnTo>
                  <a:lnTo>
                    <a:pt x="160" y="104"/>
                  </a:lnTo>
                  <a:lnTo>
                    <a:pt x="150" y="91"/>
                  </a:lnTo>
                  <a:lnTo>
                    <a:pt x="141" y="79"/>
                  </a:lnTo>
                  <a:lnTo>
                    <a:pt x="138" y="73"/>
                  </a:lnTo>
                  <a:lnTo>
                    <a:pt x="135" y="66"/>
                  </a:lnTo>
                  <a:lnTo>
                    <a:pt x="133" y="58"/>
                  </a:lnTo>
                  <a:lnTo>
                    <a:pt x="133" y="49"/>
                  </a:lnTo>
                  <a:lnTo>
                    <a:pt x="127" y="48"/>
                  </a:lnTo>
                  <a:lnTo>
                    <a:pt x="118" y="45"/>
                  </a:lnTo>
                  <a:lnTo>
                    <a:pt x="108" y="40"/>
                  </a:lnTo>
                  <a:lnTo>
                    <a:pt x="97" y="34"/>
                  </a:lnTo>
                  <a:lnTo>
                    <a:pt x="87" y="28"/>
                  </a:lnTo>
                  <a:lnTo>
                    <a:pt x="77" y="21"/>
                  </a:lnTo>
                  <a:lnTo>
                    <a:pt x="74" y="17"/>
                  </a:lnTo>
                  <a:lnTo>
                    <a:pt x="71" y="13"/>
                  </a:lnTo>
                  <a:lnTo>
                    <a:pt x="68" y="10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52" y="6"/>
                  </a:lnTo>
                  <a:lnTo>
                    <a:pt x="43" y="4"/>
                  </a:lnTo>
                  <a:lnTo>
                    <a:pt x="33" y="0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21" name="Freeform 419"/>
            <p:cNvSpPr>
              <a:spLocks/>
            </p:cNvSpPr>
            <p:nvPr/>
          </p:nvSpPr>
          <p:spPr bwMode="auto">
            <a:xfrm>
              <a:off x="527" y="1592"/>
              <a:ext cx="26" cy="46"/>
            </a:xfrm>
            <a:custGeom>
              <a:avLst/>
              <a:gdLst>
                <a:gd name="T0" fmla="*/ 4 w 80"/>
                <a:gd name="T1" fmla="*/ 13 h 141"/>
                <a:gd name="T2" fmla="*/ 8 w 80"/>
                <a:gd name="T3" fmla="*/ 4 h 141"/>
                <a:gd name="T4" fmla="*/ 8 w 80"/>
                <a:gd name="T5" fmla="*/ 2 h 141"/>
                <a:gd name="T6" fmla="*/ 7 w 80"/>
                <a:gd name="T7" fmla="*/ 2 h 141"/>
                <a:gd name="T8" fmla="*/ 6 w 80"/>
                <a:gd name="T9" fmla="*/ 2 h 141"/>
                <a:gd name="T10" fmla="*/ 6 w 80"/>
                <a:gd name="T11" fmla="*/ 2 h 141"/>
                <a:gd name="T12" fmla="*/ 5 w 80"/>
                <a:gd name="T13" fmla="*/ 1 h 141"/>
                <a:gd name="T14" fmla="*/ 5 w 80"/>
                <a:gd name="T15" fmla="*/ 1 h 141"/>
                <a:gd name="T16" fmla="*/ 5 w 80"/>
                <a:gd name="T17" fmla="*/ 1 h 141"/>
                <a:gd name="T18" fmla="*/ 4 w 80"/>
                <a:gd name="T19" fmla="*/ 0 h 141"/>
                <a:gd name="T20" fmla="*/ 4 w 80"/>
                <a:gd name="T21" fmla="*/ 0 h 141"/>
                <a:gd name="T22" fmla="*/ 0 w 80"/>
                <a:gd name="T23" fmla="*/ 0 h 141"/>
                <a:gd name="T24" fmla="*/ 0 w 80"/>
                <a:gd name="T25" fmla="*/ 3 h 141"/>
                <a:gd name="T26" fmla="*/ 0 w 80"/>
                <a:gd name="T27" fmla="*/ 4 h 141"/>
                <a:gd name="T28" fmla="*/ 0 w 80"/>
                <a:gd name="T29" fmla="*/ 6 h 141"/>
                <a:gd name="T30" fmla="*/ 0 w 80"/>
                <a:gd name="T31" fmla="*/ 7 h 141"/>
                <a:gd name="T32" fmla="*/ 0 w 80"/>
                <a:gd name="T33" fmla="*/ 8 h 141"/>
                <a:gd name="T34" fmla="*/ 0 w 80"/>
                <a:gd name="T35" fmla="*/ 8 h 141"/>
                <a:gd name="T36" fmla="*/ 1 w 80"/>
                <a:gd name="T37" fmla="*/ 9 h 141"/>
                <a:gd name="T38" fmla="*/ 1 w 80"/>
                <a:gd name="T39" fmla="*/ 10 h 141"/>
                <a:gd name="T40" fmla="*/ 2 w 80"/>
                <a:gd name="T41" fmla="*/ 13 h 141"/>
                <a:gd name="T42" fmla="*/ 3 w 80"/>
                <a:gd name="T43" fmla="*/ 15 h 141"/>
                <a:gd name="T44" fmla="*/ 3 w 80"/>
                <a:gd name="T45" fmla="*/ 14 h 141"/>
                <a:gd name="T46" fmla="*/ 4 w 80"/>
                <a:gd name="T47" fmla="*/ 14 h 141"/>
                <a:gd name="T48" fmla="*/ 4 w 80"/>
                <a:gd name="T49" fmla="*/ 13 h 141"/>
                <a:gd name="T50" fmla="*/ 4 w 80"/>
                <a:gd name="T51" fmla="*/ 13 h 141"/>
                <a:gd name="T52" fmla="*/ 4 w 80"/>
                <a:gd name="T53" fmla="*/ 13 h 141"/>
                <a:gd name="T54" fmla="*/ 4 w 80"/>
                <a:gd name="T55" fmla="*/ 13 h 141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80"/>
                <a:gd name="T85" fmla="*/ 0 h 141"/>
                <a:gd name="T86" fmla="*/ 80 w 80"/>
                <a:gd name="T87" fmla="*/ 141 h 141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80" h="141">
                  <a:moveTo>
                    <a:pt x="40" y="123"/>
                  </a:moveTo>
                  <a:lnTo>
                    <a:pt x="80" y="36"/>
                  </a:lnTo>
                  <a:lnTo>
                    <a:pt x="80" y="18"/>
                  </a:lnTo>
                  <a:lnTo>
                    <a:pt x="68" y="17"/>
                  </a:lnTo>
                  <a:lnTo>
                    <a:pt x="59" y="16"/>
                  </a:lnTo>
                  <a:lnTo>
                    <a:pt x="53" y="14"/>
                  </a:lnTo>
                  <a:lnTo>
                    <a:pt x="47" y="11"/>
                  </a:lnTo>
                  <a:lnTo>
                    <a:pt x="44" y="8"/>
                  </a:lnTo>
                  <a:lnTo>
                    <a:pt x="42" y="5"/>
                  </a:lnTo>
                  <a:lnTo>
                    <a:pt x="41" y="2"/>
                  </a:lnTo>
                  <a:lnTo>
                    <a:pt x="40" y="0"/>
                  </a:lnTo>
                  <a:lnTo>
                    <a:pt x="0" y="0"/>
                  </a:lnTo>
                  <a:lnTo>
                    <a:pt x="0" y="23"/>
                  </a:lnTo>
                  <a:lnTo>
                    <a:pt x="0" y="40"/>
                  </a:lnTo>
                  <a:lnTo>
                    <a:pt x="0" y="52"/>
                  </a:lnTo>
                  <a:lnTo>
                    <a:pt x="0" y="61"/>
                  </a:lnTo>
                  <a:lnTo>
                    <a:pt x="1" y="69"/>
                  </a:lnTo>
                  <a:lnTo>
                    <a:pt x="3" y="78"/>
                  </a:lnTo>
                  <a:lnTo>
                    <a:pt x="7" y="88"/>
                  </a:lnTo>
                  <a:lnTo>
                    <a:pt x="11" y="99"/>
                  </a:lnTo>
                  <a:lnTo>
                    <a:pt x="20" y="121"/>
                  </a:lnTo>
                  <a:lnTo>
                    <a:pt x="27" y="141"/>
                  </a:lnTo>
                  <a:lnTo>
                    <a:pt x="31" y="135"/>
                  </a:lnTo>
                  <a:lnTo>
                    <a:pt x="33" y="129"/>
                  </a:lnTo>
                  <a:lnTo>
                    <a:pt x="34" y="127"/>
                  </a:lnTo>
                  <a:lnTo>
                    <a:pt x="36" y="125"/>
                  </a:lnTo>
                  <a:lnTo>
                    <a:pt x="38" y="123"/>
                  </a:lnTo>
                  <a:lnTo>
                    <a:pt x="40" y="123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22" name="Freeform 420"/>
            <p:cNvSpPr>
              <a:spLocks/>
            </p:cNvSpPr>
            <p:nvPr/>
          </p:nvSpPr>
          <p:spPr bwMode="auto">
            <a:xfrm>
              <a:off x="1379" y="1383"/>
              <a:ext cx="83" cy="41"/>
            </a:xfrm>
            <a:custGeom>
              <a:avLst/>
              <a:gdLst>
                <a:gd name="T0" fmla="*/ 0 w 259"/>
                <a:gd name="T1" fmla="*/ 10 h 124"/>
                <a:gd name="T2" fmla="*/ 0 w 259"/>
                <a:gd name="T3" fmla="*/ 11 h 124"/>
                <a:gd name="T4" fmla="*/ 0 w 259"/>
                <a:gd name="T5" fmla="*/ 11 h 124"/>
                <a:gd name="T6" fmla="*/ 0 w 259"/>
                <a:gd name="T7" fmla="*/ 11 h 124"/>
                <a:gd name="T8" fmla="*/ 1 w 259"/>
                <a:gd name="T9" fmla="*/ 12 h 124"/>
                <a:gd name="T10" fmla="*/ 1 w 259"/>
                <a:gd name="T11" fmla="*/ 12 h 124"/>
                <a:gd name="T12" fmla="*/ 2 w 259"/>
                <a:gd name="T13" fmla="*/ 13 h 124"/>
                <a:gd name="T14" fmla="*/ 3 w 259"/>
                <a:gd name="T15" fmla="*/ 13 h 124"/>
                <a:gd name="T16" fmla="*/ 4 w 259"/>
                <a:gd name="T17" fmla="*/ 13 h 124"/>
                <a:gd name="T18" fmla="*/ 5 w 259"/>
                <a:gd name="T19" fmla="*/ 14 h 124"/>
                <a:gd name="T20" fmla="*/ 6 w 259"/>
                <a:gd name="T21" fmla="*/ 14 h 124"/>
                <a:gd name="T22" fmla="*/ 7 w 259"/>
                <a:gd name="T23" fmla="*/ 14 h 124"/>
                <a:gd name="T24" fmla="*/ 8 w 259"/>
                <a:gd name="T25" fmla="*/ 14 h 124"/>
                <a:gd name="T26" fmla="*/ 8 w 259"/>
                <a:gd name="T27" fmla="*/ 13 h 124"/>
                <a:gd name="T28" fmla="*/ 9 w 259"/>
                <a:gd name="T29" fmla="*/ 13 h 124"/>
                <a:gd name="T30" fmla="*/ 10 w 259"/>
                <a:gd name="T31" fmla="*/ 13 h 124"/>
                <a:gd name="T32" fmla="*/ 11 w 259"/>
                <a:gd name="T33" fmla="*/ 12 h 124"/>
                <a:gd name="T34" fmla="*/ 12 w 259"/>
                <a:gd name="T35" fmla="*/ 11 h 124"/>
                <a:gd name="T36" fmla="*/ 13 w 259"/>
                <a:gd name="T37" fmla="*/ 11 h 124"/>
                <a:gd name="T38" fmla="*/ 13 w 259"/>
                <a:gd name="T39" fmla="*/ 11 h 124"/>
                <a:gd name="T40" fmla="*/ 14 w 259"/>
                <a:gd name="T41" fmla="*/ 10 h 124"/>
                <a:gd name="T42" fmla="*/ 15 w 259"/>
                <a:gd name="T43" fmla="*/ 10 h 124"/>
                <a:gd name="T44" fmla="*/ 16 w 259"/>
                <a:gd name="T45" fmla="*/ 10 h 124"/>
                <a:gd name="T46" fmla="*/ 17 w 259"/>
                <a:gd name="T47" fmla="*/ 10 h 124"/>
                <a:gd name="T48" fmla="*/ 18 w 259"/>
                <a:gd name="T49" fmla="*/ 11 h 124"/>
                <a:gd name="T50" fmla="*/ 19 w 259"/>
                <a:gd name="T51" fmla="*/ 11 h 124"/>
                <a:gd name="T52" fmla="*/ 19 w 259"/>
                <a:gd name="T53" fmla="*/ 11 h 124"/>
                <a:gd name="T54" fmla="*/ 21 w 259"/>
                <a:gd name="T55" fmla="*/ 12 h 124"/>
                <a:gd name="T56" fmla="*/ 22 w 259"/>
                <a:gd name="T57" fmla="*/ 13 h 124"/>
                <a:gd name="T58" fmla="*/ 27 w 259"/>
                <a:gd name="T59" fmla="*/ 13 h 124"/>
                <a:gd name="T60" fmla="*/ 27 w 259"/>
                <a:gd name="T61" fmla="*/ 11 h 124"/>
                <a:gd name="T62" fmla="*/ 26 w 259"/>
                <a:gd name="T63" fmla="*/ 11 h 124"/>
                <a:gd name="T64" fmla="*/ 25 w 259"/>
                <a:gd name="T65" fmla="*/ 11 h 124"/>
                <a:gd name="T66" fmla="*/ 24 w 259"/>
                <a:gd name="T67" fmla="*/ 10 h 124"/>
                <a:gd name="T68" fmla="*/ 23 w 259"/>
                <a:gd name="T69" fmla="*/ 10 h 124"/>
                <a:gd name="T70" fmla="*/ 24 w 259"/>
                <a:gd name="T71" fmla="*/ 9 h 124"/>
                <a:gd name="T72" fmla="*/ 24 w 259"/>
                <a:gd name="T73" fmla="*/ 9 h 124"/>
                <a:gd name="T74" fmla="*/ 25 w 259"/>
                <a:gd name="T75" fmla="*/ 8 h 124"/>
                <a:gd name="T76" fmla="*/ 25 w 259"/>
                <a:gd name="T77" fmla="*/ 8 h 124"/>
                <a:gd name="T78" fmla="*/ 24 w 259"/>
                <a:gd name="T79" fmla="*/ 7 h 124"/>
                <a:gd name="T80" fmla="*/ 24 w 259"/>
                <a:gd name="T81" fmla="*/ 6 h 124"/>
                <a:gd name="T82" fmla="*/ 23 w 259"/>
                <a:gd name="T83" fmla="*/ 6 h 124"/>
                <a:gd name="T84" fmla="*/ 22 w 259"/>
                <a:gd name="T85" fmla="*/ 5 h 124"/>
                <a:gd name="T86" fmla="*/ 20 w 259"/>
                <a:gd name="T87" fmla="*/ 4 h 124"/>
                <a:gd name="T88" fmla="*/ 19 w 259"/>
                <a:gd name="T89" fmla="*/ 3 h 124"/>
                <a:gd name="T90" fmla="*/ 17 w 259"/>
                <a:gd name="T91" fmla="*/ 3 h 124"/>
                <a:gd name="T92" fmla="*/ 16 w 259"/>
                <a:gd name="T93" fmla="*/ 2 h 124"/>
                <a:gd name="T94" fmla="*/ 15 w 259"/>
                <a:gd name="T95" fmla="*/ 1 h 124"/>
                <a:gd name="T96" fmla="*/ 14 w 259"/>
                <a:gd name="T97" fmla="*/ 1 h 124"/>
                <a:gd name="T98" fmla="*/ 14 w 259"/>
                <a:gd name="T99" fmla="*/ 1 h 124"/>
                <a:gd name="T100" fmla="*/ 13 w 259"/>
                <a:gd name="T101" fmla="*/ 0 h 124"/>
                <a:gd name="T102" fmla="*/ 13 w 259"/>
                <a:gd name="T103" fmla="*/ 0 h 124"/>
                <a:gd name="T104" fmla="*/ 12 w 259"/>
                <a:gd name="T105" fmla="*/ 1 h 124"/>
                <a:gd name="T106" fmla="*/ 11 w 259"/>
                <a:gd name="T107" fmla="*/ 1 h 124"/>
                <a:gd name="T108" fmla="*/ 10 w 259"/>
                <a:gd name="T109" fmla="*/ 2 h 124"/>
                <a:gd name="T110" fmla="*/ 8 w 259"/>
                <a:gd name="T111" fmla="*/ 3 h 124"/>
                <a:gd name="T112" fmla="*/ 6 w 259"/>
                <a:gd name="T113" fmla="*/ 5 h 124"/>
                <a:gd name="T114" fmla="*/ 4 w 259"/>
                <a:gd name="T115" fmla="*/ 6 h 124"/>
                <a:gd name="T116" fmla="*/ 2 w 259"/>
                <a:gd name="T117" fmla="*/ 8 h 124"/>
                <a:gd name="T118" fmla="*/ 1 w 259"/>
                <a:gd name="T119" fmla="*/ 9 h 124"/>
                <a:gd name="T120" fmla="*/ 0 w 259"/>
                <a:gd name="T121" fmla="*/ 10 h 12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59"/>
                <a:gd name="T184" fmla="*/ 0 h 124"/>
                <a:gd name="T185" fmla="*/ 259 w 259"/>
                <a:gd name="T186" fmla="*/ 124 h 12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59" h="124">
                  <a:moveTo>
                    <a:pt x="0" y="93"/>
                  </a:moveTo>
                  <a:lnTo>
                    <a:pt x="0" y="96"/>
                  </a:lnTo>
                  <a:lnTo>
                    <a:pt x="2" y="100"/>
                  </a:lnTo>
                  <a:lnTo>
                    <a:pt x="4" y="103"/>
                  </a:lnTo>
                  <a:lnTo>
                    <a:pt x="6" y="106"/>
                  </a:lnTo>
                  <a:lnTo>
                    <a:pt x="14" y="111"/>
                  </a:lnTo>
                  <a:lnTo>
                    <a:pt x="23" y="115"/>
                  </a:lnTo>
                  <a:lnTo>
                    <a:pt x="31" y="120"/>
                  </a:lnTo>
                  <a:lnTo>
                    <a:pt x="41" y="122"/>
                  </a:lnTo>
                  <a:lnTo>
                    <a:pt x="51" y="124"/>
                  </a:lnTo>
                  <a:lnTo>
                    <a:pt x="60" y="124"/>
                  </a:lnTo>
                  <a:lnTo>
                    <a:pt x="68" y="124"/>
                  </a:lnTo>
                  <a:lnTo>
                    <a:pt x="75" y="123"/>
                  </a:lnTo>
                  <a:lnTo>
                    <a:pt x="81" y="122"/>
                  </a:lnTo>
                  <a:lnTo>
                    <a:pt x="87" y="120"/>
                  </a:lnTo>
                  <a:lnTo>
                    <a:pt x="97" y="114"/>
                  </a:lnTo>
                  <a:lnTo>
                    <a:pt x="106" y="108"/>
                  </a:lnTo>
                  <a:lnTo>
                    <a:pt x="115" y="103"/>
                  </a:lnTo>
                  <a:lnTo>
                    <a:pt x="125" y="98"/>
                  </a:lnTo>
                  <a:lnTo>
                    <a:pt x="130" y="96"/>
                  </a:lnTo>
                  <a:lnTo>
                    <a:pt x="137" y="94"/>
                  </a:lnTo>
                  <a:lnTo>
                    <a:pt x="145" y="93"/>
                  </a:lnTo>
                  <a:lnTo>
                    <a:pt x="152" y="93"/>
                  </a:lnTo>
                  <a:lnTo>
                    <a:pt x="162" y="94"/>
                  </a:lnTo>
                  <a:lnTo>
                    <a:pt x="171" y="96"/>
                  </a:lnTo>
                  <a:lnTo>
                    <a:pt x="180" y="99"/>
                  </a:lnTo>
                  <a:lnTo>
                    <a:pt x="188" y="103"/>
                  </a:lnTo>
                  <a:lnTo>
                    <a:pt x="204" y="111"/>
                  </a:lnTo>
                  <a:lnTo>
                    <a:pt x="219" y="117"/>
                  </a:lnTo>
                  <a:lnTo>
                    <a:pt x="259" y="117"/>
                  </a:lnTo>
                  <a:lnTo>
                    <a:pt x="259" y="99"/>
                  </a:lnTo>
                  <a:lnTo>
                    <a:pt x="252" y="98"/>
                  </a:lnTo>
                  <a:lnTo>
                    <a:pt x="244" y="96"/>
                  </a:lnTo>
                  <a:lnTo>
                    <a:pt x="236" y="94"/>
                  </a:lnTo>
                  <a:lnTo>
                    <a:pt x="226" y="93"/>
                  </a:lnTo>
                  <a:lnTo>
                    <a:pt x="230" y="85"/>
                  </a:lnTo>
                  <a:lnTo>
                    <a:pt x="236" y="79"/>
                  </a:lnTo>
                  <a:lnTo>
                    <a:pt x="240" y="74"/>
                  </a:lnTo>
                  <a:lnTo>
                    <a:pt x="246" y="69"/>
                  </a:lnTo>
                  <a:lnTo>
                    <a:pt x="238" y="61"/>
                  </a:lnTo>
                  <a:lnTo>
                    <a:pt x="230" y="56"/>
                  </a:lnTo>
                  <a:lnTo>
                    <a:pt x="222" y="50"/>
                  </a:lnTo>
                  <a:lnTo>
                    <a:pt x="214" y="46"/>
                  </a:lnTo>
                  <a:lnTo>
                    <a:pt x="197" y="37"/>
                  </a:lnTo>
                  <a:lnTo>
                    <a:pt x="182" y="30"/>
                  </a:lnTo>
                  <a:lnTo>
                    <a:pt x="166" y="23"/>
                  </a:lnTo>
                  <a:lnTo>
                    <a:pt x="153" y="17"/>
                  </a:lnTo>
                  <a:lnTo>
                    <a:pt x="147" y="13"/>
                  </a:lnTo>
                  <a:lnTo>
                    <a:pt x="141" y="10"/>
                  </a:lnTo>
                  <a:lnTo>
                    <a:pt x="137" y="5"/>
                  </a:lnTo>
                  <a:lnTo>
                    <a:pt x="132" y="0"/>
                  </a:lnTo>
                  <a:lnTo>
                    <a:pt x="124" y="3"/>
                  </a:lnTo>
                  <a:lnTo>
                    <a:pt x="114" y="7"/>
                  </a:lnTo>
                  <a:lnTo>
                    <a:pt x="105" y="12"/>
                  </a:lnTo>
                  <a:lnTo>
                    <a:pt x="95" y="17"/>
                  </a:lnTo>
                  <a:lnTo>
                    <a:pt x="75" y="29"/>
                  </a:lnTo>
                  <a:lnTo>
                    <a:pt x="57" y="42"/>
                  </a:lnTo>
                  <a:lnTo>
                    <a:pt x="38" y="56"/>
                  </a:lnTo>
                  <a:lnTo>
                    <a:pt x="23" y="70"/>
                  </a:lnTo>
                  <a:lnTo>
                    <a:pt x="9" y="83"/>
                  </a:lnTo>
                  <a:lnTo>
                    <a:pt x="0" y="93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23" name="Freeform 421"/>
            <p:cNvSpPr>
              <a:spLocks/>
            </p:cNvSpPr>
            <p:nvPr/>
          </p:nvSpPr>
          <p:spPr bwMode="auto">
            <a:xfrm>
              <a:off x="1509" y="1389"/>
              <a:ext cx="38" cy="19"/>
            </a:xfrm>
            <a:custGeom>
              <a:avLst/>
              <a:gdLst>
                <a:gd name="T0" fmla="*/ 0 w 119"/>
                <a:gd name="T1" fmla="*/ 4 h 57"/>
                <a:gd name="T2" fmla="*/ 1 w 119"/>
                <a:gd name="T3" fmla="*/ 4 h 57"/>
                <a:gd name="T4" fmla="*/ 1 w 119"/>
                <a:gd name="T5" fmla="*/ 4 h 57"/>
                <a:gd name="T6" fmla="*/ 2 w 119"/>
                <a:gd name="T7" fmla="*/ 5 h 57"/>
                <a:gd name="T8" fmla="*/ 3 w 119"/>
                <a:gd name="T9" fmla="*/ 5 h 57"/>
                <a:gd name="T10" fmla="*/ 3 w 119"/>
                <a:gd name="T11" fmla="*/ 6 h 57"/>
                <a:gd name="T12" fmla="*/ 4 w 119"/>
                <a:gd name="T13" fmla="*/ 6 h 57"/>
                <a:gd name="T14" fmla="*/ 4 w 119"/>
                <a:gd name="T15" fmla="*/ 6 h 57"/>
                <a:gd name="T16" fmla="*/ 5 w 119"/>
                <a:gd name="T17" fmla="*/ 6 h 57"/>
                <a:gd name="T18" fmla="*/ 6 w 119"/>
                <a:gd name="T19" fmla="*/ 6 h 57"/>
                <a:gd name="T20" fmla="*/ 6 w 119"/>
                <a:gd name="T21" fmla="*/ 6 h 57"/>
                <a:gd name="T22" fmla="*/ 7 w 119"/>
                <a:gd name="T23" fmla="*/ 6 h 57"/>
                <a:gd name="T24" fmla="*/ 8 w 119"/>
                <a:gd name="T25" fmla="*/ 6 h 57"/>
                <a:gd name="T26" fmla="*/ 9 w 119"/>
                <a:gd name="T27" fmla="*/ 6 h 57"/>
                <a:gd name="T28" fmla="*/ 9 w 119"/>
                <a:gd name="T29" fmla="*/ 5 h 57"/>
                <a:gd name="T30" fmla="*/ 10 w 119"/>
                <a:gd name="T31" fmla="*/ 5 h 57"/>
                <a:gd name="T32" fmla="*/ 10 w 119"/>
                <a:gd name="T33" fmla="*/ 4 h 57"/>
                <a:gd name="T34" fmla="*/ 11 w 119"/>
                <a:gd name="T35" fmla="*/ 4 h 57"/>
                <a:gd name="T36" fmla="*/ 11 w 119"/>
                <a:gd name="T37" fmla="*/ 3 h 57"/>
                <a:gd name="T38" fmla="*/ 12 w 119"/>
                <a:gd name="T39" fmla="*/ 1 h 57"/>
                <a:gd name="T40" fmla="*/ 12 w 119"/>
                <a:gd name="T41" fmla="*/ 0 h 57"/>
                <a:gd name="T42" fmla="*/ 10 w 119"/>
                <a:gd name="T43" fmla="*/ 0 h 57"/>
                <a:gd name="T44" fmla="*/ 8 w 119"/>
                <a:gd name="T45" fmla="*/ 0 h 57"/>
                <a:gd name="T46" fmla="*/ 6 w 119"/>
                <a:gd name="T47" fmla="*/ 0 h 57"/>
                <a:gd name="T48" fmla="*/ 4 w 119"/>
                <a:gd name="T49" fmla="*/ 1 h 57"/>
                <a:gd name="T50" fmla="*/ 4 w 119"/>
                <a:gd name="T51" fmla="*/ 1 h 57"/>
                <a:gd name="T52" fmla="*/ 3 w 119"/>
                <a:gd name="T53" fmla="*/ 1 h 57"/>
                <a:gd name="T54" fmla="*/ 2 w 119"/>
                <a:gd name="T55" fmla="*/ 1 h 57"/>
                <a:gd name="T56" fmla="*/ 2 w 119"/>
                <a:gd name="T57" fmla="*/ 2 h 57"/>
                <a:gd name="T58" fmla="*/ 1 w 119"/>
                <a:gd name="T59" fmla="*/ 2 h 57"/>
                <a:gd name="T60" fmla="*/ 1 w 119"/>
                <a:gd name="T61" fmla="*/ 3 h 57"/>
                <a:gd name="T62" fmla="*/ 0 w 119"/>
                <a:gd name="T63" fmla="*/ 3 h 57"/>
                <a:gd name="T64" fmla="*/ 0 w 119"/>
                <a:gd name="T65" fmla="*/ 4 h 5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19"/>
                <a:gd name="T100" fmla="*/ 0 h 57"/>
                <a:gd name="T101" fmla="*/ 119 w 119"/>
                <a:gd name="T102" fmla="*/ 57 h 5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19" h="57">
                  <a:moveTo>
                    <a:pt x="0" y="32"/>
                  </a:moveTo>
                  <a:lnTo>
                    <a:pt x="7" y="35"/>
                  </a:lnTo>
                  <a:lnTo>
                    <a:pt x="14" y="38"/>
                  </a:lnTo>
                  <a:lnTo>
                    <a:pt x="20" y="42"/>
                  </a:lnTo>
                  <a:lnTo>
                    <a:pt x="26" y="47"/>
                  </a:lnTo>
                  <a:lnTo>
                    <a:pt x="32" y="51"/>
                  </a:lnTo>
                  <a:lnTo>
                    <a:pt x="36" y="54"/>
                  </a:lnTo>
                  <a:lnTo>
                    <a:pt x="41" y="56"/>
                  </a:lnTo>
                  <a:lnTo>
                    <a:pt x="47" y="57"/>
                  </a:lnTo>
                  <a:lnTo>
                    <a:pt x="55" y="57"/>
                  </a:lnTo>
                  <a:lnTo>
                    <a:pt x="62" y="56"/>
                  </a:lnTo>
                  <a:lnTo>
                    <a:pt x="70" y="55"/>
                  </a:lnTo>
                  <a:lnTo>
                    <a:pt x="77" y="53"/>
                  </a:lnTo>
                  <a:lnTo>
                    <a:pt x="83" y="50"/>
                  </a:lnTo>
                  <a:lnTo>
                    <a:pt x="89" y="48"/>
                  </a:lnTo>
                  <a:lnTo>
                    <a:pt x="93" y="44"/>
                  </a:lnTo>
                  <a:lnTo>
                    <a:pt x="97" y="40"/>
                  </a:lnTo>
                  <a:lnTo>
                    <a:pt x="106" y="32"/>
                  </a:lnTo>
                  <a:lnTo>
                    <a:pt x="112" y="23"/>
                  </a:lnTo>
                  <a:lnTo>
                    <a:pt x="116" y="13"/>
                  </a:lnTo>
                  <a:lnTo>
                    <a:pt x="119" y="1"/>
                  </a:lnTo>
                  <a:lnTo>
                    <a:pt x="101" y="0"/>
                  </a:lnTo>
                  <a:lnTo>
                    <a:pt x="82" y="0"/>
                  </a:lnTo>
                  <a:lnTo>
                    <a:pt x="63" y="2"/>
                  </a:lnTo>
                  <a:lnTo>
                    <a:pt x="45" y="5"/>
                  </a:lnTo>
                  <a:lnTo>
                    <a:pt x="36" y="7"/>
                  </a:lnTo>
                  <a:lnTo>
                    <a:pt x="28" y="10"/>
                  </a:lnTo>
                  <a:lnTo>
                    <a:pt x="22" y="13"/>
                  </a:lnTo>
                  <a:lnTo>
                    <a:pt x="15" y="16"/>
                  </a:lnTo>
                  <a:lnTo>
                    <a:pt x="10" y="19"/>
                  </a:lnTo>
                  <a:lnTo>
                    <a:pt x="5" y="23"/>
                  </a:lnTo>
                  <a:lnTo>
                    <a:pt x="2" y="27"/>
                  </a:lnTo>
                  <a:lnTo>
                    <a:pt x="0" y="32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24" name="Freeform 422"/>
            <p:cNvSpPr>
              <a:spLocks/>
            </p:cNvSpPr>
            <p:nvPr/>
          </p:nvSpPr>
          <p:spPr bwMode="auto">
            <a:xfrm>
              <a:off x="1554" y="1335"/>
              <a:ext cx="34" cy="17"/>
            </a:xfrm>
            <a:custGeom>
              <a:avLst/>
              <a:gdLst>
                <a:gd name="T0" fmla="*/ 0 w 107"/>
                <a:gd name="T1" fmla="*/ 5 h 52"/>
                <a:gd name="T2" fmla="*/ 1 w 107"/>
                <a:gd name="T3" fmla="*/ 6 h 52"/>
                <a:gd name="T4" fmla="*/ 1 w 107"/>
                <a:gd name="T5" fmla="*/ 6 h 52"/>
                <a:gd name="T6" fmla="*/ 1 w 107"/>
                <a:gd name="T7" fmla="*/ 6 h 52"/>
                <a:gd name="T8" fmla="*/ 2 w 107"/>
                <a:gd name="T9" fmla="*/ 6 h 52"/>
                <a:gd name="T10" fmla="*/ 3 w 107"/>
                <a:gd name="T11" fmla="*/ 5 h 52"/>
                <a:gd name="T12" fmla="*/ 3 w 107"/>
                <a:gd name="T13" fmla="*/ 5 h 52"/>
                <a:gd name="T14" fmla="*/ 4 w 107"/>
                <a:gd name="T15" fmla="*/ 5 h 52"/>
                <a:gd name="T16" fmla="*/ 5 w 107"/>
                <a:gd name="T17" fmla="*/ 5 h 52"/>
                <a:gd name="T18" fmla="*/ 6 w 107"/>
                <a:gd name="T19" fmla="*/ 5 h 52"/>
                <a:gd name="T20" fmla="*/ 7 w 107"/>
                <a:gd name="T21" fmla="*/ 5 h 52"/>
                <a:gd name="T22" fmla="*/ 8 w 107"/>
                <a:gd name="T23" fmla="*/ 4 h 52"/>
                <a:gd name="T24" fmla="*/ 9 w 107"/>
                <a:gd name="T25" fmla="*/ 4 h 52"/>
                <a:gd name="T26" fmla="*/ 10 w 107"/>
                <a:gd name="T27" fmla="*/ 3 h 52"/>
                <a:gd name="T28" fmla="*/ 11 w 107"/>
                <a:gd name="T29" fmla="*/ 3 h 52"/>
                <a:gd name="T30" fmla="*/ 11 w 107"/>
                <a:gd name="T31" fmla="*/ 0 h 52"/>
                <a:gd name="T32" fmla="*/ 10 w 107"/>
                <a:gd name="T33" fmla="*/ 0 h 52"/>
                <a:gd name="T34" fmla="*/ 9 w 107"/>
                <a:gd name="T35" fmla="*/ 0 h 52"/>
                <a:gd name="T36" fmla="*/ 7 w 107"/>
                <a:gd name="T37" fmla="*/ 1 h 52"/>
                <a:gd name="T38" fmla="*/ 6 w 107"/>
                <a:gd name="T39" fmla="*/ 1 h 52"/>
                <a:gd name="T40" fmla="*/ 4 w 107"/>
                <a:gd name="T41" fmla="*/ 2 h 52"/>
                <a:gd name="T42" fmla="*/ 3 w 107"/>
                <a:gd name="T43" fmla="*/ 3 h 52"/>
                <a:gd name="T44" fmla="*/ 2 w 107"/>
                <a:gd name="T45" fmla="*/ 4 h 52"/>
                <a:gd name="T46" fmla="*/ 1 w 107"/>
                <a:gd name="T47" fmla="*/ 4 h 52"/>
                <a:gd name="T48" fmla="*/ 1 w 107"/>
                <a:gd name="T49" fmla="*/ 5 h 52"/>
                <a:gd name="T50" fmla="*/ 0 w 107"/>
                <a:gd name="T51" fmla="*/ 5 h 5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07"/>
                <a:gd name="T79" fmla="*/ 0 h 52"/>
                <a:gd name="T80" fmla="*/ 107 w 107"/>
                <a:gd name="T81" fmla="*/ 52 h 52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07" h="52">
                  <a:moveTo>
                    <a:pt x="0" y="50"/>
                  </a:moveTo>
                  <a:lnTo>
                    <a:pt x="6" y="51"/>
                  </a:lnTo>
                  <a:lnTo>
                    <a:pt x="9" y="52"/>
                  </a:lnTo>
                  <a:lnTo>
                    <a:pt x="13" y="52"/>
                  </a:lnTo>
                  <a:lnTo>
                    <a:pt x="17" y="52"/>
                  </a:lnTo>
                  <a:lnTo>
                    <a:pt x="24" y="50"/>
                  </a:lnTo>
                  <a:lnTo>
                    <a:pt x="34" y="50"/>
                  </a:lnTo>
                  <a:lnTo>
                    <a:pt x="43" y="49"/>
                  </a:lnTo>
                  <a:lnTo>
                    <a:pt x="53" y="48"/>
                  </a:lnTo>
                  <a:lnTo>
                    <a:pt x="62" y="47"/>
                  </a:lnTo>
                  <a:lnTo>
                    <a:pt x="70" y="43"/>
                  </a:lnTo>
                  <a:lnTo>
                    <a:pt x="79" y="40"/>
                  </a:lnTo>
                  <a:lnTo>
                    <a:pt x="88" y="36"/>
                  </a:lnTo>
                  <a:lnTo>
                    <a:pt x="97" y="31"/>
                  </a:lnTo>
                  <a:lnTo>
                    <a:pt x="107" y="24"/>
                  </a:lnTo>
                  <a:lnTo>
                    <a:pt x="107" y="0"/>
                  </a:lnTo>
                  <a:lnTo>
                    <a:pt x="98" y="1"/>
                  </a:lnTo>
                  <a:lnTo>
                    <a:pt x="86" y="3"/>
                  </a:lnTo>
                  <a:lnTo>
                    <a:pt x="72" y="7"/>
                  </a:lnTo>
                  <a:lnTo>
                    <a:pt x="56" y="13"/>
                  </a:lnTo>
                  <a:lnTo>
                    <a:pt x="41" y="20"/>
                  </a:lnTo>
                  <a:lnTo>
                    <a:pt x="25" y="28"/>
                  </a:lnTo>
                  <a:lnTo>
                    <a:pt x="19" y="33"/>
                  </a:lnTo>
                  <a:lnTo>
                    <a:pt x="12" y="38"/>
                  </a:lnTo>
                  <a:lnTo>
                    <a:pt x="6" y="43"/>
                  </a:lnTo>
                  <a:lnTo>
                    <a:pt x="0" y="50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25" name="Freeform 423"/>
            <p:cNvSpPr>
              <a:spLocks/>
            </p:cNvSpPr>
            <p:nvPr/>
          </p:nvSpPr>
          <p:spPr bwMode="auto">
            <a:xfrm>
              <a:off x="1381" y="1244"/>
              <a:ext cx="79" cy="32"/>
            </a:xfrm>
            <a:custGeom>
              <a:avLst/>
              <a:gdLst>
                <a:gd name="T0" fmla="*/ 3 w 246"/>
                <a:gd name="T1" fmla="*/ 10 h 99"/>
                <a:gd name="T2" fmla="*/ 2 w 246"/>
                <a:gd name="T3" fmla="*/ 10 h 99"/>
                <a:gd name="T4" fmla="*/ 2 w 246"/>
                <a:gd name="T5" fmla="*/ 10 h 99"/>
                <a:gd name="T6" fmla="*/ 1 w 246"/>
                <a:gd name="T7" fmla="*/ 10 h 99"/>
                <a:gd name="T8" fmla="*/ 1 w 246"/>
                <a:gd name="T9" fmla="*/ 9 h 99"/>
                <a:gd name="T10" fmla="*/ 1 w 246"/>
                <a:gd name="T11" fmla="*/ 9 h 99"/>
                <a:gd name="T12" fmla="*/ 0 w 246"/>
                <a:gd name="T13" fmla="*/ 9 h 99"/>
                <a:gd name="T14" fmla="*/ 0 w 246"/>
                <a:gd name="T15" fmla="*/ 8 h 99"/>
                <a:gd name="T16" fmla="*/ 0 w 246"/>
                <a:gd name="T17" fmla="*/ 8 h 99"/>
                <a:gd name="T18" fmla="*/ 0 w 246"/>
                <a:gd name="T19" fmla="*/ 7 h 99"/>
                <a:gd name="T20" fmla="*/ 0 w 246"/>
                <a:gd name="T21" fmla="*/ 7 h 99"/>
                <a:gd name="T22" fmla="*/ 0 w 246"/>
                <a:gd name="T23" fmla="*/ 6 h 99"/>
                <a:gd name="T24" fmla="*/ 1 w 246"/>
                <a:gd name="T25" fmla="*/ 6 h 99"/>
                <a:gd name="T26" fmla="*/ 1 w 246"/>
                <a:gd name="T27" fmla="*/ 5 h 99"/>
                <a:gd name="T28" fmla="*/ 2 w 246"/>
                <a:gd name="T29" fmla="*/ 4 h 99"/>
                <a:gd name="T30" fmla="*/ 3 w 246"/>
                <a:gd name="T31" fmla="*/ 4 h 99"/>
                <a:gd name="T32" fmla="*/ 4 w 246"/>
                <a:gd name="T33" fmla="*/ 3 h 99"/>
                <a:gd name="T34" fmla="*/ 5 w 246"/>
                <a:gd name="T35" fmla="*/ 2 h 99"/>
                <a:gd name="T36" fmla="*/ 6 w 246"/>
                <a:gd name="T37" fmla="*/ 2 h 99"/>
                <a:gd name="T38" fmla="*/ 7 w 246"/>
                <a:gd name="T39" fmla="*/ 2 h 99"/>
                <a:gd name="T40" fmla="*/ 8 w 246"/>
                <a:gd name="T41" fmla="*/ 1 h 99"/>
                <a:gd name="T42" fmla="*/ 10 w 246"/>
                <a:gd name="T43" fmla="*/ 1 h 99"/>
                <a:gd name="T44" fmla="*/ 11 w 246"/>
                <a:gd name="T45" fmla="*/ 0 h 99"/>
                <a:gd name="T46" fmla="*/ 13 w 246"/>
                <a:gd name="T47" fmla="*/ 0 h 99"/>
                <a:gd name="T48" fmla="*/ 14 w 246"/>
                <a:gd name="T49" fmla="*/ 0 h 99"/>
                <a:gd name="T50" fmla="*/ 17 w 246"/>
                <a:gd name="T51" fmla="*/ 0 h 99"/>
                <a:gd name="T52" fmla="*/ 20 w 246"/>
                <a:gd name="T53" fmla="*/ 0 h 99"/>
                <a:gd name="T54" fmla="*/ 22 w 246"/>
                <a:gd name="T55" fmla="*/ 0 h 99"/>
                <a:gd name="T56" fmla="*/ 25 w 246"/>
                <a:gd name="T57" fmla="*/ 1 h 99"/>
                <a:gd name="T58" fmla="*/ 25 w 246"/>
                <a:gd name="T59" fmla="*/ 1 h 99"/>
                <a:gd name="T60" fmla="*/ 25 w 246"/>
                <a:gd name="T61" fmla="*/ 2 h 99"/>
                <a:gd name="T62" fmla="*/ 24 w 246"/>
                <a:gd name="T63" fmla="*/ 2 h 99"/>
                <a:gd name="T64" fmla="*/ 24 w 246"/>
                <a:gd name="T65" fmla="*/ 3 h 99"/>
                <a:gd name="T66" fmla="*/ 22 w 246"/>
                <a:gd name="T67" fmla="*/ 4 h 99"/>
                <a:gd name="T68" fmla="*/ 21 w 246"/>
                <a:gd name="T69" fmla="*/ 5 h 99"/>
                <a:gd name="T70" fmla="*/ 19 w 246"/>
                <a:gd name="T71" fmla="*/ 6 h 99"/>
                <a:gd name="T72" fmla="*/ 17 w 246"/>
                <a:gd name="T73" fmla="*/ 6 h 99"/>
                <a:gd name="T74" fmla="*/ 16 w 246"/>
                <a:gd name="T75" fmla="*/ 7 h 99"/>
                <a:gd name="T76" fmla="*/ 15 w 246"/>
                <a:gd name="T77" fmla="*/ 7 h 99"/>
                <a:gd name="T78" fmla="*/ 14 w 246"/>
                <a:gd name="T79" fmla="*/ 7 h 99"/>
                <a:gd name="T80" fmla="*/ 13 w 246"/>
                <a:gd name="T81" fmla="*/ 7 h 99"/>
                <a:gd name="T82" fmla="*/ 13 w 246"/>
                <a:gd name="T83" fmla="*/ 7 h 99"/>
                <a:gd name="T84" fmla="*/ 11 w 246"/>
                <a:gd name="T85" fmla="*/ 7 h 99"/>
                <a:gd name="T86" fmla="*/ 10 w 246"/>
                <a:gd name="T87" fmla="*/ 7 h 99"/>
                <a:gd name="T88" fmla="*/ 10 w 246"/>
                <a:gd name="T89" fmla="*/ 7 h 99"/>
                <a:gd name="T90" fmla="*/ 9 w 246"/>
                <a:gd name="T91" fmla="*/ 7 h 99"/>
                <a:gd name="T92" fmla="*/ 8 w 246"/>
                <a:gd name="T93" fmla="*/ 7 h 99"/>
                <a:gd name="T94" fmla="*/ 7 w 246"/>
                <a:gd name="T95" fmla="*/ 8 h 99"/>
                <a:gd name="T96" fmla="*/ 6 w 246"/>
                <a:gd name="T97" fmla="*/ 9 h 99"/>
                <a:gd name="T98" fmla="*/ 5 w 246"/>
                <a:gd name="T99" fmla="*/ 9 h 99"/>
                <a:gd name="T100" fmla="*/ 4 w 246"/>
                <a:gd name="T101" fmla="*/ 10 h 99"/>
                <a:gd name="T102" fmla="*/ 4 w 246"/>
                <a:gd name="T103" fmla="*/ 10 h 99"/>
                <a:gd name="T104" fmla="*/ 3 w 246"/>
                <a:gd name="T105" fmla="*/ 10 h 9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46"/>
                <a:gd name="T160" fmla="*/ 0 h 99"/>
                <a:gd name="T161" fmla="*/ 246 w 246"/>
                <a:gd name="T162" fmla="*/ 99 h 99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46" h="99">
                  <a:moveTo>
                    <a:pt x="27" y="99"/>
                  </a:moveTo>
                  <a:lnTo>
                    <a:pt x="22" y="97"/>
                  </a:lnTo>
                  <a:lnTo>
                    <a:pt x="17" y="96"/>
                  </a:lnTo>
                  <a:lnTo>
                    <a:pt x="12" y="93"/>
                  </a:lnTo>
                  <a:lnTo>
                    <a:pt x="9" y="90"/>
                  </a:lnTo>
                  <a:lnTo>
                    <a:pt x="6" y="86"/>
                  </a:lnTo>
                  <a:lnTo>
                    <a:pt x="2" y="82"/>
                  </a:lnTo>
                  <a:lnTo>
                    <a:pt x="1" y="78"/>
                  </a:lnTo>
                  <a:lnTo>
                    <a:pt x="0" y="73"/>
                  </a:lnTo>
                  <a:lnTo>
                    <a:pt x="0" y="69"/>
                  </a:lnTo>
                  <a:lnTo>
                    <a:pt x="1" y="65"/>
                  </a:lnTo>
                  <a:lnTo>
                    <a:pt x="3" y="60"/>
                  </a:lnTo>
                  <a:lnTo>
                    <a:pt x="5" y="56"/>
                  </a:lnTo>
                  <a:lnTo>
                    <a:pt x="10" y="49"/>
                  </a:lnTo>
                  <a:lnTo>
                    <a:pt x="18" y="41"/>
                  </a:lnTo>
                  <a:lnTo>
                    <a:pt x="25" y="34"/>
                  </a:lnTo>
                  <a:lnTo>
                    <a:pt x="35" y="28"/>
                  </a:lnTo>
                  <a:lnTo>
                    <a:pt x="46" y="23"/>
                  </a:lnTo>
                  <a:lnTo>
                    <a:pt x="57" y="18"/>
                  </a:lnTo>
                  <a:lnTo>
                    <a:pt x="69" y="14"/>
                  </a:lnTo>
                  <a:lnTo>
                    <a:pt x="81" y="10"/>
                  </a:lnTo>
                  <a:lnTo>
                    <a:pt x="92" y="7"/>
                  </a:lnTo>
                  <a:lnTo>
                    <a:pt x="104" y="4"/>
                  </a:lnTo>
                  <a:lnTo>
                    <a:pt x="124" y="1"/>
                  </a:lnTo>
                  <a:lnTo>
                    <a:pt x="140" y="0"/>
                  </a:lnTo>
                  <a:lnTo>
                    <a:pt x="168" y="0"/>
                  </a:lnTo>
                  <a:lnTo>
                    <a:pt x="193" y="1"/>
                  </a:lnTo>
                  <a:lnTo>
                    <a:pt x="219" y="2"/>
                  </a:lnTo>
                  <a:lnTo>
                    <a:pt x="246" y="6"/>
                  </a:lnTo>
                  <a:lnTo>
                    <a:pt x="244" y="11"/>
                  </a:lnTo>
                  <a:lnTo>
                    <a:pt x="241" y="15"/>
                  </a:lnTo>
                  <a:lnTo>
                    <a:pt x="236" y="20"/>
                  </a:lnTo>
                  <a:lnTo>
                    <a:pt x="231" y="26"/>
                  </a:lnTo>
                  <a:lnTo>
                    <a:pt x="215" y="36"/>
                  </a:lnTo>
                  <a:lnTo>
                    <a:pt x="199" y="46"/>
                  </a:lnTo>
                  <a:lnTo>
                    <a:pt x="180" y="55"/>
                  </a:lnTo>
                  <a:lnTo>
                    <a:pt x="162" y="61"/>
                  </a:lnTo>
                  <a:lnTo>
                    <a:pt x="152" y="64"/>
                  </a:lnTo>
                  <a:lnTo>
                    <a:pt x="143" y="66"/>
                  </a:lnTo>
                  <a:lnTo>
                    <a:pt x="134" y="67"/>
                  </a:lnTo>
                  <a:lnTo>
                    <a:pt x="126" y="67"/>
                  </a:lnTo>
                  <a:lnTo>
                    <a:pt x="120" y="67"/>
                  </a:lnTo>
                  <a:lnTo>
                    <a:pt x="110" y="67"/>
                  </a:lnTo>
                  <a:lnTo>
                    <a:pt x="100" y="67"/>
                  </a:lnTo>
                  <a:lnTo>
                    <a:pt x="93" y="67"/>
                  </a:lnTo>
                  <a:lnTo>
                    <a:pt x="88" y="69"/>
                  </a:lnTo>
                  <a:lnTo>
                    <a:pt x="80" y="72"/>
                  </a:lnTo>
                  <a:lnTo>
                    <a:pt x="72" y="77"/>
                  </a:lnTo>
                  <a:lnTo>
                    <a:pt x="63" y="83"/>
                  </a:lnTo>
                  <a:lnTo>
                    <a:pt x="53" y="88"/>
                  </a:lnTo>
                  <a:lnTo>
                    <a:pt x="44" y="93"/>
                  </a:lnTo>
                  <a:lnTo>
                    <a:pt x="35" y="96"/>
                  </a:lnTo>
                  <a:lnTo>
                    <a:pt x="27" y="99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26" name="Freeform 424"/>
            <p:cNvSpPr>
              <a:spLocks/>
            </p:cNvSpPr>
            <p:nvPr/>
          </p:nvSpPr>
          <p:spPr bwMode="auto">
            <a:xfrm>
              <a:off x="1294" y="1248"/>
              <a:ext cx="76" cy="40"/>
            </a:xfrm>
            <a:custGeom>
              <a:avLst/>
              <a:gdLst>
                <a:gd name="T0" fmla="*/ 4 w 233"/>
                <a:gd name="T1" fmla="*/ 9 h 123"/>
                <a:gd name="T2" fmla="*/ 1 w 233"/>
                <a:gd name="T3" fmla="*/ 8 h 123"/>
                <a:gd name="T4" fmla="*/ 0 w 233"/>
                <a:gd name="T5" fmla="*/ 6 h 123"/>
                <a:gd name="T6" fmla="*/ 2 w 233"/>
                <a:gd name="T7" fmla="*/ 4 h 123"/>
                <a:gd name="T8" fmla="*/ 4 w 233"/>
                <a:gd name="T9" fmla="*/ 4 h 123"/>
                <a:gd name="T10" fmla="*/ 7 w 233"/>
                <a:gd name="T11" fmla="*/ 4 h 123"/>
                <a:gd name="T12" fmla="*/ 8 w 233"/>
                <a:gd name="T13" fmla="*/ 4 h 123"/>
                <a:gd name="T14" fmla="*/ 9 w 233"/>
                <a:gd name="T15" fmla="*/ 4 h 123"/>
                <a:gd name="T16" fmla="*/ 11 w 233"/>
                <a:gd name="T17" fmla="*/ 2 h 123"/>
                <a:gd name="T18" fmla="*/ 13 w 233"/>
                <a:gd name="T19" fmla="*/ 1 h 123"/>
                <a:gd name="T20" fmla="*/ 16 w 233"/>
                <a:gd name="T21" fmla="*/ 0 h 123"/>
                <a:gd name="T22" fmla="*/ 17 w 233"/>
                <a:gd name="T23" fmla="*/ 1 h 123"/>
                <a:gd name="T24" fmla="*/ 19 w 233"/>
                <a:gd name="T25" fmla="*/ 1 h 123"/>
                <a:gd name="T26" fmla="*/ 20 w 233"/>
                <a:gd name="T27" fmla="*/ 1 h 123"/>
                <a:gd name="T28" fmla="*/ 22 w 233"/>
                <a:gd name="T29" fmla="*/ 1 h 123"/>
                <a:gd name="T30" fmla="*/ 23 w 233"/>
                <a:gd name="T31" fmla="*/ 0 h 123"/>
                <a:gd name="T32" fmla="*/ 25 w 233"/>
                <a:gd name="T33" fmla="*/ 1 h 123"/>
                <a:gd name="T34" fmla="*/ 24 w 233"/>
                <a:gd name="T35" fmla="*/ 2 h 123"/>
                <a:gd name="T36" fmla="*/ 23 w 233"/>
                <a:gd name="T37" fmla="*/ 3 h 123"/>
                <a:gd name="T38" fmla="*/ 22 w 233"/>
                <a:gd name="T39" fmla="*/ 3 h 123"/>
                <a:gd name="T40" fmla="*/ 22 w 233"/>
                <a:gd name="T41" fmla="*/ 5 h 123"/>
                <a:gd name="T42" fmla="*/ 22 w 233"/>
                <a:gd name="T43" fmla="*/ 7 h 123"/>
                <a:gd name="T44" fmla="*/ 20 w 233"/>
                <a:gd name="T45" fmla="*/ 9 h 123"/>
                <a:gd name="T46" fmla="*/ 17 w 233"/>
                <a:gd name="T47" fmla="*/ 10 h 123"/>
                <a:gd name="T48" fmla="*/ 15 w 233"/>
                <a:gd name="T49" fmla="*/ 10 h 123"/>
                <a:gd name="T50" fmla="*/ 12 w 233"/>
                <a:gd name="T51" fmla="*/ 11 h 123"/>
                <a:gd name="T52" fmla="*/ 10 w 233"/>
                <a:gd name="T53" fmla="*/ 11 h 123"/>
                <a:gd name="T54" fmla="*/ 9 w 233"/>
                <a:gd name="T55" fmla="*/ 12 h 123"/>
                <a:gd name="T56" fmla="*/ 7 w 233"/>
                <a:gd name="T57" fmla="*/ 13 h 123"/>
                <a:gd name="T58" fmla="*/ 6 w 233"/>
                <a:gd name="T59" fmla="*/ 13 h 123"/>
                <a:gd name="T60" fmla="*/ 6 w 233"/>
                <a:gd name="T61" fmla="*/ 12 h 123"/>
                <a:gd name="T62" fmla="*/ 5 w 233"/>
                <a:gd name="T63" fmla="*/ 11 h 12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33"/>
                <a:gd name="T97" fmla="*/ 0 h 123"/>
                <a:gd name="T98" fmla="*/ 233 w 233"/>
                <a:gd name="T99" fmla="*/ 123 h 123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33" h="123">
                  <a:moveTo>
                    <a:pt x="47" y="93"/>
                  </a:moveTo>
                  <a:lnTo>
                    <a:pt x="33" y="88"/>
                  </a:lnTo>
                  <a:lnTo>
                    <a:pt x="21" y="83"/>
                  </a:lnTo>
                  <a:lnTo>
                    <a:pt x="10" y="78"/>
                  </a:lnTo>
                  <a:lnTo>
                    <a:pt x="0" y="74"/>
                  </a:lnTo>
                  <a:lnTo>
                    <a:pt x="0" y="55"/>
                  </a:lnTo>
                  <a:lnTo>
                    <a:pt x="10" y="46"/>
                  </a:lnTo>
                  <a:lnTo>
                    <a:pt x="20" y="37"/>
                  </a:lnTo>
                  <a:lnTo>
                    <a:pt x="30" y="37"/>
                  </a:lnTo>
                  <a:lnTo>
                    <a:pt x="40" y="37"/>
                  </a:lnTo>
                  <a:lnTo>
                    <a:pt x="51" y="37"/>
                  </a:lnTo>
                  <a:lnTo>
                    <a:pt x="61" y="37"/>
                  </a:lnTo>
                  <a:lnTo>
                    <a:pt x="66" y="37"/>
                  </a:lnTo>
                  <a:lnTo>
                    <a:pt x="72" y="36"/>
                  </a:lnTo>
                  <a:lnTo>
                    <a:pt x="77" y="35"/>
                  </a:lnTo>
                  <a:lnTo>
                    <a:pt x="83" y="33"/>
                  </a:lnTo>
                  <a:lnTo>
                    <a:pt x="94" y="28"/>
                  </a:lnTo>
                  <a:lnTo>
                    <a:pt x="104" y="23"/>
                  </a:lnTo>
                  <a:lnTo>
                    <a:pt x="114" y="17"/>
                  </a:lnTo>
                  <a:lnTo>
                    <a:pt x="123" y="11"/>
                  </a:lnTo>
                  <a:lnTo>
                    <a:pt x="134" y="5"/>
                  </a:lnTo>
                  <a:lnTo>
                    <a:pt x="146" y="0"/>
                  </a:lnTo>
                  <a:lnTo>
                    <a:pt x="153" y="4"/>
                  </a:lnTo>
                  <a:lnTo>
                    <a:pt x="161" y="8"/>
                  </a:lnTo>
                  <a:lnTo>
                    <a:pt x="171" y="11"/>
                  </a:lnTo>
                  <a:lnTo>
                    <a:pt x="181" y="12"/>
                  </a:lnTo>
                  <a:lnTo>
                    <a:pt x="185" y="12"/>
                  </a:lnTo>
                  <a:lnTo>
                    <a:pt x="190" y="10"/>
                  </a:lnTo>
                  <a:lnTo>
                    <a:pt x="196" y="8"/>
                  </a:lnTo>
                  <a:lnTo>
                    <a:pt x="201" y="6"/>
                  </a:lnTo>
                  <a:lnTo>
                    <a:pt x="210" y="2"/>
                  </a:lnTo>
                  <a:lnTo>
                    <a:pt x="213" y="0"/>
                  </a:lnTo>
                  <a:lnTo>
                    <a:pt x="233" y="0"/>
                  </a:lnTo>
                  <a:lnTo>
                    <a:pt x="232" y="6"/>
                  </a:lnTo>
                  <a:lnTo>
                    <a:pt x="231" y="12"/>
                  </a:lnTo>
                  <a:lnTo>
                    <a:pt x="228" y="18"/>
                  </a:lnTo>
                  <a:lnTo>
                    <a:pt x="224" y="22"/>
                  </a:lnTo>
                  <a:lnTo>
                    <a:pt x="219" y="25"/>
                  </a:lnTo>
                  <a:lnTo>
                    <a:pt x="213" y="28"/>
                  </a:lnTo>
                  <a:lnTo>
                    <a:pt x="207" y="30"/>
                  </a:lnTo>
                  <a:lnTo>
                    <a:pt x="200" y="30"/>
                  </a:lnTo>
                  <a:lnTo>
                    <a:pt x="201" y="43"/>
                  </a:lnTo>
                  <a:lnTo>
                    <a:pt x="204" y="52"/>
                  </a:lnTo>
                  <a:lnTo>
                    <a:pt x="206" y="62"/>
                  </a:lnTo>
                  <a:lnTo>
                    <a:pt x="207" y="74"/>
                  </a:lnTo>
                  <a:lnTo>
                    <a:pt x="185" y="85"/>
                  </a:lnTo>
                  <a:lnTo>
                    <a:pt x="166" y="93"/>
                  </a:lnTo>
                  <a:lnTo>
                    <a:pt x="157" y="96"/>
                  </a:lnTo>
                  <a:lnTo>
                    <a:pt x="149" y="98"/>
                  </a:lnTo>
                  <a:lnTo>
                    <a:pt x="139" y="98"/>
                  </a:lnTo>
                  <a:lnTo>
                    <a:pt x="127" y="99"/>
                  </a:lnTo>
                  <a:lnTo>
                    <a:pt x="116" y="100"/>
                  </a:lnTo>
                  <a:lnTo>
                    <a:pt x="105" y="103"/>
                  </a:lnTo>
                  <a:lnTo>
                    <a:pt x="96" y="106"/>
                  </a:lnTo>
                  <a:lnTo>
                    <a:pt x="88" y="111"/>
                  </a:lnTo>
                  <a:lnTo>
                    <a:pt x="82" y="115"/>
                  </a:lnTo>
                  <a:lnTo>
                    <a:pt x="74" y="119"/>
                  </a:lnTo>
                  <a:lnTo>
                    <a:pt x="67" y="122"/>
                  </a:lnTo>
                  <a:lnTo>
                    <a:pt x="61" y="123"/>
                  </a:lnTo>
                  <a:lnTo>
                    <a:pt x="58" y="122"/>
                  </a:lnTo>
                  <a:lnTo>
                    <a:pt x="55" y="119"/>
                  </a:lnTo>
                  <a:lnTo>
                    <a:pt x="53" y="115"/>
                  </a:lnTo>
                  <a:lnTo>
                    <a:pt x="51" y="110"/>
                  </a:lnTo>
                  <a:lnTo>
                    <a:pt x="48" y="100"/>
                  </a:lnTo>
                  <a:lnTo>
                    <a:pt x="47" y="93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27" name="Freeform 425"/>
            <p:cNvSpPr>
              <a:spLocks/>
            </p:cNvSpPr>
            <p:nvPr/>
          </p:nvSpPr>
          <p:spPr bwMode="auto">
            <a:xfrm>
              <a:off x="983" y="1236"/>
              <a:ext cx="157" cy="56"/>
            </a:xfrm>
            <a:custGeom>
              <a:avLst/>
              <a:gdLst>
                <a:gd name="T0" fmla="*/ 0 w 484"/>
                <a:gd name="T1" fmla="*/ 16 h 172"/>
                <a:gd name="T2" fmla="*/ 0 w 484"/>
                <a:gd name="T3" fmla="*/ 17 h 172"/>
                <a:gd name="T4" fmla="*/ 1 w 484"/>
                <a:gd name="T5" fmla="*/ 17 h 172"/>
                <a:gd name="T6" fmla="*/ 2 w 484"/>
                <a:gd name="T7" fmla="*/ 18 h 172"/>
                <a:gd name="T8" fmla="*/ 3 w 484"/>
                <a:gd name="T9" fmla="*/ 18 h 172"/>
                <a:gd name="T10" fmla="*/ 6 w 484"/>
                <a:gd name="T11" fmla="*/ 18 h 172"/>
                <a:gd name="T12" fmla="*/ 8 w 484"/>
                <a:gd name="T13" fmla="*/ 18 h 172"/>
                <a:gd name="T14" fmla="*/ 10 w 484"/>
                <a:gd name="T15" fmla="*/ 18 h 172"/>
                <a:gd name="T16" fmla="*/ 15 w 484"/>
                <a:gd name="T17" fmla="*/ 17 h 172"/>
                <a:gd name="T18" fmla="*/ 20 w 484"/>
                <a:gd name="T19" fmla="*/ 14 h 172"/>
                <a:gd name="T20" fmla="*/ 25 w 484"/>
                <a:gd name="T21" fmla="*/ 12 h 172"/>
                <a:gd name="T22" fmla="*/ 30 w 484"/>
                <a:gd name="T23" fmla="*/ 11 h 172"/>
                <a:gd name="T24" fmla="*/ 37 w 484"/>
                <a:gd name="T25" fmla="*/ 9 h 172"/>
                <a:gd name="T26" fmla="*/ 42 w 484"/>
                <a:gd name="T27" fmla="*/ 8 h 172"/>
                <a:gd name="T28" fmla="*/ 46 w 484"/>
                <a:gd name="T29" fmla="*/ 7 h 172"/>
                <a:gd name="T30" fmla="*/ 49 w 484"/>
                <a:gd name="T31" fmla="*/ 6 h 172"/>
                <a:gd name="T32" fmla="*/ 50 w 484"/>
                <a:gd name="T33" fmla="*/ 5 h 172"/>
                <a:gd name="T34" fmla="*/ 51 w 484"/>
                <a:gd name="T35" fmla="*/ 4 h 172"/>
                <a:gd name="T36" fmla="*/ 47 w 484"/>
                <a:gd name="T37" fmla="*/ 3 h 172"/>
                <a:gd name="T38" fmla="*/ 41 w 484"/>
                <a:gd name="T39" fmla="*/ 2 h 172"/>
                <a:gd name="T40" fmla="*/ 35 w 484"/>
                <a:gd name="T41" fmla="*/ 1 h 172"/>
                <a:gd name="T42" fmla="*/ 29 w 484"/>
                <a:gd name="T43" fmla="*/ 0 h 172"/>
                <a:gd name="T44" fmla="*/ 24 w 484"/>
                <a:gd name="T45" fmla="*/ 0 h 172"/>
                <a:gd name="T46" fmla="*/ 21 w 484"/>
                <a:gd name="T47" fmla="*/ 0 h 172"/>
                <a:gd name="T48" fmla="*/ 19 w 484"/>
                <a:gd name="T49" fmla="*/ 1 h 172"/>
                <a:gd name="T50" fmla="*/ 18 w 484"/>
                <a:gd name="T51" fmla="*/ 1 h 172"/>
                <a:gd name="T52" fmla="*/ 18 w 484"/>
                <a:gd name="T53" fmla="*/ 0 h 172"/>
                <a:gd name="T54" fmla="*/ 18 w 484"/>
                <a:gd name="T55" fmla="*/ 1 h 172"/>
                <a:gd name="T56" fmla="*/ 17 w 484"/>
                <a:gd name="T57" fmla="*/ 3 h 172"/>
                <a:gd name="T58" fmla="*/ 16 w 484"/>
                <a:gd name="T59" fmla="*/ 4 h 172"/>
                <a:gd name="T60" fmla="*/ 15 w 484"/>
                <a:gd name="T61" fmla="*/ 5 h 172"/>
                <a:gd name="T62" fmla="*/ 13 w 484"/>
                <a:gd name="T63" fmla="*/ 6 h 172"/>
                <a:gd name="T64" fmla="*/ 10 w 484"/>
                <a:gd name="T65" fmla="*/ 7 h 172"/>
                <a:gd name="T66" fmla="*/ 7 w 484"/>
                <a:gd name="T67" fmla="*/ 8 h 172"/>
                <a:gd name="T68" fmla="*/ 4 w 484"/>
                <a:gd name="T69" fmla="*/ 9 h 172"/>
                <a:gd name="T70" fmla="*/ 2 w 484"/>
                <a:gd name="T71" fmla="*/ 10 h 172"/>
                <a:gd name="T72" fmla="*/ 1 w 484"/>
                <a:gd name="T73" fmla="*/ 11 h 172"/>
                <a:gd name="T74" fmla="*/ 0 w 484"/>
                <a:gd name="T75" fmla="*/ 13 h 172"/>
                <a:gd name="T76" fmla="*/ 0 w 484"/>
                <a:gd name="T77" fmla="*/ 14 h 17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484"/>
                <a:gd name="T118" fmla="*/ 0 h 172"/>
                <a:gd name="T119" fmla="*/ 484 w 484"/>
                <a:gd name="T120" fmla="*/ 172 h 172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484" h="172">
                  <a:moveTo>
                    <a:pt x="0" y="142"/>
                  </a:moveTo>
                  <a:lnTo>
                    <a:pt x="0" y="147"/>
                  </a:lnTo>
                  <a:lnTo>
                    <a:pt x="1" y="152"/>
                  </a:lnTo>
                  <a:lnTo>
                    <a:pt x="3" y="156"/>
                  </a:lnTo>
                  <a:lnTo>
                    <a:pt x="6" y="159"/>
                  </a:lnTo>
                  <a:lnTo>
                    <a:pt x="9" y="162"/>
                  </a:lnTo>
                  <a:lnTo>
                    <a:pt x="13" y="165"/>
                  </a:lnTo>
                  <a:lnTo>
                    <a:pt x="17" y="167"/>
                  </a:lnTo>
                  <a:lnTo>
                    <a:pt x="21" y="168"/>
                  </a:lnTo>
                  <a:lnTo>
                    <a:pt x="31" y="170"/>
                  </a:lnTo>
                  <a:lnTo>
                    <a:pt x="41" y="172"/>
                  </a:lnTo>
                  <a:lnTo>
                    <a:pt x="51" y="172"/>
                  </a:lnTo>
                  <a:lnTo>
                    <a:pt x="59" y="172"/>
                  </a:lnTo>
                  <a:lnTo>
                    <a:pt x="73" y="172"/>
                  </a:lnTo>
                  <a:lnTo>
                    <a:pt x="86" y="170"/>
                  </a:lnTo>
                  <a:lnTo>
                    <a:pt x="99" y="167"/>
                  </a:lnTo>
                  <a:lnTo>
                    <a:pt x="113" y="164"/>
                  </a:lnTo>
                  <a:lnTo>
                    <a:pt x="139" y="156"/>
                  </a:lnTo>
                  <a:lnTo>
                    <a:pt x="164" y="146"/>
                  </a:lnTo>
                  <a:lnTo>
                    <a:pt x="189" y="135"/>
                  </a:lnTo>
                  <a:lnTo>
                    <a:pt x="215" y="124"/>
                  </a:lnTo>
                  <a:lnTo>
                    <a:pt x="240" y="113"/>
                  </a:lnTo>
                  <a:lnTo>
                    <a:pt x="265" y="104"/>
                  </a:lnTo>
                  <a:lnTo>
                    <a:pt x="287" y="100"/>
                  </a:lnTo>
                  <a:lnTo>
                    <a:pt x="316" y="94"/>
                  </a:lnTo>
                  <a:lnTo>
                    <a:pt x="350" y="87"/>
                  </a:lnTo>
                  <a:lnTo>
                    <a:pt x="385" y="80"/>
                  </a:lnTo>
                  <a:lnTo>
                    <a:pt x="401" y="75"/>
                  </a:lnTo>
                  <a:lnTo>
                    <a:pt x="418" y="70"/>
                  </a:lnTo>
                  <a:lnTo>
                    <a:pt x="434" y="64"/>
                  </a:lnTo>
                  <a:lnTo>
                    <a:pt x="449" y="58"/>
                  </a:lnTo>
                  <a:lnTo>
                    <a:pt x="461" y="52"/>
                  </a:lnTo>
                  <a:lnTo>
                    <a:pt x="471" y="46"/>
                  </a:lnTo>
                  <a:lnTo>
                    <a:pt x="475" y="42"/>
                  </a:lnTo>
                  <a:lnTo>
                    <a:pt x="479" y="39"/>
                  </a:lnTo>
                  <a:lnTo>
                    <a:pt x="482" y="35"/>
                  </a:lnTo>
                  <a:lnTo>
                    <a:pt x="484" y="31"/>
                  </a:lnTo>
                  <a:lnTo>
                    <a:pt x="449" y="26"/>
                  </a:lnTo>
                  <a:lnTo>
                    <a:pt x="417" y="21"/>
                  </a:lnTo>
                  <a:lnTo>
                    <a:pt x="387" y="16"/>
                  </a:lnTo>
                  <a:lnTo>
                    <a:pt x="359" y="10"/>
                  </a:lnTo>
                  <a:lnTo>
                    <a:pt x="331" y="6"/>
                  </a:lnTo>
                  <a:lnTo>
                    <a:pt x="303" y="3"/>
                  </a:lnTo>
                  <a:lnTo>
                    <a:pt x="272" y="0"/>
                  </a:lnTo>
                  <a:lnTo>
                    <a:pt x="239" y="0"/>
                  </a:lnTo>
                  <a:lnTo>
                    <a:pt x="225" y="0"/>
                  </a:lnTo>
                  <a:lnTo>
                    <a:pt x="213" y="2"/>
                  </a:lnTo>
                  <a:lnTo>
                    <a:pt x="203" y="4"/>
                  </a:lnTo>
                  <a:lnTo>
                    <a:pt x="195" y="6"/>
                  </a:lnTo>
                  <a:lnTo>
                    <a:pt x="186" y="8"/>
                  </a:lnTo>
                  <a:lnTo>
                    <a:pt x="180" y="7"/>
                  </a:lnTo>
                  <a:lnTo>
                    <a:pt x="176" y="6"/>
                  </a:lnTo>
                  <a:lnTo>
                    <a:pt x="173" y="5"/>
                  </a:lnTo>
                  <a:lnTo>
                    <a:pt x="169" y="3"/>
                  </a:lnTo>
                  <a:lnTo>
                    <a:pt x="165" y="0"/>
                  </a:lnTo>
                  <a:lnTo>
                    <a:pt x="165" y="8"/>
                  </a:lnTo>
                  <a:lnTo>
                    <a:pt x="163" y="17"/>
                  </a:lnTo>
                  <a:lnTo>
                    <a:pt x="161" y="24"/>
                  </a:lnTo>
                  <a:lnTo>
                    <a:pt x="159" y="31"/>
                  </a:lnTo>
                  <a:lnTo>
                    <a:pt x="154" y="36"/>
                  </a:lnTo>
                  <a:lnTo>
                    <a:pt x="150" y="42"/>
                  </a:lnTo>
                  <a:lnTo>
                    <a:pt x="144" y="46"/>
                  </a:lnTo>
                  <a:lnTo>
                    <a:pt x="139" y="50"/>
                  </a:lnTo>
                  <a:lnTo>
                    <a:pt x="127" y="58"/>
                  </a:lnTo>
                  <a:lnTo>
                    <a:pt x="113" y="63"/>
                  </a:lnTo>
                  <a:lnTo>
                    <a:pt x="97" y="69"/>
                  </a:lnTo>
                  <a:lnTo>
                    <a:pt x="82" y="73"/>
                  </a:lnTo>
                  <a:lnTo>
                    <a:pt x="66" y="78"/>
                  </a:lnTo>
                  <a:lnTo>
                    <a:pt x="52" y="82"/>
                  </a:lnTo>
                  <a:lnTo>
                    <a:pt x="38" y="88"/>
                  </a:lnTo>
                  <a:lnTo>
                    <a:pt x="25" y="94"/>
                  </a:lnTo>
                  <a:lnTo>
                    <a:pt x="19" y="98"/>
                  </a:lnTo>
                  <a:lnTo>
                    <a:pt x="15" y="103"/>
                  </a:lnTo>
                  <a:lnTo>
                    <a:pt x="10" y="107"/>
                  </a:lnTo>
                  <a:lnTo>
                    <a:pt x="6" y="113"/>
                  </a:lnTo>
                  <a:lnTo>
                    <a:pt x="3" y="119"/>
                  </a:lnTo>
                  <a:lnTo>
                    <a:pt x="1" y="126"/>
                  </a:lnTo>
                  <a:lnTo>
                    <a:pt x="0" y="134"/>
                  </a:lnTo>
                  <a:lnTo>
                    <a:pt x="0" y="142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28" name="Freeform 426"/>
            <p:cNvSpPr>
              <a:spLocks/>
            </p:cNvSpPr>
            <p:nvPr/>
          </p:nvSpPr>
          <p:spPr bwMode="auto">
            <a:xfrm>
              <a:off x="1043" y="1255"/>
              <a:ext cx="221" cy="79"/>
            </a:xfrm>
            <a:custGeom>
              <a:avLst/>
              <a:gdLst>
                <a:gd name="T0" fmla="*/ 33 w 684"/>
                <a:gd name="T1" fmla="*/ 1 h 240"/>
                <a:gd name="T2" fmla="*/ 32 w 684"/>
                <a:gd name="T3" fmla="*/ 3 h 240"/>
                <a:gd name="T4" fmla="*/ 31 w 684"/>
                <a:gd name="T5" fmla="*/ 4 h 240"/>
                <a:gd name="T6" fmla="*/ 31 w 684"/>
                <a:gd name="T7" fmla="*/ 5 h 240"/>
                <a:gd name="T8" fmla="*/ 35 w 684"/>
                <a:gd name="T9" fmla="*/ 4 h 240"/>
                <a:gd name="T10" fmla="*/ 39 w 684"/>
                <a:gd name="T11" fmla="*/ 2 h 240"/>
                <a:gd name="T12" fmla="*/ 39 w 684"/>
                <a:gd name="T13" fmla="*/ 4 h 240"/>
                <a:gd name="T14" fmla="*/ 39 w 684"/>
                <a:gd name="T15" fmla="*/ 6 h 240"/>
                <a:gd name="T16" fmla="*/ 42 w 684"/>
                <a:gd name="T17" fmla="*/ 8 h 240"/>
                <a:gd name="T18" fmla="*/ 53 w 684"/>
                <a:gd name="T19" fmla="*/ 6 h 240"/>
                <a:gd name="T20" fmla="*/ 54 w 684"/>
                <a:gd name="T21" fmla="*/ 8 h 240"/>
                <a:gd name="T22" fmla="*/ 57 w 684"/>
                <a:gd name="T23" fmla="*/ 7 h 240"/>
                <a:gd name="T24" fmla="*/ 58 w 684"/>
                <a:gd name="T25" fmla="*/ 5 h 240"/>
                <a:gd name="T26" fmla="*/ 58 w 684"/>
                <a:gd name="T27" fmla="*/ 2 h 240"/>
                <a:gd name="T28" fmla="*/ 59 w 684"/>
                <a:gd name="T29" fmla="*/ 1 h 240"/>
                <a:gd name="T30" fmla="*/ 60 w 684"/>
                <a:gd name="T31" fmla="*/ 0 h 240"/>
                <a:gd name="T32" fmla="*/ 65 w 684"/>
                <a:gd name="T33" fmla="*/ 0 h 240"/>
                <a:gd name="T34" fmla="*/ 67 w 684"/>
                <a:gd name="T35" fmla="*/ 0 h 240"/>
                <a:gd name="T36" fmla="*/ 68 w 684"/>
                <a:gd name="T37" fmla="*/ 4 h 240"/>
                <a:gd name="T38" fmla="*/ 68 w 684"/>
                <a:gd name="T39" fmla="*/ 8 h 240"/>
                <a:gd name="T40" fmla="*/ 67 w 684"/>
                <a:gd name="T41" fmla="*/ 11 h 240"/>
                <a:gd name="T42" fmla="*/ 65 w 684"/>
                <a:gd name="T43" fmla="*/ 13 h 240"/>
                <a:gd name="T44" fmla="*/ 68 w 684"/>
                <a:gd name="T45" fmla="*/ 15 h 240"/>
                <a:gd name="T46" fmla="*/ 70 w 684"/>
                <a:gd name="T47" fmla="*/ 16 h 240"/>
                <a:gd name="T48" fmla="*/ 71 w 684"/>
                <a:gd name="T49" fmla="*/ 19 h 240"/>
                <a:gd name="T50" fmla="*/ 67 w 684"/>
                <a:gd name="T51" fmla="*/ 20 h 240"/>
                <a:gd name="T52" fmla="*/ 63 w 684"/>
                <a:gd name="T53" fmla="*/ 20 h 240"/>
                <a:gd name="T54" fmla="*/ 60 w 684"/>
                <a:gd name="T55" fmla="*/ 19 h 240"/>
                <a:gd name="T56" fmla="*/ 59 w 684"/>
                <a:gd name="T57" fmla="*/ 20 h 240"/>
                <a:gd name="T58" fmla="*/ 57 w 684"/>
                <a:gd name="T59" fmla="*/ 22 h 240"/>
                <a:gd name="T60" fmla="*/ 55 w 684"/>
                <a:gd name="T61" fmla="*/ 23 h 240"/>
                <a:gd name="T62" fmla="*/ 51 w 684"/>
                <a:gd name="T63" fmla="*/ 23 h 240"/>
                <a:gd name="T64" fmla="*/ 47 w 684"/>
                <a:gd name="T65" fmla="*/ 22 h 240"/>
                <a:gd name="T66" fmla="*/ 44 w 684"/>
                <a:gd name="T67" fmla="*/ 21 h 240"/>
                <a:gd name="T68" fmla="*/ 35 w 684"/>
                <a:gd name="T69" fmla="*/ 23 h 240"/>
                <a:gd name="T70" fmla="*/ 24 w 684"/>
                <a:gd name="T71" fmla="*/ 25 h 240"/>
                <a:gd name="T72" fmla="*/ 18 w 684"/>
                <a:gd name="T73" fmla="*/ 26 h 240"/>
                <a:gd name="T74" fmla="*/ 13 w 684"/>
                <a:gd name="T75" fmla="*/ 26 h 240"/>
                <a:gd name="T76" fmla="*/ 10 w 684"/>
                <a:gd name="T77" fmla="*/ 25 h 240"/>
                <a:gd name="T78" fmla="*/ 7 w 684"/>
                <a:gd name="T79" fmla="*/ 22 h 240"/>
                <a:gd name="T80" fmla="*/ 3 w 684"/>
                <a:gd name="T81" fmla="*/ 21 h 240"/>
                <a:gd name="T82" fmla="*/ 0 w 684"/>
                <a:gd name="T83" fmla="*/ 19 h 240"/>
                <a:gd name="T84" fmla="*/ 7 w 684"/>
                <a:gd name="T85" fmla="*/ 17 h 240"/>
                <a:gd name="T86" fmla="*/ 10 w 684"/>
                <a:gd name="T87" fmla="*/ 17 h 240"/>
                <a:gd name="T88" fmla="*/ 16 w 684"/>
                <a:gd name="T89" fmla="*/ 17 h 240"/>
                <a:gd name="T90" fmla="*/ 21 w 684"/>
                <a:gd name="T91" fmla="*/ 18 h 240"/>
                <a:gd name="T92" fmla="*/ 23 w 684"/>
                <a:gd name="T93" fmla="*/ 17 h 240"/>
                <a:gd name="T94" fmla="*/ 3 w 684"/>
                <a:gd name="T95" fmla="*/ 15 h 240"/>
                <a:gd name="T96" fmla="*/ 5 w 684"/>
                <a:gd name="T97" fmla="*/ 14 h 240"/>
                <a:gd name="T98" fmla="*/ 11 w 684"/>
                <a:gd name="T99" fmla="*/ 13 h 240"/>
                <a:gd name="T100" fmla="*/ 17 w 684"/>
                <a:gd name="T101" fmla="*/ 12 h 240"/>
                <a:gd name="T102" fmla="*/ 19 w 684"/>
                <a:gd name="T103" fmla="*/ 11 h 240"/>
                <a:gd name="T104" fmla="*/ 17 w 684"/>
                <a:gd name="T105" fmla="*/ 10 h 240"/>
                <a:gd name="T106" fmla="*/ 13 w 684"/>
                <a:gd name="T107" fmla="*/ 11 h 240"/>
                <a:gd name="T108" fmla="*/ 7 w 684"/>
                <a:gd name="T109" fmla="*/ 12 h 240"/>
                <a:gd name="T110" fmla="*/ 5 w 684"/>
                <a:gd name="T111" fmla="*/ 12 h 240"/>
                <a:gd name="T112" fmla="*/ 6 w 684"/>
                <a:gd name="T113" fmla="*/ 10 h 240"/>
                <a:gd name="T114" fmla="*/ 5 w 684"/>
                <a:gd name="T115" fmla="*/ 9 h 240"/>
                <a:gd name="T116" fmla="*/ 6 w 684"/>
                <a:gd name="T117" fmla="*/ 9 h 24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84"/>
                <a:gd name="T178" fmla="*/ 0 h 240"/>
                <a:gd name="T179" fmla="*/ 684 w 684"/>
                <a:gd name="T180" fmla="*/ 240 h 24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84" h="240">
                  <a:moveTo>
                    <a:pt x="60" y="75"/>
                  </a:moveTo>
                  <a:lnTo>
                    <a:pt x="320" y="0"/>
                  </a:lnTo>
                  <a:lnTo>
                    <a:pt x="317" y="5"/>
                  </a:lnTo>
                  <a:lnTo>
                    <a:pt x="314" y="13"/>
                  </a:lnTo>
                  <a:lnTo>
                    <a:pt x="310" y="20"/>
                  </a:lnTo>
                  <a:lnTo>
                    <a:pt x="304" y="27"/>
                  </a:lnTo>
                  <a:lnTo>
                    <a:pt x="300" y="33"/>
                  </a:lnTo>
                  <a:lnTo>
                    <a:pt x="297" y="39"/>
                  </a:lnTo>
                  <a:lnTo>
                    <a:pt x="297" y="41"/>
                  </a:lnTo>
                  <a:lnTo>
                    <a:pt x="297" y="42"/>
                  </a:lnTo>
                  <a:lnTo>
                    <a:pt x="298" y="43"/>
                  </a:lnTo>
                  <a:lnTo>
                    <a:pt x="299" y="43"/>
                  </a:lnTo>
                  <a:lnTo>
                    <a:pt x="315" y="43"/>
                  </a:lnTo>
                  <a:lnTo>
                    <a:pt x="327" y="41"/>
                  </a:lnTo>
                  <a:lnTo>
                    <a:pt x="337" y="39"/>
                  </a:lnTo>
                  <a:lnTo>
                    <a:pt x="346" y="36"/>
                  </a:lnTo>
                  <a:lnTo>
                    <a:pt x="359" y="28"/>
                  </a:lnTo>
                  <a:lnTo>
                    <a:pt x="372" y="19"/>
                  </a:lnTo>
                  <a:lnTo>
                    <a:pt x="376" y="26"/>
                  </a:lnTo>
                  <a:lnTo>
                    <a:pt x="378" y="32"/>
                  </a:lnTo>
                  <a:lnTo>
                    <a:pt x="379" y="38"/>
                  </a:lnTo>
                  <a:lnTo>
                    <a:pt x="378" y="44"/>
                  </a:lnTo>
                  <a:lnTo>
                    <a:pt x="378" y="49"/>
                  </a:lnTo>
                  <a:lnTo>
                    <a:pt x="377" y="55"/>
                  </a:lnTo>
                  <a:lnTo>
                    <a:pt x="378" y="61"/>
                  </a:lnTo>
                  <a:lnTo>
                    <a:pt x="379" y="69"/>
                  </a:lnTo>
                  <a:lnTo>
                    <a:pt x="405" y="69"/>
                  </a:lnTo>
                  <a:lnTo>
                    <a:pt x="512" y="19"/>
                  </a:lnTo>
                  <a:lnTo>
                    <a:pt x="511" y="36"/>
                  </a:lnTo>
                  <a:lnTo>
                    <a:pt x="511" y="51"/>
                  </a:lnTo>
                  <a:lnTo>
                    <a:pt x="511" y="58"/>
                  </a:lnTo>
                  <a:lnTo>
                    <a:pt x="512" y="65"/>
                  </a:lnTo>
                  <a:lnTo>
                    <a:pt x="514" y="70"/>
                  </a:lnTo>
                  <a:lnTo>
                    <a:pt x="518" y="75"/>
                  </a:lnTo>
                  <a:lnTo>
                    <a:pt x="531" y="68"/>
                  </a:lnTo>
                  <a:lnTo>
                    <a:pt x="541" y="63"/>
                  </a:lnTo>
                  <a:lnTo>
                    <a:pt x="549" y="57"/>
                  </a:lnTo>
                  <a:lnTo>
                    <a:pt x="553" y="51"/>
                  </a:lnTo>
                  <a:lnTo>
                    <a:pt x="557" y="45"/>
                  </a:lnTo>
                  <a:lnTo>
                    <a:pt x="558" y="38"/>
                  </a:lnTo>
                  <a:lnTo>
                    <a:pt x="558" y="30"/>
                  </a:lnTo>
                  <a:lnTo>
                    <a:pt x="558" y="19"/>
                  </a:lnTo>
                  <a:lnTo>
                    <a:pt x="559" y="15"/>
                  </a:lnTo>
                  <a:lnTo>
                    <a:pt x="560" y="11"/>
                  </a:lnTo>
                  <a:lnTo>
                    <a:pt x="563" y="8"/>
                  </a:lnTo>
                  <a:lnTo>
                    <a:pt x="566" y="5"/>
                  </a:lnTo>
                  <a:lnTo>
                    <a:pt x="572" y="1"/>
                  </a:lnTo>
                  <a:lnTo>
                    <a:pt x="579" y="0"/>
                  </a:lnTo>
                  <a:lnTo>
                    <a:pt x="600" y="1"/>
                  </a:lnTo>
                  <a:lnTo>
                    <a:pt x="616" y="2"/>
                  </a:lnTo>
                  <a:lnTo>
                    <a:pt x="624" y="3"/>
                  </a:lnTo>
                  <a:lnTo>
                    <a:pt x="630" y="3"/>
                  </a:lnTo>
                  <a:lnTo>
                    <a:pt x="637" y="2"/>
                  </a:lnTo>
                  <a:lnTo>
                    <a:pt x="645" y="0"/>
                  </a:lnTo>
                  <a:lnTo>
                    <a:pt x="650" y="15"/>
                  </a:lnTo>
                  <a:lnTo>
                    <a:pt x="653" y="28"/>
                  </a:lnTo>
                  <a:lnTo>
                    <a:pt x="657" y="39"/>
                  </a:lnTo>
                  <a:lnTo>
                    <a:pt x="658" y="50"/>
                  </a:lnTo>
                  <a:lnTo>
                    <a:pt x="657" y="59"/>
                  </a:lnTo>
                  <a:lnTo>
                    <a:pt x="653" y="70"/>
                  </a:lnTo>
                  <a:lnTo>
                    <a:pt x="649" y="81"/>
                  </a:lnTo>
                  <a:lnTo>
                    <a:pt x="643" y="91"/>
                  </a:lnTo>
                  <a:lnTo>
                    <a:pt x="637" y="101"/>
                  </a:lnTo>
                  <a:lnTo>
                    <a:pt x="630" y="110"/>
                  </a:lnTo>
                  <a:lnTo>
                    <a:pt x="624" y="119"/>
                  </a:lnTo>
                  <a:lnTo>
                    <a:pt x="618" y="124"/>
                  </a:lnTo>
                  <a:lnTo>
                    <a:pt x="628" y="130"/>
                  </a:lnTo>
                  <a:lnTo>
                    <a:pt x="638" y="134"/>
                  </a:lnTo>
                  <a:lnTo>
                    <a:pt x="648" y="137"/>
                  </a:lnTo>
                  <a:lnTo>
                    <a:pt x="657" y="139"/>
                  </a:lnTo>
                  <a:lnTo>
                    <a:pt x="664" y="142"/>
                  </a:lnTo>
                  <a:lnTo>
                    <a:pt x="672" y="145"/>
                  </a:lnTo>
                  <a:lnTo>
                    <a:pt x="679" y="149"/>
                  </a:lnTo>
                  <a:lnTo>
                    <a:pt x="684" y="154"/>
                  </a:lnTo>
                  <a:lnTo>
                    <a:pt x="684" y="180"/>
                  </a:lnTo>
                  <a:lnTo>
                    <a:pt x="665" y="183"/>
                  </a:lnTo>
                  <a:lnTo>
                    <a:pt x="650" y="185"/>
                  </a:lnTo>
                  <a:lnTo>
                    <a:pt x="639" y="185"/>
                  </a:lnTo>
                  <a:lnTo>
                    <a:pt x="629" y="184"/>
                  </a:lnTo>
                  <a:lnTo>
                    <a:pt x="619" y="183"/>
                  </a:lnTo>
                  <a:lnTo>
                    <a:pt x="608" y="181"/>
                  </a:lnTo>
                  <a:lnTo>
                    <a:pt x="595" y="180"/>
                  </a:lnTo>
                  <a:lnTo>
                    <a:pt x="579" y="180"/>
                  </a:lnTo>
                  <a:lnTo>
                    <a:pt x="574" y="180"/>
                  </a:lnTo>
                  <a:lnTo>
                    <a:pt x="571" y="181"/>
                  </a:lnTo>
                  <a:lnTo>
                    <a:pt x="568" y="182"/>
                  </a:lnTo>
                  <a:lnTo>
                    <a:pt x="564" y="184"/>
                  </a:lnTo>
                  <a:lnTo>
                    <a:pt x="557" y="189"/>
                  </a:lnTo>
                  <a:lnTo>
                    <a:pt x="550" y="195"/>
                  </a:lnTo>
                  <a:lnTo>
                    <a:pt x="542" y="200"/>
                  </a:lnTo>
                  <a:lnTo>
                    <a:pt x="534" y="205"/>
                  </a:lnTo>
                  <a:lnTo>
                    <a:pt x="528" y="207"/>
                  </a:lnTo>
                  <a:lnTo>
                    <a:pt x="524" y="209"/>
                  </a:lnTo>
                  <a:lnTo>
                    <a:pt x="518" y="210"/>
                  </a:lnTo>
                  <a:lnTo>
                    <a:pt x="512" y="210"/>
                  </a:lnTo>
                  <a:lnTo>
                    <a:pt x="493" y="209"/>
                  </a:lnTo>
                  <a:lnTo>
                    <a:pt x="478" y="208"/>
                  </a:lnTo>
                  <a:lnTo>
                    <a:pt x="463" y="206"/>
                  </a:lnTo>
                  <a:lnTo>
                    <a:pt x="452" y="204"/>
                  </a:lnTo>
                  <a:lnTo>
                    <a:pt x="441" y="202"/>
                  </a:lnTo>
                  <a:lnTo>
                    <a:pt x="432" y="200"/>
                  </a:lnTo>
                  <a:lnTo>
                    <a:pt x="422" y="198"/>
                  </a:lnTo>
                  <a:lnTo>
                    <a:pt x="412" y="198"/>
                  </a:lnTo>
                  <a:lnTo>
                    <a:pt x="389" y="202"/>
                  </a:lnTo>
                  <a:lnTo>
                    <a:pt x="337" y="211"/>
                  </a:lnTo>
                  <a:lnTo>
                    <a:pt x="283" y="221"/>
                  </a:lnTo>
                  <a:lnTo>
                    <a:pt x="253" y="228"/>
                  </a:lnTo>
                  <a:lnTo>
                    <a:pt x="231" y="230"/>
                  </a:lnTo>
                  <a:lnTo>
                    <a:pt x="209" y="232"/>
                  </a:lnTo>
                  <a:lnTo>
                    <a:pt x="189" y="235"/>
                  </a:lnTo>
                  <a:lnTo>
                    <a:pt x="169" y="238"/>
                  </a:lnTo>
                  <a:lnTo>
                    <a:pt x="150" y="240"/>
                  </a:lnTo>
                  <a:lnTo>
                    <a:pt x="132" y="239"/>
                  </a:lnTo>
                  <a:lnTo>
                    <a:pt x="124" y="238"/>
                  </a:lnTo>
                  <a:lnTo>
                    <a:pt x="115" y="236"/>
                  </a:lnTo>
                  <a:lnTo>
                    <a:pt x="108" y="233"/>
                  </a:lnTo>
                  <a:lnTo>
                    <a:pt x="100" y="228"/>
                  </a:lnTo>
                  <a:lnTo>
                    <a:pt x="100" y="210"/>
                  </a:lnTo>
                  <a:lnTo>
                    <a:pt x="84" y="209"/>
                  </a:lnTo>
                  <a:lnTo>
                    <a:pt x="67" y="208"/>
                  </a:lnTo>
                  <a:lnTo>
                    <a:pt x="53" y="205"/>
                  </a:lnTo>
                  <a:lnTo>
                    <a:pt x="41" y="201"/>
                  </a:lnTo>
                  <a:lnTo>
                    <a:pt x="29" y="196"/>
                  </a:lnTo>
                  <a:lnTo>
                    <a:pt x="18" y="189"/>
                  </a:lnTo>
                  <a:lnTo>
                    <a:pt x="9" y="182"/>
                  </a:lnTo>
                  <a:lnTo>
                    <a:pt x="0" y="173"/>
                  </a:lnTo>
                  <a:lnTo>
                    <a:pt x="28" y="167"/>
                  </a:lnTo>
                  <a:lnTo>
                    <a:pt x="53" y="161"/>
                  </a:lnTo>
                  <a:lnTo>
                    <a:pt x="64" y="159"/>
                  </a:lnTo>
                  <a:lnTo>
                    <a:pt x="76" y="156"/>
                  </a:lnTo>
                  <a:lnTo>
                    <a:pt x="88" y="155"/>
                  </a:lnTo>
                  <a:lnTo>
                    <a:pt x="100" y="154"/>
                  </a:lnTo>
                  <a:lnTo>
                    <a:pt x="121" y="155"/>
                  </a:lnTo>
                  <a:lnTo>
                    <a:pt x="140" y="157"/>
                  </a:lnTo>
                  <a:lnTo>
                    <a:pt x="156" y="160"/>
                  </a:lnTo>
                  <a:lnTo>
                    <a:pt x="171" y="162"/>
                  </a:lnTo>
                  <a:lnTo>
                    <a:pt x="186" y="164"/>
                  </a:lnTo>
                  <a:lnTo>
                    <a:pt x="201" y="165"/>
                  </a:lnTo>
                  <a:lnTo>
                    <a:pt x="209" y="164"/>
                  </a:lnTo>
                  <a:lnTo>
                    <a:pt x="216" y="164"/>
                  </a:lnTo>
                  <a:lnTo>
                    <a:pt x="224" y="162"/>
                  </a:lnTo>
                  <a:lnTo>
                    <a:pt x="233" y="160"/>
                  </a:lnTo>
                  <a:lnTo>
                    <a:pt x="126" y="142"/>
                  </a:lnTo>
                  <a:lnTo>
                    <a:pt x="26" y="136"/>
                  </a:lnTo>
                  <a:lnTo>
                    <a:pt x="34" y="133"/>
                  </a:lnTo>
                  <a:lnTo>
                    <a:pt x="42" y="130"/>
                  </a:lnTo>
                  <a:lnTo>
                    <a:pt x="52" y="128"/>
                  </a:lnTo>
                  <a:lnTo>
                    <a:pt x="62" y="125"/>
                  </a:lnTo>
                  <a:lnTo>
                    <a:pt x="85" y="122"/>
                  </a:lnTo>
                  <a:lnTo>
                    <a:pt x="109" y="117"/>
                  </a:lnTo>
                  <a:lnTo>
                    <a:pt x="133" y="114"/>
                  </a:lnTo>
                  <a:lnTo>
                    <a:pt x="155" y="110"/>
                  </a:lnTo>
                  <a:lnTo>
                    <a:pt x="165" y="108"/>
                  </a:lnTo>
                  <a:lnTo>
                    <a:pt x="174" y="105"/>
                  </a:lnTo>
                  <a:lnTo>
                    <a:pt x="180" y="102"/>
                  </a:lnTo>
                  <a:lnTo>
                    <a:pt x="187" y="99"/>
                  </a:lnTo>
                  <a:lnTo>
                    <a:pt x="180" y="96"/>
                  </a:lnTo>
                  <a:lnTo>
                    <a:pt x="172" y="94"/>
                  </a:lnTo>
                  <a:lnTo>
                    <a:pt x="166" y="93"/>
                  </a:lnTo>
                  <a:lnTo>
                    <a:pt x="158" y="93"/>
                  </a:lnTo>
                  <a:lnTo>
                    <a:pt x="142" y="95"/>
                  </a:lnTo>
                  <a:lnTo>
                    <a:pt x="125" y="98"/>
                  </a:lnTo>
                  <a:lnTo>
                    <a:pt x="107" y="102"/>
                  </a:lnTo>
                  <a:lnTo>
                    <a:pt x="89" y="107"/>
                  </a:lnTo>
                  <a:lnTo>
                    <a:pt x="71" y="110"/>
                  </a:lnTo>
                  <a:lnTo>
                    <a:pt x="54" y="111"/>
                  </a:lnTo>
                  <a:lnTo>
                    <a:pt x="52" y="110"/>
                  </a:lnTo>
                  <a:lnTo>
                    <a:pt x="52" y="106"/>
                  </a:lnTo>
                  <a:lnTo>
                    <a:pt x="53" y="102"/>
                  </a:lnTo>
                  <a:lnTo>
                    <a:pt x="54" y="96"/>
                  </a:lnTo>
                  <a:lnTo>
                    <a:pt x="55" y="90"/>
                  </a:lnTo>
                  <a:lnTo>
                    <a:pt x="55" y="86"/>
                  </a:lnTo>
                  <a:lnTo>
                    <a:pt x="55" y="82"/>
                  </a:lnTo>
                  <a:lnTo>
                    <a:pt x="54" y="81"/>
                  </a:lnTo>
                  <a:lnTo>
                    <a:pt x="55" y="81"/>
                  </a:lnTo>
                  <a:lnTo>
                    <a:pt x="57" y="80"/>
                  </a:lnTo>
                  <a:lnTo>
                    <a:pt x="59" y="78"/>
                  </a:lnTo>
                  <a:lnTo>
                    <a:pt x="60" y="75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29" name="Freeform 427"/>
            <p:cNvSpPr>
              <a:spLocks/>
            </p:cNvSpPr>
            <p:nvPr/>
          </p:nvSpPr>
          <p:spPr bwMode="auto">
            <a:xfrm>
              <a:off x="1645" y="1643"/>
              <a:ext cx="108" cy="93"/>
            </a:xfrm>
            <a:custGeom>
              <a:avLst/>
              <a:gdLst>
                <a:gd name="T0" fmla="*/ 19 w 332"/>
                <a:gd name="T1" fmla="*/ 4 h 287"/>
                <a:gd name="T2" fmla="*/ 21 w 332"/>
                <a:gd name="T3" fmla="*/ 3 h 287"/>
                <a:gd name="T4" fmla="*/ 24 w 332"/>
                <a:gd name="T5" fmla="*/ 1 h 287"/>
                <a:gd name="T6" fmla="*/ 25 w 332"/>
                <a:gd name="T7" fmla="*/ 0 h 287"/>
                <a:gd name="T8" fmla="*/ 26 w 332"/>
                <a:gd name="T9" fmla="*/ 0 h 287"/>
                <a:gd name="T10" fmla="*/ 26 w 332"/>
                <a:gd name="T11" fmla="*/ 1 h 287"/>
                <a:gd name="T12" fmla="*/ 25 w 332"/>
                <a:gd name="T13" fmla="*/ 4 h 287"/>
                <a:gd name="T14" fmla="*/ 23 w 332"/>
                <a:gd name="T15" fmla="*/ 6 h 287"/>
                <a:gd name="T16" fmla="*/ 21 w 332"/>
                <a:gd name="T17" fmla="*/ 7 h 287"/>
                <a:gd name="T18" fmla="*/ 20 w 332"/>
                <a:gd name="T19" fmla="*/ 7 h 287"/>
                <a:gd name="T20" fmla="*/ 20 w 332"/>
                <a:gd name="T21" fmla="*/ 8 h 287"/>
                <a:gd name="T22" fmla="*/ 21 w 332"/>
                <a:gd name="T23" fmla="*/ 8 h 287"/>
                <a:gd name="T24" fmla="*/ 23 w 332"/>
                <a:gd name="T25" fmla="*/ 7 h 287"/>
                <a:gd name="T26" fmla="*/ 24 w 332"/>
                <a:gd name="T27" fmla="*/ 8 h 287"/>
                <a:gd name="T28" fmla="*/ 23 w 332"/>
                <a:gd name="T29" fmla="*/ 9 h 287"/>
                <a:gd name="T30" fmla="*/ 23 w 332"/>
                <a:gd name="T31" fmla="*/ 10 h 287"/>
                <a:gd name="T32" fmla="*/ 23 w 332"/>
                <a:gd name="T33" fmla="*/ 11 h 287"/>
                <a:gd name="T34" fmla="*/ 26 w 332"/>
                <a:gd name="T35" fmla="*/ 12 h 287"/>
                <a:gd name="T36" fmla="*/ 33 w 332"/>
                <a:gd name="T37" fmla="*/ 13 h 287"/>
                <a:gd name="T38" fmla="*/ 34 w 332"/>
                <a:gd name="T39" fmla="*/ 14 h 287"/>
                <a:gd name="T40" fmla="*/ 33 w 332"/>
                <a:gd name="T41" fmla="*/ 15 h 287"/>
                <a:gd name="T42" fmla="*/ 32 w 332"/>
                <a:gd name="T43" fmla="*/ 16 h 287"/>
                <a:gd name="T44" fmla="*/ 32 w 332"/>
                <a:gd name="T45" fmla="*/ 16 h 287"/>
                <a:gd name="T46" fmla="*/ 32 w 332"/>
                <a:gd name="T47" fmla="*/ 17 h 287"/>
                <a:gd name="T48" fmla="*/ 33 w 332"/>
                <a:gd name="T49" fmla="*/ 17 h 287"/>
                <a:gd name="T50" fmla="*/ 34 w 332"/>
                <a:gd name="T51" fmla="*/ 18 h 287"/>
                <a:gd name="T52" fmla="*/ 35 w 332"/>
                <a:gd name="T53" fmla="*/ 19 h 287"/>
                <a:gd name="T54" fmla="*/ 31 w 332"/>
                <a:gd name="T55" fmla="*/ 22 h 287"/>
                <a:gd name="T56" fmla="*/ 25 w 332"/>
                <a:gd name="T57" fmla="*/ 25 h 287"/>
                <a:gd name="T58" fmla="*/ 22 w 332"/>
                <a:gd name="T59" fmla="*/ 28 h 287"/>
                <a:gd name="T60" fmla="*/ 18 w 332"/>
                <a:gd name="T61" fmla="*/ 26 h 287"/>
                <a:gd name="T62" fmla="*/ 19 w 332"/>
                <a:gd name="T63" fmla="*/ 26 h 287"/>
                <a:gd name="T64" fmla="*/ 20 w 332"/>
                <a:gd name="T65" fmla="*/ 25 h 287"/>
                <a:gd name="T66" fmla="*/ 21 w 332"/>
                <a:gd name="T67" fmla="*/ 24 h 287"/>
                <a:gd name="T68" fmla="*/ 16 w 332"/>
                <a:gd name="T69" fmla="*/ 24 h 287"/>
                <a:gd name="T70" fmla="*/ 11 w 332"/>
                <a:gd name="T71" fmla="*/ 24 h 287"/>
                <a:gd name="T72" fmla="*/ 6 w 332"/>
                <a:gd name="T73" fmla="*/ 24 h 287"/>
                <a:gd name="T74" fmla="*/ 3 w 332"/>
                <a:gd name="T75" fmla="*/ 24 h 287"/>
                <a:gd name="T76" fmla="*/ 1 w 332"/>
                <a:gd name="T77" fmla="*/ 24 h 287"/>
                <a:gd name="T78" fmla="*/ 0 w 332"/>
                <a:gd name="T79" fmla="*/ 23 h 287"/>
                <a:gd name="T80" fmla="*/ 0 w 332"/>
                <a:gd name="T81" fmla="*/ 22 h 287"/>
                <a:gd name="T82" fmla="*/ 0 w 332"/>
                <a:gd name="T83" fmla="*/ 21 h 287"/>
                <a:gd name="T84" fmla="*/ 1 w 332"/>
                <a:gd name="T85" fmla="*/ 21 h 287"/>
                <a:gd name="T86" fmla="*/ 4 w 332"/>
                <a:gd name="T87" fmla="*/ 19 h 287"/>
                <a:gd name="T88" fmla="*/ 8 w 332"/>
                <a:gd name="T89" fmla="*/ 17 h 287"/>
                <a:gd name="T90" fmla="*/ 9 w 332"/>
                <a:gd name="T91" fmla="*/ 16 h 287"/>
                <a:gd name="T92" fmla="*/ 10 w 332"/>
                <a:gd name="T93" fmla="*/ 15 h 287"/>
                <a:gd name="T94" fmla="*/ 11 w 332"/>
                <a:gd name="T95" fmla="*/ 14 h 287"/>
                <a:gd name="T96" fmla="*/ 12 w 332"/>
                <a:gd name="T97" fmla="*/ 12 h 287"/>
                <a:gd name="T98" fmla="*/ 14 w 332"/>
                <a:gd name="T99" fmla="*/ 8 h 287"/>
                <a:gd name="T100" fmla="*/ 15 w 332"/>
                <a:gd name="T101" fmla="*/ 7 h 287"/>
                <a:gd name="T102" fmla="*/ 16 w 332"/>
                <a:gd name="T103" fmla="*/ 6 h 287"/>
                <a:gd name="T104" fmla="*/ 17 w 332"/>
                <a:gd name="T105" fmla="*/ 5 h 287"/>
                <a:gd name="T106" fmla="*/ 18 w 332"/>
                <a:gd name="T107" fmla="*/ 4 h 28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32"/>
                <a:gd name="T163" fmla="*/ 0 h 287"/>
                <a:gd name="T164" fmla="*/ 332 w 332"/>
                <a:gd name="T165" fmla="*/ 287 h 287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32" h="287">
                  <a:moveTo>
                    <a:pt x="173" y="40"/>
                  </a:moveTo>
                  <a:lnTo>
                    <a:pt x="180" y="38"/>
                  </a:lnTo>
                  <a:lnTo>
                    <a:pt x="190" y="32"/>
                  </a:lnTo>
                  <a:lnTo>
                    <a:pt x="202" y="24"/>
                  </a:lnTo>
                  <a:lnTo>
                    <a:pt x="215" y="15"/>
                  </a:lnTo>
                  <a:lnTo>
                    <a:pt x="226" y="7"/>
                  </a:lnTo>
                  <a:lnTo>
                    <a:pt x="237" y="2"/>
                  </a:lnTo>
                  <a:lnTo>
                    <a:pt x="240" y="1"/>
                  </a:lnTo>
                  <a:lnTo>
                    <a:pt x="243" y="0"/>
                  </a:lnTo>
                  <a:lnTo>
                    <a:pt x="246" y="1"/>
                  </a:lnTo>
                  <a:lnTo>
                    <a:pt x="246" y="4"/>
                  </a:lnTo>
                  <a:lnTo>
                    <a:pt x="245" y="12"/>
                  </a:lnTo>
                  <a:lnTo>
                    <a:pt x="240" y="22"/>
                  </a:lnTo>
                  <a:lnTo>
                    <a:pt x="234" y="33"/>
                  </a:lnTo>
                  <a:lnTo>
                    <a:pt x="226" y="44"/>
                  </a:lnTo>
                  <a:lnTo>
                    <a:pt x="217" y="55"/>
                  </a:lnTo>
                  <a:lnTo>
                    <a:pt x="207" y="64"/>
                  </a:lnTo>
                  <a:lnTo>
                    <a:pt x="202" y="67"/>
                  </a:lnTo>
                  <a:lnTo>
                    <a:pt x="196" y="69"/>
                  </a:lnTo>
                  <a:lnTo>
                    <a:pt x="191" y="71"/>
                  </a:lnTo>
                  <a:lnTo>
                    <a:pt x="186" y="71"/>
                  </a:lnTo>
                  <a:lnTo>
                    <a:pt x="191" y="73"/>
                  </a:lnTo>
                  <a:lnTo>
                    <a:pt x="196" y="74"/>
                  </a:lnTo>
                  <a:lnTo>
                    <a:pt x="201" y="74"/>
                  </a:lnTo>
                  <a:lnTo>
                    <a:pt x="206" y="74"/>
                  </a:lnTo>
                  <a:lnTo>
                    <a:pt x="216" y="72"/>
                  </a:lnTo>
                  <a:lnTo>
                    <a:pt x="226" y="71"/>
                  </a:lnTo>
                  <a:lnTo>
                    <a:pt x="224" y="77"/>
                  </a:lnTo>
                  <a:lnTo>
                    <a:pt x="219" y="84"/>
                  </a:lnTo>
                  <a:lnTo>
                    <a:pt x="217" y="88"/>
                  </a:lnTo>
                  <a:lnTo>
                    <a:pt x="215" y="93"/>
                  </a:lnTo>
                  <a:lnTo>
                    <a:pt x="214" y="97"/>
                  </a:lnTo>
                  <a:lnTo>
                    <a:pt x="213" y="102"/>
                  </a:lnTo>
                  <a:lnTo>
                    <a:pt x="217" y="105"/>
                  </a:lnTo>
                  <a:lnTo>
                    <a:pt x="230" y="109"/>
                  </a:lnTo>
                  <a:lnTo>
                    <a:pt x="249" y="113"/>
                  </a:lnTo>
                  <a:lnTo>
                    <a:pt x="269" y="117"/>
                  </a:lnTo>
                  <a:lnTo>
                    <a:pt x="308" y="124"/>
                  </a:lnTo>
                  <a:lnTo>
                    <a:pt x="326" y="127"/>
                  </a:lnTo>
                  <a:lnTo>
                    <a:pt x="322" y="131"/>
                  </a:lnTo>
                  <a:lnTo>
                    <a:pt x="319" y="136"/>
                  </a:lnTo>
                  <a:lnTo>
                    <a:pt x="315" y="140"/>
                  </a:lnTo>
                  <a:lnTo>
                    <a:pt x="310" y="144"/>
                  </a:lnTo>
                  <a:lnTo>
                    <a:pt x="303" y="149"/>
                  </a:lnTo>
                  <a:lnTo>
                    <a:pt x="299" y="151"/>
                  </a:lnTo>
                  <a:lnTo>
                    <a:pt x="299" y="154"/>
                  </a:lnTo>
                  <a:lnTo>
                    <a:pt x="301" y="157"/>
                  </a:lnTo>
                  <a:lnTo>
                    <a:pt x="302" y="160"/>
                  </a:lnTo>
                  <a:lnTo>
                    <a:pt x="304" y="164"/>
                  </a:lnTo>
                  <a:lnTo>
                    <a:pt x="308" y="168"/>
                  </a:lnTo>
                  <a:lnTo>
                    <a:pt x="314" y="173"/>
                  </a:lnTo>
                  <a:lnTo>
                    <a:pt x="319" y="176"/>
                  </a:lnTo>
                  <a:lnTo>
                    <a:pt x="325" y="180"/>
                  </a:lnTo>
                  <a:lnTo>
                    <a:pt x="329" y="184"/>
                  </a:lnTo>
                  <a:lnTo>
                    <a:pt x="332" y="188"/>
                  </a:lnTo>
                  <a:lnTo>
                    <a:pt x="290" y="211"/>
                  </a:lnTo>
                  <a:lnTo>
                    <a:pt x="257" y="231"/>
                  </a:lnTo>
                  <a:lnTo>
                    <a:pt x="241" y="241"/>
                  </a:lnTo>
                  <a:lnTo>
                    <a:pt x="225" y="253"/>
                  </a:lnTo>
                  <a:lnTo>
                    <a:pt x="207" y="268"/>
                  </a:lnTo>
                  <a:lnTo>
                    <a:pt x="186" y="287"/>
                  </a:lnTo>
                  <a:lnTo>
                    <a:pt x="173" y="244"/>
                  </a:lnTo>
                  <a:lnTo>
                    <a:pt x="178" y="244"/>
                  </a:lnTo>
                  <a:lnTo>
                    <a:pt x="182" y="243"/>
                  </a:lnTo>
                  <a:lnTo>
                    <a:pt x="185" y="242"/>
                  </a:lnTo>
                  <a:lnTo>
                    <a:pt x="189" y="240"/>
                  </a:lnTo>
                  <a:lnTo>
                    <a:pt x="194" y="236"/>
                  </a:lnTo>
                  <a:lnTo>
                    <a:pt x="200" y="232"/>
                  </a:lnTo>
                  <a:lnTo>
                    <a:pt x="174" y="232"/>
                  </a:lnTo>
                  <a:lnTo>
                    <a:pt x="149" y="232"/>
                  </a:lnTo>
                  <a:lnTo>
                    <a:pt x="125" y="232"/>
                  </a:lnTo>
                  <a:lnTo>
                    <a:pt x="101" y="232"/>
                  </a:lnTo>
                  <a:lnTo>
                    <a:pt x="79" y="232"/>
                  </a:lnTo>
                  <a:lnTo>
                    <a:pt x="58" y="232"/>
                  </a:lnTo>
                  <a:lnTo>
                    <a:pt x="41" y="232"/>
                  </a:lnTo>
                  <a:lnTo>
                    <a:pt x="27" y="232"/>
                  </a:lnTo>
                  <a:lnTo>
                    <a:pt x="19" y="231"/>
                  </a:lnTo>
                  <a:lnTo>
                    <a:pt x="11" y="227"/>
                  </a:lnTo>
                  <a:lnTo>
                    <a:pt x="6" y="225"/>
                  </a:lnTo>
                  <a:lnTo>
                    <a:pt x="3" y="222"/>
                  </a:lnTo>
                  <a:lnTo>
                    <a:pt x="1" y="218"/>
                  </a:lnTo>
                  <a:lnTo>
                    <a:pt x="0" y="213"/>
                  </a:lnTo>
                  <a:lnTo>
                    <a:pt x="1" y="209"/>
                  </a:lnTo>
                  <a:lnTo>
                    <a:pt x="4" y="205"/>
                  </a:lnTo>
                  <a:lnTo>
                    <a:pt x="7" y="201"/>
                  </a:lnTo>
                  <a:lnTo>
                    <a:pt x="13" y="197"/>
                  </a:lnTo>
                  <a:lnTo>
                    <a:pt x="26" y="188"/>
                  </a:lnTo>
                  <a:lnTo>
                    <a:pt x="41" y="179"/>
                  </a:lnTo>
                  <a:lnTo>
                    <a:pt x="58" y="170"/>
                  </a:lnTo>
                  <a:lnTo>
                    <a:pt x="73" y="162"/>
                  </a:lnTo>
                  <a:lnTo>
                    <a:pt x="80" y="156"/>
                  </a:lnTo>
                  <a:lnTo>
                    <a:pt x="85" y="152"/>
                  </a:lnTo>
                  <a:lnTo>
                    <a:pt x="90" y="149"/>
                  </a:lnTo>
                  <a:lnTo>
                    <a:pt x="93" y="145"/>
                  </a:lnTo>
                  <a:lnTo>
                    <a:pt x="100" y="138"/>
                  </a:lnTo>
                  <a:lnTo>
                    <a:pt x="106" y="130"/>
                  </a:lnTo>
                  <a:lnTo>
                    <a:pt x="112" y="122"/>
                  </a:lnTo>
                  <a:lnTo>
                    <a:pt x="116" y="114"/>
                  </a:lnTo>
                  <a:lnTo>
                    <a:pt x="124" y="96"/>
                  </a:lnTo>
                  <a:lnTo>
                    <a:pt x="130" y="79"/>
                  </a:lnTo>
                  <a:lnTo>
                    <a:pt x="134" y="71"/>
                  </a:lnTo>
                  <a:lnTo>
                    <a:pt x="138" y="64"/>
                  </a:lnTo>
                  <a:lnTo>
                    <a:pt x="141" y="58"/>
                  </a:lnTo>
                  <a:lnTo>
                    <a:pt x="147" y="52"/>
                  </a:lnTo>
                  <a:lnTo>
                    <a:pt x="151" y="47"/>
                  </a:lnTo>
                  <a:lnTo>
                    <a:pt x="158" y="43"/>
                  </a:lnTo>
                  <a:lnTo>
                    <a:pt x="164" y="41"/>
                  </a:lnTo>
                  <a:lnTo>
                    <a:pt x="173" y="40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30" name="Freeform 428"/>
            <p:cNvSpPr>
              <a:spLocks/>
            </p:cNvSpPr>
            <p:nvPr/>
          </p:nvSpPr>
          <p:spPr bwMode="auto">
            <a:xfrm>
              <a:off x="1102" y="1190"/>
              <a:ext cx="111" cy="27"/>
            </a:xfrm>
            <a:custGeom>
              <a:avLst/>
              <a:gdLst>
                <a:gd name="T0" fmla="*/ 11 w 345"/>
                <a:gd name="T1" fmla="*/ 8 h 86"/>
                <a:gd name="T2" fmla="*/ 12 w 345"/>
                <a:gd name="T3" fmla="*/ 8 h 86"/>
                <a:gd name="T4" fmla="*/ 14 w 345"/>
                <a:gd name="T5" fmla="*/ 8 h 86"/>
                <a:gd name="T6" fmla="*/ 15 w 345"/>
                <a:gd name="T7" fmla="*/ 7 h 86"/>
                <a:gd name="T8" fmla="*/ 17 w 345"/>
                <a:gd name="T9" fmla="*/ 7 h 86"/>
                <a:gd name="T10" fmla="*/ 20 w 345"/>
                <a:gd name="T11" fmla="*/ 6 h 86"/>
                <a:gd name="T12" fmla="*/ 24 w 345"/>
                <a:gd name="T13" fmla="*/ 6 h 86"/>
                <a:gd name="T14" fmla="*/ 25 w 345"/>
                <a:gd name="T15" fmla="*/ 5 h 86"/>
                <a:gd name="T16" fmla="*/ 27 w 345"/>
                <a:gd name="T17" fmla="*/ 5 h 86"/>
                <a:gd name="T18" fmla="*/ 29 w 345"/>
                <a:gd name="T19" fmla="*/ 4 h 86"/>
                <a:gd name="T20" fmla="*/ 31 w 345"/>
                <a:gd name="T21" fmla="*/ 4 h 86"/>
                <a:gd name="T22" fmla="*/ 32 w 345"/>
                <a:gd name="T23" fmla="*/ 3 h 86"/>
                <a:gd name="T24" fmla="*/ 33 w 345"/>
                <a:gd name="T25" fmla="*/ 3 h 86"/>
                <a:gd name="T26" fmla="*/ 34 w 345"/>
                <a:gd name="T27" fmla="*/ 2 h 86"/>
                <a:gd name="T28" fmla="*/ 36 w 345"/>
                <a:gd name="T29" fmla="*/ 1 h 86"/>
                <a:gd name="T30" fmla="*/ 35 w 345"/>
                <a:gd name="T31" fmla="*/ 1 h 86"/>
                <a:gd name="T32" fmla="*/ 34 w 345"/>
                <a:gd name="T33" fmla="*/ 1 h 86"/>
                <a:gd name="T34" fmla="*/ 33 w 345"/>
                <a:gd name="T35" fmla="*/ 1 h 86"/>
                <a:gd name="T36" fmla="*/ 32 w 345"/>
                <a:gd name="T37" fmla="*/ 1 h 86"/>
                <a:gd name="T38" fmla="*/ 31 w 345"/>
                <a:gd name="T39" fmla="*/ 0 h 86"/>
                <a:gd name="T40" fmla="*/ 30 w 345"/>
                <a:gd name="T41" fmla="*/ 0 h 86"/>
                <a:gd name="T42" fmla="*/ 29 w 345"/>
                <a:gd name="T43" fmla="*/ 0 h 86"/>
                <a:gd name="T44" fmla="*/ 28 w 345"/>
                <a:gd name="T45" fmla="*/ 0 h 86"/>
                <a:gd name="T46" fmla="*/ 27 w 345"/>
                <a:gd name="T47" fmla="*/ 0 h 86"/>
                <a:gd name="T48" fmla="*/ 25 w 345"/>
                <a:gd name="T49" fmla="*/ 0 h 86"/>
                <a:gd name="T50" fmla="*/ 23 w 345"/>
                <a:gd name="T51" fmla="*/ 1 h 86"/>
                <a:gd name="T52" fmla="*/ 22 w 345"/>
                <a:gd name="T53" fmla="*/ 1 h 86"/>
                <a:gd name="T54" fmla="*/ 17 w 345"/>
                <a:gd name="T55" fmla="*/ 2 h 86"/>
                <a:gd name="T56" fmla="*/ 13 w 345"/>
                <a:gd name="T57" fmla="*/ 3 h 86"/>
                <a:gd name="T58" fmla="*/ 11 w 345"/>
                <a:gd name="T59" fmla="*/ 3 h 86"/>
                <a:gd name="T60" fmla="*/ 9 w 345"/>
                <a:gd name="T61" fmla="*/ 4 h 86"/>
                <a:gd name="T62" fmla="*/ 7 w 345"/>
                <a:gd name="T63" fmla="*/ 5 h 86"/>
                <a:gd name="T64" fmla="*/ 5 w 345"/>
                <a:gd name="T65" fmla="*/ 6 h 86"/>
                <a:gd name="T66" fmla="*/ 3 w 345"/>
                <a:gd name="T67" fmla="*/ 6 h 86"/>
                <a:gd name="T68" fmla="*/ 2 w 345"/>
                <a:gd name="T69" fmla="*/ 7 h 86"/>
                <a:gd name="T70" fmla="*/ 1 w 345"/>
                <a:gd name="T71" fmla="*/ 8 h 86"/>
                <a:gd name="T72" fmla="*/ 0 w 345"/>
                <a:gd name="T73" fmla="*/ 8 h 86"/>
                <a:gd name="T74" fmla="*/ 11 w 345"/>
                <a:gd name="T75" fmla="*/ 8 h 8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45"/>
                <a:gd name="T115" fmla="*/ 0 h 86"/>
                <a:gd name="T116" fmla="*/ 345 w 345"/>
                <a:gd name="T117" fmla="*/ 86 h 8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45" h="86">
                  <a:moveTo>
                    <a:pt x="106" y="86"/>
                  </a:moveTo>
                  <a:lnTo>
                    <a:pt x="119" y="81"/>
                  </a:lnTo>
                  <a:lnTo>
                    <a:pt x="133" y="76"/>
                  </a:lnTo>
                  <a:lnTo>
                    <a:pt x="148" y="72"/>
                  </a:lnTo>
                  <a:lnTo>
                    <a:pt x="164" y="69"/>
                  </a:lnTo>
                  <a:lnTo>
                    <a:pt x="197" y="63"/>
                  </a:lnTo>
                  <a:lnTo>
                    <a:pt x="231" y="57"/>
                  </a:lnTo>
                  <a:lnTo>
                    <a:pt x="247" y="53"/>
                  </a:lnTo>
                  <a:lnTo>
                    <a:pt x="264" y="50"/>
                  </a:lnTo>
                  <a:lnTo>
                    <a:pt x="279" y="46"/>
                  </a:lnTo>
                  <a:lnTo>
                    <a:pt x="294" y="40"/>
                  </a:lnTo>
                  <a:lnTo>
                    <a:pt x="309" y="35"/>
                  </a:lnTo>
                  <a:lnTo>
                    <a:pt x="322" y="28"/>
                  </a:lnTo>
                  <a:lnTo>
                    <a:pt x="334" y="21"/>
                  </a:lnTo>
                  <a:lnTo>
                    <a:pt x="345" y="13"/>
                  </a:lnTo>
                  <a:lnTo>
                    <a:pt x="335" y="12"/>
                  </a:lnTo>
                  <a:lnTo>
                    <a:pt x="326" y="11"/>
                  </a:lnTo>
                  <a:lnTo>
                    <a:pt x="317" y="9"/>
                  </a:lnTo>
                  <a:lnTo>
                    <a:pt x="309" y="6"/>
                  </a:lnTo>
                  <a:lnTo>
                    <a:pt x="300" y="4"/>
                  </a:lnTo>
                  <a:lnTo>
                    <a:pt x="291" y="2"/>
                  </a:lnTo>
                  <a:lnTo>
                    <a:pt x="281" y="1"/>
                  </a:lnTo>
                  <a:lnTo>
                    <a:pt x="272" y="0"/>
                  </a:lnTo>
                  <a:lnTo>
                    <a:pt x="259" y="1"/>
                  </a:lnTo>
                  <a:lnTo>
                    <a:pt x="245" y="3"/>
                  </a:lnTo>
                  <a:lnTo>
                    <a:pt x="227" y="5"/>
                  </a:lnTo>
                  <a:lnTo>
                    <a:pt x="209" y="9"/>
                  </a:lnTo>
                  <a:lnTo>
                    <a:pt x="168" y="18"/>
                  </a:lnTo>
                  <a:lnTo>
                    <a:pt x="126" y="29"/>
                  </a:lnTo>
                  <a:lnTo>
                    <a:pt x="104" y="36"/>
                  </a:lnTo>
                  <a:lnTo>
                    <a:pt x="85" y="42"/>
                  </a:lnTo>
                  <a:lnTo>
                    <a:pt x="66" y="50"/>
                  </a:lnTo>
                  <a:lnTo>
                    <a:pt x="47" y="58"/>
                  </a:lnTo>
                  <a:lnTo>
                    <a:pt x="32" y="65"/>
                  </a:lnTo>
                  <a:lnTo>
                    <a:pt x="19" y="72"/>
                  </a:lnTo>
                  <a:lnTo>
                    <a:pt x="8" y="79"/>
                  </a:lnTo>
                  <a:lnTo>
                    <a:pt x="0" y="86"/>
                  </a:lnTo>
                  <a:lnTo>
                    <a:pt x="106" y="86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31" name="Freeform 429"/>
            <p:cNvSpPr>
              <a:spLocks/>
            </p:cNvSpPr>
            <p:nvPr/>
          </p:nvSpPr>
          <p:spPr bwMode="auto">
            <a:xfrm>
              <a:off x="1158" y="1199"/>
              <a:ext cx="149" cy="43"/>
            </a:xfrm>
            <a:custGeom>
              <a:avLst/>
              <a:gdLst>
                <a:gd name="T0" fmla="*/ 2 w 464"/>
                <a:gd name="T1" fmla="*/ 9 h 130"/>
                <a:gd name="T2" fmla="*/ 8 w 464"/>
                <a:gd name="T3" fmla="*/ 9 h 130"/>
                <a:gd name="T4" fmla="*/ 11 w 464"/>
                <a:gd name="T5" fmla="*/ 9 h 130"/>
                <a:gd name="T6" fmla="*/ 10 w 464"/>
                <a:gd name="T7" fmla="*/ 10 h 130"/>
                <a:gd name="T8" fmla="*/ 8 w 464"/>
                <a:gd name="T9" fmla="*/ 11 h 130"/>
                <a:gd name="T10" fmla="*/ 7 w 464"/>
                <a:gd name="T11" fmla="*/ 12 h 130"/>
                <a:gd name="T12" fmla="*/ 7 w 464"/>
                <a:gd name="T13" fmla="*/ 13 h 130"/>
                <a:gd name="T14" fmla="*/ 8 w 464"/>
                <a:gd name="T15" fmla="*/ 14 h 130"/>
                <a:gd name="T16" fmla="*/ 10 w 464"/>
                <a:gd name="T17" fmla="*/ 14 h 130"/>
                <a:gd name="T18" fmla="*/ 11 w 464"/>
                <a:gd name="T19" fmla="*/ 14 h 130"/>
                <a:gd name="T20" fmla="*/ 13 w 464"/>
                <a:gd name="T21" fmla="*/ 14 h 130"/>
                <a:gd name="T22" fmla="*/ 16 w 464"/>
                <a:gd name="T23" fmla="*/ 13 h 130"/>
                <a:gd name="T24" fmla="*/ 20 w 464"/>
                <a:gd name="T25" fmla="*/ 12 h 130"/>
                <a:gd name="T26" fmla="*/ 23 w 464"/>
                <a:gd name="T27" fmla="*/ 11 h 130"/>
                <a:gd name="T28" fmla="*/ 26 w 464"/>
                <a:gd name="T29" fmla="*/ 11 h 130"/>
                <a:gd name="T30" fmla="*/ 27 w 464"/>
                <a:gd name="T31" fmla="*/ 11 h 130"/>
                <a:gd name="T32" fmla="*/ 31 w 464"/>
                <a:gd name="T33" fmla="*/ 11 h 130"/>
                <a:gd name="T34" fmla="*/ 34 w 464"/>
                <a:gd name="T35" fmla="*/ 11 h 130"/>
                <a:gd name="T36" fmla="*/ 39 w 464"/>
                <a:gd name="T37" fmla="*/ 10 h 130"/>
                <a:gd name="T38" fmla="*/ 43 w 464"/>
                <a:gd name="T39" fmla="*/ 9 h 130"/>
                <a:gd name="T40" fmla="*/ 46 w 464"/>
                <a:gd name="T41" fmla="*/ 7 h 130"/>
                <a:gd name="T42" fmla="*/ 47 w 464"/>
                <a:gd name="T43" fmla="*/ 6 h 130"/>
                <a:gd name="T44" fmla="*/ 45 w 464"/>
                <a:gd name="T45" fmla="*/ 5 h 130"/>
                <a:gd name="T46" fmla="*/ 43 w 464"/>
                <a:gd name="T47" fmla="*/ 5 h 130"/>
                <a:gd name="T48" fmla="*/ 41 w 464"/>
                <a:gd name="T49" fmla="*/ 5 h 130"/>
                <a:gd name="T50" fmla="*/ 42 w 464"/>
                <a:gd name="T51" fmla="*/ 4 h 130"/>
                <a:gd name="T52" fmla="*/ 43 w 464"/>
                <a:gd name="T53" fmla="*/ 2 h 130"/>
                <a:gd name="T54" fmla="*/ 43 w 464"/>
                <a:gd name="T55" fmla="*/ 1 h 130"/>
                <a:gd name="T56" fmla="*/ 39 w 464"/>
                <a:gd name="T57" fmla="*/ 0 h 130"/>
                <a:gd name="T58" fmla="*/ 37 w 464"/>
                <a:gd name="T59" fmla="*/ 2 h 130"/>
                <a:gd name="T60" fmla="*/ 35 w 464"/>
                <a:gd name="T61" fmla="*/ 5 h 130"/>
                <a:gd name="T62" fmla="*/ 33 w 464"/>
                <a:gd name="T63" fmla="*/ 7 h 130"/>
                <a:gd name="T64" fmla="*/ 32 w 464"/>
                <a:gd name="T65" fmla="*/ 7 h 130"/>
                <a:gd name="T66" fmla="*/ 31 w 464"/>
                <a:gd name="T67" fmla="*/ 7 h 130"/>
                <a:gd name="T68" fmla="*/ 29 w 464"/>
                <a:gd name="T69" fmla="*/ 7 h 130"/>
                <a:gd name="T70" fmla="*/ 27 w 464"/>
                <a:gd name="T71" fmla="*/ 7 h 130"/>
                <a:gd name="T72" fmla="*/ 25 w 464"/>
                <a:gd name="T73" fmla="*/ 6 h 130"/>
                <a:gd name="T74" fmla="*/ 21 w 464"/>
                <a:gd name="T75" fmla="*/ 3 h 130"/>
                <a:gd name="T76" fmla="*/ 19 w 464"/>
                <a:gd name="T77" fmla="*/ 3 h 130"/>
                <a:gd name="T78" fmla="*/ 15 w 464"/>
                <a:gd name="T79" fmla="*/ 3 h 130"/>
                <a:gd name="T80" fmla="*/ 12 w 464"/>
                <a:gd name="T81" fmla="*/ 4 h 130"/>
                <a:gd name="T82" fmla="*/ 9 w 464"/>
                <a:gd name="T83" fmla="*/ 5 h 130"/>
                <a:gd name="T84" fmla="*/ 5 w 464"/>
                <a:gd name="T85" fmla="*/ 6 h 130"/>
                <a:gd name="T86" fmla="*/ 3 w 464"/>
                <a:gd name="T87" fmla="*/ 7 h 130"/>
                <a:gd name="T88" fmla="*/ 1 w 464"/>
                <a:gd name="T89" fmla="*/ 8 h 130"/>
                <a:gd name="T90" fmla="*/ 0 w 464"/>
                <a:gd name="T91" fmla="*/ 9 h 13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64"/>
                <a:gd name="T139" fmla="*/ 0 h 130"/>
                <a:gd name="T140" fmla="*/ 464 w 464"/>
                <a:gd name="T141" fmla="*/ 130 h 130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64" h="130">
                  <a:moveTo>
                    <a:pt x="0" y="86"/>
                  </a:moveTo>
                  <a:lnTo>
                    <a:pt x="19" y="86"/>
                  </a:lnTo>
                  <a:lnTo>
                    <a:pt x="48" y="83"/>
                  </a:lnTo>
                  <a:lnTo>
                    <a:pt x="77" y="81"/>
                  </a:lnTo>
                  <a:lnTo>
                    <a:pt x="106" y="80"/>
                  </a:lnTo>
                  <a:lnTo>
                    <a:pt x="103" y="81"/>
                  </a:lnTo>
                  <a:lnTo>
                    <a:pt x="97" y="84"/>
                  </a:lnTo>
                  <a:lnTo>
                    <a:pt x="92" y="89"/>
                  </a:lnTo>
                  <a:lnTo>
                    <a:pt x="86" y="94"/>
                  </a:lnTo>
                  <a:lnTo>
                    <a:pt x="81" y="100"/>
                  </a:lnTo>
                  <a:lnTo>
                    <a:pt x="76" y="106"/>
                  </a:lnTo>
                  <a:lnTo>
                    <a:pt x="73" y="112"/>
                  </a:lnTo>
                  <a:lnTo>
                    <a:pt x="72" y="117"/>
                  </a:lnTo>
                  <a:lnTo>
                    <a:pt x="73" y="119"/>
                  </a:lnTo>
                  <a:lnTo>
                    <a:pt x="75" y="121"/>
                  </a:lnTo>
                  <a:lnTo>
                    <a:pt x="79" y="124"/>
                  </a:lnTo>
                  <a:lnTo>
                    <a:pt x="83" y="126"/>
                  </a:lnTo>
                  <a:lnTo>
                    <a:pt x="92" y="129"/>
                  </a:lnTo>
                  <a:lnTo>
                    <a:pt x="99" y="130"/>
                  </a:lnTo>
                  <a:lnTo>
                    <a:pt x="109" y="129"/>
                  </a:lnTo>
                  <a:lnTo>
                    <a:pt x="119" y="129"/>
                  </a:lnTo>
                  <a:lnTo>
                    <a:pt x="128" y="127"/>
                  </a:lnTo>
                  <a:lnTo>
                    <a:pt x="138" y="125"/>
                  </a:lnTo>
                  <a:lnTo>
                    <a:pt x="157" y="119"/>
                  </a:lnTo>
                  <a:lnTo>
                    <a:pt x="176" y="114"/>
                  </a:lnTo>
                  <a:lnTo>
                    <a:pt x="196" y="108"/>
                  </a:lnTo>
                  <a:lnTo>
                    <a:pt x="216" y="103"/>
                  </a:lnTo>
                  <a:lnTo>
                    <a:pt x="226" y="101"/>
                  </a:lnTo>
                  <a:lnTo>
                    <a:pt x="237" y="100"/>
                  </a:lnTo>
                  <a:lnTo>
                    <a:pt x="248" y="99"/>
                  </a:lnTo>
                  <a:lnTo>
                    <a:pt x="259" y="99"/>
                  </a:lnTo>
                  <a:lnTo>
                    <a:pt x="266" y="99"/>
                  </a:lnTo>
                  <a:lnTo>
                    <a:pt x="285" y="99"/>
                  </a:lnTo>
                  <a:lnTo>
                    <a:pt x="304" y="99"/>
                  </a:lnTo>
                  <a:lnTo>
                    <a:pt x="311" y="99"/>
                  </a:lnTo>
                  <a:lnTo>
                    <a:pt x="333" y="98"/>
                  </a:lnTo>
                  <a:lnTo>
                    <a:pt x="355" y="96"/>
                  </a:lnTo>
                  <a:lnTo>
                    <a:pt x="376" y="93"/>
                  </a:lnTo>
                  <a:lnTo>
                    <a:pt x="396" y="89"/>
                  </a:lnTo>
                  <a:lnTo>
                    <a:pt x="415" y="83"/>
                  </a:lnTo>
                  <a:lnTo>
                    <a:pt x="432" y="76"/>
                  </a:lnTo>
                  <a:lnTo>
                    <a:pt x="449" y="66"/>
                  </a:lnTo>
                  <a:lnTo>
                    <a:pt x="464" y="55"/>
                  </a:lnTo>
                  <a:lnTo>
                    <a:pt x="455" y="51"/>
                  </a:lnTo>
                  <a:lnTo>
                    <a:pt x="446" y="49"/>
                  </a:lnTo>
                  <a:lnTo>
                    <a:pt x="439" y="48"/>
                  </a:lnTo>
                  <a:lnTo>
                    <a:pt x="430" y="48"/>
                  </a:lnTo>
                  <a:lnTo>
                    <a:pt x="413" y="48"/>
                  </a:lnTo>
                  <a:lnTo>
                    <a:pt x="392" y="49"/>
                  </a:lnTo>
                  <a:lnTo>
                    <a:pt x="396" y="46"/>
                  </a:lnTo>
                  <a:lnTo>
                    <a:pt x="401" y="42"/>
                  </a:lnTo>
                  <a:lnTo>
                    <a:pt x="406" y="36"/>
                  </a:lnTo>
                  <a:lnTo>
                    <a:pt x="410" y="29"/>
                  </a:lnTo>
                  <a:lnTo>
                    <a:pt x="413" y="22"/>
                  </a:lnTo>
                  <a:lnTo>
                    <a:pt x="416" y="15"/>
                  </a:lnTo>
                  <a:lnTo>
                    <a:pt x="418" y="7"/>
                  </a:lnTo>
                  <a:lnTo>
                    <a:pt x="418" y="0"/>
                  </a:lnTo>
                  <a:lnTo>
                    <a:pt x="378" y="0"/>
                  </a:lnTo>
                  <a:lnTo>
                    <a:pt x="368" y="8"/>
                  </a:lnTo>
                  <a:lnTo>
                    <a:pt x="360" y="19"/>
                  </a:lnTo>
                  <a:lnTo>
                    <a:pt x="352" y="30"/>
                  </a:lnTo>
                  <a:lnTo>
                    <a:pt x="343" y="41"/>
                  </a:lnTo>
                  <a:lnTo>
                    <a:pt x="334" y="51"/>
                  </a:lnTo>
                  <a:lnTo>
                    <a:pt x="323" y="59"/>
                  </a:lnTo>
                  <a:lnTo>
                    <a:pt x="318" y="63"/>
                  </a:lnTo>
                  <a:lnTo>
                    <a:pt x="312" y="65"/>
                  </a:lnTo>
                  <a:lnTo>
                    <a:pt x="306" y="68"/>
                  </a:lnTo>
                  <a:lnTo>
                    <a:pt x="298" y="68"/>
                  </a:lnTo>
                  <a:lnTo>
                    <a:pt x="287" y="68"/>
                  </a:lnTo>
                  <a:lnTo>
                    <a:pt x="278" y="66"/>
                  </a:lnTo>
                  <a:lnTo>
                    <a:pt x="270" y="65"/>
                  </a:lnTo>
                  <a:lnTo>
                    <a:pt x="262" y="63"/>
                  </a:lnTo>
                  <a:lnTo>
                    <a:pt x="250" y="59"/>
                  </a:lnTo>
                  <a:lnTo>
                    <a:pt x="239" y="54"/>
                  </a:lnTo>
                  <a:lnTo>
                    <a:pt x="222" y="42"/>
                  </a:lnTo>
                  <a:lnTo>
                    <a:pt x="205" y="31"/>
                  </a:lnTo>
                  <a:lnTo>
                    <a:pt x="193" y="29"/>
                  </a:lnTo>
                  <a:lnTo>
                    <a:pt x="180" y="29"/>
                  </a:lnTo>
                  <a:lnTo>
                    <a:pt x="165" y="29"/>
                  </a:lnTo>
                  <a:lnTo>
                    <a:pt x="150" y="31"/>
                  </a:lnTo>
                  <a:lnTo>
                    <a:pt x="133" y="33"/>
                  </a:lnTo>
                  <a:lnTo>
                    <a:pt x="117" y="37"/>
                  </a:lnTo>
                  <a:lnTo>
                    <a:pt x="101" y="40"/>
                  </a:lnTo>
                  <a:lnTo>
                    <a:pt x="85" y="45"/>
                  </a:lnTo>
                  <a:lnTo>
                    <a:pt x="70" y="49"/>
                  </a:lnTo>
                  <a:lnTo>
                    <a:pt x="54" y="54"/>
                  </a:lnTo>
                  <a:lnTo>
                    <a:pt x="41" y="60"/>
                  </a:lnTo>
                  <a:lnTo>
                    <a:pt x="29" y="65"/>
                  </a:lnTo>
                  <a:lnTo>
                    <a:pt x="18" y="71"/>
                  </a:lnTo>
                  <a:lnTo>
                    <a:pt x="9" y="77"/>
                  </a:lnTo>
                  <a:lnTo>
                    <a:pt x="3" y="82"/>
                  </a:lnTo>
                  <a:lnTo>
                    <a:pt x="0" y="86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32" name="Freeform 430"/>
            <p:cNvSpPr>
              <a:spLocks/>
            </p:cNvSpPr>
            <p:nvPr/>
          </p:nvSpPr>
          <p:spPr bwMode="auto">
            <a:xfrm>
              <a:off x="1472" y="1205"/>
              <a:ext cx="153" cy="31"/>
            </a:xfrm>
            <a:custGeom>
              <a:avLst/>
              <a:gdLst>
                <a:gd name="T0" fmla="*/ 6 w 472"/>
                <a:gd name="T1" fmla="*/ 0 h 92"/>
                <a:gd name="T2" fmla="*/ 5 w 472"/>
                <a:gd name="T3" fmla="*/ 0 h 92"/>
                <a:gd name="T4" fmla="*/ 3 w 472"/>
                <a:gd name="T5" fmla="*/ 0 h 92"/>
                <a:gd name="T6" fmla="*/ 1 w 472"/>
                <a:gd name="T7" fmla="*/ 0 h 92"/>
                <a:gd name="T8" fmla="*/ 1 w 472"/>
                <a:gd name="T9" fmla="*/ 1 h 92"/>
                <a:gd name="T10" fmla="*/ 1 w 472"/>
                <a:gd name="T11" fmla="*/ 2 h 92"/>
                <a:gd name="T12" fmla="*/ 1 w 472"/>
                <a:gd name="T13" fmla="*/ 3 h 92"/>
                <a:gd name="T14" fmla="*/ 2 w 472"/>
                <a:gd name="T15" fmla="*/ 4 h 92"/>
                <a:gd name="T16" fmla="*/ 2 w 472"/>
                <a:gd name="T17" fmla="*/ 5 h 92"/>
                <a:gd name="T18" fmla="*/ 0 w 472"/>
                <a:gd name="T19" fmla="*/ 6 h 92"/>
                <a:gd name="T20" fmla="*/ 0 w 472"/>
                <a:gd name="T21" fmla="*/ 6 h 92"/>
                <a:gd name="T22" fmla="*/ 0 w 472"/>
                <a:gd name="T23" fmla="*/ 7 h 92"/>
                <a:gd name="T24" fmla="*/ 2 w 472"/>
                <a:gd name="T25" fmla="*/ 8 h 92"/>
                <a:gd name="T26" fmla="*/ 5 w 472"/>
                <a:gd name="T27" fmla="*/ 9 h 92"/>
                <a:gd name="T28" fmla="*/ 11 w 472"/>
                <a:gd name="T29" fmla="*/ 10 h 92"/>
                <a:gd name="T30" fmla="*/ 18 w 472"/>
                <a:gd name="T31" fmla="*/ 10 h 92"/>
                <a:gd name="T32" fmla="*/ 38 w 472"/>
                <a:gd name="T33" fmla="*/ 10 h 92"/>
                <a:gd name="T34" fmla="*/ 39 w 472"/>
                <a:gd name="T35" fmla="*/ 9 h 92"/>
                <a:gd name="T36" fmla="*/ 41 w 472"/>
                <a:gd name="T37" fmla="*/ 8 h 92"/>
                <a:gd name="T38" fmla="*/ 42 w 472"/>
                <a:gd name="T39" fmla="*/ 8 h 92"/>
                <a:gd name="T40" fmla="*/ 43 w 472"/>
                <a:gd name="T41" fmla="*/ 8 h 92"/>
                <a:gd name="T42" fmla="*/ 46 w 472"/>
                <a:gd name="T43" fmla="*/ 9 h 92"/>
                <a:gd name="T44" fmla="*/ 48 w 472"/>
                <a:gd name="T45" fmla="*/ 9 h 92"/>
                <a:gd name="T46" fmla="*/ 50 w 472"/>
                <a:gd name="T47" fmla="*/ 8 h 92"/>
                <a:gd name="T48" fmla="*/ 49 w 472"/>
                <a:gd name="T49" fmla="*/ 4 h 92"/>
                <a:gd name="T50" fmla="*/ 48 w 472"/>
                <a:gd name="T51" fmla="*/ 3 h 92"/>
                <a:gd name="T52" fmla="*/ 47 w 472"/>
                <a:gd name="T53" fmla="*/ 2 h 92"/>
                <a:gd name="T54" fmla="*/ 45 w 472"/>
                <a:gd name="T55" fmla="*/ 1 h 92"/>
                <a:gd name="T56" fmla="*/ 44 w 472"/>
                <a:gd name="T57" fmla="*/ 1 h 92"/>
                <a:gd name="T58" fmla="*/ 41 w 472"/>
                <a:gd name="T59" fmla="*/ 2 h 92"/>
                <a:gd name="T60" fmla="*/ 39 w 472"/>
                <a:gd name="T61" fmla="*/ 2 h 92"/>
                <a:gd name="T62" fmla="*/ 34 w 472"/>
                <a:gd name="T63" fmla="*/ 4 h 92"/>
                <a:gd name="T64" fmla="*/ 31 w 472"/>
                <a:gd name="T65" fmla="*/ 4 h 92"/>
                <a:gd name="T66" fmla="*/ 29 w 472"/>
                <a:gd name="T67" fmla="*/ 5 h 92"/>
                <a:gd name="T68" fmla="*/ 25 w 472"/>
                <a:gd name="T69" fmla="*/ 5 h 92"/>
                <a:gd name="T70" fmla="*/ 20 w 472"/>
                <a:gd name="T71" fmla="*/ 5 h 92"/>
                <a:gd name="T72" fmla="*/ 17 w 472"/>
                <a:gd name="T73" fmla="*/ 5 h 92"/>
                <a:gd name="T74" fmla="*/ 13 w 472"/>
                <a:gd name="T75" fmla="*/ 5 h 92"/>
                <a:gd name="T76" fmla="*/ 9 w 472"/>
                <a:gd name="T77" fmla="*/ 5 h 92"/>
                <a:gd name="T78" fmla="*/ 8 w 472"/>
                <a:gd name="T79" fmla="*/ 4 h 92"/>
                <a:gd name="T80" fmla="*/ 7 w 472"/>
                <a:gd name="T81" fmla="*/ 3 h 92"/>
                <a:gd name="T82" fmla="*/ 7 w 472"/>
                <a:gd name="T83" fmla="*/ 2 h 92"/>
                <a:gd name="T84" fmla="*/ 7 w 472"/>
                <a:gd name="T85" fmla="*/ 1 h 92"/>
                <a:gd name="T86" fmla="*/ 8 w 472"/>
                <a:gd name="T87" fmla="*/ 0 h 92"/>
                <a:gd name="T88" fmla="*/ 8 w 472"/>
                <a:gd name="T89" fmla="*/ 0 h 9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72"/>
                <a:gd name="T136" fmla="*/ 0 h 92"/>
                <a:gd name="T137" fmla="*/ 472 w 472"/>
                <a:gd name="T138" fmla="*/ 92 h 9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72" h="92">
                  <a:moveTo>
                    <a:pt x="73" y="0"/>
                  </a:moveTo>
                  <a:lnTo>
                    <a:pt x="63" y="0"/>
                  </a:lnTo>
                  <a:lnTo>
                    <a:pt x="53" y="0"/>
                  </a:lnTo>
                  <a:lnTo>
                    <a:pt x="44" y="0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5" y="1"/>
                  </a:lnTo>
                  <a:lnTo>
                    <a:pt x="12" y="3"/>
                  </a:lnTo>
                  <a:lnTo>
                    <a:pt x="8" y="5"/>
                  </a:lnTo>
                  <a:lnTo>
                    <a:pt x="7" y="8"/>
                  </a:lnTo>
                  <a:lnTo>
                    <a:pt x="6" y="12"/>
                  </a:lnTo>
                  <a:lnTo>
                    <a:pt x="7" y="16"/>
                  </a:lnTo>
                  <a:lnTo>
                    <a:pt x="7" y="20"/>
                  </a:lnTo>
                  <a:lnTo>
                    <a:pt x="10" y="23"/>
                  </a:lnTo>
                  <a:lnTo>
                    <a:pt x="11" y="26"/>
                  </a:lnTo>
                  <a:lnTo>
                    <a:pt x="15" y="32"/>
                  </a:lnTo>
                  <a:lnTo>
                    <a:pt x="19" y="36"/>
                  </a:lnTo>
                  <a:lnTo>
                    <a:pt x="14" y="41"/>
                  </a:lnTo>
                  <a:lnTo>
                    <a:pt x="7" y="46"/>
                  </a:lnTo>
                  <a:lnTo>
                    <a:pt x="4" y="50"/>
                  </a:lnTo>
                  <a:lnTo>
                    <a:pt x="2" y="53"/>
                  </a:lnTo>
                  <a:lnTo>
                    <a:pt x="1" y="57"/>
                  </a:lnTo>
                  <a:lnTo>
                    <a:pt x="0" y="61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14" y="69"/>
                  </a:lnTo>
                  <a:lnTo>
                    <a:pt x="24" y="71"/>
                  </a:lnTo>
                  <a:lnTo>
                    <a:pt x="48" y="76"/>
                  </a:lnTo>
                  <a:lnTo>
                    <a:pt x="78" y="81"/>
                  </a:lnTo>
                  <a:lnTo>
                    <a:pt x="109" y="85"/>
                  </a:lnTo>
                  <a:lnTo>
                    <a:pt x="140" y="89"/>
                  </a:lnTo>
                  <a:lnTo>
                    <a:pt x="167" y="91"/>
                  </a:lnTo>
                  <a:lnTo>
                    <a:pt x="186" y="92"/>
                  </a:lnTo>
                  <a:lnTo>
                    <a:pt x="365" y="92"/>
                  </a:lnTo>
                  <a:lnTo>
                    <a:pt x="370" y="86"/>
                  </a:lnTo>
                  <a:lnTo>
                    <a:pt x="374" y="81"/>
                  </a:lnTo>
                  <a:lnTo>
                    <a:pt x="380" y="78"/>
                  </a:lnTo>
                  <a:lnTo>
                    <a:pt x="385" y="75"/>
                  </a:lnTo>
                  <a:lnTo>
                    <a:pt x="391" y="74"/>
                  </a:lnTo>
                  <a:lnTo>
                    <a:pt x="397" y="73"/>
                  </a:lnTo>
                  <a:lnTo>
                    <a:pt x="404" y="73"/>
                  </a:lnTo>
                  <a:lnTo>
                    <a:pt x="411" y="73"/>
                  </a:lnTo>
                  <a:lnTo>
                    <a:pt x="426" y="75"/>
                  </a:lnTo>
                  <a:lnTo>
                    <a:pt x="441" y="76"/>
                  </a:lnTo>
                  <a:lnTo>
                    <a:pt x="449" y="77"/>
                  </a:lnTo>
                  <a:lnTo>
                    <a:pt x="456" y="76"/>
                  </a:lnTo>
                  <a:lnTo>
                    <a:pt x="464" y="75"/>
                  </a:lnTo>
                  <a:lnTo>
                    <a:pt x="472" y="73"/>
                  </a:lnTo>
                  <a:lnTo>
                    <a:pt x="472" y="36"/>
                  </a:lnTo>
                  <a:lnTo>
                    <a:pt x="465" y="33"/>
                  </a:lnTo>
                  <a:lnTo>
                    <a:pt x="459" y="30"/>
                  </a:lnTo>
                  <a:lnTo>
                    <a:pt x="453" y="26"/>
                  </a:lnTo>
                  <a:lnTo>
                    <a:pt x="449" y="22"/>
                  </a:lnTo>
                  <a:lnTo>
                    <a:pt x="443" y="18"/>
                  </a:lnTo>
                  <a:lnTo>
                    <a:pt x="438" y="15"/>
                  </a:lnTo>
                  <a:lnTo>
                    <a:pt x="432" y="13"/>
                  </a:lnTo>
                  <a:lnTo>
                    <a:pt x="426" y="12"/>
                  </a:lnTo>
                  <a:lnTo>
                    <a:pt x="416" y="12"/>
                  </a:lnTo>
                  <a:lnTo>
                    <a:pt x="406" y="13"/>
                  </a:lnTo>
                  <a:lnTo>
                    <a:pt x="396" y="15"/>
                  </a:lnTo>
                  <a:lnTo>
                    <a:pt x="386" y="17"/>
                  </a:lnTo>
                  <a:lnTo>
                    <a:pt x="367" y="22"/>
                  </a:lnTo>
                  <a:lnTo>
                    <a:pt x="348" y="27"/>
                  </a:lnTo>
                  <a:lnTo>
                    <a:pt x="328" y="33"/>
                  </a:lnTo>
                  <a:lnTo>
                    <a:pt x="308" y="38"/>
                  </a:lnTo>
                  <a:lnTo>
                    <a:pt x="298" y="39"/>
                  </a:lnTo>
                  <a:lnTo>
                    <a:pt x="287" y="41"/>
                  </a:lnTo>
                  <a:lnTo>
                    <a:pt x="276" y="42"/>
                  </a:lnTo>
                  <a:lnTo>
                    <a:pt x="265" y="42"/>
                  </a:lnTo>
                  <a:lnTo>
                    <a:pt x="236" y="42"/>
                  </a:lnTo>
                  <a:lnTo>
                    <a:pt x="212" y="42"/>
                  </a:lnTo>
                  <a:lnTo>
                    <a:pt x="191" y="42"/>
                  </a:lnTo>
                  <a:lnTo>
                    <a:pt x="173" y="42"/>
                  </a:lnTo>
                  <a:lnTo>
                    <a:pt x="156" y="42"/>
                  </a:lnTo>
                  <a:lnTo>
                    <a:pt x="139" y="42"/>
                  </a:lnTo>
                  <a:lnTo>
                    <a:pt x="120" y="42"/>
                  </a:lnTo>
                  <a:lnTo>
                    <a:pt x="100" y="42"/>
                  </a:lnTo>
                  <a:lnTo>
                    <a:pt x="91" y="41"/>
                  </a:lnTo>
                  <a:lnTo>
                    <a:pt x="83" y="39"/>
                  </a:lnTo>
                  <a:lnTo>
                    <a:pt x="78" y="36"/>
                  </a:lnTo>
                  <a:lnTo>
                    <a:pt x="73" y="32"/>
                  </a:lnTo>
                  <a:lnTo>
                    <a:pt x="70" y="27"/>
                  </a:lnTo>
                  <a:lnTo>
                    <a:pt x="68" y="22"/>
                  </a:lnTo>
                  <a:lnTo>
                    <a:pt x="67" y="17"/>
                  </a:lnTo>
                  <a:lnTo>
                    <a:pt x="67" y="12"/>
                  </a:lnTo>
                  <a:lnTo>
                    <a:pt x="69" y="8"/>
                  </a:lnTo>
                  <a:lnTo>
                    <a:pt x="72" y="4"/>
                  </a:lnTo>
                  <a:lnTo>
                    <a:pt x="74" y="2"/>
                  </a:lnTo>
                  <a:lnTo>
                    <a:pt x="75" y="1"/>
                  </a:lnTo>
                  <a:lnTo>
                    <a:pt x="74" y="0"/>
                  </a:lnTo>
                  <a:lnTo>
                    <a:pt x="73" y="0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33" name="Freeform 431"/>
            <p:cNvSpPr>
              <a:spLocks/>
            </p:cNvSpPr>
            <p:nvPr/>
          </p:nvSpPr>
          <p:spPr bwMode="auto">
            <a:xfrm>
              <a:off x="1513" y="1136"/>
              <a:ext cx="106" cy="45"/>
            </a:xfrm>
            <a:custGeom>
              <a:avLst/>
              <a:gdLst>
                <a:gd name="T0" fmla="*/ 15 w 326"/>
                <a:gd name="T1" fmla="*/ 12 h 135"/>
                <a:gd name="T2" fmla="*/ 21 w 326"/>
                <a:gd name="T3" fmla="*/ 11 h 135"/>
                <a:gd name="T4" fmla="*/ 28 w 326"/>
                <a:gd name="T5" fmla="*/ 9 h 135"/>
                <a:gd name="T6" fmla="*/ 32 w 326"/>
                <a:gd name="T7" fmla="*/ 8 h 135"/>
                <a:gd name="T8" fmla="*/ 33 w 326"/>
                <a:gd name="T9" fmla="*/ 7 h 135"/>
                <a:gd name="T10" fmla="*/ 34 w 326"/>
                <a:gd name="T11" fmla="*/ 6 h 135"/>
                <a:gd name="T12" fmla="*/ 33 w 326"/>
                <a:gd name="T13" fmla="*/ 5 h 135"/>
                <a:gd name="T14" fmla="*/ 32 w 326"/>
                <a:gd name="T15" fmla="*/ 5 h 135"/>
                <a:gd name="T16" fmla="*/ 30 w 326"/>
                <a:gd name="T17" fmla="*/ 4 h 135"/>
                <a:gd name="T18" fmla="*/ 28 w 326"/>
                <a:gd name="T19" fmla="*/ 4 h 135"/>
                <a:gd name="T20" fmla="*/ 24 w 326"/>
                <a:gd name="T21" fmla="*/ 3 h 135"/>
                <a:gd name="T22" fmla="*/ 22 w 326"/>
                <a:gd name="T23" fmla="*/ 3 h 135"/>
                <a:gd name="T24" fmla="*/ 21 w 326"/>
                <a:gd name="T25" fmla="*/ 3 h 135"/>
                <a:gd name="T26" fmla="*/ 21 w 326"/>
                <a:gd name="T27" fmla="*/ 2 h 135"/>
                <a:gd name="T28" fmla="*/ 20 w 326"/>
                <a:gd name="T29" fmla="*/ 1 h 135"/>
                <a:gd name="T30" fmla="*/ 19 w 326"/>
                <a:gd name="T31" fmla="*/ 1 h 135"/>
                <a:gd name="T32" fmla="*/ 17 w 326"/>
                <a:gd name="T33" fmla="*/ 0 h 135"/>
                <a:gd name="T34" fmla="*/ 14 w 326"/>
                <a:gd name="T35" fmla="*/ 0 h 135"/>
                <a:gd name="T36" fmla="*/ 9 w 326"/>
                <a:gd name="T37" fmla="*/ 1 h 135"/>
                <a:gd name="T38" fmla="*/ 5 w 326"/>
                <a:gd name="T39" fmla="*/ 2 h 135"/>
                <a:gd name="T40" fmla="*/ 3 w 326"/>
                <a:gd name="T41" fmla="*/ 3 h 135"/>
                <a:gd name="T42" fmla="*/ 1 w 326"/>
                <a:gd name="T43" fmla="*/ 4 h 135"/>
                <a:gd name="T44" fmla="*/ 0 w 326"/>
                <a:gd name="T45" fmla="*/ 5 h 135"/>
                <a:gd name="T46" fmla="*/ 0 w 326"/>
                <a:gd name="T47" fmla="*/ 6 h 135"/>
                <a:gd name="T48" fmla="*/ 4 w 326"/>
                <a:gd name="T49" fmla="*/ 8 h 135"/>
                <a:gd name="T50" fmla="*/ 6 w 326"/>
                <a:gd name="T51" fmla="*/ 9 h 135"/>
                <a:gd name="T52" fmla="*/ 4 w 326"/>
                <a:gd name="T53" fmla="*/ 10 h 135"/>
                <a:gd name="T54" fmla="*/ 4 w 326"/>
                <a:gd name="T55" fmla="*/ 11 h 135"/>
                <a:gd name="T56" fmla="*/ 5 w 326"/>
                <a:gd name="T57" fmla="*/ 13 h 135"/>
                <a:gd name="T58" fmla="*/ 5 w 326"/>
                <a:gd name="T59" fmla="*/ 14 h 135"/>
                <a:gd name="T60" fmla="*/ 6 w 326"/>
                <a:gd name="T61" fmla="*/ 15 h 135"/>
                <a:gd name="T62" fmla="*/ 7 w 326"/>
                <a:gd name="T63" fmla="*/ 15 h 135"/>
                <a:gd name="T64" fmla="*/ 9 w 326"/>
                <a:gd name="T65" fmla="*/ 15 h 135"/>
                <a:gd name="T66" fmla="*/ 11 w 326"/>
                <a:gd name="T67" fmla="*/ 14 h 135"/>
                <a:gd name="T68" fmla="*/ 12 w 326"/>
                <a:gd name="T69" fmla="*/ 14 h 135"/>
                <a:gd name="T70" fmla="*/ 13 w 326"/>
                <a:gd name="T71" fmla="*/ 12 h 13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26"/>
                <a:gd name="T109" fmla="*/ 0 h 135"/>
                <a:gd name="T110" fmla="*/ 326 w 326"/>
                <a:gd name="T111" fmla="*/ 135 h 135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26" h="135">
                  <a:moveTo>
                    <a:pt x="120" y="111"/>
                  </a:moveTo>
                  <a:lnTo>
                    <a:pt x="145" y="107"/>
                  </a:lnTo>
                  <a:lnTo>
                    <a:pt x="172" y="102"/>
                  </a:lnTo>
                  <a:lnTo>
                    <a:pt x="203" y="97"/>
                  </a:lnTo>
                  <a:lnTo>
                    <a:pt x="233" y="90"/>
                  </a:lnTo>
                  <a:lnTo>
                    <a:pt x="262" y="84"/>
                  </a:lnTo>
                  <a:lnTo>
                    <a:pt x="288" y="78"/>
                  </a:lnTo>
                  <a:lnTo>
                    <a:pt x="300" y="74"/>
                  </a:lnTo>
                  <a:lnTo>
                    <a:pt x="310" y="70"/>
                  </a:lnTo>
                  <a:lnTo>
                    <a:pt x="318" y="66"/>
                  </a:lnTo>
                  <a:lnTo>
                    <a:pt x="326" y="62"/>
                  </a:lnTo>
                  <a:lnTo>
                    <a:pt x="322" y="56"/>
                  </a:lnTo>
                  <a:lnTo>
                    <a:pt x="317" y="52"/>
                  </a:lnTo>
                  <a:lnTo>
                    <a:pt x="312" y="48"/>
                  </a:lnTo>
                  <a:lnTo>
                    <a:pt x="306" y="44"/>
                  </a:lnTo>
                  <a:lnTo>
                    <a:pt x="300" y="41"/>
                  </a:lnTo>
                  <a:lnTo>
                    <a:pt x="293" y="39"/>
                  </a:lnTo>
                  <a:lnTo>
                    <a:pt x="286" y="37"/>
                  </a:lnTo>
                  <a:lnTo>
                    <a:pt x="279" y="34"/>
                  </a:lnTo>
                  <a:lnTo>
                    <a:pt x="263" y="32"/>
                  </a:lnTo>
                  <a:lnTo>
                    <a:pt x="247" y="31"/>
                  </a:lnTo>
                  <a:lnTo>
                    <a:pt x="230" y="30"/>
                  </a:lnTo>
                  <a:lnTo>
                    <a:pt x="213" y="30"/>
                  </a:lnTo>
                  <a:lnTo>
                    <a:pt x="209" y="30"/>
                  </a:lnTo>
                  <a:lnTo>
                    <a:pt x="205" y="27"/>
                  </a:lnTo>
                  <a:lnTo>
                    <a:pt x="202" y="24"/>
                  </a:lnTo>
                  <a:lnTo>
                    <a:pt x="200" y="21"/>
                  </a:lnTo>
                  <a:lnTo>
                    <a:pt x="196" y="17"/>
                  </a:lnTo>
                  <a:lnTo>
                    <a:pt x="194" y="13"/>
                  </a:lnTo>
                  <a:lnTo>
                    <a:pt x="191" y="9"/>
                  </a:lnTo>
                  <a:lnTo>
                    <a:pt x="187" y="6"/>
                  </a:lnTo>
                  <a:lnTo>
                    <a:pt x="180" y="5"/>
                  </a:lnTo>
                  <a:lnTo>
                    <a:pt x="172" y="3"/>
                  </a:lnTo>
                  <a:lnTo>
                    <a:pt x="162" y="1"/>
                  </a:lnTo>
                  <a:lnTo>
                    <a:pt x="153" y="0"/>
                  </a:lnTo>
                  <a:lnTo>
                    <a:pt x="135" y="1"/>
                  </a:lnTo>
                  <a:lnTo>
                    <a:pt x="112" y="4"/>
                  </a:lnTo>
                  <a:lnTo>
                    <a:pt x="87" y="8"/>
                  </a:lnTo>
                  <a:lnTo>
                    <a:pt x="61" y="14"/>
                  </a:lnTo>
                  <a:lnTo>
                    <a:pt x="49" y="17"/>
                  </a:lnTo>
                  <a:lnTo>
                    <a:pt x="38" y="21"/>
                  </a:lnTo>
                  <a:lnTo>
                    <a:pt x="27" y="26"/>
                  </a:lnTo>
                  <a:lnTo>
                    <a:pt x="19" y="31"/>
                  </a:lnTo>
                  <a:lnTo>
                    <a:pt x="11" y="37"/>
                  </a:lnTo>
                  <a:lnTo>
                    <a:pt x="5" y="43"/>
                  </a:lnTo>
                  <a:lnTo>
                    <a:pt x="3" y="46"/>
                  </a:lnTo>
                  <a:lnTo>
                    <a:pt x="1" y="49"/>
                  </a:lnTo>
                  <a:lnTo>
                    <a:pt x="1" y="52"/>
                  </a:lnTo>
                  <a:lnTo>
                    <a:pt x="0" y="56"/>
                  </a:lnTo>
                  <a:lnTo>
                    <a:pt x="34" y="74"/>
                  </a:lnTo>
                  <a:lnTo>
                    <a:pt x="73" y="74"/>
                  </a:lnTo>
                  <a:lnTo>
                    <a:pt x="56" y="81"/>
                  </a:lnTo>
                  <a:lnTo>
                    <a:pt x="44" y="87"/>
                  </a:lnTo>
                  <a:lnTo>
                    <a:pt x="41" y="90"/>
                  </a:lnTo>
                  <a:lnTo>
                    <a:pt x="38" y="94"/>
                  </a:lnTo>
                  <a:lnTo>
                    <a:pt x="38" y="99"/>
                  </a:lnTo>
                  <a:lnTo>
                    <a:pt x="41" y="105"/>
                  </a:lnTo>
                  <a:lnTo>
                    <a:pt x="44" y="114"/>
                  </a:lnTo>
                  <a:lnTo>
                    <a:pt x="47" y="123"/>
                  </a:lnTo>
                  <a:lnTo>
                    <a:pt x="48" y="128"/>
                  </a:lnTo>
                  <a:lnTo>
                    <a:pt x="50" y="131"/>
                  </a:lnTo>
                  <a:lnTo>
                    <a:pt x="55" y="134"/>
                  </a:lnTo>
                  <a:lnTo>
                    <a:pt x="60" y="135"/>
                  </a:lnTo>
                  <a:lnTo>
                    <a:pt x="69" y="135"/>
                  </a:lnTo>
                  <a:lnTo>
                    <a:pt x="78" y="133"/>
                  </a:lnTo>
                  <a:lnTo>
                    <a:pt x="86" y="131"/>
                  </a:lnTo>
                  <a:lnTo>
                    <a:pt x="93" y="129"/>
                  </a:lnTo>
                  <a:lnTo>
                    <a:pt x="101" y="127"/>
                  </a:lnTo>
                  <a:lnTo>
                    <a:pt x="109" y="125"/>
                  </a:lnTo>
                  <a:lnTo>
                    <a:pt x="117" y="124"/>
                  </a:lnTo>
                  <a:lnTo>
                    <a:pt x="126" y="123"/>
                  </a:lnTo>
                  <a:lnTo>
                    <a:pt x="120" y="111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34" name="Freeform 432"/>
            <p:cNvSpPr>
              <a:spLocks/>
            </p:cNvSpPr>
            <p:nvPr/>
          </p:nvSpPr>
          <p:spPr bwMode="auto">
            <a:xfrm>
              <a:off x="1584" y="1245"/>
              <a:ext cx="51" cy="18"/>
            </a:xfrm>
            <a:custGeom>
              <a:avLst/>
              <a:gdLst>
                <a:gd name="T0" fmla="*/ 5 w 159"/>
                <a:gd name="T1" fmla="*/ 5 h 56"/>
                <a:gd name="T2" fmla="*/ 4 w 159"/>
                <a:gd name="T3" fmla="*/ 5 h 56"/>
                <a:gd name="T4" fmla="*/ 4 w 159"/>
                <a:gd name="T5" fmla="*/ 5 h 56"/>
                <a:gd name="T6" fmla="*/ 3 w 159"/>
                <a:gd name="T7" fmla="*/ 5 h 56"/>
                <a:gd name="T8" fmla="*/ 2 w 159"/>
                <a:gd name="T9" fmla="*/ 4 h 56"/>
                <a:gd name="T10" fmla="*/ 1 w 159"/>
                <a:gd name="T11" fmla="*/ 3 h 56"/>
                <a:gd name="T12" fmla="*/ 1 w 159"/>
                <a:gd name="T13" fmla="*/ 3 h 56"/>
                <a:gd name="T14" fmla="*/ 0 w 159"/>
                <a:gd name="T15" fmla="*/ 2 h 56"/>
                <a:gd name="T16" fmla="*/ 0 w 159"/>
                <a:gd name="T17" fmla="*/ 2 h 56"/>
                <a:gd name="T18" fmla="*/ 0 w 159"/>
                <a:gd name="T19" fmla="*/ 1 h 56"/>
                <a:gd name="T20" fmla="*/ 0 w 159"/>
                <a:gd name="T21" fmla="*/ 1 h 56"/>
                <a:gd name="T22" fmla="*/ 2 w 159"/>
                <a:gd name="T23" fmla="*/ 1 h 56"/>
                <a:gd name="T24" fmla="*/ 4 w 159"/>
                <a:gd name="T25" fmla="*/ 1 h 56"/>
                <a:gd name="T26" fmla="*/ 5 w 159"/>
                <a:gd name="T27" fmla="*/ 1 h 56"/>
                <a:gd name="T28" fmla="*/ 6 w 159"/>
                <a:gd name="T29" fmla="*/ 1 h 56"/>
                <a:gd name="T30" fmla="*/ 9 w 159"/>
                <a:gd name="T31" fmla="*/ 1 h 56"/>
                <a:gd name="T32" fmla="*/ 12 w 159"/>
                <a:gd name="T33" fmla="*/ 0 h 56"/>
                <a:gd name="T34" fmla="*/ 13 w 159"/>
                <a:gd name="T35" fmla="*/ 0 h 56"/>
                <a:gd name="T36" fmla="*/ 13 w 159"/>
                <a:gd name="T37" fmla="*/ 0 h 56"/>
                <a:gd name="T38" fmla="*/ 14 w 159"/>
                <a:gd name="T39" fmla="*/ 0 h 56"/>
                <a:gd name="T40" fmla="*/ 15 w 159"/>
                <a:gd name="T41" fmla="*/ 0 h 56"/>
                <a:gd name="T42" fmla="*/ 15 w 159"/>
                <a:gd name="T43" fmla="*/ 1 h 56"/>
                <a:gd name="T44" fmla="*/ 16 w 159"/>
                <a:gd name="T45" fmla="*/ 1 h 56"/>
                <a:gd name="T46" fmla="*/ 16 w 159"/>
                <a:gd name="T47" fmla="*/ 2 h 56"/>
                <a:gd name="T48" fmla="*/ 16 w 159"/>
                <a:gd name="T49" fmla="*/ 2 h 56"/>
                <a:gd name="T50" fmla="*/ 16 w 159"/>
                <a:gd name="T51" fmla="*/ 3 h 56"/>
                <a:gd name="T52" fmla="*/ 16 w 159"/>
                <a:gd name="T53" fmla="*/ 4 h 56"/>
                <a:gd name="T54" fmla="*/ 15 w 159"/>
                <a:gd name="T55" fmla="*/ 5 h 56"/>
                <a:gd name="T56" fmla="*/ 15 w 159"/>
                <a:gd name="T57" fmla="*/ 5 h 56"/>
                <a:gd name="T58" fmla="*/ 14 w 159"/>
                <a:gd name="T59" fmla="*/ 5 h 56"/>
                <a:gd name="T60" fmla="*/ 13 w 159"/>
                <a:gd name="T61" fmla="*/ 5 h 56"/>
                <a:gd name="T62" fmla="*/ 13 w 159"/>
                <a:gd name="T63" fmla="*/ 6 h 56"/>
                <a:gd name="T64" fmla="*/ 12 w 159"/>
                <a:gd name="T65" fmla="*/ 6 h 56"/>
                <a:gd name="T66" fmla="*/ 8 w 159"/>
                <a:gd name="T67" fmla="*/ 6 h 56"/>
                <a:gd name="T68" fmla="*/ 5 w 159"/>
                <a:gd name="T69" fmla="*/ 5 h 5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59"/>
                <a:gd name="T106" fmla="*/ 0 h 56"/>
                <a:gd name="T107" fmla="*/ 159 w 159"/>
                <a:gd name="T108" fmla="*/ 56 h 5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59" h="56">
                  <a:moveTo>
                    <a:pt x="46" y="53"/>
                  </a:moveTo>
                  <a:lnTo>
                    <a:pt x="40" y="52"/>
                  </a:lnTo>
                  <a:lnTo>
                    <a:pt x="34" y="49"/>
                  </a:lnTo>
                  <a:lnTo>
                    <a:pt x="26" y="45"/>
                  </a:lnTo>
                  <a:lnTo>
                    <a:pt x="18" y="38"/>
                  </a:lnTo>
                  <a:lnTo>
                    <a:pt x="10" y="31"/>
                  </a:lnTo>
                  <a:lnTo>
                    <a:pt x="5" y="24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1" y="10"/>
                  </a:lnTo>
                  <a:lnTo>
                    <a:pt x="39" y="10"/>
                  </a:lnTo>
                  <a:lnTo>
                    <a:pt x="52" y="10"/>
                  </a:lnTo>
                  <a:lnTo>
                    <a:pt x="59" y="10"/>
                  </a:lnTo>
                  <a:lnTo>
                    <a:pt x="83" y="6"/>
                  </a:lnTo>
                  <a:lnTo>
                    <a:pt x="117" y="0"/>
                  </a:lnTo>
                  <a:lnTo>
                    <a:pt x="125" y="0"/>
                  </a:lnTo>
                  <a:lnTo>
                    <a:pt x="132" y="0"/>
                  </a:lnTo>
                  <a:lnTo>
                    <a:pt x="140" y="0"/>
                  </a:lnTo>
                  <a:lnTo>
                    <a:pt x="147" y="2"/>
                  </a:lnTo>
                  <a:lnTo>
                    <a:pt x="151" y="5"/>
                  </a:lnTo>
                  <a:lnTo>
                    <a:pt x="155" y="9"/>
                  </a:lnTo>
                  <a:lnTo>
                    <a:pt x="158" y="15"/>
                  </a:lnTo>
                  <a:lnTo>
                    <a:pt x="159" y="22"/>
                  </a:lnTo>
                  <a:lnTo>
                    <a:pt x="158" y="30"/>
                  </a:lnTo>
                  <a:lnTo>
                    <a:pt x="155" y="37"/>
                  </a:lnTo>
                  <a:lnTo>
                    <a:pt x="151" y="44"/>
                  </a:lnTo>
                  <a:lnTo>
                    <a:pt x="146" y="48"/>
                  </a:lnTo>
                  <a:lnTo>
                    <a:pt x="139" y="52"/>
                  </a:lnTo>
                  <a:lnTo>
                    <a:pt x="132" y="54"/>
                  </a:lnTo>
                  <a:lnTo>
                    <a:pt x="124" y="55"/>
                  </a:lnTo>
                  <a:lnTo>
                    <a:pt x="115" y="56"/>
                  </a:lnTo>
                  <a:lnTo>
                    <a:pt x="77" y="55"/>
                  </a:lnTo>
                  <a:lnTo>
                    <a:pt x="46" y="53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35" name="Freeform 433"/>
            <p:cNvSpPr>
              <a:spLocks/>
            </p:cNvSpPr>
            <p:nvPr/>
          </p:nvSpPr>
          <p:spPr bwMode="auto">
            <a:xfrm>
              <a:off x="534" y="1280"/>
              <a:ext cx="1205" cy="539"/>
            </a:xfrm>
            <a:custGeom>
              <a:avLst/>
              <a:gdLst>
                <a:gd name="T0" fmla="*/ 305 w 3734"/>
                <a:gd name="T1" fmla="*/ 147 h 1644"/>
                <a:gd name="T2" fmla="*/ 266 w 3734"/>
                <a:gd name="T3" fmla="*/ 164 h 1644"/>
                <a:gd name="T4" fmla="*/ 241 w 3734"/>
                <a:gd name="T5" fmla="*/ 171 h 1644"/>
                <a:gd name="T6" fmla="*/ 239 w 3734"/>
                <a:gd name="T7" fmla="*/ 176 h 1644"/>
                <a:gd name="T8" fmla="*/ 227 w 3734"/>
                <a:gd name="T9" fmla="*/ 173 h 1644"/>
                <a:gd name="T10" fmla="*/ 237 w 3734"/>
                <a:gd name="T11" fmla="*/ 163 h 1644"/>
                <a:gd name="T12" fmla="*/ 226 w 3734"/>
                <a:gd name="T13" fmla="*/ 152 h 1644"/>
                <a:gd name="T14" fmla="*/ 218 w 3734"/>
                <a:gd name="T15" fmla="*/ 139 h 1644"/>
                <a:gd name="T16" fmla="*/ 203 w 3734"/>
                <a:gd name="T17" fmla="*/ 142 h 1644"/>
                <a:gd name="T18" fmla="*/ 185 w 3734"/>
                <a:gd name="T19" fmla="*/ 138 h 1644"/>
                <a:gd name="T20" fmla="*/ 27 w 3734"/>
                <a:gd name="T21" fmla="*/ 133 h 1644"/>
                <a:gd name="T22" fmla="*/ 13 w 3734"/>
                <a:gd name="T23" fmla="*/ 121 h 1644"/>
                <a:gd name="T24" fmla="*/ 16 w 3734"/>
                <a:gd name="T25" fmla="*/ 112 h 1644"/>
                <a:gd name="T26" fmla="*/ 15 w 3734"/>
                <a:gd name="T27" fmla="*/ 100 h 1644"/>
                <a:gd name="T28" fmla="*/ 27 w 3734"/>
                <a:gd name="T29" fmla="*/ 92 h 1644"/>
                <a:gd name="T30" fmla="*/ 26 w 3734"/>
                <a:gd name="T31" fmla="*/ 80 h 1644"/>
                <a:gd name="T32" fmla="*/ 13 w 3734"/>
                <a:gd name="T33" fmla="*/ 71 h 1644"/>
                <a:gd name="T34" fmla="*/ 63 w 3734"/>
                <a:gd name="T35" fmla="*/ 12 h 1644"/>
                <a:gd name="T36" fmla="*/ 119 w 3734"/>
                <a:gd name="T37" fmla="*/ 11 h 1644"/>
                <a:gd name="T38" fmla="*/ 135 w 3734"/>
                <a:gd name="T39" fmla="*/ 12 h 1644"/>
                <a:gd name="T40" fmla="*/ 171 w 3734"/>
                <a:gd name="T41" fmla="*/ 18 h 1644"/>
                <a:gd name="T42" fmla="*/ 185 w 3734"/>
                <a:gd name="T43" fmla="*/ 22 h 1644"/>
                <a:gd name="T44" fmla="*/ 216 w 3734"/>
                <a:gd name="T45" fmla="*/ 21 h 1644"/>
                <a:gd name="T46" fmla="*/ 238 w 3734"/>
                <a:gd name="T47" fmla="*/ 23 h 1644"/>
                <a:gd name="T48" fmla="*/ 246 w 3734"/>
                <a:gd name="T49" fmla="*/ 23 h 1644"/>
                <a:gd name="T50" fmla="*/ 262 w 3734"/>
                <a:gd name="T51" fmla="*/ 13 h 1644"/>
                <a:gd name="T52" fmla="*/ 269 w 3734"/>
                <a:gd name="T53" fmla="*/ 0 h 1644"/>
                <a:gd name="T54" fmla="*/ 275 w 3734"/>
                <a:gd name="T55" fmla="*/ 11 h 1644"/>
                <a:gd name="T56" fmla="*/ 278 w 3734"/>
                <a:gd name="T57" fmla="*/ 18 h 1644"/>
                <a:gd name="T58" fmla="*/ 283 w 3734"/>
                <a:gd name="T59" fmla="*/ 21 h 1644"/>
                <a:gd name="T60" fmla="*/ 301 w 3734"/>
                <a:gd name="T61" fmla="*/ 13 h 1644"/>
                <a:gd name="T62" fmla="*/ 316 w 3734"/>
                <a:gd name="T63" fmla="*/ 14 h 1644"/>
                <a:gd name="T64" fmla="*/ 300 w 3734"/>
                <a:gd name="T65" fmla="*/ 29 h 1644"/>
                <a:gd name="T66" fmla="*/ 290 w 3734"/>
                <a:gd name="T67" fmla="*/ 31 h 1644"/>
                <a:gd name="T68" fmla="*/ 268 w 3734"/>
                <a:gd name="T69" fmla="*/ 33 h 1644"/>
                <a:gd name="T70" fmla="*/ 260 w 3734"/>
                <a:gd name="T71" fmla="*/ 43 h 1644"/>
                <a:gd name="T72" fmla="*/ 243 w 3734"/>
                <a:gd name="T73" fmla="*/ 50 h 1644"/>
                <a:gd name="T74" fmla="*/ 217 w 3734"/>
                <a:gd name="T75" fmla="*/ 67 h 1644"/>
                <a:gd name="T76" fmla="*/ 219 w 3734"/>
                <a:gd name="T77" fmla="*/ 85 h 1644"/>
                <a:gd name="T78" fmla="*/ 246 w 3734"/>
                <a:gd name="T79" fmla="*/ 97 h 1644"/>
                <a:gd name="T80" fmla="*/ 254 w 3734"/>
                <a:gd name="T81" fmla="*/ 114 h 1644"/>
                <a:gd name="T82" fmla="*/ 272 w 3734"/>
                <a:gd name="T83" fmla="*/ 106 h 1644"/>
                <a:gd name="T84" fmla="*/ 297 w 3734"/>
                <a:gd name="T85" fmla="*/ 84 h 1644"/>
                <a:gd name="T86" fmla="*/ 302 w 3734"/>
                <a:gd name="T87" fmla="*/ 64 h 1644"/>
                <a:gd name="T88" fmla="*/ 329 w 3734"/>
                <a:gd name="T89" fmla="*/ 54 h 1644"/>
                <a:gd name="T90" fmla="*/ 341 w 3734"/>
                <a:gd name="T91" fmla="*/ 64 h 1644"/>
                <a:gd name="T92" fmla="*/ 336 w 3734"/>
                <a:gd name="T93" fmla="*/ 79 h 1644"/>
                <a:gd name="T94" fmla="*/ 364 w 3734"/>
                <a:gd name="T95" fmla="*/ 66 h 1644"/>
                <a:gd name="T96" fmla="*/ 369 w 3734"/>
                <a:gd name="T97" fmla="*/ 83 h 1644"/>
                <a:gd name="T98" fmla="*/ 381 w 3734"/>
                <a:gd name="T99" fmla="*/ 99 h 1644"/>
                <a:gd name="T100" fmla="*/ 377 w 3734"/>
                <a:gd name="T101" fmla="*/ 103 h 1644"/>
                <a:gd name="T102" fmla="*/ 385 w 3734"/>
                <a:gd name="T103" fmla="*/ 110 h 1644"/>
                <a:gd name="T104" fmla="*/ 370 w 3734"/>
                <a:gd name="T105" fmla="*/ 119 h 1644"/>
                <a:gd name="T106" fmla="*/ 328 w 3734"/>
                <a:gd name="T107" fmla="*/ 126 h 1644"/>
                <a:gd name="T108" fmla="*/ 297 w 3734"/>
                <a:gd name="T109" fmla="*/ 144 h 1644"/>
                <a:gd name="T110" fmla="*/ 302 w 3734"/>
                <a:gd name="T111" fmla="*/ 144 h 1644"/>
                <a:gd name="T112" fmla="*/ 335 w 3734"/>
                <a:gd name="T113" fmla="*/ 135 h 1644"/>
                <a:gd name="T114" fmla="*/ 319 w 3734"/>
                <a:gd name="T115" fmla="*/ 140 h 1644"/>
                <a:gd name="T116" fmla="*/ 327 w 3734"/>
                <a:gd name="T117" fmla="*/ 150 h 1644"/>
                <a:gd name="T118" fmla="*/ 338 w 3734"/>
                <a:gd name="T119" fmla="*/ 158 h 1644"/>
                <a:gd name="T120" fmla="*/ 314 w 3734"/>
                <a:gd name="T121" fmla="*/ 168 h 1644"/>
                <a:gd name="T122" fmla="*/ 332 w 3734"/>
                <a:gd name="T123" fmla="*/ 158 h 1644"/>
                <a:gd name="T124" fmla="*/ 314 w 3734"/>
                <a:gd name="T125" fmla="*/ 160 h 16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734"/>
                <a:gd name="T190" fmla="*/ 0 h 1644"/>
                <a:gd name="T191" fmla="*/ 3734 w 3734"/>
                <a:gd name="T192" fmla="*/ 1644 h 164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734" h="1644">
                  <a:moveTo>
                    <a:pt x="3010" y="1478"/>
                  </a:moveTo>
                  <a:lnTo>
                    <a:pt x="3010" y="1410"/>
                  </a:lnTo>
                  <a:lnTo>
                    <a:pt x="3013" y="1407"/>
                  </a:lnTo>
                  <a:lnTo>
                    <a:pt x="3016" y="1400"/>
                  </a:lnTo>
                  <a:lnTo>
                    <a:pt x="3021" y="1391"/>
                  </a:lnTo>
                  <a:lnTo>
                    <a:pt x="3025" y="1382"/>
                  </a:lnTo>
                  <a:lnTo>
                    <a:pt x="3029" y="1370"/>
                  </a:lnTo>
                  <a:lnTo>
                    <a:pt x="3033" y="1360"/>
                  </a:lnTo>
                  <a:lnTo>
                    <a:pt x="3036" y="1351"/>
                  </a:lnTo>
                  <a:lnTo>
                    <a:pt x="3036" y="1343"/>
                  </a:lnTo>
                  <a:lnTo>
                    <a:pt x="3032" y="1345"/>
                  </a:lnTo>
                  <a:lnTo>
                    <a:pt x="3026" y="1345"/>
                  </a:lnTo>
                  <a:lnTo>
                    <a:pt x="3021" y="1346"/>
                  </a:lnTo>
                  <a:lnTo>
                    <a:pt x="3014" y="1345"/>
                  </a:lnTo>
                  <a:lnTo>
                    <a:pt x="2997" y="1344"/>
                  </a:lnTo>
                  <a:lnTo>
                    <a:pt x="2977" y="1343"/>
                  </a:lnTo>
                  <a:lnTo>
                    <a:pt x="2967" y="1343"/>
                  </a:lnTo>
                  <a:lnTo>
                    <a:pt x="2958" y="1345"/>
                  </a:lnTo>
                  <a:lnTo>
                    <a:pt x="2950" y="1348"/>
                  </a:lnTo>
                  <a:lnTo>
                    <a:pt x="2943" y="1352"/>
                  </a:lnTo>
                  <a:lnTo>
                    <a:pt x="2936" y="1356"/>
                  </a:lnTo>
                  <a:lnTo>
                    <a:pt x="2931" y="1362"/>
                  </a:lnTo>
                  <a:lnTo>
                    <a:pt x="2925" y="1368"/>
                  </a:lnTo>
                  <a:lnTo>
                    <a:pt x="2920" y="1374"/>
                  </a:lnTo>
                  <a:lnTo>
                    <a:pt x="2909" y="1388"/>
                  </a:lnTo>
                  <a:lnTo>
                    <a:pt x="2899" y="1403"/>
                  </a:lnTo>
                  <a:lnTo>
                    <a:pt x="2889" y="1416"/>
                  </a:lnTo>
                  <a:lnTo>
                    <a:pt x="2877" y="1429"/>
                  </a:lnTo>
                  <a:lnTo>
                    <a:pt x="2867" y="1438"/>
                  </a:lnTo>
                  <a:lnTo>
                    <a:pt x="2857" y="1445"/>
                  </a:lnTo>
                  <a:lnTo>
                    <a:pt x="2847" y="1451"/>
                  </a:lnTo>
                  <a:lnTo>
                    <a:pt x="2836" y="1456"/>
                  </a:lnTo>
                  <a:lnTo>
                    <a:pt x="2826" y="1460"/>
                  </a:lnTo>
                  <a:lnTo>
                    <a:pt x="2815" y="1463"/>
                  </a:lnTo>
                  <a:lnTo>
                    <a:pt x="2803" y="1465"/>
                  </a:lnTo>
                  <a:lnTo>
                    <a:pt x="2792" y="1467"/>
                  </a:lnTo>
                  <a:lnTo>
                    <a:pt x="2767" y="1470"/>
                  </a:lnTo>
                  <a:lnTo>
                    <a:pt x="2741" y="1472"/>
                  </a:lnTo>
                  <a:lnTo>
                    <a:pt x="2711" y="1474"/>
                  </a:lnTo>
                  <a:lnTo>
                    <a:pt x="2678" y="1478"/>
                  </a:lnTo>
                  <a:lnTo>
                    <a:pt x="2591" y="1478"/>
                  </a:lnTo>
                  <a:lnTo>
                    <a:pt x="2580" y="1494"/>
                  </a:lnTo>
                  <a:lnTo>
                    <a:pt x="2569" y="1508"/>
                  </a:lnTo>
                  <a:lnTo>
                    <a:pt x="2556" y="1522"/>
                  </a:lnTo>
                  <a:lnTo>
                    <a:pt x="2543" y="1534"/>
                  </a:lnTo>
                  <a:lnTo>
                    <a:pt x="2530" y="1547"/>
                  </a:lnTo>
                  <a:lnTo>
                    <a:pt x="2514" y="1558"/>
                  </a:lnTo>
                  <a:lnTo>
                    <a:pt x="2500" y="1568"/>
                  </a:lnTo>
                  <a:lnTo>
                    <a:pt x="2485" y="1577"/>
                  </a:lnTo>
                  <a:lnTo>
                    <a:pt x="2492" y="1571"/>
                  </a:lnTo>
                  <a:lnTo>
                    <a:pt x="2498" y="1565"/>
                  </a:lnTo>
                  <a:lnTo>
                    <a:pt x="2502" y="1559"/>
                  </a:lnTo>
                  <a:lnTo>
                    <a:pt x="2504" y="1553"/>
                  </a:lnTo>
                  <a:lnTo>
                    <a:pt x="2478" y="1546"/>
                  </a:lnTo>
                  <a:lnTo>
                    <a:pt x="2445" y="1559"/>
                  </a:lnTo>
                  <a:lnTo>
                    <a:pt x="2408" y="1562"/>
                  </a:lnTo>
                  <a:lnTo>
                    <a:pt x="2364" y="1565"/>
                  </a:lnTo>
                  <a:lnTo>
                    <a:pt x="2353" y="1567"/>
                  </a:lnTo>
                  <a:lnTo>
                    <a:pt x="2343" y="1569"/>
                  </a:lnTo>
                  <a:lnTo>
                    <a:pt x="2334" y="1572"/>
                  </a:lnTo>
                  <a:lnTo>
                    <a:pt x="2328" y="1575"/>
                  </a:lnTo>
                  <a:lnTo>
                    <a:pt x="2321" y="1579"/>
                  </a:lnTo>
                  <a:lnTo>
                    <a:pt x="2316" y="1583"/>
                  </a:lnTo>
                  <a:lnTo>
                    <a:pt x="2315" y="1586"/>
                  </a:lnTo>
                  <a:lnTo>
                    <a:pt x="2313" y="1589"/>
                  </a:lnTo>
                  <a:lnTo>
                    <a:pt x="2312" y="1592"/>
                  </a:lnTo>
                  <a:lnTo>
                    <a:pt x="2312" y="1595"/>
                  </a:lnTo>
                  <a:lnTo>
                    <a:pt x="2312" y="1598"/>
                  </a:lnTo>
                  <a:lnTo>
                    <a:pt x="2313" y="1602"/>
                  </a:lnTo>
                  <a:lnTo>
                    <a:pt x="2316" y="1604"/>
                  </a:lnTo>
                  <a:lnTo>
                    <a:pt x="2318" y="1605"/>
                  </a:lnTo>
                  <a:lnTo>
                    <a:pt x="2324" y="1608"/>
                  </a:lnTo>
                  <a:lnTo>
                    <a:pt x="2332" y="1609"/>
                  </a:lnTo>
                  <a:lnTo>
                    <a:pt x="2351" y="1609"/>
                  </a:lnTo>
                  <a:lnTo>
                    <a:pt x="2372" y="1608"/>
                  </a:lnTo>
                  <a:lnTo>
                    <a:pt x="2388" y="1607"/>
                  </a:lnTo>
                  <a:lnTo>
                    <a:pt x="2405" y="1605"/>
                  </a:lnTo>
                  <a:lnTo>
                    <a:pt x="2421" y="1602"/>
                  </a:lnTo>
                  <a:lnTo>
                    <a:pt x="2438" y="1597"/>
                  </a:lnTo>
                  <a:lnTo>
                    <a:pt x="2425" y="1602"/>
                  </a:lnTo>
                  <a:lnTo>
                    <a:pt x="2414" y="1605"/>
                  </a:lnTo>
                  <a:lnTo>
                    <a:pt x="2402" y="1607"/>
                  </a:lnTo>
                  <a:lnTo>
                    <a:pt x="2391" y="1608"/>
                  </a:lnTo>
                  <a:lnTo>
                    <a:pt x="2319" y="1626"/>
                  </a:lnTo>
                  <a:lnTo>
                    <a:pt x="2313" y="1629"/>
                  </a:lnTo>
                  <a:lnTo>
                    <a:pt x="2307" y="1631"/>
                  </a:lnTo>
                  <a:lnTo>
                    <a:pt x="2300" y="1633"/>
                  </a:lnTo>
                  <a:lnTo>
                    <a:pt x="2294" y="1634"/>
                  </a:lnTo>
                  <a:lnTo>
                    <a:pt x="2296" y="1633"/>
                  </a:lnTo>
                  <a:lnTo>
                    <a:pt x="2299" y="1632"/>
                  </a:lnTo>
                  <a:lnTo>
                    <a:pt x="2290" y="1625"/>
                  </a:lnTo>
                  <a:lnTo>
                    <a:pt x="2283" y="1620"/>
                  </a:lnTo>
                  <a:lnTo>
                    <a:pt x="2273" y="1617"/>
                  </a:lnTo>
                  <a:lnTo>
                    <a:pt x="2263" y="1614"/>
                  </a:lnTo>
                  <a:lnTo>
                    <a:pt x="2253" y="1613"/>
                  </a:lnTo>
                  <a:lnTo>
                    <a:pt x="2243" y="1614"/>
                  </a:lnTo>
                  <a:lnTo>
                    <a:pt x="2233" y="1615"/>
                  </a:lnTo>
                  <a:lnTo>
                    <a:pt x="2224" y="1616"/>
                  </a:lnTo>
                  <a:lnTo>
                    <a:pt x="2207" y="1621"/>
                  </a:lnTo>
                  <a:lnTo>
                    <a:pt x="2193" y="1626"/>
                  </a:lnTo>
                  <a:lnTo>
                    <a:pt x="2183" y="1630"/>
                  </a:lnTo>
                  <a:lnTo>
                    <a:pt x="2179" y="1632"/>
                  </a:lnTo>
                  <a:lnTo>
                    <a:pt x="2172" y="1634"/>
                  </a:lnTo>
                  <a:lnTo>
                    <a:pt x="2162" y="1637"/>
                  </a:lnTo>
                  <a:lnTo>
                    <a:pt x="2150" y="1641"/>
                  </a:lnTo>
                  <a:lnTo>
                    <a:pt x="2137" y="1644"/>
                  </a:lnTo>
                  <a:lnTo>
                    <a:pt x="2147" y="1632"/>
                  </a:lnTo>
                  <a:lnTo>
                    <a:pt x="2156" y="1623"/>
                  </a:lnTo>
                  <a:lnTo>
                    <a:pt x="2167" y="1614"/>
                  </a:lnTo>
                  <a:lnTo>
                    <a:pt x="2177" y="1607"/>
                  </a:lnTo>
                  <a:lnTo>
                    <a:pt x="2187" y="1599"/>
                  </a:lnTo>
                  <a:lnTo>
                    <a:pt x="2196" y="1592"/>
                  </a:lnTo>
                  <a:lnTo>
                    <a:pt x="2200" y="1587"/>
                  </a:lnTo>
                  <a:lnTo>
                    <a:pt x="2205" y="1582"/>
                  </a:lnTo>
                  <a:lnTo>
                    <a:pt x="2209" y="1577"/>
                  </a:lnTo>
                  <a:lnTo>
                    <a:pt x="2212" y="1571"/>
                  </a:lnTo>
                  <a:lnTo>
                    <a:pt x="2219" y="1558"/>
                  </a:lnTo>
                  <a:lnTo>
                    <a:pt x="2222" y="1544"/>
                  </a:lnTo>
                  <a:lnTo>
                    <a:pt x="2224" y="1533"/>
                  </a:lnTo>
                  <a:lnTo>
                    <a:pt x="2228" y="1522"/>
                  </a:lnTo>
                  <a:lnTo>
                    <a:pt x="2230" y="1511"/>
                  </a:lnTo>
                  <a:lnTo>
                    <a:pt x="2234" y="1501"/>
                  </a:lnTo>
                  <a:lnTo>
                    <a:pt x="2238" y="1495"/>
                  </a:lnTo>
                  <a:lnTo>
                    <a:pt x="2242" y="1490"/>
                  </a:lnTo>
                  <a:lnTo>
                    <a:pt x="2246" y="1484"/>
                  </a:lnTo>
                  <a:lnTo>
                    <a:pt x="2252" y="1478"/>
                  </a:lnTo>
                  <a:lnTo>
                    <a:pt x="2265" y="1478"/>
                  </a:lnTo>
                  <a:lnTo>
                    <a:pt x="2266" y="1485"/>
                  </a:lnTo>
                  <a:lnTo>
                    <a:pt x="2267" y="1492"/>
                  </a:lnTo>
                  <a:lnTo>
                    <a:pt x="2271" y="1497"/>
                  </a:lnTo>
                  <a:lnTo>
                    <a:pt x="2273" y="1502"/>
                  </a:lnTo>
                  <a:lnTo>
                    <a:pt x="2279" y="1512"/>
                  </a:lnTo>
                  <a:lnTo>
                    <a:pt x="2286" y="1521"/>
                  </a:lnTo>
                  <a:lnTo>
                    <a:pt x="2298" y="1517"/>
                  </a:lnTo>
                  <a:lnTo>
                    <a:pt x="2310" y="1512"/>
                  </a:lnTo>
                  <a:lnTo>
                    <a:pt x="2324" y="1508"/>
                  </a:lnTo>
                  <a:lnTo>
                    <a:pt x="2345" y="1503"/>
                  </a:lnTo>
                  <a:lnTo>
                    <a:pt x="2345" y="1478"/>
                  </a:lnTo>
                  <a:lnTo>
                    <a:pt x="2331" y="1462"/>
                  </a:lnTo>
                  <a:lnTo>
                    <a:pt x="2317" y="1444"/>
                  </a:lnTo>
                  <a:lnTo>
                    <a:pt x="2309" y="1436"/>
                  </a:lnTo>
                  <a:lnTo>
                    <a:pt x="2300" y="1428"/>
                  </a:lnTo>
                  <a:lnTo>
                    <a:pt x="2296" y="1426"/>
                  </a:lnTo>
                  <a:lnTo>
                    <a:pt x="2290" y="1424"/>
                  </a:lnTo>
                  <a:lnTo>
                    <a:pt x="2285" y="1423"/>
                  </a:lnTo>
                  <a:lnTo>
                    <a:pt x="2279" y="1422"/>
                  </a:lnTo>
                  <a:lnTo>
                    <a:pt x="2249" y="1423"/>
                  </a:lnTo>
                  <a:lnTo>
                    <a:pt x="2215" y="1424"/>
                  </a:lnTo>
                  <a:lnTo>
                    <a:pt x="2199" y="1424"/>
                  </a:lnTo>
                  <a:lnTo>
                    <a:pt x="2185" y="1423"/>
                  </a:lnTo>
                  <a:lnTo>
                    <a:pt x="2178" y="1422"/>
                  </a:lnTo>
                  <a:lnTo>
                    <a:pt x="2173" y="1420"/>
                  </a:lnTo>
                  <a:lnTo>
                    <a:pt x="2168" y="1419"/>
                  </a:lnTo>
                  <a:lnTo>
                    <a:pt x="2166" y="1416"/>
                  </a:lnTo>
                  <a:lnTo>
                    <a:pt x="2163" y="1413"/>
                  </a:lnTo>
                  <a:lnTo>
                    <a:pt x="2161" y="1409"/>
                  </a:lnTo>
                  <a:lnTo>
                    <a:pt x="2159" y="1405"/>
                  </a:lnTo>
                  <a:lnTo>
                    <a:pt x="2159" y="1401"/>
                  </a:lnTo>
                  <a:lnTo>
                    <a:pt x="2159" y="1392"/>
                  </a:lnTo>
                  <a:lnTo>
                    <a:pt x="2160" y="1382"/>
                  </a:lnTo>
                  <a:lnTo>
                    <a:pt x="2161" y="1372"/>
                  </a:lnTo>
                  <a:lnTo>
                    <a:pt x="2161" y="1362"/>
                  </a:lnTo>
                  <a:lnTo>
                    <a:pt x="2160" y="1357"/>
                  </a:lnTo>
                  <a:lnTo>
                    <a:pt x="2159" y="1352"/>
                  </a:lnTo>
                  <a:lnTo>
                    <a:pt x="2155" y="1347"/>
                  </a:lnTo>
                  <a:lnTo>
                    <a:pt x="2153" y="1343"/>
                  </a:lnTo>
                  <a:lnTo>
                    <a:pt x="2149" y="1339"/>
                  </a:lnTo>
                  <a:lnTo>
                    <a:pt x="2144" y="1335"/>
                  </a:lnTo>
                  <a:lnTo>
                    <a:pt x="2139" y="1332"/>
                  </a:lnTo>
                  <a:lnTo>
                    <a:pt x="2133" y="1329"/>
                  </a:lnTo>
                  <a:lnTo>
                    <a:pt x="2122" y="1323"/>
                  </a:lnTo>
                  <a:lnTo>
                    <a:pt x="2111" y="1315"/>
                  </a:lnTo>
                  <a:lnTo>
                    <a:pt x="2107" y="1311"/>
                  </a:lnTo>
                  <a:lnTo>
                    <a:pt x="2102" y="1307"/>
                  </a:lnTo>
                  <a:lnTo>
                    <a:pt x="2097" y="1301"/>
                  </a:lnTo>
                  <a:lnTo>
                    <a:pt x="2094" y="1295"/>
                  </a:lnTo>
                  <a:lnTo>
                    <a:pt x="2091" y="1288"/>
                  </a:lnTo>
                  <a:lnTo>
                    <a:pt x="2088" y="1279"/>
                  </a:lnTo>
                  <a:lnTo>
                    <a:pt x="2087" y="1269"/>
                  </a:lnTo>
                  <a:lnTo>
                    <a:pt x="2086" y="1256"/>
                  </a:lnTo>
                  <a:lnTo>
                    <a:pt x="2060" y="1256"/>
                  </a:lnTo>
                  <a:lnTo>
                    <a:pt x="2046" y="1259"/>
                  </a:lnTo>
                  <a:lnTo>
                    <a:pt x="2027" y="1261"/>
                  </a:lnTo>
                  <a:lnTo>
                    <a:pt x="2017" y="1262"/>
                  </a:lnTo>
                  <a:lnTo>
                    <a:pt x="2007" y="1265"/>
                  </a:lnTo>
                  <a:lnTo>
                    <a:pt x="2003" y="1267"/>
                  </a:lnTo>
                  <a:lnTo>
                    <a:pt x="1999" y="1270"/>
                  </a:lnTo>
                  <a:lnTo>
                    <a:pt x="1996" y="1272"/>
                  </a:lnTo>
                  <a:lnTo>
                    <a:pt x="1993" y="1275"/>
                  </a:lnTo>
                  <a:lnTo>
                    <a:pt x="1985" y="1287"/>
                  </a:lnTo>
                  <a:lnTo>
                    <a:pt x="1976" y="1301"/>
                  </a:lnTo>
                  <a:lnTo>
                    <a:pt x="1974" y="1304"/>
                  </a:lnTo>
                  <a:lnTo>
                    <a:pt x="1971" y="1307"/>
                  </a:lnTo>
                  <a:lnTo>
                    <a:pt x="1968" y="1310"/>
                  </a:lnTo>
                  <a:lnTo>
                    <a:pt x="1963" y="1313"/>
                  </a:lnTo>
                  <a:lnTo>
                    <a:pt x="1959" y="1315"/>
                  </a:lnTo>
                  <a:lnTo>
                    <a:pt x="1953" y="1316"/>
                  </a:lnTo>
                  <a:lnTo>
                    <a:pt x="1947" y="1317"/>
                  </a:lnTo>
                  <a:lnTo>
                    <a:pt x="1940" y="1318"/>
                  </a:lnTo>
                  <a:lnTo>
                    <a:pt x="1930" y="1317"/>
                  </a:lnTo>
                  <a:lnTo>
                    <a:pt x="1920" y="1315"/>
                  </a:lnTo>
                  <a:lnTo>
                    <a:pt x="1910" y="1313"/>
                  </a:lnTo>
                  <a:lnTo>
                    <a:pt x="1901" y="1309"/>
                  </a:lnTo>
                  <a:lnTo>
                    <a:pt x="1892" y="1305"/>
                  </a:lnTo>
                  <a:lnTo>
                    <a:pt x="1883" y="1300"/>
                  </a:lnTo>
                  <a:lnTo>
                    <a:pt x="1874" y="1294"/>
                  </a:lnTo>
                  <a:lnTo>
                    <a:pt x="1867" y="1287"/>
                  </a:lnTo>
                  <a:lnTo>
                    <a:pt x="1864" y="1289"/>
                  </a:lnTo>
                  <a:lnTo>
                    <a:pt x="1860" y="1293"/>
                  </a:lnTo>
                  <a:lnTo>
                    <a:pt x="1853" y="1298"/>
                  </a:lnTo>
                  <a:lnTo>
                    <a:pt x="1847" y="1299"/>
                  </a:lnTo>
                  <a:lnTo>
                    <a:pt x="1840" y="1299"/>
                  </a:lnTo>
                  <a:lnTo>
                    <a:pt x="1833" y="1297"/>
                  </a:lnTo>
                  <a:lnTo>
                    <a:pt x="1826" y="1294"/>
                  </a:lnTo>
                  <a:lnTo>
                    <a:pt x="1819" y="1290"/>
                  </a:lnTo>
                  <a:lnTo>
                    <a:pt x="1813" y="1287"/>
                  </a:lnTo>
                  <a:lnTo>
                    <a:pt x="1805" y="1284"/>
                  </a:lnTo>
                  <a:lnTo>
                    <a:pt x="1796" y="1282"/>
                  </a:lnTo>
                  <a:lnTo>
                    <a:pt x="1787" y="1281"/>
                  </a:lnTo>
                  <a:lnTo>
                    <a:pt x="1771" y="1281"/>
                  </a:lnTo>
                  <a:lnTo>
                    <a:pt x="1761" y="1281"/>
                  </a:lnTo>
                  <a:lnTo>
                    <a:pt x="1756" y="1281"/>
                  </a:lnTo>
                  <a:lnTo>
                    <a:pt x="1751" y="1280"/>
                  </a:lnTo>
                  <a:lnTo>
                    <a:pt x="1747" y="1279"/>
                  </a:lnTo>
                  <a:lnTo>
                    <a:pt x="1742" y="1277"/>
                  </a:lnTo>
                  <a:lnTo>
                    <a:pt x="1734" y="1272"/>
                  </a:lnTo>
                  <a:lnTo>
                    <a:pt x="1727" y="1264"/>
                  </a:lnTo>
                  <a:lnTo>
                    <a:pt x="1722" y="1256"/>
                  </a:lnTo>
                  <a:lnTo>
                    <a:pt x="1717" y="1247"/>
                  </a:lnTo>
                  <a:lnTo>
                    <a:pt x="1715" y="1237"/>
                  </a:lnTo>
                  <a:lnTo>
                    <a:pt x="1714" y="1226"/>
                  </a:lnTo>
                  <a:lnTo>
                    <a:pt x="1681" y="1226"/>
                  </a:lnTo>
                  <a:lnTo>
                    <a:pt x="1682" y="1231"/>
                  </a:lnTo>
                  <a:lnTo>
                    <a:pt x="1684" y="1239"/>
                  </a:lnTo>
                  <a:lnTo>
                    <a:pt x="1686" y="1247"/>
                  </a:lnTo>
                  <a:lnTo>
                    <a:pt x="1688" y="1256"/>
                  </a:lnTo>
                  <a:lnTo>
                    <a:pt x="259" y="1256"/>
                  </a:lnTo>
                  <a:lnTo>
                    <a:pt x="263" y="1245"/>
                  </a:lnTo>
                  <a:lnTo>
                    <a:pt x="265" y="1239"/>
                  </a:lnTo>
                  <a:lnTo>
                    <a:pt x="265" y="1237"/>
                  </a:lnTo>
                  <a:lnTo>
                    <a:pt x="263" y="1236"/>
                  </a:lnTo>
                  <a:lnTo>
                    <a:pt x="261" y="1235"/>
                  </a:lnTo>
                  <a:lnTo>
                    <a:pt x="258" y="1233"/>
                  </a:lnTo>
                  <a:lnTo>
                    <a:pt x="256" y="1229"/>
                  </a:lnTo>
                  <a:lnTo>
                    <a:pt x="252" y="1220"/>
                  </a:lnTo>
                  <a:lnTo>
                    <a:pt x="247" y="1214"/>
                  </a:lnTo>
                  <a:lnTo>
                    <a:pt x="240" y="1207"/>
                  </a:lnTo>
                  <a:lnTo>
                    <a:pt x="235" y="1200"/>
                  </a:lnTo>
                  <a:lnTo>
                    <a:pt x="233" y="1195"/>
                  </a:lnTo>
                  <a:lnTo>
                    <a:pt x="226" y="1194"/>
                  </a:lnTo>
                  <a:lnTo>
                    <a:pt x="217" y="1190"/>
                  </a:lnTo>
                  <a:lnTo>
                    <a:pt x="213" y="1188"/>
                  </a:lnTo>
                  <a:lnTo>
                    <a:pt x="210" y="1184"/>
                  </a:lnTo>
                  <a:lnTo>
                    <a:pt x="206" y="1181"/>
                  </a:lnTo>
                  <a:lnTo>
                    <a:pt x="206" y="1176"/>
                  </a:lnTo>
                  <a:lnTo>
                    <a:pt x="195" y="1173"/>
                  </a:lnTo>
                  <a:lnTo>
                    <a:pt x="182" y="1168"/>
                  </a:lnTo>
                  <a:lnTo>
                    <a:pt x="169" y="1161"/>
                  </a:lnTo>
                  <a:lnTo>
                    <a:pt x="156" y="1153"/>
                  </a:lnTo>
                  <a:lnTo>
                    <a:pt x="145" y="1145"/>
                  </a:lnTo>
                  <a:lnTo>
                    <a:pt x="135" y="1136"/>
                  </a:lnTo>
                  <a:lnTo>
                    <a:pt x="132" y="1132"/>
                  </a:lnTo>
                  <a:lnTo>
                    <a:pt x="128" y="1128"/>
                  </a:lnTo>
                  <a:lnTo>
                    <a:pt x="127" y="1125"/>
                  </a:lnTo>
                  <a:lnTo>
                    <a:pt x="126" y="1121"/>
                  </a:lnTo>
                  <a:lnTo>
                    <a:pt x="127" y="1116"/>
                  </a:lnTo>
                  <a:lnTo>
                    <a:pt x="128" y="1111"/>
                  </a:lnTo>
                  <a:lnTo>
                    <a:pt x="132" y="1106"/>
                  </a:lnTo>
                  <a:lnTo>
                    <a:pt x="136" y="1102"/>
                  </a:lnTo>
                  <a:lnTo>
                    <a:pt x="146" y="1094"/>
                  </a:lnTo>
                  <a:lnTo>
                    <a:pt x="157" y="1088"/>
                  </a:lnTo>
                  <a:lnTo>
                    <a:pt x="169" y="1083"/>
                  </a:lnTo>
                  <a:lnTo>
                    <a:pt x="180" y="1077"/>
                  </a:lnTo>
                  <a:lnTo>
                    <a:pt x="184" y="1075"/>
                  </a:lnTo>
                  <a:lnTo>
                    <a:pt x="188" y="1072"/>
                  </a:lnTo>
                  <a:lnTo>
                    <a:pt x="191" y="1069"/>
                  </a:lnTo>
                  <a:lnTo>
                    <a:pt x="193" y="1066"/>
                  </a:lnTo>
                  <a:lnTo>
                    <a:pt x="183" y="1065"/>
                  </a:lnTo>
                  <a:lnTo>
                    <a:pt x="170" y="1064"/>
                  </a:lnTo>
                  <a:lnTo>
                    <a:pt x="164" y="1063"/>
                  </a:lnTo>
                  <a:lnTo>
                    <a:pt x="158" y="1060"/>
                  </a:lnTo>
                  <a:lnTo>
                    <a:pt x="156" y="1059"/>
                  </a:lnTo>
                  <a:lnTo>
                    <a:pt x="155" y="1057"/>
                  </a:lnTo>
                  <a:lnTo>
                    <a:pt x="154" y="1056"/>
                  </a:lnTo>
                  <a:lnTo>
                    <a:pt x="153" y="1053"/>
                  </a:lnTo>
                  <a:lnTo>
                    <a:pt x="151" y="1040"/>
                  </a:lnTo>
                  <a:lnTo>
                    <a:pt x="148" y="1029"/>
                  </a:lnTo>
                  <a:lnTo>
                    <a:pt x="147" y="1024"/>
                  </a:lnTo>
                  <a:lnTo>
                    <a:pt x="147" y="1019"/>
                  </a:lnTo>
                  <a:lnTo>
                    <a:pt x="149" y="1015"/>
                  </a:lnTo>
                  <a:lnTo>
                    <a:pt x="153" y="1010"/>
                  </a:lnTo>
                  <a:lnTo>
                    <a:pt x="126" y="1010"/>
                  </a:lnTo>
                  <a:lnTo>
                    <a:pt x="133" y="992"/>
                  </a:lnTo>
                  <a:lnTo>
                    <a:pt x="120" y="989"/>
                  </a:lnTo>
                  <a:lnTo>
                    <a:pt x="106" y="985"/>
                  </a:lnTo>
                  <a:lnTo>
                    <a:pt x="108" y="979"/>
                  </a:lnTo>
                  <a:lnTo>
                    <a:pt x="110" y="973"/>
                  </a:lnTo>
                  <a:lnTo>
                    <a:pt x="112" y="969"/>
                  </a:lnTo>
                  <a:lnTo>
                    <a:pt x="114" y="965"/>
                  </a:lnTo>
                  <a:lnTo>
                    <a:pt x="121" y="958"/>
                  </a:lnTo>
                  <a:lnTo>
                    <a:pt x="127" y="954"/>
                  </a:lnTo>
                  <a:lnTo>
                    <a:pt x="134" y="950"/>
                  </a:lnTo>
                  <a:lnTo>
                    <a:pt x="140" y="947"/>
                  </a:lnTo>
                  <a:lnTo>
                    <a:pt x="147" y="942"/>
                  </a:lnTo>
                  <a:lnTo>
                    <a:pt x="153" y="936"/>
                  </a:lnTo>
                  <a:lnTo>
                    <a:pt x="149" y="932"/>
                  </a:lnTo>
                  <a:lnTo>
                    <a:pt x="148" y="929"/>
                  </a:lnTo>
                  <a:lnTo>
                    <a:pt x="147" y="927"/>
                  </a:lnTo>
                  <a:lnTo>
                    <a:pt x="147" y="925"/>
                  </a:lnTo>
                  <a:lnTo>
                    <a:pt x="148" y="923"/>
                  </a:lnTo>
                  <a:lnTo>
                    <a:pt x="149" y="921"/>
                  </a:lnTo>
                  <a:lnTo>
                    <a:pt x="151" y="919"/>
                  </a:lnTo>
                  <a:lnTo>
                    <a:pt x="155" y="917"/>
                  </a:lnTo>
                  <a:lnTo>
                    <a:pt x="161" y="914"/>
                  </a:lnTo>
                  <a:lnTo>
                    <a:pt x="170" y="910"/>
                  </a:lnTo>
                  <a:lnTo>
                    <a:pt x="178" y="905"/>
                  </a:lnTo>
                  <a:lnTo>
                    <a:pt x="187" y="899"/>
                  </a:lnTo>
                  <a:lnTo>
                    <a:pt x="191" y="901"/>
                  </a:lnTo>
                  <a:lnTo>
                    <a:pt x="196" y="902"/>
                  </a:lnTo>
                  <a:lnTo>
                    <a:pt x="203" y="901"/>
                  </a:lnTo>
                  <a:lnTo>
                    <a:pt x="209" y="900"/>
                  </a:lnTo>
                  <a:lnTo>
                    <a:pt x="215" y="898"/>
                  </a:lnTo>
                  <a:lnTo>
                    <a:pt x="221" y="896"/>
                  </a:lnTo>
                  <a:lnTo>
                    <a:pt x="227" y="893"/>
                  </a:lnTo>
                  <a:lnTo>
                    <a:pt x="233" y="889"/>
                  </a:lnTo>
                  <a:lnTo>
                    <a:pt x="243" y="881"/>
                  </a:lnTo>
                  <a:lnTo>
                    <a:pt x="251" y="872"/>
                  </a:lnTo>
                  <a:lnTo>
                    <a:pt x="255" y="868"/>
                  </a:lnTo>
                  <a:lnTo>
                    <a:pt x="257" y="863"/>
                  </a:lnTo>
                  <a:lnTo>
                    <a:pt x="259" y="859"/>
                  </a:lnTo>
                  <a:lnTo>
                    <a:pt x="259" y="856"/>
                  </a:lnTo>
                  <a:lnTo>
                    <a:pt x="259" y="851"/>
                  </a:lnTo>
                  <a:lnTo>
                    <a:pt x="258" y="847"/>
                  </a:lnTo>
                  <a:lnTo>
                    <a:pt x="256" y="843"/>
                  </a:lnTo>
                  <a:lnTo>
                    <a:pt x="254" y="840"/>
                  </a:lnTo>
                  <a:lnTo>
                    <a:pt x="248" y="832"/>
                  </a:lnTo>
                  <a:lnTo>
                    <a:pt x="243" y="826"/>
                  </a:lnTo>
                  <a:lnTo>
                    <a:pt x="236" y="818"/>
                  </a:lnTo>
                  <a:lnTo>
                    <a:pt x="232" y="811"/>
                  </a:lnTo>
                  <a:lnTo>
                    <a:pt x="229" y="807"/>
                  </a:lnTo>
                  <a:lnTo>
                    <a:pt x="227" y="803"/>
                  </a:lnTo>
                  <a:lnTo>
                    <a:pt x="226" y="799"/>
                  </a:lnTo>
                  <a:lnTo>
                    <a:pt x="226" y="794"/>
                  </a:lnTo>
                  <a:lnTo>
                    <a:pt x="226" y="789"/>
                  </a:lnTo>
                  <a:lnTo>
                    <a:pt x="227" y="784"/>
                  </a:lnTo>
                  <a:lnTo>
                    <a:pt x="228" y="780"/>
                  </a:lnTo>
                  <a:lnTo>
                    <a:pt x="231" y="776"/>
                  </a:lnTo>
                  <a:lnTo>
                    <a:pt x="234" y="770"/>
                  </a:lnTo>
                  <a:lnTo>
                    <a:pt x="239" y="763"/>
                  </a:lnTo>
                  <a:lnTo>
                    <a:pt x="244" y="757"/>
                  </a:lnTo>
                  <a:lnTo>
                    <a:pt x="248" y="751"/>
                  </a:lnTo>
                  <a:lnTo>
                    <a:pt x="250" y="747"/>
                  </a:lnTo>
                  <a:lnTo>
                    <a:pt x="251" y="743"/>
                  </a:lnTo>
                  <a:lnTo>
                    <a:pt x="252" y="738"/>
                  </a:lnTo>
                  <a:lnTo>
                    <a:pt x="252" y="733"/>
                  </a:lnTo>
                  <a:lnTo>
                    <a:pt x="252" y="724"/>
                  </a:lnTo>
                  <a:lnTo>
                    <a:pt x="251" y="716"/>
                  </a:lnTo>
                  <a:lnTo>
                    <a:pt x="249" y="707"/>
                  </a:lnTo>
                  <a:lnTo>
                    <a:pt x="247" y="700"/>
                  </a:lnTo>
                  <a:lnTo>
                    <a:pt x="242" y="686"/>
                  </a:lnTo>
                  <a:lnTo>
                    <a:pt x="234" y="674"/>
                  </a:lnTo>
                  <a:lnTo>
                    <a:pt x="218" y="653"/>
                  </a:lnTo>
                  <a:lnTo>
                    <a:pt x="206" y="634"/>
                  </a:lnTo>
                  <a:lnTo>
                    <a:pt x="200" y="634"/>
                  </a:lnTo>
                  <a:lnTo>
                    <a:pt x="194" y="635"/>
                  </a:lnTo>
                  <a:lnTo>
                    <a:pt x="190" y="637"/>
                  </a:lnTo>
                  <a:lnTo>
                    <a:pt x="186" y="639"/>
                  </a:lnTo>
                  <a:lnTo>
                    <a:pt x="177" y="644"/>
                  </a:lnTo>
                  <a:lnTo>
                    <a:pt x="168" y="649"/>
                  </a:lnTo>
                  <a:lnTo>
                    <a:pt x="159" y="656"/>
                  </a:lnTo>
                  <a:lnTo>
                    <a:pt x="148" y="661"/>
                  </a:lnTo>
                  <a:lnTo>
                    <a:pt x="142" y="662"/>
                  </a:lnTo>
                  <a:lnTo>
                    <a:pt x="135" y="664"/>
                  </a:lnTo>
                  <a:lnTo>
                    <a:pt x="128" y="665"/>
                  </a:lnTo>
                  <a:lnTo>
                    <a:pt x="120" y="665"/>
                  </a:lnTo>
                  <a:lnTo>
                    <a:pt x="113" y="663"/>
                  </a:lnTo>
                  <a:lnTo>
                    <a:pt x="104" y="658"/>
                  </a:lnTo>
                  <a:lnTo>
                    <a:pt x="100" y="656"/>
                  </a:lnTo>
                  <a:lnTo>
                    <a:pt x="97" y="652"/>
                  </a:lnTo>
                  <a:lnTo>
                    <a:pt x="94" y="649"/>
                  </a:lnTo>
                  <a:lnTo>
                    <a:pt x="93" y="646"/>
                  </a:lnTo>
                  <a:lnTo>
                    <a:pt x="93" y="640"/>
                  </a:lnTo>
                  <a:lnTo>
                    <a:pt x="95" y="633"/>
                  </a:lnTo>
                  <a:lnTo>
                    <a:pt x="98" y="628"/>
                  </a:lnTo>
                  <a:lnTo>
                    <a:pt x="100" y="622"/>
                  </a:lnTo>
                  <a:lnTo>
                    <a:pt x="102" y="616"/>
                  </a:lnTo>
                  <a:lnTo>
                    <a:pt x="104" y="610"/>
                  </a:lnTo>
                  <a:lnTo>
                    <a:pt x="105" y="604"/>
                  </a:lnTo>
                  <a:lnTo>
                    <a:pt x="106" y="597"/>
                  </a:lnTo>
                  <a:lnTo>
                    <a:pt x="86" y="597"/>
                  </a:lnTo>
                  <a:lnTo>
                    <a:pt x="64" y="597"/>
                  </a:lnTo>
                  <a:lnTo>
                    <a:pt x="35" y="597"/>
                  </a:lnTo>
                  <a:lnTo>
                    <a:pt x="0" y="597"/>
                  </a:lnTo>
                  <a:lnTo>
                    <a:pt x="585" y="117"/>
                  </a:lnTo>
                  <a:lnTo>
                    <a:pt x="594" y="116"/>
                  </a:lnTo>
                  <a:lnTo>
                    <a:pt x="602" y="114"/>
                  </a:lnTo>
                  <a:lnTo>
                    <a:pt x="612" y="112"/>
                  </a:lnTo>
                  <a:lnTo>
                    <a:pt x="625" y="111"/>
                  </a:lnTo>
                  <a:lnTo>
                    <a:pt x="635" y="111"/>
                  </a:lnTo>
                  <a:lnTo>
                    <a:pt x="643" y="113"/>
                  </a:lnTo>
                  <a:lnTo>
                    <a:pt x="651" y="116"/>
                  </a:lnTo>
                  <a:lnTo>
                    <a:pt x="659" y="119"/>
                  </a:lnTo>
                  <a:lnTo>
                    <a:pt x="674" y="128"/>
                  </a:lnTo>
                  <a:lnTo>
                    <a:pt x="687" y="138"/>
                  </a:lnTo>
                  <a:lnTo>
                    <a:pt x="702" y="148"/>
                  </a:lnTo>
                  <a:lnTo>
                    <a:pt x="716" y="158"/>
                  </a:lnTo>
                  <a:lnTo>
                    <a:pt x="724" y="161"/>
                  </a:lnTo>
                  <a:lnTo>
                    <a:pt x="732" y="164"/>
                  </a:lnTo>
                  <a:lnTo>
                    <a:pt x="741" y="166"/>
                  </a:lnTo>
                  <a:lnTo>
                    <a:pt x="751" y="166"/>
                  </a:lnTo>
                  <a:lnTo>
                    <a:pt x="943" y="111"/>
                  </a:lnTo>
                  <a:lnTo>
                    <a:pt x="1096" y="111"/>
                  </a:lnTo>
                  <a:lnTo>
                    <a:pt x="1103" y="112"/>
                  </a:lnTo>
                  <a:lnTo>
                    <a:pt x="1110" y="113"/>
                  </a:lnTo>
                  <a:lnTo>
                    <a:pt x="1117" y="113"/>
                  </a:lnTo>
                  <a:lnTo>
                    <a:pt x="1123" y="113"/>
                  </a:lnTo>
                  <a:lnTo>
                    <a:pt x="1135" y="110"/>
                  </a:lnTo>
                  <a:lnTo>
                    <a:pt x="1146" y="105"/>
                  </a:lnTo>
                  <a:lnTo>
                    <a:pt x="1157" y="100"/>
                  </a:lnTo>
                  <a:lnTo>
                    <a:pt x="1169" y="93"/>
                  </a:lnTo>
                  <a:lnTo>
                    <a:pt x="1181" y="89"/>
                  </a:lnTo>
                  <a:lnTo>
                    <a:pt x="1196" y="85"/>
                  </a:lnTo>
                  <a:lnTo>
                    <a:pt x="1195" y="90"/>
                  </a:lnTo>
                  <a:lnTo>
                    <a:pt x="1195" y="94"/>
                  </a:lnTo>
                  <a:lnTo>
                    <a:pt x="1195" y="100"/>
                  </a:lnTo>
                  <a:lnTo>
                    <a:pt x="1196" y="104"/>
                  </a:lnTo>
                  <a:lnTo>
                    <a:pt x="1198" y="112"/>
                  </a:lnTo>
                  <a:lnTo>
                    <a:pt x="1202" y="120"/>
                  </a:lnTo>
                  <a:lnTo>
                    <a:pt x="1208" y="126"/>
                  </a:lnTo>
                  <a:lnTo>
                    <a:pt x="1214" y="131"/>
                  </a:lnTo>
                  <a:lnTo>
                    <a:pt x="1218" y="132"/>
                  </a:lnTo>
                  <a:lnTo>
                    <a:pt x="1222" y="134"/>
                  </a:lnTo>
                  <a:lnTo>
                    <a:pt x="1225" y="135"/>
                  </a:lnTo>
                  <a:lnTo>
                    <a:pt x="1230" y="135"/>
                  </a:lnTo>
                  <a:lnTo>
                    <a:pt x="1238" y="134"/>
                  </a:lnTo>
                  <a:lnTo>
                    <a:pt x="1247" y="133"/>
                  </a:lnTo>
                  <a:lnTo>
                    <a:pt x="1255" y="131"/>
                  </a:lnTo>
                  <a:lnTo>
                    <a:pt x="1263" y="128"/>
                  </a:lnTo>
                  <a:lnTo>
                    <a:pt x="1278" y="122"/>
                  </a:lnTo>
                  <a:lnTo>
                    <a:pt x="1296" y="117"/>
                  </a:lnTo>
                  <a:lnTo>
                    <a:pt x="1298" y="119"/>
                  </a:lnTo>
                  <a:lnTo>
                    <a:pt x="1300" y="120"/>
                  </a:lnTo>
                  <a:lnTo>
                    <a:pt x="1303" y="122"/>
                  </a:lnTo>
                  <a:lnTo>
                    <a:pt x="1308" y="123"/>
                  </a:lnTo>
                  <a:lnTo>
                    <a:pt x="1319" y="124"/>
                  </a:lnTo>
                  <a:lnTo>
                    <a:pt x="1331" y="124"/>
                  </a:lnTo>
                  <a:lnTo>
                    <a:pt x="1343" y="123"/>
                  </a:lnTo>
                  <a:lnTo>
                    <a:pt x="1355" y="121"/>
                  </a:lnTo>
                  <a:lnTo>
                    <a:pt x="1367" y="119"/>
                  </a:lnTo>
                  <a:lnTo>
                    <a:pt x="1376" y="117"/>
                  </a:lnTo>
                  <a:lnTo>
                    <a:pt x="1386" y="116"/>
                  </a:lnTo>
                  <a:lnTo>
                    <a:pt x="1397" y="114"/>
                  </a:lnTo>
                  <a:lnTo>
                    <a:pt x="1405" y="112"/>
                  </a:lnTo>
                  <a:lnTo>
                    <a:pt x="1409" y="111"/>
                  </a:lnTo>
                  <a:lnTo>
                    <a:pt x="1424" y="112"/>
                  </a:lnTo>
                  <a:lnTo>
                    <a:pt x="1450" y="117"/>
                  </a:lnTo>
                  <a:lnTo>
                    <a:pt x="1483" y="123"/>
                  </a:lnTo>
                  <a:lnTo>
                    <a:pt x="1520" y="131"/>
                  </a:lnTo>
                  <a:lnTo>
                    <a:pt x="1557" y="140"/>
                  </a:lnTo>
                  <a:lnTo>
                    <a:pt x="1592" y="149"/>
                  </a:lnTo>
                  <a:lnTo>
                    <a:pt x="1621" y="159"/>
                  </a:lnTo>
                  <a:lnTo>
                    <a:pt x="1641" y="166"/>
                  </a:lnTo>
                  <a:lnTo>
                    <a:pt x="1632" y="174"/>
                  </a:lnTo>
                  <a:lnTo>
                    <a:pt x="1623" y="179"/>
                  </a:lnTo>
                  <a:lnTo>
                    <a:pt x="1615" y="183"/>
                  </a:lnTo>
                  <a:lnTo>
                    <a:pt x="1607" y="187"/>
                  </a:lnTo>
                  <a:lnTo>
                    <a:pt x="1601" y="189"/>
                  </a:lnTo>
                  <a:lnTo>
                    <a:pt x="1592" y="193"/>
                  </a:lnTo>
                  <a:lnTo>
                    <a:pt x="1584" y="197"/>
                  </a:lnTo>
                  <a:lnTo>
                    <a:pt x="1574" y="202"/>
                  </a:lnTo>
                  <a:lnTo>
                    <a:pt x="1591" y="209"/>
                  </a:lnTo>
                  <a:lnTo>
                    <a:pt x="1606" y="215"/>
                  </a:lnTo>
                  <a:lnTo>
                    <a:pt x="1621" y="219"/>
                  </a:lnTo>
                  <a:lnTo>
                    <a:pt x="1635" y="222"/>
                  </a:lnTo>
                  <a:lnTo>
                    <a:pt x="1648" y="225"/>
                  </a:lnTo>
                  <a:lnTo>
                    <a:pt x="1662" y="226"/>
                  </a:lnTo>
                  <a:lnTo>
                    <a:pt x="1678" y="227"/>
                  </a:lnTo>
                  <a:lnTo>
                    <a:pt x="1694" y="228"/>
                  </a:lnTo>
                  <a:lnTo>
                    <a:pt x="1711" y="227"/>
                  </a:lnTo>
                  <a:lnTo>
                    <a:pt x="1725" y="224"/>
                  </a:lnTo>
                  <a:lnTo>
                    <a:pt x="1737" y="220"/>
                  </a:lnTo>
                  <a:lnTo>
                    <a:pt x="1749" y="216"/>
                  </a:lnTo>
                  <a:lnTo>
                    <a:pt x="1760" y="211"/>
                  </a:lnTo>
                  <a:lnTo>
                    <a:pt x="1771" y="206"/>
                  </a:lnTo>
                  <a:lnTo>
                    <a:pt x="1782" y="203"/>
                  </a:lnTo>
                  <a:lnTo>
                    <a:pt x="1794" y="202"/>
                  </a:lnTo>
                  <a:lnTo>
                    <a:pt x="1800" y="203"/>
                  </a:lnTo>
                  <a:lnTo>
                    <a:pt x="1805" y="204"/>
                  </a:lnTo>
                  <a:lnTo>
                    <a:pt x="1811" y="206"/>
                  </a:lnTo>
                  <a:lnTo>
                    <a:pt x="1816" y="209"/>
                  </a:lnTo>
                  <a:lnTo>
                    <a:pt x="1825" y="217"/>
                  </a:lnTo>
                  <a:lnTo>
                    <a:pt x="1833" y="225"/>
                  </a:lnTo>
                  <a:lnTo>
                    <a:pt x="1841" y="232"/>
                  </a:lnTo>
                  <a:lnTo>
                    <a:pt x="1849" y="239"/>
                  </a:lnTo>
                  <a:lnTo>
                    <a:pt x="1853" y="242"/>
                  </a:lnTo>
                  <a:lnTo>
                    <a:pt x="1858" y="244"/>
                  </a:lnTo>
                  <a:lnTo>
                    <a:pt x="1862" y="245"/>
                  </a:lnTo>
                  <a:lnTo>
                    <a:pt x="1867" y="246"/>
                  </a:lnTo>
                  <a:lnTo>
                    <a:pt x="1880" y="202"/>
                  </a:lnTo>
                  <a:lnTo>
                    <a:pt x="2006" y="178"/>
                  </a:lnTo>
                  <a:lnTo>
                    <a:pt x="2016" y="179"/>
                  </a:lnTo>
                  <a:lnTo>
                    <a:pt x="2026" y="180"/>
                  </a:lnTo>
                  <a:lnTo>
                    <a:pt x="2035" y="181"/>
                  </a:lnTo>
                  <a:lnTo>
                    <a:pt x="2043" y="183"/>
                  </a:lnTo>
                  <a:lnTo>
                    <a:pt x="2060" y="188"/>
                  </a:lnTo>
                  <a:lnTo>
                    <a:pt x="2076" y="193"/>
                  </a:lnTo>
                  <a:lnTo>
                    <a:pt x="2093" y="199"/>
                  </a:lnTo>
                  <a:lnTo>
                    <a:pt x="2109" y="204"/>
                  </a:lnTo>
                  <a:lnTo>
                    <a:pt x="2118" y="206"/>
                  </a:lnTo>
                  <a:lnTo>
                    <a:pt x="2127" y="207"/>
                  </a:lnTo>
                  <a:lnTo>
                    <a:pt x="2137" y="208"/>
                  </a:lnTo>
                  <a:lnTo>
                    <a:pt x="2147" y="208"/>
                  </a:lnTo>
                  <a:lnTo>
                    <a:pt x="2162" y="208"/>
                  </a:lnTo>
                  <a:lnTo>
                    <a:pt x="2173" y="207"/>
                  </a:lnTo>
                  <a:lnTo>
                    <a:pt x="2183" y="205"/>
                  </a:lnTo>
                  <a:lnTo>
                    <a:pt x="2190" y="202"/>
                  </a:lnTo>
                  <a:lnTo>
                    <a:pt x="2198" y="200"/>
                  </a:lnTo>
                  <a:lnTo>
                    <a:pt x="2206" y="198"/>
                  </a:lnTo>
                  <a:lnTo>
                    <a:pt x="2215" y="197"/>
                  </a:lnTo>
                  <a:lnTo>
                    <a:pt x="2226" y="196"/>
                  </a:lnTo>
                  <a:lnTo>
                    <a:pt x="2235" y="197"/>
                  </a:lnTo>
                  <a:lnTo>
                    <a:pt x="2244" y="199"/>
                  </a:lnTo>
                  <a:lnTo>
                    <a:pt x="2253" y="202"/>
                  </a:lnTo>
                  <a:lnTo>
                    <a:pt x="2261" y="205"/>
                  </a:lnTo>
                  <a:lnTo>
                    <a:pt x="2267" y="209"/>
                  </a:lnTo>
                  <a:lnTo>
                    <a:pt x="2274" y="213"/>
                  </a:lnTo>
                  <a:lnTo>
                    <a:pt x="2280" y="215"/>
                  </a:lnTo>
                  <a:lnTo>
                    <a:pt x="2286" y="216"/>
                  </a:lnTo>
                  <a:lnTo>
                    <a:pt x="2290" y="215"/>
                  </a:lnTo>
                  <a:lnTo>
                    <a:pt x="2296" y="213"/>
                  </a:lnTo>
                  <a:lnTo>
                    <a:pt x="2300" y="211"/>
                  </a:lnTo>
                  <a:lnTo>
                    <a:pt x="2305" y="206"/>
                  </a:lnTo>
                  <a:lnTo>
                    <a:pt x="2309" y="202"/>
                  </a:lnTo>
                  <a:lnTo>
                    <a:pt x="2312" y="197"/>
                  </a:lnTo>
                  <a:lnTo>
                    <a:pt x="2316" y="191"/>
                  </a:lnTo>
                  <a:lnTo>
                    <a:pt x="2319" y="184"/>
                  </a:lnTo>
                  <a:lnTo>
                    <a:pt x="2326" y="183"/>
                  </a:lnTo>
                  <a:lnTo>
                    <a:pt x="2334" y="180"/>
                  </a:lnTo>
                  <a:lnTo>
                    <a:pt x="2339" y="179"/>
                  </a:lnTo>
                  <a:lnTo>
                    <a:pt x="2342" y="177"/>
                  </a:lnTo>
                  <a:lnTo>
                    <a:pt x="2344" y="174"/>
                  </a:lnTo>
                  <a:lnTo>
                    <a:pt x="2345" y="172"/>
                  </a:lnTo>
                  <a:lnTo>
                    <a:pt x="2378" y="172"/>
                  </a:lnTo>
                  <a:lnTo>
                    <a:pt x="2376" y="178"/>
                  </a:lnTo>
                  <a:lnTo>
                    <a:pt x="2372" y="185"/>
                  </a:lnTo>
                  <a:lnTo>
                    <a:pt x="2369" y="189"/>
                  </a:lnTo>
                  <a:lnTo>
                    <a:pt x="2367" y="193"/>
                  </a:lnTo>
                  <a:lnTo>
                    <a:pt x="2366" y="198"/>
                  </a:lnTo>
                  <a:lnTo>
                    <a:pt x="2365" y="202"/>
                  </a:lnTo>
                  <a:lnTo>
                    <a:pt x="2365" y="216"/>
                  </a:lnTo>
                  <a:lnTo>
                    <a:pt x="2365" y="228"/>
                  </a:lnTo>
                  <a:lnTo>
                    <a:pt x="2405" y="228"/>
                  </a:lnTo>
                  <a:lnTo>
                    <a:pt x="2401" y="213"/>
                  </a:lnTo>
                  <a:lnTo>
                    <a:pt x="2400" y="203"/>
                  </a:lnTo>
                  <a:lnTo>
                    <a:pt x="2401" y="195"/>
                  </a:lnTo>
                  <a:lnTo>
                    <a:pt x="2405" y="184"/>
                  </a:lnTo>
                  <a:lnTo>
                    <a:pt x="2430" y="184"/>
                  </a:lnTo>
                  <a:lnTo>
                    <a:pt x="2454" y="182"/>
                  </a:lnTo>
                  <a:lnTo>
                    <a:pt x="2465" y="180"/>
                  </a:lnTo>
                  <a:lnTo>
                    <a:pt x="2476" y="178"/>
                  </a:lnTo>
                  <a:lnTo>
                    <a:pt x="2487" y="175"/>
                  </a:lnTo>
                  <a:lnTo>
                    <a:pt x="2497" y="172"/>
                  </a:lnTo>
                  <a:lnTo>
                    <a:pt x="2506" y="168"/>
                  </a:lnTo>
                  <a:lnTo>
                    <a:pt x="2513" y="164"/>
                  </a:lnTo>
                  <a:lnTo>
                    <a:pt x="2521" y="159"/>
                  </a:lnTo>
                  <a:lnTo>
                    <a:pt x="2526" y="153"/>
                  </a:lnTo>
                  <a:lnTo>
                    <a:pt x="2532" y="146"/>
                  </a:lnTo>
                  <a:lnTo>
                    <a:pt x="2535" y="139"/>
                  </a:lnTo>
                  <a:lnTo>
                    <a:pt x="2537" y="131"/>
                  </a:lnTo>
                  <a:lnTo>
                    <a:pt x="2539" y="123"/>
                  </a:lnTo>
                  <a:lnTo>
                    <a:pt x="2532" y="123"/>
                  </a:lnTo>
                  <a:lnTo>
                    <a:pt x="2518" y="123"/>
                  </a:lnTo>
                  <a:lnTo>
                    <a:pt x="2501" y="123"/>
                  </a:lnTo>
                  <a:lnTo>
                    <a:pt x="2491" y="123"/>
                  </a:lnTo>
                  <a:lnTo>
                    <a:pt x="2487" y="120"/>
                  </a:lnTo>
                  <a:lnTo>
                    <a:pt x="2483" y="115"/>
                  </a:lnTo>
                  <a:lnTo>
                    <a:pt x="2479" y="110"/>
                  </a:lnTo>
                  <a:lnTo>
                    <a:pt x="2477" y="105"/>
                  </a:lnTo>
                  <a:lnTo>
                    <a:pt x="2473" y="93"/>
                  </a:lnTo>
                  <a:lnTo>
                    <a:pt x="2472" y="85"/>
                  </a:lnTo>
                  <a:lnTo>
                    <a:pt x="2473" y="81"/>
                  </a:lnTo>
                  <a:lnTo>
                    <a:pt x="2476" y="75"/>
                  </a:lnTo>
                  <a:lnTo>
                    <a:pt x="2480" y="69"/>
                  </a:lnTo>
                  <a:lnTo>
                    <a:pt x="2487" y="62"/>
                  </a:lnTo>
                  <a:lnTo>
                    <a:pt x="2495" y="55"/>
                  </a:lnTo>
                  <a:lnTo>
                    <a:pt x="2503" y="48"/>
                  </a:lnTo>
                  <a:lnTo>
                    <a:pt x="2512" y="40"/>
                  </a:lnTo>
                  <a:lnTo>
                    <a:pt x="2523" y="33"/>
                  </a:lnTo>
                  <a:lnTo>
                    <a:pt x="2534" y="26"/>
                  </a:lnTo>
                  <a:lnTo>
                    <a:pt x="2545" y="20"/>
                  </a:lnTo>
                  <a:lnTo>
                    <a:pt x="2556" y="15"/>
                  </a:lnTo>
                  <a:lnTo>
                    <a:pt x="2567" y="10"/>
                  </a:lnTo>
                  <a:lnTo>
                    <a:pt x="2577" y="6"/>
                  </a:lnTo>
                  <a:lnTo>
                    <a:pt x="2587" y="2"/>
                  </a:lnTo>
                  <a:lnTo>
                    <a:pt x="2597" y="0"/>
                  </a:lnTo>
                  <a:lnTo>
                    <a:pt x="2604" y="0"/>
                  </a:lnTo>
                  <a:lnTo>
                    <a:pt x="2611" y="0"/>
                  </a:lnTo>
                  <a:lnTo>
                    <a:pt x="2621" y="0"/>
                  </a:lnTo>
                  <a:lnTo>
                    <a:pt x="2631" y="0"/>
                  </a:lnTo>
                  <a:lnTo>
                    <a:pt x="2637" y="0"/>
                  </a:lnTo>
                  <a:lnTo>
                    <a:pt x="2638" y="8"/>
                  </a:lnTo>
                  <a:lnTo>
                    <a:pt x="2638" y="16"/>
                  </a:lnTo>
                  <a:lnTo>
                    <a:pt x="2640" y="24"/>
                  </a:lnTo>
                  <a:lnTo>
                    <a:pt x="2642" y="30"/>
                  </a:lnTo>
                  <a:lnTo>
                    <a:pt x="2646" y="42"/>
                  </a:lnTo>
                  <a:lnTo>
                    <a:pt x="2651" y="53"/>
                  </a:lnTo>
                  <a:lnTo>
                    <a:pt x="2656" y="62"/>
                  </a:lnTo>
                  <a:lnTo>
                    <a:pt x="2660" y="71"/>
                  </a:lnTo>
                  <a:lnTo>
                    <a:pt x="2663" y="81"/>
                  </a:lnTo>
                  <a:lnTo>
                    <a:pt x="2664" y="91"/>
                  </a:lnTo>
                  <a:lnTo>
                    <a:pt x="2664" y="95"/>
                  </a:lnTo>
                  <a:lnTo>
                    <a:pt x="2663" y="97"/>
                  </a:lnTo>
                  <a:lnTo>
                    <a:pt x="2660" y="100"/>
                  </a:lnTo>
                  <a:lnTo>
                    <a:pt x="2658" y="101"/>
                  </a:lnTo>
                  <a:lnTo>
                    <a:pt x="2652" y="103"/>
                  </a:lnTo>
                  <a:lnTo>
                    <a:pt x="2644" y="105"/>
                  </a:lnTo>
                  <a:lnTo>
                    <a:pt x="2635" y="106"/>
                  </a:lnTo>
                  <a:lnTo>
                    <a:pt x="2627" y="108"/>
                  </a:lnTo>
                  <a:lnTo>
                    <a:pt x="2624" y="109"/>
                  </a:lnTo>
                  <a:lnTo>
                    <a:pt x="2622" y="111"/>
                  </a:lnTo>
                  <a:lnTo>
                    <a:pt x="2620" y="114"/>
                  </a:lnTo>
                  <a:lnTo>
                    <a:pt x="2618" y="117"/>
                  </a:lnTo>
                  <a:lnTo>
                    <a:pt x="2627" y="118"/>
                  </a:lnTo>
                  <a:lnTo>
                    <a:pt x="2637" y="120"/>
                  </a:lnTo>
                  <a:lnTo>
                    <a:pt x="2647" y="122"/>
                  </a:lnTo>
                  <a:lnTo>
                    <a:pt x="2657" y="123"/>
                  </a:lnTo>
                  <a:lnTo>
                    <a:pt x="2653" y="127"/>
                  </a:lnTo>
                  <a:lnTo>
                    <a:pt x="2649" y="132"/>
                  </a:lnTo>
                  <a:lnTo>
                    <a:pt x="2647" y="137"/>
                  </a:lnTo>
                  <a:lnTo>
                    <a:pt x="2646" y="142"/>
                  </a:lnTo>
                  <a:lnTo>
                    <a:pt x="2644" y="153"/>
                  </a:lnTo>
                  <a:lnTo>
                    <a:pt x="2644" y="166"/>
                  </a:lnTo>
                  <a:lnTo>
                    <a:pt x="2645" y="168"/>
                  </a:lnTo>
                  <a:lnTo>
                    <a:pt x="2646" y="169"/>
                  </a:lnTo>
                  <a:lnTo>
                    <a:pt x="2648" y="169"/>
                  </a:lnTo>
                  <a:lnTo>
                    <a:pt x="2652" y="168"/>
                  </a:lnTo>
                  <a:lnTo>
                    <a:pt x="2658" y="167"/>
                  </a:lnTo>
                  <a:lnTo>
                    <a:pt x="2664" y="166"/>
                  </a:lnTo>
                  <a:lnTo>
                    <a:pt x="2664" y="160"/>
                  </a:lnTo>
                  <a:lnTo>
                    <a:pt x="2664" y="153"/>
                  </a:lnTo>
                  <a:lnTo>
                    <a:pt x="2672" y="151"/>
                  </a:lnTo>
                  <a:lnTo>
                    <a:pt x="2680" y="148"/>
                  </a:lnTo>
                  <a:lnTo>
                    <a:pt x="2685" y="145"/>
                  </a:lnTo>
                  <a:lnTo>
                    <a:pt x="2689" y="142"/>
                  </a:lnTo>
                  <a:lnTo>
                    <a:pt x="2692" y="139"/>
                  </a:lnTo>
                  <a:lnTo>
                    <a:pt x="2696" y="137"/>
                  </a:lnTo>
                  <a:lnTo>
                    <a:pt x="2700" y="135"/>
                  </a:lnTo>
                  <a:lnTo>
                    <a:pt x="2704" y="135"/>
                  </a:lnTo>
                  <a:lnTo>
                    <a:pt x="2709" y="137"/>
                  </a:lnTo>
                  <a:lnTo>
                    <a:pt x="2715" y="138"/>
                  </a:lnTo>
                  <a:lnTo>
                    <a:pt x="2724" y="139"/>
                  </a:lnTo>
                  <a:lnTo>
                    <a:pt x="2733" y="140"/>
                  </a:lnTo>
                  <a:lnTo>
                    <a:pt x="2749" y="141"/>
                  </a:lnTo>
                  <a:lnTo>
                    <a:pt x="2757" y="141"/>
                  </a:lnTo>
                  <a:lnTo>
                    <a:pt x="2752" y="153"/>
                  </a:lnTo>
                  <a:lnTo>
                    <a:pt x="2745" y="164"/>
                  </a:lnTo>
                  <a:lnTo>
                    <a:pt x="2738" y="173"/>
                  </a:lnTo>
                  <a:lnTo>
                    <a:pt x="2731" y="180"/>
                  </a:lnTo>
                  <a:lnTo>
                    <a:pt x="2723" y="188"/>
                  </a:lnTo>
                  <a:lnTo>
                    <a:pt x="2716" y="196"/>
                  </a:lnTo>
                  <a:lnTo>
                    <a:pt x="2710" y="204"/>
                  </a:lnTo>
                  <a:lnTo>
                    <a:pt x="2704" y="216"/>
                  </a:lnTo>
                  <a:lnTo>
                    <a:pt x="2712" y="217"/>
                  </a:lnTo>
                  <a:lnTo>
                    <a:pt x="2719" y="218"/>
                  </a:lnTo>
                  <a:lnTo>
                    <a:pt x="2725" y="218"/>
                  </a:lnTo>
                  <a:lnTo>
                    <a:pt x="2732" y="218"/>
                  </a:lnTo>
                  <a:lnTo>
                    <a:pt x="2744" y="216"/>
                  </a:lnTo>
                  <a:lnTo>
                    <a:pt x="2750" y="216"/>
                  </a:lnTo>
                  <a:lnTo>
                    <a:pt x="2780" y="194"/>
                  </a:lnTo>
                  <a:lnTo>
                    <a:pt x="2810" y="172"/>
                  </a:lnTo>
                  <a:lnTo>
                    <a:pt x="2817" y="167"/>
                  </a:lnTo>
                  <a:lnTo>
                    <a:pt x="2825" y="163"/>
                  </a:lnTo>
                  <a:lnTo>
                    <a:pt x="2834" y="159"/>
                  </a:lnTo>
                  <a:lnTo>
                    <a:pt x="2843" y="155"/>
                  </a:lnTo>
                  <a:lnTo>
                    <a:pt x="2853" y="151"/>
                  </a:lnTo>
                  <a:lnTo>
                    <a:pt x="2862" y="149"/>
                  </a:lnTo>
                  <a:lnTo>
                    <a:pt x="2872" y="147"/>
                  </a:lnTo>
                  <a:lnTo>
                    <a:pt x="2883" y="147"/>
                  </a:lnTo>
                  <a:lnTo>
                    <a:pt x="2884" y="139"/>
                  </a:lnTo>
                  <a:lnTo>
                    <a:pt x="2885" y="132"/>
                  </a:lnTo>
                  <a:lnTo>
                    <a:pt x="2888" y="126"/>
                  </a:lnTo>
                  <a:lnTo>
                    <a:pt x="2891" y="121"/>
                  </a:lnTo>
                  <a:lnTo>
                    <a:pt x="2895" y="116"/>
                  </a:lnTo>
                  <a:lnTo>
                    <a:pt x="2900" y="111"/>
                  </a:lnTo>
                  <a:lnTo>
                    <a:pt x="2905" y="107"/>
                  </a:lnTo>
                  <a:lnTo>
                    <a:pt x="2912" y="104"/>
                  </a:lnTo>
                  <a:lnTo>
                    <a:pt x="2918" y="101"/>
                  </a:lnTo>
                  <a:lnTo>
                    <a:pt x="2925" y="98"/>
                  </a:lnTo>
                  <a:lnTo>
                    <a:pt x="2932" y="96"/>
                  </a:lnTo>
                  <a:lnTo>
                    <a:pt x="2939" y="94"/>
                  </a:lnTo>
                  <a:lnTo>
                    <a:pt x="2955" y="92"/>
                  </a:lnTo>
                  <a:lnTo>
                    <a:pt x="2970" y="91"/>
                  </a:lnTo>
                  <a:lnTo>
                    <a:pt x="2978" y="92"/>
                  </a:lnTo>
                  <a:lnTo>
                    <a:pt x="2984" y="93"/>
                  </a:lnTo>
                  <a:lnTo>
                    <a:pt x="2993" y="95"/>
                  </a:lnTo>
                  <a:lnTo>
                    <a:pt x="3001" y="98"/>
                  </a:lnTo>
                  <a:lnTo>
                    <a:pt x="3008" y="101"/>
                  </a:lnTo>
                  <a:lnTo>
                    <a:pt x="3017" y="103"/>
                  </a:lnTo>
                  <a:lnTo>
                    <a:pt x="3026" y="104"/>
                  </a:lnTo>
                  <a:lnTo>
                    <a:pt x="3036" y="105"/>
                  </a:lnTo>
                  <a:lnTo>
                    <a:pt x="3036" y="110"/>
                  </a:lnTo>
                  <a:lnTo>
                    <a:pt x="3036" y="117"/>
                  </a:lnTo>
                  <a:lnTo>
                    <a:pt x="3036" y="126"/>
                  </a:lnTo>
                  <a:lnTo>
                    <a:pt x="3036" y="135"/>
                  </a:lnTo>
                  <a:lnTo>
                    <a:pt x="3036" y="139"/>
                  </a:lnTo>
                  <a:lnTo>
                    <a:pt x="3035" y="143"/>
                  </a:lnTo>
                  <a:lnTo>
                    <a:pt x="3033" y="147"/>
                  </a:lnTo>
                  <a:lnTo>
                    <a:pt x="3030" y="150"/>
                  </a:lnTo>
                  <a:lnTo>
                    <a:pt x="3025" y="157"/>
                  </a:lnTo>
                  <a:lnTo>
                    <a:pt x="3018" y="162"/>
                  </a:lnTo>
                  <a:lnTo>
                    <a:pt x="3003" y="170"/>
                  </a:lnTo>
                  <a:lnTo>
                    <a:pt x="2990" y="178"/>
                  </a:lnTo>
                  <a:lnTo>
                    <a:pt x="2982" y="196"/>
                  </a:lnTo>
                  <a:lnTo>
                    <a:pt x="2973" y="214"/>
                  </a:lnTo>
                  <a:lnTo>
                    <a:pt x="2968" y="222"/>
                  </a:lnTo>
                  <a:lnTo>
                    <a:pt x="2963" y="229"/>
                  </a:lnTo>
                  <a:lnTo>
                    <a:pt x="2958" y="236"/>
                  </a:lnTo>
                  <a:lnTo>
                    <a:pt x="2951" y="243"/>
                  </a:lnTo>
                  <a:lnTo>
                    <a:pt x="2945" y="249"/>
                  </a:lnTo>
                  <a:lnTo>
                    <a:pt x="2938" y="254"/>
                  </a:lnTo>
                  <a:lnTo>
                    <a:pt x="2931" y="259"/>
                  </a:lnTo>
                  <a:lnTo>
                    <a:pt x="2923" y="263"/>
                  </a:lnTo>
                  <a:lnTo>
                    <a:pt x="2914" y="267"/>
                  </a:lnTo>
                  <a:lnTo>
                    <a:pt x="2904" y="269"/>
                  </a:lnTo>
                  <a:lnTo>
                    <a:pt x="2894" y="271"/>
                  </a:lnTo>
                  <a:lnTo>
                    <a:pt x="2883" y="271"/>
                  </a:lnTo>
                  <a:lnTo>
                    <a:pt x="2878" y="271"/>
                  </a:lnTo>
                  <a:lnTo>
                    <a:pt x="2872" y="270"/>
                  </a:lnTo>
                  <a:lnTo>
                    <a:pt x="2867" y="268"/>
                  </a:lnTo>
                  <a:lnTo>
                    <a:pt x="2861" y="266"/>
                  </a:lnTo>
                  <a:lnTo>
                    <a:pt x="2856" y="263"/>
                  </a:lnTo>
                  <a:lnTo>
                    <a:pt x="2850" y="260"/>
                  </a:lnTo>
                  <a:lnTo>
                    <a:pt x="2847" y="256"/>
                  </a:lnTo>
                  <a:lnTo>
                    <a:pt x="2844" y="252"/>
                  </a:lnTo>
                  <a:lnTo>
                    <a:pt x="2838" y="257"/>
                  </a:lnTo>
                  <a:lnTo>
                    <a:pt x="2835" y="264"/>
                  </a:lnTo>
                  <a:lnTo>
                    <a:pt x="2834" y="268"/>
                  </a:lnTo>
                  <a:lnTo>
                    <a:pt x="2834" y="272"/>
                  </a:lnTo>
                  <a:lnTo>
                    <a:pt x="2835" y="275"/>
                  </a:lnTo>
                  <a:lnTo>
                    <a:pt x="2837" y="277"/>
                  </a:lnTo>
                  <a:lnTo>
                    <a:pt x="2829" y="278"/>
                  </a:lnTo>
                  <a:lnTo>
                    <a:pt x="2823" y="279"/>
                  </a:lnTo>
                  <a:lnTo>
                    <a:pt x="2817" y="281"/>
                  </a:lnTo>
                  <a:lnTo>
                    <a:pt x="2811" y="283"/>
                  </a:lnTo>
                  <a:lnTo>
                    <a:pt x="2805" y="285"/>
                  </a:lnTo>
                  <a:lnTo>
                    <a:pt x="2801" y="287"/>
                  </a:lnTo>
                  <a:lnTo>
                    <a:pt x="2795" y="289"/>
                  </a:lnTo>
                  <a:lnTo>
                    <a:pt x="2790" y="289"/>
                  </a:lnTo>
                  <a:lnTo>
                    <a:pt x="2783" y="288"/>
                  </a:lnTo>
                  <a:lnTo>
                    <a:pt x="2777" y="286"/>
                  </a:lnTo>
                  <a:lnTo>
                    <a:pt x="2770" y="283"/>
                  </a:lnTo>
                  <a:lnTo>
                    <a:pt x="2765" y="279"/>
                  </a:lnTo>
                  <a:lnTo>
                    <a:pt x="2754" y="271"/>
                  </a:lnTo>
                  <a:lnTo>
                    <a:pt x="2744" y="264"/>
                  </a:lnTo>
                  <a:lnTo>
                    <a:pt x="2730" y="272"/>
                  </a:lnTo>
                  <a:lnTo>
                    <a:pt x="2717" y="281"/>
                  </a:lnTo>
                  <a:lnTo>
                    <a:pt x="2707" y="290"/>
                  </a:lnTo>
                  <a:lnTo>
                    <a:pt x="2696" y="299"/>
                  </a:lnTo>
                  <a:lnTo>
                    <a:pt x="2685" y="307"/>
                  </a:lnTo>
                  <a:lnTo>
                    <a:pt x="2671" y="313"/>
                  </a:lnTo>
                  <a:lnTo>
                    <a:pt x="2664" y="316"/>
                  </a:lnTo>
                  <a:lnTo>
                    <a:pt x="2656" y="318"/>
                  </a:lnTo>
                  <a:lnTo>
                    <a:pt x="2647" y="319"/>
                  </a:lnTo>
                  <a:lnTo>
                    <a:pt x="2637" y="319"/>
                  </a:lnTo>
                  <a:lnTo>
                    <a:pt x="2626" y="319"/>
                  </a:lnTo>
                  <a:lnTo>
                    <a:pt x="2615" y="317"/>
                  </a:lnTo>
                  <a:lnTo>
                    <a:pt x="2602" y="315"/>
                  </a:lnTo>
                  <a:lnTo>
                    <a:pt x="2590" y="312"/>
                  </a:lnTo>
                  <a:lnTo>
                    <a:pt x="2579" y="308"/>
                  </a:lnTo>
                  <a:lnTo>
                    <a:pt x="2569" y="304"/>
                  </a:lnTo>
                  <a:lnTo>
                    <a:pt x="2562" y="300"/>
                  </a:lnTo>
                  <a:lnTo>
                    <a:pt x="2558" y="295"/>
                  </a:lnTo>
                  <a:lnTo>
                    <a:pt x="2518" y="295"/>
                  </a:lnTo>
                  <a:lnTo>
                    <a:pt x="2521" y="303"/>
                  </a:lnTo>
                  <a:lnTo>
                    <a:pt x="2525" y="309"/>
                  </a:lnTo>
                  <a:lnTo>
                    <a:pt x="2530" y="314"/>
                  </a:lnTo>
                  <a:lnTo>
                    <a:pt x="2536" y="318"/>
                  </a:lnTo>
                  <a:lnTo>
                    <a:pt x="2542" y="322"/>
                  </a:lnTo>
                  <a:lnTo>
                    <a:pt x="2550" y="324"/>
                  </a:lnTo>
                  <a:lnTo>
                    <a:pt x="2557" y="326"/>
                  </a:lnTo>
                  <a:lnTo>
                    <a:pt x="2565" y="327"/>
                  </a:lnTo>
                  <a:lnTo>
                    <a:pt x="2601" y="328"/>
                  </a:lnTo>
                  <a:lnTo>
                    <a:pt x="2637" y="326"/>
                  </a:lnTo>
                  <a:lnTo>
                    <a:pt x="2637" y="335"/>
                  </a:lnTo>
                  <a:lnTo>
                    <a:pt x="2638" y="342"/>
                  </a:lnTo>
                  <a:lnTo>
                    <a:pt x="2641" y="349"/>
                  </a:lnTo>
                  <a:lnTo>
                    <a:pt x="2644" y="357"/>
                  </a:lnTo>
                  <a:lnTo>
                    <a:pt x="2619" y="363"/>
                  </a:lnTo>
                  <a:lnTo>
                    <a:pt x="2590" y="371"/>
                  </a:lnTo>
                  <a:lnTo>
                    <a:pt x="2562" y="382"/>
                  </a:lnTo>
                  <a:lnTo>
                    <a:pt x="2531" y="392"/>
                  </a:lnTo>
                  <a:lnTo>
                    <a:pt x="2501" y="402"/>
                  </a:lnTo>
                  <a:lnTo>
                    <a:pt x="2473" y="410"/>
                  </a:lnTo>
                  <a:lnTo>
                    <a:pt x="2458" y="414"/>
                  </a:lnTo>
                  <a:lnTo>
                    <a:pt x="2444" y="416"/>
                  </a:lnTo>
                  <a:lnTo>
                    <a:pt x="2431" y="418"/>
                  </a:lnTo>
                  <a:lnTo>
                    <a:pt x="2419" y="418"/>
                  </a:lnTo>
                  <a:lnTo>
                    <a:pt x="2339" y="400"/>
                  </a:lnTo>
                  <a:lnTo>
                    <a:pt x="2319" y="400"/>
                  </a:lnTo>
                  <a:lnTo>
                    <a:pt x="2340" y="408"/>
                  </a:lnTo>
                  <a:lnTo>
                    <a:pt x="2361" y="416"/>
                  </a:lnTo>
                  <a:lnTo>
                    <a:pt x="2372" y="420"/>
                  </a:lnTo>
                  <a:lnTo>
                    <a:pt x="2382" y="425"/>
                  </a:lnTo>
                  <a:lnTo>
                    <a:pt x="2390" y="430"/>
                  </a:lnTo>
                  <a:lnTo>
                    <a:pt x="2398" y="437"/>
                  </a:lnTo>
                  <a:lnTo>
                    <a:pt x="2394" y="444"/>
                  </a:lnTo>
                  <a:lnTo>
                    <a:pt x="2388" y="449"/>
                  </a:lnTo>
                  <a:lnTo>
                    <a:pt x="2384" y="454"/>
                  </a:lnTo>
                  <a:lnTo>
                    <a:pt x="2378" y="457"/>
                  </a:lnTo>
                  <a:lnTo>
                    <a:pt x="2373" y="461"/>
                  </a:lnTo>
                  <a:lnTo>
                    <a:pt x="2368" y="463"/>
                  </a:lnTo>
                  <a:lnTo>
                    <a:pt x="2363" y="465"/>
                  </a:lnTo>
                  <a:lnTo>
                    <a:pt x="2357" y="467"/>
                  </a:lnTo>
                  <a:lnTo>
                    <a:pt x="2333" y="471"/>
                  </a:lnTo>
                  <a:lnTo>
                    <a:pt x="2306" y="474"/>
                  </a:lnTo>
                  <a:lnTo>
                    <a:pt x="2296" y="477"/>
                  </a:lnTo>
                  <a:lnTo>
                    <a:pt x="2286" y="481"/>
                  </a:lnTo>
                  <a:lnTo>
                    <a:pt x="2277" y="486"/>
                  </a:lnTo>
                  <a:lnTo>
                    <a:pt x="2268" y="492"/>
                  </a:lnTo>
                  <a:lnTo>
                    <a:pt x="2260" y="497"/>
                  </a:lnTo>
                  <a:lnTo>
                    <a:pt x="2251" y="501"/>
                  </a:lnTo>
                  <a:lnTo>
                    <a:pt x="2242" y="504"/>
                  </a:lnTo>
                  <a:lnTo>
                    <a:pt x="2232" y="505"/>
                  </a:lnTo>
                  <a:lnTo>
                    <a:pt x="2232" y="517"/>
                  </a:lnTo>
                  <a:lnTo>
                    <a:pt x="2232" y="529"/>
                  </a:lnTo>
                  <a:lnTo>
                    <a:pt x="2220" y="532"/>
                  </a:lnTo>
                  <a:lnTo>
                    <a:pt x="2208" y="537"/>
                  </a:lnTo>
                  <a:lnTo>
                    <a:pt x="2194" y="542"/>
                  </a:lnTo>
                  <a:lnTo>
                    <a:pt x="2181" y="550"/>
                  </a:lnTo>
                  <a:lnTo>
                    <a:pt x="2166" y="559"/>
                  </a:lnTo>
                  <a:lnTo>
                    <a:pt x="2151" y="568"/>
                  </a:lnTo>
                  <a:lnTo>
                    <a:pt x="2138" y="578"/>
                  </a:lnTo>
                  <a:lnTo>
                    <a:pt x="2123" y="588"/>
                  </a:lnTo>
                  <a:lnTo>
                    <a:pt x="2110" y="601"/>
                  </a:lnTo>
                  <a:lnTo>
                    <a:pt x="2098" y="613"/>
                  </a:lnTo>
                  <a:lnTo>
                    <a:pt x="2087" y="625"/>
                  </a:lnTo>
                  <a:lnTo>
                    <a:pt x="2078" y="637"/>
                  </a:lnTo>
                  <a:lnTo>
                    <a:pt x="2071" y="650"/>
                  </a:lnTo>
                  <a:lnTo>
                    <a:pt x="2064" y="664"/>
                  </a:lnTo>
                  <a:lnTo>
                    <a:pt x="2062" y="670"/>
                  </a:lnTo>
                  <a:lnTo>
                    <a:pt x="2061" y="677"/>
                  </a:lnTo>
                  <a:lnTo>
                    <a:pt x="2060" y="683"/>
                  </a:lnTo>
                  <a:lnTo>
                    <a:pt x="2060" y="689"/>
                  </a:lnTo>
                  <a:lnTo>
                    <a:pt x="2106" y="689"/>
                  </a:lnTo>
                  <a:lnTo>
                    <a:pt x="2104" y="714"/>
                  </a:lnTo>
                  <a:lnTo>
                    <a:pt x="2102" y="736"/>
                  </a:lnTo>
                  <a:lnTo>
                    <a:pt x="2100" y="745"/>
                  </a:lnTo>
                  <a:lnTo>
                    <a:pt x="2100" y="753"/>
                  </a:lnTo>
                  <a:lnTo>
                    <a:pt x="2102" y="757"/>
                  </a:lnTo>
                  <a:lnTo>
                    <a:pt x="2103" y="759"/>
                  </a:lnTo>
                  <a:lnTo>
                    <a:pt x="2104" y="762"/>
                  </a:lnTo>
                  <a:lnTo>
                    <a:pt x="2106" y="763"/>
                  </a:lnTo>
                  <a:lnTo>
                    <a:pt x="2086" y="776"/>
                  </a:lnTo>
                  <a:lnTo>
                    <a:pt x="2087" y="780"/>
                  </a:lnTo>
                  <a:lnTo>
                    <a:pt x="2089" y="784"/>
                  </a:lnTo>
                  <a:lnTo>
                    <a:pt x="2093" y="787"/>
                  </a:lnTo>
                  <a:lnTo>
                    <a:pt x="2097" y="790"/>
                  </a:lnTo>
                  <a:lnTo>
                    <a:pt x="2106" y="793"/>
                  </a:lnTo>
                  <a:lnTo>
                    <a:pt x="2112" y="794"/>
                  </a:lnTo>
                  <a:lnTo>
                    <a:pt x="2193" y="776"/>
                  </a:lnTo>
                  <a:lnTo>
                    <a:pt x="2204" y="782"/>
                  </a:lnTo>
                  <a:lnTo>
                    <a:pt x="2214" y="789"/>
                  </a:lnTo>
                  <a:lnTo>
                    <a:pt x="2223" y="796"/>
                  </a:lnTo>
                  <a:lnTo>
                    <a:pt x="2232" y="803"/>
                  </a:lnTo>
                  <a:lnTo>
                    <a:pt x="2250" y="819"/>
                  </a:lnTo>
                  <a:lnTo>
                    <a:pt x="2266" y="836"/>
                  </a:lnTo>
                  <a:lnTo>
                    <a:pt x="2284" y="852"/>
                  </a:lnTo>
                  <a:lnTo>
                    <a:pt x="2301" y="866"/>
                  </a:lnTo>
                  <a:lnTo>
                    <a:pt x="2311" y="872"/>
                  </a:lnTo>
                  <a:lnTo>
                    <a:pt x="2322" y="878"/>
                  </a:lnTo>
                  <a:lnTo>
                    <a:pt x="2333" y="883"/>
                  </a:lnTo>
                  <a:lnTo>
                    <a:pt x="2345" y="887"/>
                  </a:lnTo>
                  <a:lnTo>
                    <a:pt x="2345" y="891"/>
                  </a:lnTo>
                  <a:lnTo>
                    <a:pt x="2346" y="895"/>
                  </a:lnTo>
                  <a:lnTo>
                    <a:pt x="2347" y="898"/>
                  </a:lnTo>
                  <a:lnTo>
                    <a:pt x="2350" y="901"/>
                  </a:lnTo>
                  <a:lnTo>
                    <a:pt x="2352" y="903"/>
                  </a:lnTo>
                  <a:lnTo>
                    <a:pt x="2354" y="905"/>
                  </a:lnTo>
                  <a:lnTo>
                    <a:pt x="2356" y="906"/>
                  </a:lnTo>
                  <a:lnTo>
                    <a:pt x="2360" y="907"/>
                  </a:lnTo>
                  <a:lnTo>
                    <a:pt x="2367" y="909"/>
                  </a:lnTo>
                  <a:lnTo>
                    <a:pt x="2375" y="908"/>
                  </a:lnTo>
                  <a:lnTo>
                    <a:pt x="2383" y="907"/>
                  </a:lnTo>
                  <a:lnTo>
                    <a:pt x="2391" y="905"/>
                  </a:lnTo>
                  <a:lnTo>
                    <a:pt x="2409" y="900"/>
                  </a:lnTo>
                  <a:lnTo>
                    <a:pt x="2423" y="894"/>
                  </a:lnTo>
                  <a:lnTo>
                    <a:pt x="2434" y="889"/>
                  </a:lnTo>
                  <a:lnTo>
                    <a:pt x="2439" y="887"/>
                  </a:lnTo>
                  <a:lnTo>
                    <a:pt x="2485" y="905"/>
                  </a:lnTo>
                  <a:lnTo>
                    <a:pt x="2479" y="917"/>
                  </a:lnTo>
                  <a:lnTo>
                    <a:pt x="2474" y="925"/>
                  </a:lnTo>
                  <a:lnTo>
                    <a:pt x="2467" y="931"/>
                  </a:lnTo>
                  <a:lnTo>
                    <a:pt x="2458" y="936"/>
                  </a:lnTo>
                  <a:lnTo>
                    <a:pt x="2472" y="949"/>
                  </a:lnTo>
                  <a:lnTo>
                    <a:pt x="2461" y="971"/>
                  </a:lnTo>
                  <a:lnTo>
                    <a:pt x="2450" y="995"/>
                  </a:lnTo>
                  <a:lnTo>
                    <a:pt x="2445" y="1006"/>
                  </a:lnTo>
                  <a:lnTo>
                    <a:pt x="2442" y="1018"/>
                  </a:lnTo>
                  <a:lnTo>
                    <a:pt x="2440" y="1029"/>
                  </a:lnTo>
                  <a:lnTo>
                    <a:pt x="2439" y="1040"/>
                  </a:lnTo>
                  <a:lnTo>
                    <a:pt x="2440" y="1049"/>
                  </a:lnTo>
                  <a:lnTo>
                    <a:pt x="2443" y="1059"/>
                  </a:lnTo>
                  <a:lnTo>
                    <a:pt x="2447" y="1070"/>
                  </a:lnTo>
                  <a:lnTo>
                    <a:pt x="2454" y="1081"/>
                  </a:lnTo>
                  <a:lnTo>
                    <a:pt x="2462" y="1092"/>
                  </a:lnTo>
                  <a:lnTo>
                    <a:pt x="2469" y="1101"/>
                  </a:lnTo>
                  <a:lnTo>
                    <a:pt x="2473" y="1104"/>
                  </a:lnTo>
                  <a:lnTo>
                    <a:pt x="2477" y="1107"/>
                  </a:lnTo>
                  <a:lnTo>
                    <a:pt x="2481" y="1108"/>
                  </a:lnTo>
                  <a:lnTo>
                    <a:pt x="2485" y="1109"/>
                  </a:lnTo>
                  <a:lnTo>
                    <a:pt x="2487" y="1114"/>
                  </a:lnTo>
                  <a:lnTo>
                    <a:pt x="2492" y="1121"/>
                  </a:lnTo>
                  <a:lnTo>
                    <a:pt x="2499" y="1128"/>
                  </a:lnTo>
                  <a:lnTo>
                    <a:pt x="2504" y="1133"/>
                  </a:lnTo>
                  <a:lnTo>
                    <a:pt x="2528" y="1113"/>
                  </a:lnTo>
                  <a:lnTo>
                    <a:pt x="2548" y="1091"/>
                  </a:lnTo>
                  <a:lnTo>
                    <a:pt x="2559" y="1080"/>
                  </a:lnTo>
                  <a:lnTo>
                    <a:pt x="2569" y="1068"/>
                  </a:lnTo>
                  <a:lnTo>
                    <a:pt x="2578" y="1057"/>
                  </a:lnTo>
                  <a:lnTo>
                    <a:pt x="2587" y="1043"/>
                  </a:lnTo>
                  <a:lnTo>
                    <a:pt x="2595" y="1031"/>
                  </a:lnTo>
                  <a:lnTo>
                    <a:pt x="2602" y="1017"/>
                  </a:lnTo>
                  <a:lnTo>
                    <a:pt x="2609" y="1003"/>
                  </a:lnTo>
                  <a:lnTo>
                    <a:pt x="2614" y="987"/>
                  </a:lnTo>
                  <a:lnTo>
                    <a:pt x="2619" y="971"/>
                  </a:lnTo>
                  <a:lnTo>
                    <a:pt x="2622" y="955"/>
                  </a:lnTo>
                  <a:lnTo>
                    <a:pt x="2624" y="937"/>
                  </a:lnTo>
                  <a:lnTo>
                    <a:pt x="2624" y="917"/>
                  </a:lnTo>
                  <a:lnTo>
                    <a:pt x="2638" y="917"/>
                  </a:lnTo>
                  <a:lnTo>
                    <a:pt x="2655" y="914"/>
                  </a:lnTo>
                  <a:lnTo>
                    <a:pt x="2672" y="911"/>
                  </a:lnTo>
                  <a:lnTo>
                    <a:pt x="2690" y="906"/>
                  </a:lnTo>
                  <a:lnTo>
                    <a:pt x="2709" y="900"/>
                  </a:lnTo>
                  <a:lnTo>
                    <a:pt x="2727" y="892"/>
                  </a:lnTo>
                  <a:lnTo>
                    <a:pt x="2746" y="884"/>
                  </a:lnTo>
                  <a:lnTo>
                    <a:pt x="2765" y="873"/>
                  </a:lnTo>
                  <a:lnTo>
                    <a:pt x="2782" y="863"/>
                  </a:lnTo>
                  <a:lnTo>
                    <a:pt x="2798" y="852"/>
                  </a:lnTo>
                  <a:lnTo>
                    <a:pt x="2813" y="840"/>
                  </a:lnTo>
                  <a:lnTo>
                    <a:pt x="2825" y="827"/>
                  </a:lnTo>
                  <a:lnTo>
                    <a:pt x="2831" y="819"/>
                  </a:lnTo>
                  <a:lnTo>
                    <a:pt x="2836" y="813"/>
                  </a:lnTo>
                  <a:lnTo>
                    <a:pt x="2839" y="806"/>
                  </a:lnTo>
                  <a:lnTo>
                    <a:pt x="2844" y="799"/>
                  </a:lnTo>
                  <a:lnTo>
                    <a:pt x="2846" y="792"/>
                  </a:lnTo>
                  <a:lnTo>
                    <a:pt x="2848" y="785"/>
                  </a:lnTo>
                  <a:lnTo>
                    <a:pt x="2849" y="777"/>
                  </a:lnTo>
                  <a:lnTo>
                    <a:pt x="2850" y="770"/>
                  </a:lnTo>
                  <a:lnTo>
                    <a:pt x="2849" y="763"/>
                  </a:lnTo>
                  <a:lnTo>
                    <a:pt x="2848" y="757"/>
                  </a:lnTo>
                  <a:lnTo>
                    <a:pt x="2846" y="752"/>
                  </a:lnTo>
                  <a:lnTo>
                    <a:pt x="2843" y="747"/>
                  </a:lnTo>
                  <a:lnTo>
                    <a:pt x="2835" y="738"/>
                  </a:lnTo>
                  <a:lnTo>
                    <a:pt x="2827" y="731"/>
                  </a:lnTo>
                  <a:lnTo>
                    <a:pt x="2819" y="725"/>
                  </a:lnTo>
                  <a:lnTo>
                    <a:pt x="2811" y="718"/>
                  </a:lnTo>
                  <a:lnTo>
                    <a:pt x="2808" y="715"/>
                  </a:lnTo>
                  <a:lnTo>
                    <a:pt x="2805" y="711"/>
                  </a:lnTo>
                  <a:lnTo>
                    <a:pt x="2804" y="706"/>
                  </a:lnTo>
                  <a:lnTo>
                    <a:pt x="2804" y="702"/>
                  </a:lnTo>
                  <a:lnTo>
                    <a:pt x="2804" y="698"/>
                  </a:lnTo>
                  <a:lnTo>
                    <a:pt x="2808" y="694"/>
                  </a:lnTo>
                  <a:lnTo>
                    <a:pt x="2812" y="688"/>
                  </a:lnTo>
                  <a:lnTo>
                    <a:pt x="2819" y="680"/>
                  </a:lnTo>
                  <a:lnTo>
                    <a:pt x="2833" y="664"/>
                  </a:lnTo>
                  <a:lnTo>
                    <a:pt x="2850" y="645"/>
                  </a:lnTo>
                  <a:lnTo>
                    <a:pt x="2882" y="612"/>
                  </a:lnTo>
                  <a:lnTo>
                    <a:pt x="2896" y="597"/>
                  </a:lnTo>
                  <a:lnTo>
                    <a:pt x="2894" y="593"/>
                  </a:lnTo>
                  <a:lnTo>
                    <a:pt x="2892" y="589"/>
                  </a:lnTo>
                  <a:lnTo>
                    <a:pt x="2891" y="585"/>
                  </a:lnTo>
                  <a:lnTo>
                    <a:pt x="2890" y="581"/>
                  </a:lnTo>
                  <a:lnTo>
                    <a:pt x="2890" y="573"/>
                  </a:lnTo>
                  <a:lnTo>
                    <a:pt x="2892" y="566"/>
                  </a:lnTo>
                  <a:lnTo>
                    <a:pt x="2896" y="558"/>
                  </a:lnTo>
                  <a:lnTo>
                    <a:pt x="2902" y="551"/>
                  </a:lnTo>
                  <a:lnTo>
                    <a:pt x="2909" y="544"/>
                  </a:lnTo>
                  <a:lnTo>
                    <a:pt x="2916" y="535"/>
                  </a:lnTo>
                  <a:lnTo>
                    <a:pt x="2934" y="520"/>
                  </a:lnTo>
                  <a:lnTo>
                    <a:pt x="2951" y="505"/>
                  </a:lnTo>
                  <a:lnTo>
                    <a:pt x="2959" y="498"/>
                  </a:lnTo>
                  <a:lnTo>
                    <a:pt x="2966" y="490"/>
                  </a:lnTo>
                  <a:lnTo>
                    <a:pt x="2972" y="482"/>
                  </a:lnTo>
                  <a:lnTo>
                    <a:pt x="2977" y="474"/>
                  </a:lnTo>
                  <a:lnTo>
                    <a:pt x="3149" y="480"/>
                  </a:lnTo>
                  <a:lnTo>
                    <a:pt x="3149" y="485"/>
                  </a:lnTo>
                  <a:lnTo>
                    <a:pt x="3150" y="490"/>
                  </a:lnTo>
                  <a:lnTo>
                    <a:pt x="3151" y="494"/>
                  </a:lnTo>
                  <a:lnTo>
                    <a:pt x="3153" y="497"/>
                  </a:lnTo>
                  <a:lnTo>
                    <a:pt x="3156" y="500"/>
                  </a:lnTo>
                  <a:lnTo>
                    <a:pt x="3159" y="502"/>
                  </a:lnTo>
                  <a:lnTo>
                    <a:pt x="3161" y="503"/>
                  </a:lnTo>
                  <a:lnTo>
                    <a:pt x="3165" y="504"/>
                  </a:lnTo>
                  <a:lnTo>
                    <a:pt x="3180" y="505"/>
                  </a:lnTo>
                  <a:lnTo>
                    <a:pt x="3196" y="505"/>
                  </a:lnTo>
                  <a:lnTo>
                    <a:pt x="3201" y="509"/>
                  </a:lnTo>
                  <a:lnTo>
                    <a:pt x="3204" y="514"/>
                  </a:lnTo>
                  <a:lnTo>
                    <a:pt x="3208" y="521"/>
                  </a:lnTo>
                  <a:lnTo>
                    <a:pt x="3210" y="529"/>
                  </a:lnTo>
                  <a:lnTo>
                    <a:pt x="3215" y="545"/>
                  </a:lnTo>
                  <a:lnTo>
                    <a:pt x="3216" y="554"/>
                  </a:lnTo>
                  <a:lnTo>
                    <a:pt x="3221" y="556"/>
                  </a:lnTo>
                  <a:lnTo>
                    <a:pt x="3229" y="557"/>
                  </a:lnTo>
                  <a:lnTo>
                    <a:pt x="3238" y="557"/>
                  </a:lnTo>
                  <a:lnTo>
                    <a:pt x="3247" y="557"/>
                  </a:lnTo>
                  <a:lnTo>
                    <a:pt x="3268" y="555"/>
                  </a:lnTo>
                  <a:lnTo>
                    <a:pt x="3288" y="554"/>
                  </a:lnTo>
                  <a:lnTo>
                    <a:pt x="3292" y="566"/>
                  </a:lnTo>
                  <a:lnTo>
                    <a:pt x="3295" y="572"/>
                  </a:lnTo>
                  <a:lnTo>
                    <a:pt x="3288" y="579"/>
                  </a:lnTo>
                  <a:lnTo>
                    <a:pt x="3282" y="585"/>
                  </a:lnTo>
                  <a:lnTo>
                    <a:pt x="3276" y="592"/>
                  </a:lnTo>
                  <a:lnTo>
                    <a:pt x="3272" y="601"/>
                  </a:lnTo>
                  <a:lnTo>
                    <a:pt x="3264" y="616"/>
                  </a:lnTo>
                  <a:lnTo>
                    <a:pt x="3257" y="632"/>
                  </a:lnTo>
                  <a:lnTo>
                    <a:pt x="3251" y="646"/>
                  </a:lnTo>
                  <a:lnTo>
                    <a:pt x="3245" y="660"/>
                  </a:lnTo>
                  <a:lnTo>
                    <a:pt x="3241" y="666"/>
                  </a:lnTo>
                  <a:lnTo>
                    <a:pt x="3238" y="671"/>
                  </a:lnTo>
                  <a:lnTo>
                    <a:pt x="3234" y="675"/>
                  </a:lnTo>
                  <a:lnTo>
                    <a:pt x="3229" y="677"/>
                  </a:lnTo>
                  <a:lnTo>
                    <a:pt x="3238" y="677"/>
                  </a:lnTo>
                  <a:lnTo>
                    <a:pt x="3246" y="677"/>
                  </a:lnTo>
                  <a:lnTo>
                    <a:pt x="3253" y="677"/>
                  </a:lnTo>
                  <a:lnTo>
                    <a:pt x="3262" y="677"/>
                  </a:lnTo>
                  <a:lnTo>
                    <a:pt x="3262" y="683"/>
                  </a:lnTo>
                  <a:lnTo>
                    <a:pt x="3261" y="688"/>
                  </a:lnTo>
                  <a:lnTo>
                    <a:pt x="3259" y="693"/>
                  </a:lnTo>
                  <a:lnTo>
                    <a:pt x="3257" y="697"/>
                  </a:lnTo>
                  <a:lnTo>
                    <a:pt x="3251" y="705"/>
                  </a:lnTo>
                  <a:lnTo>
                    <a:pt x="3245" y="714"/>
                  </a:lnTo>
                  <a:lnTo>
                    <a:pt x="3238" y="721"/>
                  </a:lnTo>
                  <a:lnTo>
                    <a:pt x="3231" y="729"/>
                  </a:lnTo>
                  <a:lnTo>
                    <a:pt x="3226" y="736"/>
                  </a:lnTo>
                  <a:lnTo>
                    <a:pt x="3223" y="745"/>
                  </a:lnTo>
                  <a:lnTo>
                    <a:pt x="3229" y="742"/>
                  </a:lnTo>
                  <a:lnTo>
                    <a:pt x="3237" y="738"/>
                  </a:lnTo>
                  <a:lnTo>
                    <a:pt x="3245" y="734"/>
                  </a:lnTo>
                  <a:lnTo>
                    <a:pt x="3251" y="730"/>
                  </a:lnTo>
                  <a:lnTo>
                    <a:pt x="3264" y="721"/>
                  </a:lnTo>
                  <a:lnTo>
                    <a:pt x="3275" y="715"/>
                  </a:lnTo>
                  <a:lnTo>
                    <a:pt x="3280" y="717"/>
                  </a:lnTo>
                  <a:lnTo>
                    <a:pt x="3284" y="718"/>
                  </a:lnTo>
                  <a:lnTo>
                    <a:pt x="3290" y="718"/>
                  </a:lnTo>
                  <a:lnTo>
                    <a:pt x="3295" y="718"/>
                  </a:lnTo>
                  <a:lnTo>
                    <a:pt x="3307" y="715"/>
                  </a:lnTo>
                  <a:lnTo>
                    <a:pt x="3320" y="709"/>
                  </a:lnTo>
                  <a:lnTo>
                    <a:pt x="3336" y="703"/>
                  </a:lnTo>
                  <a:lnTo>
                    <a:pt x="3351" y="695"/>
                  </a:lnTo>
                  <a:lnTo>
                    <a:pt x="3368" y="685"/>
                  </a:lnTo>
                  <a:lnTo>
                    <a:pt x="3384" y="675"/>
                  </a:lnTo>
                  <a:lnTo>
                    <a:pt x="3417" y="653"/>
                  </a:lnTo>
                  <a:lnTo>
                    <a:pt x="3447" y="632"/>
                  </a:lnTo>
                  <a:lnTo>
                    <a:pt x="3471" y="615"/>
                  </a:lnTo>
                  <a:lnTo>
                    <a:pt x="3488" y="604"/>
                  </a:lnTo>
                  <a:lnTo>
                    <a:pt x="3492" y="613"/>
                  </a:lnTo>
                  <a:lnTo>
                    <a:pt x="3495" y="621"/>
                  </a:lnTo>
                  <a:lnTo>
                    <a:pt x="3496" y="629"/>
                  </a:lnTo>
                  <a:lnTo>
                    <a:pt x="3496" y="637"/>
                  </a:lnTo>
                  <a:lnTo>
                    <a:pt x="3496" y="653"/>
                  </a:lnTo>
                  <a:lnTo>
                    <a:pt x="3495" y="671"/>
                  </a:lnTo>
                  <a:lnTo>
                    <a:pt x="3521" y="671"/>
                  </a:lnTo>
                  <a:lnTo>
                    <a:pt x="3522" y="680"/>
                  </a:lnTo>
                  <a:lnTo>
                    <a:pt x="3523" y="687"/>
                  </a:lnTo>
                  <a:lnTo>
                    <a:pt x="3521" y="692"/>
                  </a:lnTo>
                  <a:lnTo>
                    <a:pt x="3519" y="698"/>
                  </a:lnTo>
                  <a:lnTo>
                    <a:pt x="3514" y="708"/>
                  </a:lnTo>
                  <a:lnTo>
                    <a:pt x="3508" y="721"/>
                  </a:lnTo>
                  <a:lnTo>
                    <a:pt x="3521" y="721"/>
                  </a:lnTo>
                  <a:lnTo>
                    <a:pt x="3534" y="721"/>
                  </a:lnTo>
                  <a:lnTo>
                    <a:pt x="3534" y="732"/>
                  </a:lnTo>
                  <a:lnTo>
                    <a:pt x="3534" y="741"/>
                  </a:lnTo>
                  <a:lnTo>
                    <a:pt x="3534" y="749"/>
                  </a:lnTo>
                  <a:lnTo>
                    <a:pt x="3534" y="757"/>
                  </a:lnTo>
                  <a:lnTo>
                    <a:pt x="3536" y="762"/>
                  </a:lnTo>
                  <a:lnTo>
                    <a:pt x="3540" y="769"/>
                  </a:lnTo>
                  <a:lnTo>
                    <a:pt x="3542" y="772"/>
                  </a:lnTo>
                  <a:lnTo>
                    <a:pt x="3545" y="774"/>
                  </a:lnTo>
                  <a:lnTo>
                    <a:pt x="3550" y="776"/>
                  </a:lnTo>
                  <a:lnTo>
                    <a:pt x="3554" y="776"/>
                  </a:lnTo>
                  <a:lnTo>
                    <a:pt x="3551" y="786"/>
                  </a:lnTo>
                  <a:lnTo>
                    <a:pt x="3548" y="794"/>
                  </a:lnTo>
                  <a:lnTo>
                    <a:pt x="3542" y="800"/>
                  </a:lnTo>
                  <a:lnTo>
                    <a:pt x="3537" y="804"/>
                  </a:lnTo>
                  <a:lnTo>
                    <a:pt x="3526" y="811"/>
                  </a:lnTo>
                  <a:lnTo>
                    <a:pt x="3515" y="818"/>
                  </a:lnTo>
                  <a:lnTo>
                    <a:pt x="3522" y="828"/>
                  </a:lnTo>
                  <a:lnTo>
                    <a:pt x="3530" y="836"/>
                  </a:lnTo>
                  <a:lnTo>
                    <a:pt x="3539" y="844"/>
                  </a:lnTo>
                  <a:lnTo>
                    <a:pt x="3546" y="851"/>
                  </a:lnTo>
                  <a:lnTo>
                    <a:pt x="3556" y="857"/>
                  </a:lnTo>
                  <a:lnTo>
                    <a:pt x="3565" y="863"/>
                  </a:lnTo>
                  <a:lnTo>
                    <a:pt x="3575" y="869"/>
                  </a:lnTo>
                  <a:lnTo>
                    <a:pt x="3584" y="874"/>
                  </a:lnTo>
                  <a:lnTo>
                    <a:pt x="3605" y="885"/>
                  </a:lnTo>
                  <a:lnTo>
                    <a:pt x="3627" y="894"/>
                  </a:lnTo>
                  <a:lnTo>
                    <a:pt x="3650" y="902"/>
                  </a:lnTo>
                  <a:lnTo>
                    <a:pt x="3674" y="911"/>
                  </a:lnTo>
                  <a:lnTo>
                    <a:pt x="3668" y="918"/>
                  </a:lnTo>
                  <a:lnTo>
                    <a:pt x="3662" y="924"/>
                  </a:lnTo>
                  <a:lnTo>
                    <a:pt x="3652" y="930"/>
                  </a:lnTo>
                  <a:lnTo>
                    <a:pt x="3640" y="936"/>
                  </a:lnTo>
                  <a:lnTo>
                    <a:pt x="3615" y="946"/>
                  </a:lnTo>
                  <a:lnTo>
                    <a:pt x="3588" y="954"/>
                  </a:lnTo>
                  <a:lnTo>
                    <a:pt x="3563" y="961"/>
                  </a:lnTo>
                  <a:lnTo>
                    <a:pt x="3545" y="966"/>
                  </a:lnTo>
                  <a:lnTo>
                    <a:pt x="3540" y="968"/>
                  </a:lnTo>
                  <a:lnTo>
                    <a:pt x="3537" y="970"/>
                  </a:lnTo>
                  <a:lnTo>
                    <a:pt x="3537" y="971"/>
                  </a:lnTo>
                  <a:lnTo>
                    <a:pt x="3537" y="972"/>
                  </a:lnTo>
                  <a:lnTo>
                    <a:pt x="3539" y="972"/>
                  </a:lnTo>
                  <a:lnTo>
                    <a:pt x="3541" y="973"/>
                  </a:lnTo>
                  <a:lnTo>
                    <a:pt x="3548" y="974"/>
                  </a:lnTo>
                  <a:lnTo>
                    <a:pt x="3554" y="974"/>
                  </a:lnTo>
                  <a:lnTo>
                    <a:pt x="3560" y="974"/>
                  </a:lnTo>
                  <a:lnTo>
                    <a:pt x="3564" y="972"/>
                  </a:lnTo>
                  <a:lnTo>
                    <a:pt x="3570" y="970"/>
                  </a:lnTo>
                  <a:lnTo>
                    <a:pt x="3575" y="969"/>
                  </a:lnTo>
                  <a:lnTo>
                    <a:pt x="3581" y="967"/>
                  </a:lnTo>
                  <a:lnTo>
                    <a:pt x="3588" y="967"/>
                  </a:lnTo>
                  <a:lnTo>
                    <a:pt x="3598" y="965"/>
                  </a:lnTo>
                  <a:lnTo>
                    <a:pt x="3616" y="961"/>
                  </a:lnTo>
                  <a:lnTo>
                    <a:pt x="3637" y="957"/>
                  </a:lnTo>
                  <a:lnTo>
                    <a:pt x="3654" y="955"/>
                  </a:lnTo>
                  <a:lnTo>
                    <a:pt x="3673" y="955"/>
                  </a:lnTo>
                  <a:lnTo>
                    <a:pt x="3686" y="956"/>
                  </a:lnTo>
                  <a:lnTo>
                    <a:pt x="3695" y="958"/>
                  </a:lnTo>
                  <a:lnTo>
                    <a:pt x="3701" y="959"/>
                  </a:lnTo>
                  <a:lnTo>
                    <a:pt x="3707" y="960"/>
                  </a:lnTo>
                  <a:lnTo>
                    <a:pt x="3713" y="960"/>
                  </a:lnTo>
                  <a:lnTo>
                    <a:pt x="3721" y="958"/>
                  </a:lnTo>
                  <a:lnTo>
                    <a:pt x="3734" y="955"/>
                  </a:lnTo>
                  <a:lnTo>
                    <a:pt x="3734" y="964"/>
                  </a:lnTo>
                  <a:lnTo>
                    <a:pt x="3734" y="972"/>
                  </a:lnTo>
                  <a:lnTo>
                    <a:pt x="3734" y="979"/>
                  </a:lnTo>
                  <a:lnTo>
                    <a:pt x="3734" y="985"/>
                  </a:lnTo>
                  <a:lnTo>
                    <a:pt x="3734" y="998"/>
                  </a:lnTo>
                  <a:lnTo>
                    <a:pt x="3733" y="1007"/>
                  </a:lnTo>
                  <a:lnTo>
                    <a:pt x="3732" y="1014"/>
                  </a:lnTo>
                  <a:lnTo>
                    <a:pt x="3729" y="1018"/>
                  </a:lnTo>
                  <a:lnTo>
                    <a:pt x="3724" y="1022"/>
                  </a:lnTo>
                  <a:lnTo>
                    <a:pt x="3717" y="1024"/>
                  </a:lnTo>
                  <a:lnTo>
                    <a:pt x="3707" y="1026"/>
                  </a:lnTo>
                  <a:lnTo>
                    <a:pt x="3694" y="1028"/>
                  </a:lnTo>
                  <a:lnTo>
                    <a:pt x="3699" y="1037"/>
                  </a:lnTo>
                  <a:lnTo>
                    <a:pt x="3704" y="1047"/>
                  </a:lnTo>
                  <a:lnTo>
                    <a:pt x="3709" y="1054"/>
                  </a:lnTo>
                  <a:lnTo>
                    <a:pt x="3713" y="1059"/>
                  </a:lnTo>
                  <a:lnTo>
                    <a:pt x="3706" y="1068"/>
                  </a:lnTo>
                  <a:lnTo>
                    <a:pt x="3697" y="1076"/>
                  </a:lnTo>
                  <a:lnTo>
                    <a:pt x="3687" y="1083"/>
                  </a:lnTo>
                  <a:lnTo>
                    <a:pt x="3676" y="1087"/>
                  </a:lnTo>
                  <a:lnTo>
                    <a:pt x="3672" y="1089"/>
                  </a:lnTo>
                  <a:lnTo>
                    <a:pt x="3666" y="1090"/>
                  </a:lnTo>
                  <a:lnTo>
                    <a:pt x="3661" y="1091"/>
                  </a:lnTo>
                  <a:lnTo>
                    <a:pt x="3655" y="1091"/>
                  </a:lnTo>
                  <a:lnTo>
                    <a:pt x="3650" y="1090"/>
                  </a:lnTo>
                  <a:lnTo>
                    <a:pt x="3644" y="1089"/>
                  </a:lnTo>
                  <a:lnTo>
                    <a:pt x="3639" y="1087"/>
                  </a:lnTo>
                  <a:lnTo>
                    <a:pt x="3634" y="1084"/>
                  </a:lnTo>
                  <a:lnTo>
                    <a:pt x="3627" y="1089"/>
                  </a:lnTo>
                  <a:lnTo>
                    <a:pt x="3617" y="1093"/>
                  </a:lnTo>
                  <a:lnTo>
                    <a:pt x="3608" y="1096"/>
                  </a:lnTo>
                  <a:lnTo>
                    <a:pt x="3598" y="1099"/>
                  </a:lnTo>
                  <a:lnTo>
                    <a:pt x="3577" y="1104"/>
                  </a:lnTo>
                  <a:lnTo>
                    <a:pt x="3556" y="1108"/>
                  </a:lnTo>
                  <a:lnTo>
                    <a:pt x="3546" y="1110"/>
                  </a:lnTo>
                  <a:lnTo>
                    <a:pt x="3538" y="1113"/>
                  </a:lnTo>
                  <a:lnTo>
                    <a:pt x="3529" y="1116"/>
                  </a:lnTo>
                  <a:lnTo>
                    <a:pt x="3522" y="1120"/>
                  </a:lnTo>
                  <a:lnTo>
                    <a:pt x="3516" y="1124"/>
                  </a:lnTo>
                  <a:lnTo>
                    <a:pt x="3511" y="1130"/>
                  </a:lnTo>
                  <a:lnTo>
                    <a:pt x="3509" y="1137"/>
                  </a:lnTo>
                  <a:lnTo>
                    <a:pt x="3508" y="1145"/>
                  </a:lnTo>
                  <a:lnTo>
                    <a:pt x="3501" y="1145"/>
                  </a:lnTo>
                  <a:lnTo>
                    <a:pt x="3489" y="1159"/>
                  </a:lnTo>
                  <a:lnTo>
                    <a:pt x="3480" y="1168"/>
                  </a:lnTo>
                  <a:lnTo>
                    <a:pt x="3474" y="1172"/>
                  </a:lnTo>
                  <a:lnTo>
                    <a:pt x="3467" y="1174"/>
                  </a:lnTo>
                  <a:lnTo>
                    <a:pt x="3459" y="1176"/>
                  </a:lnTo>
                  <a:lnTo>
                    <a:pt x="3448" y="1176"/>
                  </a:lnTo>
                  <a:lnTo>
                    <a:pt x="3336" y="1164"/>
                  </a:lnTo>
                  <a:lnTo>
                    <a:pt x="3301" y="1164"/>
                  </a:lnTo>
                  <a:lnTo>
                    <a:pt x="3264" y="1164"/>
                  </a:lnTo>
                  <a:lnTo>
                    <a:pt x="3228" y="1164"/>
                  </a:lnTo>
                  <a:lnTo>
                    <a:pt x="3189" y="1164"/>
                  </a:lnTo>
                  <a:lnTo>
                    <a:pt x="3169" y="1165"/>
                  </a:lnTo>
                  <a:lnTo>
                    <a:pt x="3151" y="1168"/>
                  </a:lnTo>
                  <a:lnTo>
                    <a:pt x="3135" y="1172"/>
                  </a:lnTo>
                  <a:lnTo>
                    <a:pt x="3119" y="1177"/>
                  </a:lnTo>
                  <a:lnTo>
                    <a:pt x="3105" y="1183"/>
                  </a:lnTo>
                  <a:lnTo>
                    <a:pt x="3093" y="1191"/>
                  </a:lnTo>
                  <a:lnTo>
                    <a:pt x="3081" y="1198"/>
                  </a:lnTo>
                  <a:lnTo>
                    <a:pt x="3070" y="1207"/>
                  </a:lnTo>
                  <a:lnTo>
                    <a:pt x="3047" y="1225"/>
                  </a:lnTo>
                  <a:lnTo>
                    <a:pt x="3025" y="1242"/>
                  </a:lnTo>
                  <a:lnTo>
                    <a:pt x="3013" y="1250"/>
                  </a:lnTo>
                  <a:lnTo>
                    <a:pt x="3000" y="1257"/>
                  </a:lnTo>
                  <a:lnTo>
                    <a:pt x="2985" y="1263"/>
                  </a:lnTo>
                  <a:lnTo>
                    <a:pt x="2970" y="1269"/>
                  </a:lnTo>
                  <a:lnTo>
                    <a:pt x="2959" y="1272"/>
                  </a:lnTo>
                  <a:lnTo>
                    <a:pt x="2948" y="1276"/>
                  </a:lnTo>
                  <a:lnTo>
                    <a:pt x="2936" y="1281"/>
                  </a:lnTo>
                  <a:lnTo>
                    <a:pt x="2924" y="1286"/>
                  </a:lnTo>
                  <a:lnTo>
                    <a:pt x="2912" y="1293"/>
                  </a:lnTo>
                  <a:lnTo>
                    <a:pt x="2900" y="1300"/>
                  </a:lnTo>
                  <a:lnTo>
                    <a:pt x="2887" y="1308"/>
                  </a:lnTo>
                  <a:lnTo>
                    <a:pt x="2876" y="1316"/>
                  </a:lnTo>
                  <a:lnTo>
                    <a:pt x="2864" y="1326"/>
                  </a:lnTo>
                  <a:lnTo>
                    <a:pt x="2853" y="1335"/>
                  </a:lnTo>
                  <a:lnTo>
                    <a:pt x="2843" y="1344"/>
                  </a:lnTo>
                  <a:lnTo>
                    <a:pt x="2834" y="1354"/>
                  </a:lnTo>
                  <a:lnTo>
                    <a:pt x="2825" y="1363"/>
                  </a:lnTo>
                  <a:lnTo>
                    <a:pt x="2819" y="1373"/>
                  </a:lnTo>
                  <a:lnTo>
                    <a:pt x="2814" y="1383"/>
                  </a:lnTo>
                  <a:lnTo>
                    <a:pt x="2811" y="1392"/>
                  </a:lnTo>
                  <a:lnTo>
                    <a:pt x="2819" y="1392"/>
                  </a:lnTo>
                  <a:lnTo>
                    <a:pt x="2825" y="1391"/>
                  </a:lnTo>
                  <a:lnTo>
                    <a:pt x="2832" y="1389"/>
                  </a:lnTo>
                  <a:lnTo>
                    <a:pt x="2836" y="1387"/>
                  </a:lnTo>
                  <a:lnTo>
                    <a:pt x="2840" y="1385"/>
                  </a:lnTo>
                  <a:lnTo>
                    <a:pt x="2845" y="1382"/>
                  </a:lnTo>
                  <a:lnTo>
                    <a:pt x="2847" y="1379"/>
                  </a:lnTo>
                  <a:lnTo>
                    <a:pt x="2850" y="1375"/>
                  </a:lnTo>
                  <a:lnTo>
                    <a:pt x="2855" y="1369"/>
                  </a:lnTo>
                  <a:lnTo>
                    <a:pt x="2859" y="1363"/>
                  </a:lnTo>
                  <a:lnTo>
                    <a:pt x="2861" y="1361"/>
                  </a:lnTo>
                  <a:lnTo>
                    <a:pt x="2864" y="1358"/>
                  </a:lnTo>
                  <a:lnTo>
                    <a:pt x="2867" y="1356"/>
                  </a:lnTo>
                  <a:lnTo>
                    <a:pt x="2870" y="1355"/>
                  </a:lnTo>
                  <a:lnTo>
                    <a:pt x="2888" y="1346"/>
                  </a:lnTo>
                  <a:lnTo>
                    <a:pt x="2905" y="1337"/>
                  </a:lnTo>
                  <a:lnTo>
                    <a:pt x="2923" y="1327"/>
                  </a:lnTo>
                  <a:lnTo>
                    <a:pt x="2940" y="1315"/>
                  </a:lnTo>
                  <a:lnTo>
                    <a:pt x="2976" y="1293"/>
                  </a:lnTo>
                  <a:lnTo>
                    <a:pt x="3012" y="1271"/>
                  </a:lnTo>
                  <a:lnTo>
                    <a:pt x="3029" y="1260"/>
                  </a:lnTo>
                  <a:lnTo>
                    <a:pt x="3048" y="1251"/>
                  </a:lnTo>
                  <a:lnTo>
                    <a:pt x="3067" y="1242"/>
                  </a:lnTo>
                  <a:lnTo>
                    <a:pt x="3085" y="1235"/>
                  </a:lnTo>
                  <a:lnTo>
                    <a:pt x="3104" y="1228"/>
                  </a:lnTo>
                  <a:lnTo>
                    <a:pt x="3123" y="1224"/>
                  </a:lnTo>
                  <a:lnTo>
                    <a:pt x="3142" y="1221"/>
                  </a:lnTo>
                  <a:lnTo>
                    <a:pt x="3162" y="1220"/>
                  </a:lnTo>
                  <a:lnTo>
                    <a:pt x="3171" y="1220"/>
                  </a:lnTo>
                  <a:lnTo>
                    <a:pt x="3179" y="1222"/>
                  </a:lnTo>
                  <a:lnTo>
                    <a:pt x="3189" y="1225"/>
                  </a:lnTo>
                  <a:lnTo>
                    <a:pt x="3196" y="1229"/>
                  </a:lnTo>
                  <a:lnTo>
                    <a:pt x="3204" y="1234"/>
                  </a:lnTo>
                  <a:lnTo>
                    <a:pt x="3210" y="1240"/>
                  </a:lnTo>
                  <a:lnTo>
                    <a:pt x="3213" y="1244"/>
                  </a:lnTo>
                  <a:lnTo>
                    <a:pt x="3214" y="1248"/>
                  </a:lnTo>
                  <a:lnTo>
                    <a:pt x="3215" y="1252"/>
                  </a:lnTo>
                  <a:lnTo>
                    <a:pt x="3216" y="1256"/>
                  </a:lnTo>
                  <a:lnTo>
                    <a:pt x="3215" y="1265"/>
                  </a:lnTo>
                  <a:lnTo>
                    <a:pt x="3213" y="1274"/>
                  </a:lnTo>
                  <a:lnTo>
                    <a:pt x="3208" y="1281"/>
                  </a:lnTo>
                  <a:lnTo>
                    <a:pt x="3203" y="1287"/>
                  </a:lnTo>
                  <a:lnTo>
                    <a:pt x="3197" y="1293"/>
                  </a:lnTo>
                  <a:lnTo>
                    <a:pt x="3191" y="1296"/>
                  </a:lnTo>
                  <a:lnTo>
                    <a:pt x="3183" y="1299"/>
                  </a:lnTo>
                  <a:lnTo>
                    <a:pt x="3175" y="1299"/>
                  </a:lnTo>
                  <a:lnTo>
                    <a:pt x="3165" y="1299"/>
                  </a:lnTo>
                  <a:lnTo>
                    <a:pt x="3156" y="1298"/>
                  </a:lnTo>
                  <a:lnTo>
                    <a:pt x="3146" y="1296"/>
                  </a:lnTo>
                  <a:lnTo>
                    <a:pt x="3136" y="1293"/>
                  </a:lnTo>
                  <a:lnTo>
                    <a:pt x="3126" y="1291"/>
                  </a:lnTo>
                  <a:lnTo>
                    <a:pt x="3116" y="1289"/>
                  </a:lnTo>
                  <a:lnTo>
                    <a:pt x="3106" y="1288"/>
                  </a:lnTo>
                  <a:lnTo>
                    <a:pt x="3096" y="1287"/>
                  </a:lnTo>
                  <a:lnTo>
                    <a:pt x="3089" y="1288"/>
                  </a:lnTo>
                  <a:lnTo>
                    <a:pt x="3082" y="1289"/>
                  </a:lnTo>
                  <a:lnTo>
                    <a:pt x="3077" y="1290"/>
                  </a:lnTo>
                  <a:lnTo>
                    <a:pt x="3072" y="1292"/>
                  </a:lnTo>
                  <a:lnTo>
                    <a:pt x="3068" y="1294"/>
                  </a:lnTo>
                  <a:lnTo>
                    <a:pt x="3066" y="1298"/>
                  </a:lnTo>
                  <a:lnTo>
                    <a:pt x="3063" y="1301"/>
                  </a:lnTo>
                  <a:lnTo>
                    <a:pt x="3063" y="1306"/>
                  </a:lnTo>
                  <a:lnTo>
                    <a:pt x="3129" y="1331"/>
                  </a:lnTo>
                  <a:lnTo>
                    <a:pt x="3140" y="1329"/>
                  </a:lnTo>
                  <a:lnTo>
                    <a:pt x="3152" y="1325"/>
                  </a:lnTo>
                  <a:lnTo>
                    <a:pt x="3159" y="1324"/>
                  </a:lnTo>
                  <a:lnTo>
                    <a:pt x="3164" y="1323"/>
                  </a:lnTo>
                  <a:lnTo>
                    <a:pt x="3171" y="1323"/>
                  </a:lnTo>
                  <a:lnTo>
                    <a:pt x="3175" y="1325"/>
                  </a:lnTo>
                  <a:lnTo>
                    <a:pt x="3170" y="1333"/>
                  </a:lnTo>
                  <a:lnTo>
                    <a:pt x="3164" y="1340"/>
                  </a:lnTo>
                  <a:lnTo>
                    <a:pt x="3158" y="1346"/>
                  </a:lnTo>
                  <a:lnTo>
                    <a:pt x="3151" y="1351"/>
                  </a:lnTo>
                  <a:lnTo>
                    <a:pt x="3145" y="1356"/>
                  </a:lnTo>
                  <a:lnTo>
                    <a:pt x="3140" y="1361"/>
                  </a:lnTo>
                  <a:lnTo>
                    <a:pt x="3138" y="1364"/>
                  </a:lnTo>
                  <a:lnTo>
                    <a:pt x="3137" y="1367"/>
                  </a:lnTo>
                  <a:lnTo>
                    <a:pt x="3136" y="1370"/>
                  </a:lnTo>
                  <a:lnTo>
                    <a:pt x="3136" y="1373"/>
                  </a:lnTo>
                  <a:lnTo>
                    <a:pt x="3136" y="1380"/>
                  </a:lnTo>
                  <a:lnTo>
                    <a:pt x="3137" y="1386"/>
                  </a:lnTo>
                  <a:lnTo>
                    <a:pt x="3138" y="1391"/>
                  </a:lnTo>
                  <a:lnTo>
                    <a:pt x="3140" y="1396"/>
                  </a:lnTo>
                  <a:lnTo>
                    <a:pt x="3144" y="1401"/>
                  </a:lnTo>
                  <a:lnTo>
                    <a:pt x="3146" y="1405"/>
                  </a:lnTo>
                  <a:lnTo>
                    <a:pt x="3149" y="1410"/>
                  </a:lnTo>
                  <a:lnTo>
                    <a:pt x="3153" y="1413"/>
                  </a:lnTo>
                  <a:lnTo>
                    <a:pt x="3162" y="1420"/>
                  </a:lnTo>
                  <a:lnTo>
                    <a:pt x="3173" y="1426"/>
                  </a:lnTo>
                  <a:lnTo>
                    <a:pt x="3184" y="1431"/>
                  </a:lnTo>
                  <a:lnTo>
                    <a:pt x="3196" y="1436"/>
                  </a:lnTo>
                  <a:lnTo>
                    <a:pt x="3209" y="1439"/>
                  </a:lnTo>
                  <a:lnTo>
                    <a:pt x="3224" y="1441"/>
                  </a:lnTo>
                  <a:lnTo>
                    <a:pt x="3237" y="1442"/>
                  </a:lnTo>
                  <a:lnTo>
                    <a:pt x="3251" y="1443"/>
                  </a:lnTo>
                  <a:lnTo>
                    <a:pt x="3277" y="1443"/>
                  </a:lnTo>
                  <a:lnTo>
                    <a:pt x="3302" y="1442"/>
                  </a:lnTo>
                  <a:lnTo>
                    <a:pt x="3302" y="1466"/>
                  </a:lnTo>
                  <a:lnTo>
                    <a:pt x="3292" y="1469"/>
                  </a:lnTo>
                  <a:lnTo>
                    <a:pt x="3283" y="1471"/>
                  </a:lnTo>
                  <a:lnTo>
                    <a:pt x="3274" y="1472"/>
                  </a:lnTo>
                  <a:lnTo>
                    <a:pt x="3265" y="1472"/>
                  </a:lnTo>
                  <a:lnTo>
                    <a:pt x="3257" y="1472"/>
                  </a:lnTo>
                  <a:lnTo>
                    <a:pt x="3248" y="1473"/>
                  </a:lnTo>
                  <a:lnTo>
                    <a:pt x="3239" y="1474"/>
                  </a:lnTo>
                  <a:lnTo>
                    <a:pt x="3229" y="1478"/>
                  </a:lnTo>
                  <a:lnTo>
                    <a:pt x="3213" y="1485"/>
                  </a:lnTo>
                  <a:lnTo>
                    <a:pt x="3198" y="1494"/>
                  </a:lnTo>
                  <a:lnTo>
                    <a:pt x="3184" y="1502"/>
                  </a:lnTo>
                  <a:lnTo>
                    <a:pt x="3172" y="1510"/>
                  </a:lnTo>
                  <a:lnTo>
                    <a:pt x="3158" y="1519"/>
                  </a:lnTo>
                  <a:lnTo>
                    <a:pt x="3144" y="1527"/>
                  </a:lnTo>
                  <a:lnTo>
                    <a:pt x="3128" y="1536"/>
                  </a:lnTo>
                  <a:lnTo>
                    <a:pt x="3109" y="1546"/>
                  </a:lnTo>
                  <a:lnTo>
                    <a:pt x="3099" y="1550"/>
                  </a:lnTo>
                  <a:lnTo>
                    <a:pt x="3088" y="1553"/>
                  </a:lnTo>
                  <a:lnTo>
                    <a:pt x="3077" y="1555"/>
                  </a:lnTo>
                  <a:lnTo>
                    <a:pt x="3066" y="1556"/>
                  </a:lnTo>
                  <a:lnTo>
                    <a:pt x="3056" y="1558"/>
                  </a:lnTo>
                  <a:lnTo>
                    <a:pt x="3047" y="1561"/>
                  </a:lnTo>
                  <a:lnTo>
                    <a:pt x="3044" y="1563"/>
                  </a:lnTo>
                  <a:lnTo>
                    <a:pt x="3040" y="1565"/>
                  </a:lnTo>
                  <a:lnTo>
                    <a:pt x="3038" y="1568"/>
                  </a:lnTo>
                  <a:lnTo>
                    <a:pt x="3036" y="1571"/>
                  </a:lnTo>
                  <a:lnTo>
                    <a:pt x="3026" y="1567"/>
                  </a:lnTo>
                  <a:lnTo>
                    <a:pt x="3018" y="1564"/>
                  </a:lnTo>
                  <a:lnTo>
                    <a:pt x="3015" y="1562"/>
                  </a:lnTo>
                  <a:lnTo>
                    <a:pt x="3012" y="1560"/>
                  </a:lnTo>
                  <a:lnTo>
                    <a:pt x="3011" y="1557"/>
                  </a:lnTo>
                  <a:lnTo>
                    <a:pt x="3010" y="1553"/>
                  </a:lnTo>
                  <a:lnTo>
                    <a:pt x="3010" y="1546"/>
                  </a:lnTo>
                  <a:lnTo>
                    <a:pt x="3012" y="1539"/>
                  </a:lnTo>
                  <a:lnTo>
                    <a:pt x="3013" y="1533"/>
                  </a:lnTo>
                  <a:lnTo>
                    <a:pt x="3016" y="1528"/>
                  </a:lnTo>
                  <a:lnTo>
                    <a:pt x="3019" y="1524"/>
                  </a:lnTo>
                  <a:lnTo>
                    <a:pt x="3024" y="1519"/>
                  </a:lnTo>
                  <a:lnTo>
                    <a:pt x="3028" y="1516"/>
                  </a:lnTo>
                  <a:lnTo>
                    <a:pt x="3033" y="1512"/>
                  </a:lnTo>
                  <a:lnTo>
                    <a:pt x="3045" y="1506"/>
                  </a:lnTo>
                  <a:lnTo>
                    <a:pt x="3058" y="1501"/>
                  </a:lnTo>
                  <a:lnTo>
                    <a:pt x="3072" y="1497"/>
                  </a:lnTo>
                  <a:lnTo>
                    <a:pt x="3086" y="1493"/>
                  </a:lnTo>
                  <a:lnTo>
                    <a:pt x="3117" y="1487"/>
                  </a:lnTo>
                  <a:lnTo>
                    <a:pt x="3147" y="1482"/>
                  </a:lnTo>
                  <a:lnTo>
                    <a:pt x="3160" y="1479"/>
                  </a:lnTo>
                  <a:lnTo>
                    <a:pt x="3172" y="1475"/>
                  </a:lnTo>
                  <a:lnTo>
                    <a:pt x="3182" y="1471"/>
                  </a:lnTo>
                  <a:lnTo>
                    <a:pt x="3189" y="1466"/>
                  </a:lnTo>
                  <a:lnTo>
                    <a:pt x="3178" y="1463"/>
                  </a:lnTo>
                  <a:lnTo>
                    <a:pt x="3169" y="1460"/>
                  </a:lnTo>
                  <a:lnTo>
                    <a:pt x="3160" y="1456"/>
                  </a:lnTo>
                  <a:lnTo>
                    <a:pt x="3153" y="1451"/>
                  </a:lnTo>
                  <a:lnTo>
                    <a:pt x="3147" y="1448"/>
                  </a:lnTo>
                  <a:lnTo>
                    <a:pt x="3139" y="1445"/>
                  </a:lnTo>
                  <a:lnTo>
                    <a:pt x="3131" y="1442"/>
                  </a:lnTo>
                  <a:lnTo>
                    <a:pt x="3123" y="1442"/>
                  </a:lnTo>
                  <a:lnTo>
                    <a:pt x="3117" y="1442"/>
                  </a:lnTo>
                  <a:lnTo>
                    <a:pt x="3113" y="1443"/>
                  </a:lnTo>
                  <a:lnTo>
                    <a:pt x="3107" y="1445"/>
                  </a:lnTo>
                  <a:lnTo>
                    <a:pt x="3103" y="1446"/>
                  </a:lnTo>
                  <a:lnTo>
                    <a:pt x="3093" y="1452"/>
                  </a:lnTo>
                  <a:lnTo>
                    <a:pt x="3083" y="1458"/>
                  </a:lnTo>
                  <a:lnTo>
                    <a:pt x="3074" y="1464"/>
                  </a:lnTo>
                  <a:lnTo>
                    <a:pt x="3066" y="1470"/>
                  </a:lnTo>
                  <a:lnTo>
                    <a:pt x="3057" y="1475"/>
                  </a:lnTo>
                  <a:lnTo>
                    <a:pt x="3049" y="1478"/>
                  </a:lnTo>
                  <a:lnTo>
                    <a:pt x="3044" y="1479"/>
                  </a:lnTo>
                  <a:lnTo>
                    <a:pt x="3036" y="1481"/>
                  </a:lnTo>
                  <a:lnTo>
                    <a:pt x="3026" y="1483"/>
                  </a:lnTo>
                  <a:lnTo>
                    <a:pt x="3016" y="1484"/>
                  </a:lnTo>
                  <a:lnTo>
                    <a:pt x="3010" y="1478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436" name="Freeform 434"/>
          <p:cNvSpPr>
            <a:spLocks/>
          </p:cNvSpPr>
          <p:nvPr userDrawn="1">
            <p:custDataLst>
              <p:tags r:id="rId274"/>
            </p:custDataLst>
          </p:nvPr>
        </p:nvSpPr>
        <p:spPr bwMode="auto">
          <a:xfrm>
            <a:off x="4829175" y="2844405"/>
            <a:ext cx="127000" cy="119063"/>
          </a:xfrm>
          <a:custGeom>
            <a:avLst/>
            <a:gdLst>
              <a:gd name="T0" fmla="*/ 50128893 w 292"/>
              <a:gd name="T1" fmla="*/ 2656485 h 308"/>
              <a:gd name="T2" fmla="*/ 52209605 w 292"/>
              <a:gd name="T3" fmla="*/ 9829615 h 308"/>
              <a:gd name="T4" fmla="*/ 54101121 w 292"/>
              <a:gd name="T5" fmla="*/ 24174840 h 308"/>
              <a:gd name="T6" fmla="*/ 55236292 w 292"/>
              <a:gd name="T7" fmla="*/ 38255143 h 308"/>
              <a:gd name="T8" fmla="*/ 55047097 w 292"/>
              <a:gd name="T9" fmla="*/ 42771269 h 308"/>
              <a:gd name="T10" fmla="*/ 54101121 w 292"/>
              <a:gd name="T11" fmla="*/ 47553354 h 308"/>
              <a:gd name="T12" fmla="*/ 50885674 w 292"/>
              <a:gd name="T13" fmla="*/ 54725964 h 308"/>
              <a:gd name="T14" fmla="*/ 43697129 w 292"/>
              <a:gd name="T15" fmla="*/ 49147038 h 308"/>
              <a:gd name="T16" fmla="*/ 31212425 w 292"/>
              <a:gd name="T17" fmla="*/ 68540318 h 308"/>
              <a:gd name="T18" fmla="*/ 24969849 w 292"/>
              <a:gd name="T19" fmla="*/ 73853286 h 308"/>
              <a:gd name="T20" fmla="*/ 11160776 w 292"/>
              <a:gd name="T21" fmla="*/ 78635370 h 308"/>
              <a:gd name="T22" fmla="*/ 6053376 w 292"/>
              <a:gd name="T23" fmla="*/ 81823255 h 308"/>
              <a:gd name="T24" fmla="*/ 1135171 w 292"/>
              <a:gd name="T25" fmla="*/ 81823255 h 308"/>
              <a:gd name="T26" fmla="*/ 1702322 w 292"/>
              <a:gd name="T27" fmla="*/ 78900813 h 308"/>
              <a:gd name="T28" fmla="*/ 2080712 w 292"/>
              <a:gd name="T29" fmla="*/ 75978886 h 308"/>
              <a:gd name="T30" fmla="*/ 1324366 w 292"/>
              <a:gd name="T31" fmla="*/ 70399960 h 308"/>
              <a:gd name="T32" fmla="*/ 378390 w 292"/>
              <a:gd name="T33" fmla="*/ 65352417 h 308"/>
              <a:gd name="T34" fmla="*/ 0 w 292"/>
              <a:gd name="T35" fmla="*/ 60570333 h 308"/>
              <a:gd name="T36" fmla="*/ 567586 w 292"/>
              <a:gd name="T37" fmla="*/ 54460522 h 308"/>
              <a:gd name="T38" fmla="*/ 2269907 w 292"/>
              <a:gd name="T39" fmla="*/ 49943880 h 308"/>
              <a:gd name="T40" fmla="*/ 4918205 w 292"/>
              <a:gd name="T41" fmla="*/ 46224596 h 308"/>
              <a:gd name="T42" fmla="*/ 7944894 w 292"/>
              <a:gd name="T43" fmla="*/ 42771269 h 308"/>
              <a:gd name="T44" fmla="*/ 14565857 w 292"/>
              <a:gd name="T45" fmla="*/ 35864101 h 308"/>
              <a:gd name="T46" fmla="*/ 17592544 w 292"/>
              <a:gd name="T47" fmla="*/ 31613409 h 308"/>
              <a:gd name="T48" fmla="*/ 19862451 w 292"/>
              <a:gd name="T49" fmla="*/ 26034482 h 308"/>
              <a:gd name="T50" fmla="*/ 18538085 w 292"/>
              <a:gd name="T51" fmla="*/ 25503598 h 308"/>
              <a:gd name="T52" fmla="*/ 17403349 w 292"/>
              <a:gd name="T53" fmla="*/ 24174840 h 308"/>
              <a:gd name="T54" fmla="*/ 15511398 w 292"/>
              <a:gd name="T55" fmla="*/ 19393271 h 308"/>
              <a:gd name="T56" fmla="*/ 13998268 w 292"/>
              <a:gd name="T57" fmla="*/ 13282941 h 308"/>
              <a:gd name="T58" fmla="*/ 13619878 w 292"/>
              <a:gd name="T59" fmla="*/ 6375771 h 308"/>
              <a:gd name="T60" fmla="*/ 17024959 w 292"/>
              <a:gd name="T61" fmla="*/ 5047528 h 308"/>
              <a:gd name="T62" fmla="*/ 19862451 w 292"/>
              <a:gd name="T63" fmla="*/ 5312971 h 308"/>
              <a:gd name="T64" fmla="*/ 24969849 w 292"/>
              <a:gd name="T65" fmla="*/ 6375771 h 308"/>
              <a:gd name="T66" fmla="*/ 31968771 w 292"/>
              <a:gd name="T67" fmla="*/ 5578928 h 308"/>
              <a:gd name="T68" fmla="*/ 39724901 w 292"/>
              <a:gd name="T69" fmla="*/ 3187885 h 308"/>
              <a:gd name="T70" fmla="*/ 48993723 w 292"/>
              <a:gd name="T71" fmla="*/ 0 h 30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292"/>
              <a:gd name="T109" fmla="*/ 0 h 308"/>
              <a:gd name="T110" fmla="*/ 292 w 292"/>
              <a:gd name="T111" fmla="*/ 308 h 308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292" h="308">
                <a:moveTo>
                  <a:pt x="259" y="0"/>
                </a:moveTo>
                <a:lnTo>
                  <a:pt x="265" y="10"/>
                </a:lnTo>
                <a:lnTo>
                  <a:pt x="271" y="23"/>
                </a:lnTo>
                <a:lnTo>
                  <a:pt x="276" y="37"/>
                </a:lnTo>
                <a:lnTo>
                  <a:pt x="280" y="54"/>
                </a:lnTo>
                <a:lnTo>
                  <a:pt x="286" y="91"/>
                </a:lnTo>
                <a:lnTo>
                  <a:pt x="292" y="135"/>
                </a:lnTo>
                <a:lnTo>
                  <a:pt x="292" y="144"/>
                </a:lnTo>
                <a:lnTo>
                  <a:pt x="292" y="153"/>
                </a:lnTo>
                <a:lnTo>
                  <a:pt x="291" y="161"/>
                </a:lnTo>
                <a:lnTo>
                  <a:pt x="289" y="168"/>
                </a:lnTo>
                <a:lnTo>
                  <a:pt x="286" y="179"/>
                </a:lnTo>
                <a:lnTo>
                  <a:pt x="281" y="189"/>
                </a:lnTo>
                <a:lnTo>
                  <a:pt x="269" y="206"/>
                </a:lnTo>
                <a:lnTo>
                  <a:pt x="258" y="225"/>
                </a:lnTo>
                <a:lnTo>
                  <a:pt x="231" y="185"/>
                </a:lnTo>
                <a:lnTo>
                  <a:pt x="192" y="222"/>
                </a:lnTo>
                <a:lnTo>
                  <a:pt x="165" y="258"/>
                </a:lnTo>
                <a:lnTo>
                  <a:pt x="152" y="246"/>
                </a:lnTo>
                <a:lnTo>
                  <a:pt x="132" y="278"/>
                </a:lnTo>
                <a:lnTo>
                  <a:pt x="132" y="296"/>
                </a:lnTo>
                <a:lnTo>
                  <a:pt x="59" y="296"/>
                </a:lnTo>
                <a:lnTo>
                  <a:pt x="46" y="302"/>
                </a:lnTo>
                <a:lnTo>
                  <a:pt x="32" y="308"/>
                </a:lnTo>
                <a:lnTo>
                  <a:pt x="19" y="308"/>
                </a:lnTo>
                <a:lnTo>
                  <a:pt x="6" y="308"/>
                </a:lnTo>
                <a:lnTo>
                  <a:pt x="8" y="302"/>
                </a:lnTo>
                <a:lnTo>
                  <a:pt x="9" y="297"/>
                </a:lnTo>
                <a:lnTo>
                  <a:pt x="11" y="291"/>
                </a:lnTo>
                <a:lnTo>
                  <a:pt x="11" y="286"/>
                </a:lnTo>
                <a:lnTo>
                  <a:pt x="9" y="276"/>
                </a:lnTo>
                <a:lnTo>
                  <a:pt x="7" y="265"/>
                </a:lnTo>
                <a:lnTo>
                  <a:pt x="5" y="256"/>
                </a:lnTo>
                <a:lnTo>
                  <a:pt x="2" y="246"/>
                </a:lnTo>
                <a:lnTo>
                  <a:pt x="0" y="237"/>
                </a:lnTo>
                <a:lnTo>
                  <a:pt x="0" y="228"/>
                </a:lnTo>
                <a:lnTo>
                  <a:pt x="0" y="216"/>
                </a:lnTo>
                <a:lnTo>
                  <a:pt x="3" y="205"/>
                </a:lnTo>
                <a:lnTo>
                  <a:pt x="6" y="196"/>
                </a:lnTo>
                <a:lnTo>
                  <a:pt x="12" y="188"/>
                </a:lnTo>
                <a:lnTo>
                  <a:pt x="18" y="180"/>
                </a:lnTo>
                <a:lnTo>
                  <a:pt x="26" y="174"/>
                </a:lnTo>
                <a:lnTo>
                  <a:pt x="34" y="167"/>
                </a:lnTo>
                <a:lnTo>
                  <a:pt x="42" y="161"/>
                </a:lnTo>
                <a:lnTo>
                  <a:pt x="60" y="148"/>
                </a:lnTo>
                <a:lnTo>
                  <a:pt x="77" y="135"/>
                </a:lnTo>
                <a:lnTo>
                  <a:pt x="85" y="128"/>
                </a:lnTo>
                <a:lnTo>
                  <a:pt x="93" y="119"/>
                </a:lnTo>
                <a:lnTo>
                  <a:pt x="99" y="110"/>
                </a:lnTo>
                <a:lnTo>
                  <a:pt x="105" y="98"/>
                </a:lnTo>
                <a:lnTo>
                  <a:pt x="102" y="98"/>
                </a:lnTo>
                <a:lnTo>
                  <a:pt x="98" y="96"/>
                </a:lnTo>
                <a:lnTo>
                  <a:pt x="95" y="94"/>
                </a:lnTo>
                <a:lnTo>
                  <a:pt x="92" y="91"/>
                </a:lnTo>
                <a:lnTo>
                  <a:pt x="86" y="83"/>
                </a:lnTo>
                <a:lnTo>
                  <a:pt x="82" y="73"/>
                </a:lnTo>
                <a:lnTo>
                  <a:pt x="77" y="62"/>
                </a:lnTo>
                <a:lnTo>
                  <a:pt x="74" y="50"/>
                </a:lnTo>
                <a:lnTo>
                  <a:pt x="73" y="36"/>
                </a:lnTo>
                <a:lnTo>
                  <a:pt x="72" y="24"/>
                </a:lnTo>
                <a:lnTo>
                  <a:pt x="82" y="21"/>
                </a:lnTo>
                <a:lnTo>
                  <a:pt x="90" y="19"/>
                </a:lnTo>
                <a:lnTo>
                  <a:pt x="97" y="19"/>
                </a:lnTo>
                <a:lnTo>
                  <a:pt x="105" y="20"/>
                </a:lnTo>
                <a:lnTo>
                  <a:pt x="118" y="23"/>
                </a:lnTo>
                <a:lnTo>
                  <a:pt x="132" y="24"/>
                </a:lnTo>
                <a:lnTo>
                  <a:pt x="149" y="23"/>
                </a:lnTo>
                <a:lnTo>
                  <a:pt x="169" y="21"/>
                </a:lnTo>
                <a:lnTo>
                  <a:pt x="189" y="17"/>
                </a:lnTo>
                <a:lnTo>
                  <a:pt x="210" y="12"/>
                </a:lnTo>
                <a:lnTo>
                  <a:pt x="244" y="4"/>
                </a:lnTo>
                <a:lnTo>
                  <a:pt x="259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37" name="Freeform 435"/>
          <p:cNvSpPr>
            <a:spLocks/>
          </p:cNvSpPr>
          <p:nvPr userDrawn="1">
            <p:custDataLst>
              <p:tags r:id="rId275"/>
            </p:custDataLst>
          </p:nvPr>
        </p:nvSpPr>
        <p:spPr bwMode="auto">
          <a:xfrm>
            <a:off x="4935538" y="2957518"/>
            <a:ext cx="6350" cy="42863"/>
          </a:xfrm>
          <a:custGeom>
            <a:avLst/>
            <a:gdLst>
              <a:gd name="T0" fmla="*/ 2262868 w 14"/>
              <a:gd name="T1" fmla="*/ 0 h 7"/>
              <a:gd name="T2" fmla="*/ 2674257 w 14"/>
              <a:gd name="T3" fmla="*/ 199967859 h 7"/>
              <a:gd name="T4" fmla="*/ 2880179 w 14"/>
              <a:gd name="T5" fmla="*/ 466588929 h 7"/>
              <a:gd name="T6" fmla="*/ 0 w 14"/>
              <a:gd name="T7" fmla="*/ 466588929 h 7"/>
              <a:gd name="T8" fmla="*/ 2262868 w 14"/>
              <a:gd name="T9" fmla="*/ 0 h 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4"/>
              <a:gd name="T16" fmla="*/ 0 h 7"/>
              <a:gd name="T17" fmla="*/ 14 w 14"/>
              <a:gd name="T18" fmla="*/ 7 h 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4" h="7">
                <a:moveTo>
                  <a:pt x="11" y="0"/>
                </a:moveTo>
                <a:lnTo>
                  <a:pt x="13" y="3"/>
                </a:lnTo>
                <a:lnTo>
                  <a:pt x="14" y="7"/>
                </a:lnTo>
                <a:lnTo>
                  <a:pt x="0" y="7"/>
                </a:lnTo>
                <a:lnTo>
                  <a:pt x="11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38" name="Freeform 436"/>
          <p:cNvSpPr>
            <a:spLocks/>
          </p:cNvSpPr>
          <p:nvPr userDrawn="1">
            <p:custDataLst>
              <p:tags r:id="rId276"/>
            </p:custDataLst>
          </p:nvPr>
        </p:nvSpPr>
        <p:spPr bwMode="auto">
          <a:xfrm>
            <a:off x="4425954" y="2384827"/>
            <a:ext cx="249237" cy="375047"/>
          </a:xfrm>
          <a:custGeom>
            <a:avLst/>
            <a:gdLst>
              <a:gd name="T0" fmla="*/ 14905746 w 581"/>
              <a:gd name="T1" fmla="*/ 31531135 h 955"/>
              <a:gd name="T2" fmla="*/ 19138483 w 581"/>
              <a:gd name="T3" fmla="*/ 41675854 h 955"/>
              <a:gd name="T4" fmla="*/ 20426708 w 581"/>
              <a:gd name="T5" fmla="*/ 49353243 h 955"/>
              <a:gd name="T6" fmla="*/ 17482195 w 581"/>
              <a:gd name="T7" fmla="*/ 64158740 h 955"/>
              <a:gd name="T8" fmla="*/ 17666227 w 581"/>
              <a:gd name="T9" fmla="*/ 89109487 h 955"/>
              <a:gd name="T10" fmla="*/ 17114131 w 581"/>
              <a:gd name="T11" fmla="*/ 99528578 h 955"/>
              <a:gd name="T12" fmla="*/ 15089778 w 581"/>
              <a:gd name="T13" fmla="*/ 108576818 h 955"/>
              <a:gd name="T14" fmla="*/ 10857466 w 581"/>
              <a:gd name="T15" fmla="*/ 117624534 h 955"/>
              <a:gd name="T16" fmla="*/ 5704567 w 581"/>
              <a:gd name="T17" fmla="*/ 126398394 h 955"/>
              <a:gd name="T18" fmla="*/ 3128546 w 581"/>
              <a:gd name="T19" fmla="*/ 131882319 h 955"/>
              <a:gd name="T20" fmla="*/ 368064 w 581"/>
              <a:gd name="T21" fmla="*/ 148607458 h 955"/>
              <a:gd name="T22" fmla="*/ 12697787 w 581"/>
              <a:gd name="T23" fmla="*/ 168896879 h 955"/>
              <a:gd name="T24" fmla="*/ 12697787 w 581"/>
              <a:gd name="T25" fmla="*/ 173832045 h 955"/>
              <a:gd name="T26" fmla="*/ 13617518 w 581"/>
              <a:gd name="T27" fmla="*/ 182332049 h 955"/>
              <a:gd name="T28" fmla="*/ 13617518 w 581"/>
              <a:gd name="T29" fmla="*/ 190831530 h 955"/>
              <a:gd name="T30" fmla="*/ 14353650 w 581"/>
              <a:gd name="T31" fmla="*/ 200976241 h 955"/>
              <a:gd name="T32" fmla="*/ 17298163 w 581"/>
              <a:gd name="T33" fmla="*/ 213314417 h 955"/>
              <a:gd name="T34" fmla="*/ 19322515 w 581"/>
              <a:gd name="T35" fmla="*/ 217153112 h 955"/>
              <a:gd name="T36" fmla="*/ 12513755 w 581"/>
              <a:gd name="T37" fmla="*/ 217701347 h 955"/>
              <a:gd name="T38" fmla="*/ 7728921 w 581"/>
              <a:gd name="T39" fmla="*/ 219894812 h 955"/>
              <a:gd name="T40" fmla="*/ 6624727 w 581"/>
              <a:gd name="T41" fmla="*/ 222637036 h 955"/>
              <a:gd name="T42" fmla="*/ 7728921 w 581"/>
              <a:gd name="T43" fmla="*/ 230862138 h 955"/>
              <a:gd name="T44" fmla="*/ 12697787 w 581"/>
              <a:gd name="T45" fmla="*/ 240184757 h 955"/>
              <a:gd name="T46" fmla="*/ 16009938 w 581"/>
              <a:gd name="T47" fmla="*/ 246490773 h 955"/>
              <a:gd name="T48" fmla="*/ 18402355 w 581"/>
              <a:gd name="T49" fmla="*/ 254168163 h 955"/>
              <a:gd name="T50" fmla="*/ 28707728 w 581"/>
              <a:gd name="T51" fmla="*/ 261845029 h 955"/>
              <a:gd name="T52" fmla="*/ 34780357 w 581"/>
              <a:gd name="T53" fmla="*/ 258280713 h 955"/>
              <a:gd name="T54" fmla="*/ 45637820 w 581"/>
              <a:gd name="T55" fmla="*/ 254716398 h 955"/>
              <a:gd name="T56" fmla="*/ 51342385 w 581"/>
              <a:gd name="T57" fmla="*/ 252522933 h 955"/>
              <a:gd name="T58" fmla="*/ 54654962 w 581"/>
              <a:gd name="T59" fmla="*/ 247861623 h 955"/>
              <a:gd name="T60" fmla="*/ 55575122 w 581"/>
              <a:gd name="T61" fmla="*/ 244571687 h 955"/>
              <a:gd name="T62" fmla="*/ 55575122 w 581"/>
              <a:gd name="T63" fmla="*/ 237991292 h 955"/>
              <a:gd name="T64" fmla="*/ 62199861 w 581"/>
              <a:gd name="T65" fmla="*/ 238813907 h 955"/>
              <a:gd name="T66" fmla="*/ 67536362 w 581"/>
              <a:gd name="T67" fmla="*/ 237442533 h 955"/>
              <a:gd name="T68" fmla="*/ 71585067 w 581"/>
              <a:gd name="T69" fmla="*/ 234700832 h 955"/>
              <a:gd name="T70" fmla="*/ 74529580 w 581"/>
              <a:gd name="T71" fmla="*/ 230862138 h 955"/>
              <a:gd name="T72" fmla="*/ 79498017 w 581"/>
              <a:gd name="T73" fmla="*/ 221266186 h 955"/>
              <a:gd name="T74" fmla="*/ 84650486 w 581"/>
              <a:gd name="T75" fmla="*/ 211943567 h 955"/>
              <a:gd name="T76" fmla="*/ 87779031 w 581"/>
              <a:gd name="T77" fmla="*/ 208379251 h 955"/>
              <a:gd name="T78" fmla="*/ 92379832 w 581"/>
              <a:gd name="T79" fmla="*/ 206185786 h 955"/>
              <a:gd name="T80" fmla="*/ 95876012 w 581"/>
              <a:gd name="T81" fmla="*/ 204266700 h 955"/>
              <a:gd name="T82" fmla="*/ 91827736 w 581"/>
              <a:gd name="T83" fmla="*/ 191105910 h 955"/>
              <a:gd name="T84" fmla="*/ 89067255 w 581"/>
              <a:gd name="T85" fmla="*/ 179041590 h 955"/>
              <a:gd name="T86" fmla="*/ 86858870 w 581"/>
              <a:gd name="T87" fmla="*/ 170816488 h 955"/>
              <a:gd name="T88" fmla="*/ 88515159 w 581"/>
              <a:gd name="T89" fmla="*/ 167251649 h 955"/>
              <a:gd name="T90" fmla="*/ 89619351 w 581"/>
              <a:gd name="T91" fmla="*/ 158752168 h 955"/>
              <a:gd name="T92" fmla="*/ 90907576 w 581"/>
              <a:gd name="T93" fmla="*/ 148333078 h 955"/>
              <a:gd name="T94" fmla="*/ 92931928 w 581"/>
              <a:gd name="T95" fmla="*/ 142301442 h 955"/>
              <a:gd name="T96" fmla="*/ 97900365 w 581"/>
              <a:gd name="T97" fmla="*/ 133253169 h 955"/>
              <a:gd name="T98" fmla="*/ 104893154 w 581"/>
              <a:gd name="T99" fmla="*/ 126398394 h 955"/>
              <a:gd name="T100" fmla="*/ 23738856 w 581"/>
              <a:gd name="T101" fmla="*/ 0 h 955"/>
              <a:gd name="T102" fmla="*/ 18034291 w 581"/>
              <a:gd name="T103" fmla="*/ 1370851 h 955"/>
              <a:gd name="T104" fmla="*/ 12697787 w 581"/>
              <a:gd name="T105" fmla="*/ 6580397 h 955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581"/>
              <a:gd name="T160" fmla="*/ 0 h 955"/>
              <a:gd name="T161" fmla="*/ 581 w 581"/>
              <a:gd name="T162" fmla="*/ 955 h 955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581" h="955">
                <a:moveTo>
                  <a:pt x="69" y="24"/>
                </a:moveTo>
                <a:lnTo>
                  <a:pt x="69" y="97"/>
                </a:lnTo>
                <a:lnTo>
                  <a:pt x="81" y="115"/>
                </a:lnTo>
                <a:lnTo>
                  <a:pt x="91" y="129"/>
                </a:lnTo>
                <a:lnTo>
                  <a:pt x="99" y="141"/>
                </a:lnTo>
                <a:lnTo>
                  <a:pt x="104" y="152"/>
                </a:lnTo>
                <a:lnTo>
                  <a:pt x="107" y="163"/>
                </a:lnTo>
                <a:lnTo>
                  <a:pt x="110" y="172"/>
                </a:lnTo>
                <a:lnTo>
                  <a:pt x="111" y="180"/>
                </a:lnTo>
                <a:lnTo>
                  <a:pt x="110" y="186"/>
                </a:lnTo>
                <a:lnTo>
                  <a:pt x="102" y="209"/>
                </a:lnTo>
                <a:lnTo>
                  <a:pt x="95" y="234"/>
                </a:lnTo>
                <a:lnTo>
                  <a:pt x="96" y="276"/>
                </a:lnTo>
                <a:lnTo>
                  <a:pt x="96" y="309"/>
                </a:lnTo>
                <a:lnTo>
                  <a:pt x="96" y="325"/>
                </a:lnTo>
                <a:lnTo>
                  <a:pt x="96" y="339"/>
                </a:lnTo>
                <a:lnTo>
                  <a:pt x="95" y="351"/>
                </a:lnTo>
                <a:lnTo>
                  <a:pt x="93" y="363"/>
                </a:lnTo>
                <a:lnTo>
                  <a:pt x="91" y="374"/>
                </a:lnTo>
                <a:lnTo>
                  <a:pt x="87" y="386"/>
                </a:lnTo>
                <a:lnTo>
                  <a:pt x="82" y="396"/>
                </a:lnTo>
                <a:lnTo>
                  <a:pt x="76" y="407"/>
                </a:lnTo>
                <a:lnTo>
                  <a:pt x="69" y="418"/>
                </a:lnTo>
                <a:lnTo>
                  <a:pt x="59" y="429"/>
                </a:lnTo>
                <a:lnTo>
                  <a:pt x="48" y="442"/>
                </a:lnTo>
                <a:lnTo>
                  <a:pt x="36" y="455"/>
                </a:lnTo>
                <a:lnTo>
                  <a:pt x="31" y="461"/>
                </a:lnTo>
                <a:lnTo>
                  <a:pt x="26" y="467"/>
                </a:lnTo>
                <a:lnTo>
                  <a:pt x="22" y="474"/>
                </a:lnTo>
                <a:lnTo>
                  <a:pt x="17" y="481"/>
                </a:lnTo>
                <a:lnTo>
                  <a:pt x="12" y="496"/>
                </a:lnTo>
                <a:lnTo>
                  <a:pt x="8" y="512"/>
                </a:lnTo>
                <a:lnTo>
                  <a:pt x="2" y="542"/>
                </a:lnTo>
                <a:lnTo>
                  <a:pt x="0" y="568"/>
                </a:lnTo>
                <a:lnTo>
                  <a:pt x="29" y="578"/>
                </a:lnTo>
                <a:lnTo>
                  <a:pt x="69" y="616"/>
                </a:lnTo>
                <a:lnTo>
                  <a:pt x="51" y="632"/>
                </a:lnTo>
                <a:lnTo>
                  <a:pt x="60" y="633"/>
                </a:lnTo>
                <a:lnTo>
                  <a:pt x="69" y="634"/>
                </a:lnTo>
                <a:lnTo>
                  <a:pt x="70" y="643"/>
                </a:lnTo>
                <a:lnTo>
                  <a:pt x="72" y="653"/>
                </a:lnTo>
                <a:lnTo>
                  <a:pt x="74" y="665"/>
                </a:lnTo>
                <a:lnTo>
                  <a:pt x="76" y="677"/>
                </a:lnTo>
                <a:lnTo>
                  <a:pt x="74" y="686"/>
                </a:lnTo>
                <a:lnTo>
                  <a:pt x="74" y="696"/>
                </a:lnTo>
                <a:lnTo>
                  <a:pt x="74" y="705"/>
                </a:lnTo>
                <a:lnTo>
                  <a:pt x="76" y="715"/>
                </a:lnTo>
                <a:lnTo>
                  <a:pt x="78" y="733"/>
                </a:lnTo>
                <a:lnTo>
                  <a:pt x="82" y="749"/>
                </a:lnTo>
                <a:lnTo>
                  <a:pt x="88" y="764"/>
                </a:lnTo>
                <a:lnTo>
                  <a:pt x="94" y="778"/>
                </a:lnTo>
                <a:lnTo>
                  <a:pt x="98" y="783"/>
                </a:lnTo>
                <a:lnTo>
                  <a:pt x="102" y="788"/>
                </a:lnTo>
                <a:lnTo>
                  <a:pt x="105" y="792"/>
                </a:lnTo>
                <a:lnTo>
                  <a:pt x="109" y="794"/>
                </a:lnTo>
                <a:lnTo>
                  <a:pt x="92" y="794"/>
                </a:lnTo>
                <a:lnTo>
                  <a:pt x="68" y="794"/>
                </a:lnTo>
                <a:lnTo>
                  <a:pt x="56" y="796"/>
                </a:lnTo>
                <a:lnTo>
                  <a:pt x="46" y="799"/>
                </a:lnTo>
                <a:lnTo>
                  <a:pt x="42" y="802"/>
                </a:lnTo>
                <a:lnTo>
                  <a:pt x="38" y="805"/>
                </a:lnTo>
                <a:lnTo>
                  <a:pt x="36" y="808"/>
                </a:lnTo>
                <a:lnTo>
                  <a:pt x="36" y="812"/>
                </a:lnTo>
                <a:lnTo>
                  <a:pt x="36" y="824"/>
                </a:lnTo>
                <a:lnTo>
                  <a:pt x="38" y="834"/>
                </a:lnTo>
                <a:lnTo>
                  <a:pt x="42" y="842"/>
                </a:lnTo>
                <a:lnTo>
                  <a:pt x="46" y="850"/>
                </a:lnTo>
                <a:lnTo>
                  <a:pt x="57" y="863"/>
                </a:lnTo>
                <a:lnTo>
                  <a:pt x="69" y="876"/>
                </a:lnTo>
                <a:lnTo>
                  <a:pt x="76" y="884"/>
                </a:lnTo>
                <a:lnTo>
                  <a:pt x="81" y="891"/>
                </a:lnTo>
                <a:lnTo>
                  <a:pt x="87" y="899"/>
                </a:lnTo>
                <a:lnTo>
                  <a:pt x="92" y="907"/>
                </a:lnTo>
                <a:lnTo>
                  <a:pt x="96" y="917"/>
                </a:lnTo>
                <a:lnTo>
                  <a:pt x="100" y="927"/>
                </a:lnTo>
                <a:lnTo>
                  <a:pt x="102" y="941"/>
                </a:lnTo>
                <a:lnTo>
                  <a:pt x="102" y="955"/>
                </a:lnTo>
                <a:lnTo>
                  <a:pt x="156" y="955"/>
                </a:lnTo>
                <a:lnTo>
                  <a:pt x="166" y="949"/>
                </a:lnTo>
                <a:lnTo>
                  <a:pt x="177" y="945"/>
                </a:lnTo>
                <a:lnTo>
                  <a:pt x="189" y="942"/>
                </a:lnTo>
                <a:lnTo>
                  <a:pt x="201" y="939"/>
                </a:lnTo>
                <a:lnTo>
                  <a:pt x="225" y="935"/>
                </a:lnTo>
                <a:lnTo>
                  <a:pt x="248" y="929"/>
                </a:lnTo>
                <a:lnTo>
                  <a:pt x="259" y="927"/>
                </a:lnTo>
                <a:lnTo>
                  <a:pt x="270" y="924"/>
                </a:lnTo>
                <a:lnTo>
                  <a:pt x="279" y="921"/>
                </a:lnTo>
                <a:lnTo>
                  <a:pt x="286" y="916"/>
                </a:lnTo>
                <a:lnTo>
                  <a:pt x="293" y="911"/>
                </a:lnTo>
                <a:lnTo>
                  <a:pt x="297" y="904"/>
                </a:lnTo>
                <a:lnTo>
                  <a:pt x="300" y="901"/>
                </a:lnTo>
                <a:lnTo>
                  <a:pt x="301" y="896"/>
                </a:lnTo>
                <a:lnTo>
                  <a:pt x="302" y="892"/>
                </a:lnTo>
                <a:lnTo>
                  <a:pt x="302" y="887"/>
                </a:lnTo>
                <a:lnTo>
                  <a:pt x="302" y="877"/>
                </a:lnTo>
                <a:lnTo>
                  <a:pt x="302" y="868"/>
                </a:lnTo>
                <a:lnTo>
                  <a:pt x="315" y="870"/>
                </a:lnTo>
                <a:lnTo>
                  <a:pt x="327" y="871"/>
                </a:lnTo>
                <a:lnTo>
                  <a:pt x="338" y="871"/>
                </a:lnTo>
                <a:lnTo>
                  <a:pt x="348" y="870"/>
                </a:lnTo>
                <a:lnTo>
                  <a:pt x="358" y="868"/>
                </a:lnTo>
                <a:lnTo>
                  <a:pt x="367" y="866"/>
                </a:lnTo>
                <a:lnTo>
                  <a:pt x="374" y="863"/>
                </a:lnTo>
                <a:lnTo>
                  <a:pt x="382" y="860"/>
                </a:lnTo>
                <a:lnTo>
                  <a:pt x="389" y="856"/>
                </a:lnTo>
                <a:lnTo>
                  <a:pt x="394" y="852"/>
                </a:lnTo>
                <a:lnTo>
                  <a:pt x="401" y="847"/>
                </a:lnTo>
                <a:lnTo>
                  <a:pt x="405" y="842"/>
                </a:lnTo>
                <a:lnTo>
                  <a:pt x="415" y="831"/>
                </a:lnTo>
                <a:lnTo>
                  <a:pt x="424" y="818"/>
                </a:lnTo>
                <a:lnTo>
                  <a:pt x="432" y="807"/>
                </a:lnTo>
                <a:lnTo>
                  <a:pt x="440" y="795"/>
                </a:lnTo>
                <a:lnTo>
                  <a:pt x="449" y="783"/>
                </a:lnTo>
                <a:lnTo>
                  <a:pt x="460" y="773"/>
                </a:lnTo>
                <a:lnTo>
                  <a:pt x="465" y="769"/>
                </a:lnTo>
                <a:lnTo>
                  <a:pt x="471" y="764"/>
                </a:lnTo>
                <a:lnTo>
                  <a:pt x="477" y="760"/>
                </a:lnTo>
                <a:lnTo>
                  <a:pt x="485" y="757"/>
                </a:lnTo>
                <a:lnTo>
                  <a:pt x="493" y="754"/>
                </a:lnTo>
                <a:lnTo>
                  <a:pt x="502" y="752"/>
                </a:lnTo>
                <a:lnTo>
                  <a:pt x="510" y="751"/>
                </a:lnTo>
                <a:lnTo>
                  <a:pt x="521" y="751"/>
                </a:lnTo>
                <a:lnTo>
                  <a:pt x="521" y="745"/>
                </a:lnTo>
                <a:lnTo>
                  <a:pt x="511" y="729"/>
                </a:lnTo>
                <a:lnTo>
                  <a:pt x="505" y="713"/>
                </a:lnTo>
                <a:lnTo>
                  <a:pt x="499" y="697"/>
                </a:lnTo>
                <a:lnTo>
                  <a:pt x="494" y="682"/>
                </a:lnTo>
                <a:lnTo>
                  <a:pt x="490" y="667"/>
                </a:lnTo>
                <a:lnTo>
                  <a:pt x="484" y="653"/>
                </a:lnTo>
                <a:lnTo>
                  <a:pt x="476" y="640"/>
                </a:lnTo>
                <a:lnTo>
                  <a:pt x="468" y="628"/>
                </a:lnTo>
                <a:lnTo>
                  <a:pt x="472" y="623"/>
                </a:lnTo>
                <a:lnTo>
                  <a:pt x="476" y="619"/>
                </a:lnTo>
                <a:lnTo>
                  <a:pt x="479" y="614"/>
                </a:lnTo>
                <a:lnTo>
                  <a:pt x="481" y="610"/>
                </a:lnTo>
                <a:lnTo>
                  <a:pt x="484" y="599"/>
                </a:lnTo>
                <a:lnTo>
                  <a:pt x="486" y="589"/>
                </a:lnTo>
                <a:lnTo>
                  <a:pt x="487" y="579"/>
                </a:lnTo>
                <a:lnTo>
                  <a:pt x="488" y="567"/>
                </a:lnTo>
                <a:lnTo>
                  <a:pt x="491" y="555"/>
                </a:lnTo>
                <a:lnTo>
                  <a:pt x="494" y="541"/>
                </a:lnTo>
                <a:lnTo>
                  <a:pt x="497" y="533"/>
                </a:lnTo>
                <a:lnTo>
                  <a:pt x="501" y="526"/>
                </a:lnTo>
                <a:lnTo>
                  <a:pt x="505" y="519"/>
                </a:lnTo>
                <a:lnTo>
                  <a:pt x="509" y="512"/>
                </a:lnTo>
                <a:lnTo>
                  <a:pt x="520" y="499"/>
                </a:lnTo>
                <a:lnTo>
                  <a:pt x="532" y="486"/>
                </a:lnTo>
                <a:lnTo>
                  <a:pt x="546" y="476"/>
                </a:lnTo>
                <a:lnTo>
                  <a:pt x="558" y="468"/>
                </a:lnTo>
                <a:lnTo>
                  <a:pt x="570" y="461"/>
                </a:lnTo>
                <a:lnTo>
                  <a:pt x="581" y="455"/>
                </a:lnTo>
                <a:lnTo>
                  <a:pt x="581" y="234"/>
                </a:lnTo>
                <a:lnTo>
                  <a:pt x="129" y="0"/>
                </a:lnTo>
                <a:lnTo>
                  <a:pt x="116" y="1"/>
                </a:lnTo>
                <a:lnTo>
                  <a:pt x="106" y="3"/>
                </a:lnTo>
                <a:lnTo>
                  <a:pt x="98" y="5"/>
                </a:lnTo>
                <a:lnTo>
                  <a:pt x="89" y="6"/>
                </a:lnTo>
                <a:lnTo>
                  <a:pt x="79" y="15"/>
                </a:lnTo>
                <a:lnTo>
                  <a:pt x="69" y="24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39" name="Freeform 437"/>
          <p:cNvSpPr>
            <a:spLocks/>
          </p:cNvSpPr>
          <p:nvPr userDrawn="1">
            <p:custDataLst>
              <p:tags r:id="rId277"/>
            </p:custDataLst>
          </p:nvPr>
        </p:nvSpPr>
        <p:spPr bwMode="auto">
          <a:xfrm>
            <a:off x="4064009" y="1921680"/>
            <a:ext cx="15875" cy="42863"/>
          </a:xfrm>
          <a:custGeom>
            <a:avLst/>
            <a:gdLst>
              <a:gd name="T0" fmla="*/ 3235678 w 45"/>
              <a:gd name="T1" fmla="*/ 0 h 36"/>
              <a:gd name="T2" fmla="*/ 0 w 45"/>
              <a:gd name="T3" fmla="*/ 45362806 h 36"/>
              <a:gd name="T4" fmla="*/ 2862439 w 45"/>
              <a:gd name="T5" fmla="*/ 90725611 h 36"/>
              <a:gd name="T6" fmla="*/ 5600347 w 45"/>
              <a:gd name="T7" fmla="*/ 37801546 h 36"/>
              <a:gd name="T8" fmla="*/ 3235678 w 45"/>
              <a:gd name="T9" fmla="*/ 0 h 3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5"/>
              <a:gd name="T16" fmla="*/ 0 h 36"/>
              <a:gd name="T17" fmla="*/ 45 w 45"/>
              <a:gd name="T18" fmla="*/ 36 h 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5" h="36">
                <a:moveTo>
                  <a:pt x="26" y="0"/>
                </a:moveTo>
                <a:lnTo>
                  <a:pt x="0" y="18"/>
                </a:lnTo>
                <a:lnTo>
                  <a:pt x="23" y="36"/>
                </a:lnTo>
                <a:lnTo>
                  <a:pt x="45" y="15"/>
                </a:lnTo>
                <a:lnTo>
                  <a:pt x="26" y="0"/>
                </a:lnTo>
                <a:close/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grpSp>
        <p:nvGrpSpPr>
          <p:cNvPr id="370" name="Group 438"/>
          <p:cNvGrpSpPr>
            <a:grpSpLocks/>
          </p:cNvGrpSpPr>
          <p:nvPr userDrawn="1">
            <p:custDataLst>
              <p:tags r:id="rId278"/>
            </p:custDataLst>
          </p:nvPr>
        </p:nvGrpSpPr>
        <p:grpSpPr bwMode="auto">
          <a:xfrm>
            <a:off x="2401889" y="3467111"/>
            <a:ext cx="384175" cy="773906"/>
            <a:chOff x="1589" y="3126"/>
            <a:chExt cx="290" cy="657"/>
          </a:xfrm>
          <a:solidFill>
            <a:sysClr val="window" lastClr="FFFFFF">
              <a:lumMod val="85000"/>
            </a:sysClr>
          </a:solidFill>
        </p:grpSpPr>
        <p:sp>
          <p:nvSpPr>
            <p:cNvPr id="441" name="Freeform 439"/>
            <p:cNvSpPr>
              <a:spLocks/>
            </p:cNvSpPr>
            <p:nvPr/>
          </p:nvSpPr>
          <p:spPr bwMode="auto">
            <a:xfrm>
              <a:off x="1748" y="3531"/>
              <a:ext cx="15" cy="17"/>
            </a:xfrm>
            <a:custGeom>
              <a:avLst/>
              <a:gdLst>
                <a:gd name="T0" fmla="*/ 5 w 46"/>
                <a:gd name="T1" fmla="*/ 1 h 51"/>
                <a:gd name="T2" fmla="*/ 2 w 46"/>
                <a:gd name="T3" fmla="*/ 0 h 51"/>
                <a:gd name="T4" fmla="*/ 1 w 46"/>
                <a:gd name="T5" fmla="*/ 1 h 51"/>
                <a:gd name="T6" fmla="*/ 1 w 46"/>
                <a:gd name="T7" fmla="*/ 1 h 51"/>
                <a:gd name="T8" fmla="*/ 0 w 46"/>
                <a:gd name="T9" fmla="*/ 1 h 51"/>
                <a:gd name="T10" fmla="*/ 0 w 46"/>
                <a:gd name="T11" fmla="*/ 2 h 51"/>
                <a:gd name="T12" fmla="*/ 0 w 46"/>
                <a:gd name="T13" fmla="*/ 2 h 51"/>
                <a:gd name="T14" fmla="*/ 0 w 46"/>
                <a:gd name="T15" fmla="*/ 2 h 51"/>
                <a:gd name="T16" fmla="*/ 0 w 46"/>
                <a:gd name="T17" fmla="*/ 3 h 51"/>
                <a:gd name="T18" fmla="*/ 0 w 46"/>
                <a:gd name="T19" fmla="*/ 3 h 51"/>
                <a:gd name="T20" fmla="*/ 0 w 46"/>
                <a:gd name="T21" fmla="*/ 4 h 51"/>
                <a:gd name="T22" fmla="*/ 1 w 46"/>
                <a:gd name="T23" fmla="*/ 5 h 51"/>
                <a:gd name="T24" fmla="*/ 1 w 46"/>
                <a:gd name="T25" fmla="*/ 5 h 51"/>
                <a:gd name="T26" fmla="*/ 1 w 46"/>
                <a:gd name="T27" fmla="*/ 5 h 51"/>
                <a:gd name="T28" fmla="*/ 2 w 46"/>
                <a:gd name="T29" fmla="*/ 6 h 51"/>
                <a:gd name="T30" fmla="*/ 2 w 46"/>
                <a:gd name="T31" fmla="*/ 6 h 51"/>
                <a:gd name="T32" fmla="*/ 2 w 46"/>
                <a:gd name="T33" fmla="*/ 6 h 51"/>
                <a:gd name="T34" fmla="*/ 2 w 46"/>
                <a:gd name="T35" fmla="*/ 6 h 51"/>
                <a:gd name="T36" fmla="*/ 4 w 46"/>
                <a:gd name="T37" fmla="*/ 6 h 51"/>
                <a:gd name="T38" fmla="*/ 5 w 46"/>
                <a:gd name="T39" fmla="*/ 6 h 51"/>
                <a:gd name="T40" fmla="*/ 5 w 46"/>
                <a:gd name="T41" fmla="*/ 4 h 51"/>
                <a:gd name="T42" fmla="*/ 5 w 46"/>
                <a:gd name="T43" fmla="*/ 3 h 51"/>
                <a:gd name="T44" fmla="*/ 5 w 46"/>
                <a:gd name="T45" fmla="*/ 2 h 51"/>
                <a:gd name="T46" fmla="*/ 5 w 46"/>
                <a:gd name="T47" fmla="*/ 1 h 5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46"/>
                <a:gd name="T73" fmla="*/ 0 h 51"/>
                <a:gd name="T74" fmla="*/ 46 w 46"/>
                <a:gd name="T75" fmla="*/ 51 h 51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46" h="51">
                  <a:moveTo>
                    <a:pt x="46" y="12"/>
                  </a:moveTo>
                  <a:lnTo>
                    <a:pt x="19" y="0"/>
                  </a:lnTo>
                  <a:lnTo>
                    <a:pt x="13" y="5"/>
                  </a:lnTo>
                  <a:lnTo>
                    <a:pt x="7" y="9"/>
                  </a:lnTo>
                  <a:lnTo>
                    <a:pt x="4" y="12"/>
                  </a:lnTo>
                  <a:lnTo>
                    <a:pt x="2" y="14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4"/>
                  </a:lnTo>
                  <a:lnTo>
                    <a:pt x="2" y="29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3" y="49"/>
                  </a:lnTo>
                  <a:lnTo>
                    <a:pt x="15" y="50"/>
                  </a:lnTo>
                  <a:lnTo>
                    <a:pt x="16" y="51"/>
                  </a:lnTo>
                  <a:lnTo>
                    <a:pt x="18" y="51"/>
                  </a:lnTo>
                  <a:lnTo>
                    <a:pt x="19" y="50"/>
                  </a:lnTo>
                  <a:lnTo>
                    <a:pt x="35" y="50"/>
                  </a:lnTo>
                  <a:lnTo>
                    <a:pt x="46" y="50"/>
                  </a:lnTo>
                  <a:lnTo>
                    <a:pt x="46" y="37"/>
                  </a:lnTo>
                  <a:lnTo>
                    <a:pt x="46" y="26"/>
                  </a:lnTo>
                  <a:lnTo>
                    <a:pt x="46" y="18"/>
                  </a:lnTo>
                  <a:lnTo>
                    <a:pt x="46" y="12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42" name="Freeform 440"/>
            <p:cNvSpPr>
              <a:spLocks/>
            </p:cNvSpPr>
            <p:nvPr/>
          </p:nvSpPr>
          <p:spPr bwMode="auto">
            <a:xfrm>
              <a:off x="1759" y="3730"/>
              <a:ext cx="63" cy="53"/>
            </a:xfrm>
            <a:custGeom>
              <a:avLst/>
              <a:gdLst>
                <a:gd name="T0" fmla="*/ 0 w 192"/>
                <a:gd name="T1" fmla="*/ 0 h 158"/>
                <a:gd name="T2" fmla="*/ 0 w 192"/>
                <a:gd name="T3" fmla="*/ 2 h 158"/>
                <a:gd name="T4" fmla="*/ 0 w 192"/>
                <a:gd name="T5" fmla="*/ 3 h 158"/>
                <a:gd name="T6" fmla="*/ 0 w 192"/>
                <a:gd name="T7" fmla="*/ 4 h 158"/>
                <a:gd name="T8" fmla="*/ 1 w 192"/>
                <a:gd name="T9" fmla="*/ 6 h 158"/>
                <a:gd name="T10" fmla="*/ 1 w 192"/>
                <a:gd name="T11" fmla="*/ 7 h 158"/>
                <a:gd name="T12" fmla="*/ 2 w 192"/>
                <a:gd name="T13" fmla="*/ 8 h 158"/>
                <a:gd name="T14" fmla="*/ 2 w 192"/>
                <a:gd name="T15" fmla="*/ 9 h 158"/>
                <a:gd name="T16" fmla="*/ 3 w 192"/>
                <a:gd name="T17" fmla="*/ 10 h 158"/>
                <a:gd name="T18" fmla="*/ 5 w 192"/>
                <a:gd name="T19" fmla="*/ 14 h 158"/>
                <a:gd name="T20" fmla="*/ 7 w 192"/>
                <a:gd name="T21" fmla="*/ 17 h 158"/>
                <a:gd name="T22" fmla="*/ 8 w 192"/>
                <a:gd name="T23" fmla="*/ 17 h 158"/>
                <a:gd name="T24" fmla="*/ 9 w 192"/>
                <a:gd name="T25" fmla="*/ 17 h 158"/>
                <a:gd name="T26" fmla="*/ 9 w 192"/>
                <a:gd name="T27" fmla="*/ 17 h 158"/>
                <a:gd name="T28" fmla="*/ 10 w 192"/>
                <a:gd name="T29" fmla="*/ 17 h 158"/>
                <a:gd name="T30" fmla="*/ 11 w 192"/>
                <a:gd name="T31" fmla="*/ 18 h 158"/>
                <a:gd name="T32" fmla="*/ 13 w 192"/>
                <a:gd name="T33" fmla="*/ 18 h 158"/>
                <a:gd name="T34" fmla="*/ 16 w 192"/>
                <a:gd name="T35" fmla="*/ 17 h 158"/>
                <a:gd name="T36" fmla="*/ 21 w 192"/>
                <a:gd name="T37" fmla="*/ 17 h 158"/>
                <a:gd name="T38" fmla="*/ 20 w 192"/>
                <a:gd name="T39" fmla="*/ 17 h 158"/>
                <a:gd name="T40" fmla="*/ 19 w 192"/>
                <a:gd name="T41" fmla="*/ 17 h 158"/>
                <a:gd name="T42" fmla="*/ 18 w 192"/>
                <a:gd name="T43" fmla="*/ 17 h 158"/>
                <a:gd name="T44" fmla="*/ 17 w 192"/>
                <a:gd name="T45" fmla="*/ 17 h 158"/>
                <a:gd name="T46" fmla="*/ 16 w 192"/>
                <a:gd name="T47" fmla="*/ 16 h 158"/>
                <a:gd name="T48" fmla="*/ 14 w 192"/>
                <a:gd name="T49" fmla="*/ 15 h 158"/>
                <a:gd name="T50" fmla="*/ 12 w 192"/>
                <a:gd name="T51" fmla="*/ 15 h 158"/>
                <a:gd name="T52" fmla="*/ 11 w 192"/>
                <a:gd name="T53" fmla="*/ 13 h 158"/>
                <a:gd name="T54" fmla="*/ 10 w 192"/>
                <a:gd name="T55" fmla="*/ 12 h 158"/>
                <a:gd name="T56" fmla="*/ 8 w 192"/>
                <a:gd name="T57" fmla="*/ 11 h 158"/>
                <a:gd name="T58" fmla="*/ 7 w 192"/>
                <a:gd name="T59" fmla="*/ 10 h 158"/>
                <a:gd name="T60" fmla="*/ 6 w 192"/>
                <a:gd name="T61" fmla="*/ 8 h 158"/>
                <a:gd name="T62" fmla="*/ 5 w 192"/>
                <a:gd name="T63" fmla="*/ 7 h 158"/>
                <a:gd name="T64" fmla="*/ 4 w 192"/>
                <a:gd name="T65" fmla="*/ 6 h 158"/>
                <a:gd name="T66" fmla="*/ 3 w 192"/>
                <a:gd name="T67" fmla="*/ 4 h 158"/>
                <a:gd name="T68" fmla="*/ 2 w 192"/>
                <a:gd name="T69" fmla="*/ 3 h 158"/>
                <a:gd name="T70" fmla="*/ 2 w 192"/>
                <a:gd name="T71" fmla="*/ 2 h 158"/>
                <a:gd name="T72" fmla="*/ 1 w 192"/>
                <a:gd name="T73" fmla="*/ 1 h 158"/>
                <a:gd name="T74" fmla="*/ 0 w 192"/>
                <a:gd name="T75" fmla="*/ 0 h 15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92"/>
                <a:gd name="T115" fmla="*/ 0 h 158"/>
                <a:gd name="T116" fmla="*/ 192 w 192"/>
                <a:gd name="T117" fmla="*/ 158 h 15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92" h="158">
                  <a:moveTo>
                    <a:pt x="0" y="0"/>
                  </a:moveTo>
                  <a:lnTo>
                    <a:pt x="0" y="14"/>
                  </a:lnTo>
                  <a:lnTo>
                    <a:pt x="2" y="26"/>
                  </a:lnTo>
                  <a:lnTo>
                    <a:pt x="4" y="38"/>
                  </a:lnTo>
                  <a:lnTo>
                    <a:pt x="7" y="50"/>
                  </a:lnTo>
                  <a:lnTo>
                    <a:pt x="11" y="61"/>
                  </a:lnTo>
                  <a:lnTo>
                    <a:pt x="15" y="71"/>
                  </a:lnTo>
                  <a:lnTo>
                    <a:pt x="21" y="81"/>
                  </a:lnTo>
                  <a:lnTo>
                    <a:pt x="25" y="90"/>
                  </a:lnTo>
                  <a:lnTo>
                    <a:pt x="47" y="122"/>
                  </a:lnTo>
                  <a:lnTo>
                    <a:pt x="66" y="148"/>
                  </a:lnTo>
                  <a:lnTo>
                    <a:pt x="72" y="151"/>
                  </a:lnTo>
                  <a:lnTo>
                    <a:pt x="79" y="153"/>
                  </a:lnTo>
                  <a:lnTo>
                    <a:pt x="85" y="155"/>
                  </a:lnTo>
                  <a:lnTo>
                    <a:pt x="92" y="156"/>
                  </a:lnTo>
                  <a:lnTo>
                    <a:pt x="105" y="158"/>
                  </a:lnTo>
                  <a:lnTo>
                    <a:pt x="119" y="158"/>
                  </a:lnTo>
                  <a:lnTo>
                    <a:pt x="152" y="155"/>
                  </a:lnTo>
                  <a:lnTo>
                    <a:pt x="192" y="154"/>
                  </a:lnTo>
                  <a:lnTo>
                    <a:pt x="184" y="153"/>
                  </a:lnTo>
                  <a:lnTo>
                    <a:pt x="176" y="152"/>
                  </a:lnTo>
                  <a:lnTo>
                    <a:pt x="168" y="151"/>
                  </a:lnTo>
                  <a:lnTo>
                    <a:pt x="160" y="149"/>
                  </a:lnTo>
                  <a:lnTo>
                    <a:pt x="145" y="144"/>
                  </a:lnTo>
                  <a:lnTo>
                    <a:pt x="129" y="138"/>
                  </a:lnTo>
                  <a:lnTo>
                    <a:pt x="115" y="130"/>
                  </a:lnTo>
                  <a:lnTo>
                    <a:pt x="101" y="120"/>
                  </a:lnTo>
                  <a:lnTo>
                    <a:pt x="87" y="110"/>
                  </a:lnTo>
                  <a:lnTo>
                    <a:pt x="75" y="98"/>
                  </a:lnTo>
                  <a:lnTo>
                    <a:pt x="63" y="87"/>
                  </a:lnTo>
                  <a:lnTo>
                    <a:pt x="52" y="75"/>
                  </a:lnTo>
                  <a:lnTo>
                    <a:pt x="42" y="63"/>
                  </a:lnTo>
                  <a:lnTo>
                    <a:pt x="35" y="50"/>
                  </a:lnTo>
                  <a:lnTo>
                    <a:pt x="27" y="38"/>
                  </a:lnTo>
                  <a:lnTo>
                    <a:pt x="21" y="26"/>
                  </a:lnTo>
                  <a:lnTo>
                    <a:pt x="16" y="16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43" name="Freeform 441"/>
            <p:cNvSpPr>
              <a:spLocks/>
            </p:cNvSpPr>
            <p:nvPr/>
          </p:nvSpPr>
          <p:spPr bwMode="auto">
            <a:xfrm>
              <a:off x="1589" y="3126"/>
              <a:ext cx="290" cy="606"/>
            </a:xfrm>
            <a:custGeom>
              <a:avLst/>
              <a:gdLst>
                <a:gd name="T0" fmla="*/ 83 w 884"/>
                <a:gd name="T1" fmla="*/ 46 h 1818"/>
                <a:gd name="T2" fmla="*/ 94 w 884"/>
                <a:gd name="T3" fmla="*/ 38 h 1818"/>
                <a:gd name="T4" fmla="*/ 95 w 884"/>
                <a:gd name="T5" fmla="*/ 26 h 1818"/>
                <a:gd name="T6" fmla="*/ 91 w 884"/>
                <a:gd name="T7" fmla="*/ 21 h 1818"/>
                <a:gd name="T8" fmla="*/ 91 w 884"/>
                <a:gd name="T9" fmla="*/ 29 h 1818"/>
                <a:gd name="T10" fmla="*/ 83 w 884"/>
                <a:gd name="T11" fmla="*/ 36 h 1818"/>
                <a:gd name="T12" fmla="*/ 72 w 884"/>
                <a:gd name="T13" fmla="*/ 37 h 1818"/>
                <a:gd name="T14" fmla="*/ 67 w 884"/>
                <a:gd name="T15" fmla="*/ 32 h 1818"/>
                <a:gd name="T16" fmla="*/ 71 w 884"/>
                <a:gd name="T17" fmla="*/ 24 h 1818"/>
                <a:gd name="T18" fmla="*/ 58 w 884"/>
                <a:gd name="T19" fmla="*/ 16 h 1818"/>
                <a:gd name="T20" fmla="*/ 46 w 884"/>
                <a:gd name="T21" fmla="*/ 10 h 1818"/>
                <a:gd name="T22" fmla="*/ 40 w 884"/>
                <a:gd name="T23" fmla="*/ 1 h 1818"/>
                <a:gd name="T24" fmla="*/ 31 w 884"/>
                <a:gd name="T25" fmla="*/ 2 h 1818"/>
                <a:gd name="T26" fmla="*/ 25 w 884"/>
                <a:gd name="T27" fmla="*/ 3 h 1818"/>
                <a:gd name="T28" fmla="*/ 18 w 884"/>
                <a:gd name="T29" fmla="*/ 1 h 1818"/>
                <a:gd name="T30" fmla="*/ 10 w 884"/>
                <a:gd name="T31" fmla="*/ 6 h 1818"/>
                <a:gd name="T32" fmla="*/ 7 w 884"/>
                <a:gd name="T33" fmla="*/ 13 h 1818"/>
                <a:gd name="T34" fmla="*/ 3 w 884"/>
                <a:gd name="T35" fmla="*/ 20 h 1818"/>
                <a:gd name="T36" fmla="*/ 6 w 884"/>
                <a:gd name="T37" fmla="*/ 28 h 1818"/>
                <a:gd name="T38" fmla="*/ 6 w 884"/>
                <a:gd name="T39" fmla="*/ 35 h 1818"/>
                <a:gd name="T40" fmla="*/ 0 w 884"/>
                <a:gd name="T41" fmla="*/ 48 h 1818"/>
                <a:gd name="T42" fmla="*/ 1 w 884"/>
                <a:gd name="T43" fmla="*/ 68 h 1818"/>
                <a:gd name="T44" fmla="*/ 8 w 884"/>
                <a:gd name="T45" fmla="*/ 77 h 1818"/>
                <a:gd name="T46" fmla="*/ 7 w 884"/>
                <a:gd name="T47" fmla="*/ 84 h 1818"/>
                <a:gd name="T48" fmla="*/ 7 w 884"/>
                <a:gd name="T49" fmla="*/ 90 h 1818"/>
                <a:gd name="T50" fmla="*/ 9 w 884"/>
                <a:gd name="T51" fmla="*/ 94 h 1818"/>
                <a:gd name="T52" fmla="*/ 6 w 884"/>
                <a:gd name="T53" fmla="*/ 100 h 1818"/>
                <a:gd name="T54" fmla="*/ 9 w 884"/>
                <a:gd name="T55" fmla="*/ 109 h 1818"/>
                <a:gd name="T56" fmla="*/ 9 w 884"/>
                <a:gd name="T57" fmla="*/ 117 h 1818"/>
                <a:gd name="T58" fmla="*/ 9 w 884"/>
                <a:gd name="T59" fmla="*/ 128 h 1818"/>
                <a:gd name="T60" fmla="*/ 15 w 884"/>
                <a:gd name="T61" fmla="*/ 141 h 1818"/>
                <a:gd name="T62" fmla="*/ 21 w 884"/>
                <a:gd name="T63" fmla="*/ 155 h 1818"/>
                <a:gd name="T64" fmla="*/ 23 w 884"/>
                <a:gd name="T65" fmla="*/ 163 h 1818"/>
                <a:gd name="T66" fmla="*/ 25 w 884"/>
                <a:gd name="T67" fmla="*/ 170 h 1818"/>
                <a:gd name="T68" fmla="*/ 23 w 884"/>
                <a:gd name="T69" fmla="*/ 177 h 1818"/>
                <a:gd name="T70" fmla="*/ 22 w 884"/>
                <a:gd name="T71" fmla="*/ 183 h 1818"/>
                <a:gd name="T72" fmla="*/ 25 w 884"/>
                <a:gd name="T73" fmla="*/ 191 h 1818"/>
                <a:gd name="T74" fmla="*/ 33 w 884"/>
                <a:gd name="T75" fmla="*/ 197 h 1818"/>
                <a:gd name="T76" fmla="*/ 42 w 884"/>
                <a:gd name="T77" fmla="*/ 200 h 1818"/>
                <a:gd name="T78" fmla="*/ 49 w 884"/>
                <a:gd name="T79" fmla="*/ 198 h 1818"/>
                <a:gd name="T80" fmla="*/ 49 w 884"/>
                <a:gd name="T81" fmla="*/ 189 h 1818"/>
                <a:gd name="T82" fmla="*/ 51 w 884"/>
                <a:gd name="T83" fmla="*/ 179 h 1818"/>
                <a:gd name="T84" fmla="*/ 53 w 884"/>
                <a:gd name="T85" fmla="*/ 168 h 1818"/>
                <a:gd name="T86" fmla="*/ 45 w 884"/>
                <a:gd name="T87" fmla="*/ 165 h 1818"/>
                <a:gd name="T88" fmla="*/ 43 w 884"/>
                <a:gd name="T89" fmla="*/ 159 h 1818"/>
                <a:gd name="T90" fmla="*/ 49 w 884"/>
                <a:gd name="T91" fmla="*/ 155 h 1818"/>
                <a:gd name="T92" fmla="*/ 52 w 884"/>
                <a:gd name="T93" fmla="*/ 148 h 1818"/>
                <a:gd name="T94" fmla="*/ 49 w 884"/>
                <a:gd name="T95" fmla="*/ 136 h 1818"/>
                <a:gd name="T96" fmla="*/ 46 w 884"/>
                <a:gd name="T97" fmla="*/ 127 h 1818"/>
                <a:gd name="T98" fmla="*/ 56 w 884"/>
                <a:gd name="T99" fmla="*/ 130 h 1818"/>
                <a:gd name="T100" fmla="*/ 61 w 884"/>
                <a:gd name="T101" fmla="*/ 128 h 1818"/>
                <a:gd name="T102" fmla="*/ 60 w 884"/>
                <a:gd name="T103" fmla="*/ 120 h 1818"/>
                <a:gd name="T104" fmla="*/ 61 w 884"/>
                <a:gd name="T105" fmla="*/ 114 h 1818"/>
                <a:gd name="T106" fmla="*/ 73 w 884"/>
                <a:gd name="T107" fmla="*/ 114 h 1818"/>
                <a:gd name="T108" fmla="*/ 86 w 884"/>
                <a:gd name="T109" fmla="*/ 108 h 1818"/>
                <a:gd name="T110" fmla="*/ 88 w 884"/>
                <a:gd name="T111" fmla="*/ 98 h 1818"/>
                <a:gd name="T112" fmla="*/ 84 w 884"/>
                <a:gd name="T113" fmla="*/ 95 h 1818"/>
                <a:gd name="T114" fmla="*/ 82 w 884"/>
                <a:gd name="T115" fmla="*/ 90 h 1818"/>
                <a:gd name="T116" fmla="*/ 74 w 884"/>
                <a:gd name="T117" fmla="*/ 84 h 1818"/>
                <a:gd name="T118" fmla="*/ 75 w 884"/>
                <a:gd name="T119" fmla="*/ 59 h 18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84"/>
                <a:gd name="T181" fmla="*/ 0 h 1818"/>
                <a:gd name="T182" fmla="*/ 884 w 884"/>
                <a:gd name="T183" fmla="*/ 1818 h 181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84" h="1818">
                  <a:moveTo>
                    <a:pt x="725" y="493"/>
                  </a:moveTo>
                  <a:lnTo>
                    <a:pt x="726" y="484"/>
                  </a:lnTo>
                  <a:lnTo>
                    <a:pt x="729" y="474"/>
                  </a:lnTo>
                  <a:lnTo>
                    <a:pt x="735" y="462"/>
                  </a:lnTo>
                  <a:lnTo>
                    <a:pt x="742" y="450"/>
                  </a:lnTo>
                  <a:lnTo>
                    <a:pt x="750" y="438"/>
                  </a:lnTo>
                  <a:lnTo>
                    <a:pt x="761" y="427"/>
                  </a:lnTo>
                  <a:lnTo>
                    <a:pt x="772" y="415"/>
                  </a:lnTo>
                  <a:lnTo>
                    <a:pt x="784" y="402"/>
                  </a:lnTo>
                  <a:lnTo>
                    <a:pt x="798" y="391"/>
                  </a:lnTo>
                  <a:lnTo>
                    <a:pt x="811" y="381"/>
                  </a:lnTo>
                  <a:lnTo>
                    <a:pt x="824" y="371"/>
                  </a:lnTo>
                  <a:lnTo>
                    <a:pt x="837" y="362"/>
                  </a:lnTo>
                  <a:lnTo>
                    <a:pt x="849" y="353"/>
                  </a:lnTo>
                  <a:lnTo>
                    <a:pt x="862" y="347"/>
                  </a:lnTo>
                  <a:lnTo>
                    <a:pt x="873" y="342"/>
                  </a:lnTo>
                  <a:lnTo>
                    <a:pt x="884" y="339"/>
                  </a:lnTo>
                  <a:lnTo>
                    <a:pt x="884" y="329"/>
                  </a:lnTo>
                  <a:lnTo>
                    <a:pt x="884" y="310"/>
                  </a:lnTo>
                  <a:lnTo>
                    <a:pt x="884" y="289"/>
                  </a:lnTo>
                  <a:lnTo>
                    <a:pt x="884" y="272"/>
                  </a:lnTo>
                  <a:lnTo>
                    <a:pt x="884" y="259"/>
                  </a:lnTo>
                  <a:lnTo>
                    <a:pt x="884" y="247"/>
                  </a:lnTo>
                  <a:lnTo>
                    <a:pt x="884" y="232"/>
                  </a:lnTo>
                  <a:lnTo>
                    <a:pt x="884" y="216"/>
                  </a:lnTo>
                  <a:lnTo>
                    <a:pt x="874" y="216"/>
                  </a:lnTo>
                  <a:lnTo>
                    <a:pt x="867" y="214"/>
                  </a:lnTo>
                  <a:lnTo>
                    <a:pt x="859" y="211"/>
                  </a:lnTo>
                  <a:lnTo>
                    <a:pt x="854" y="208"/>
                  </a:lnTo>
                  <a:lnTo>
                    <a:pt x="848" y="203"/>
                  </a:lnTo>
                  <a:lnTo>
                    <a:pt x="844" y="198"/>
                  </a:lnTo>
                  <a:lnTo>
                    <a:pt x="840" y="192"/>
                  </a:lnTo>
                  <a:lnTo>
                    <a:pt x="837" y="185"/>
                  </a:lnTo>
                  <a:lnTo>
                    <a:pt x="837" y="222"/>
                  </a:lnTo>
                  <a:lnTo>
                    <a:pt x="840" y="227"/>
                  </a:lnTo>
                  <a:lnTo>
                    <a:pt x="843" y="231"/>
                  </a:lnTo>
                  <a:lnTo>
                    <a:pt x="844" y="236"/>
                  </a:lnTo>
                  <a:lnTo>
                    <a:pt x="845" y="241"/>
                  </a:lnTo>
                  <a:lnTo>
                    <a:pt x="844" y="252"/>
                  </a:lnTo>
                  <a:lnTo>
                    <a:pt x="841" y="262"/>
                  </a:lnTo>
                  <a:lnTo>
                    <a:pt x="837" y="271"/>
                  </a:lnTo>
                  <a:lnTo>
                    <a:pt x="832" y="281"/>
                  </a:lnTo>
                  <a:lnTo>
                    <a:pt x="824" y="290"/>
                  </a:lnTo>
                  <a:lnTo>
                    <a:pt x="815" y="299"/>
                  </a:lnTo>
                  <a:lnTo>
                    <a:pt x="805" y="308"/>
                  </a:lnTo>
                  <a:lnTo>
                    <a:pt x="795" y="316"/>
                  </a:lnTo>
                  <a:lnTo>
                    <a:pt x="785" y="322"/>
                  </a:lnTo>
                  <a:lnTo>
                    <a:pt x="774" y="328"/>
                  </a:lnTo>
                  <a:lnTo>
                    <a:pt x="765" y="333"/>
                  </a:lnTo>
                  <a:lnTo>
                    <a:pt x="755" y="336"/>
                  </a:lnTo>
                  <a:lnTo>
                    <a:pt x="746" y="338"/>
                  </a:lnTo>
                  <a:lnTo>
                    <a:pt x="738" y="339"/>
                  </a:lnTo>
                  <a:lnTo>
                    <a:pt x="722" y="339"/>
                  </a:lnTo>
                  <a:lnTo>
                    <a:pt x="703" y="338"/>
                  </a:lnTo>
                  <a:lnTo>
                    <a:pt x="684" y="335"/>
                  </a:lnTo>
                  <a:lnTo>
                    <a:pt x="667" y="331"/>
                  </a:lnTo>
                  <a:lnTo>
                    <a:pt x="658" y="328"/>
                  </a:lnTo>
                  <a:lnTo>
                    <a:pt x="650" y="325"/>
                  </a:lnTo>
                  <a:lnTo>
                    <a:pt x="643" y="321"/>
                  </a:lnTo>
                  <a:lnTo>
                    <a:pt x="637" y="316"/>
                  </a:lnTo>
                  <a:lnTo>
                    <a:pt x="632" y="311"/>
                  </a:lnTo>
                  <a:lnTo>
                    <a:pt x="628" y="305"/>
                  </a:lnTo>
                  <a:lnTo>
                    <a:pt x="625" y="297"/>
                  </a:lnTo>
                  <a:lnTo>
                    <a:pt x="625" y="290"/>
                  </a:lnTo>
                  <a:lnTo>
                    <a:pt x="625" y="283"/>
                  </a:lnTo>
                  <a:lnTo>
                    <a:pt x="626" y="277"/>
                  </a:lnTo>
                  <a:lnTo>
                    <a:pt x="628" y="270"/>
                  </a:lnTo>
                  <a:lnTo>
                    <a:pt x="631" y="264"/>
                  </a:lnTo>
                  <a:lnTo>
                    <a:pt x="636" y="252"/>
                  </a:lnTo>
                  <a:lnTo>
                    <a:pt x="643" y="240"/>
                  </a:lnTo>
                  <a:lnTo>
                    <a:pt x="650" y="228"/>
                  </a:lnTo>
                  <a:lnTo>
                    <a:pt x="658" y="215"/>
                  </a:lnTo>
                  <a:lnTo>
                    <a:pt x="666" y="201"/>
                  </a:lnTo>
                  <a:lnTo>
                    <a:pt x="671" y="185"/>
                  </a:lnTo>
                  <a:lnTo>
                    <a:pt x="654" y="178"/>
                  </a:lnTo>
                  <a:lnTo>
                    <a:pt x="637" y="172"/>
                  </a:lnTo>
                  <a:lnTo>
                    <a:pt x="621" y="166"/>
                  </a:lnTo>
                  <a:lnTo>
                    <a:pt x="605" y="162"/>
                  </a:lnTo>
                  <a:lnTo>
                    <a:pt x="574" y="155"/>
                  </a:lnTo>
                  <a:lnTo>
                    <a:pt x="544" y="148"/>
                  </a:lnTo>
                  <a:lnTo>
                    <a:pt x="529" y="144"/>
                  </a:lnTo>
                  <a:lnTo>
                    <a:pt x="514" y="139"/>
                  </a:lnTo>
                  <a:lnTo>
                    <a:pt x="499" y="133"/>
                  </a:lnTo>
                  <a:lnTo>
                    <a:pt x="485" y="127"/>
                  </a:lnTo>
                  <a:lnTo>
                    <a:pt x="470" y="119"/>
                  </a:lnTo>
                  <a:lnTo>
                    <a:pt x="455" y="110"/>
                  </a:lnTo>
                  <a:lnTo>
                    <a:pt x="441" y="100"/>
                  </a:lnTo>
                  <a:lnTo>
                    <a:pt x="425" y="87"/>
                  </a:lnTo>
                  <a:lnTo>
                    <a:pt x="417" y="76"/>
                  </a:lnTo>
                  <a:lnTo>
                    <a:pt x="410" y="66"/>
                  </a:lnTo>
                  <a:lnTo>
                    <a:pt x="403" y="55"/>
                  </a:lnTo>
                  <a:lnTo>
                    <a:pt x="398" y="44"/>
                  </a:lnTo>
                  <a:lnTo>
                    <a:pt x="390" y="32"/>
                  </a:lnTo>
                  <a:lnTo>
                    <a:pt x="383" y="20"/>
                  </a:lnTo>
                  <a:lnTo>
                    <a:pt x="378" y="15"/>
                  </a:lnTo>
                  <a:lnTo>
                    <a:pt x="373" y="10"/>
                  </a:lnTo>
                  <a:lnTo>
                    <a:pt x="366" y="5"/>
                  </a:lnTo>
                  <a:lnTo>
                    <a:pt x="359" y="0"/>
                  </a:lnTo>
                  <a:lnTo>
                    <a:pt x="332" y="6"/>
                  </a:lnTo>
                  <a:lnTo>
                    <a:pt x="308" y="11"/>
                  </a:lnTo>
                  <a:lnTo>
                    <a:pt x="302" y="13"/>
                  </a:lnTo>
                  <a:lnTo>
                    <a:pt x="297" y="15"/>
                  </a:lnTo>
                  <a:lnTo>
                    <a:pt x="291" y="19"/>
                  </a:lnTo>
                  <a:lnTo>
                    <a:pt x="286" y="22"/>
                  </a:lnTo>
                  <a:lnTo>
                    <a:pt x="281" y="28"/>
                  </a:lnTo>
                  <a:lnTo>
                    <a:pt x="276" y="34"/>
                  </a:lnTo>
                  <a:lnTo>
                    <a:pt x="272" y="41"/>
                  </a:lnTo>
                  <a:lnTo>
                    <a:pt x="266" y="50"/>
                  </a:lnTo>
                  <a:lnTo>
                    <a:pt x="257" y="44"/>
                  </a:lnTo>
                  <a:lnTo>
                    <a:pt x="249" y="38"/>
                  </a:lnTo>
                  <a:lnTo>
                    <a:pt x="242" y="31"/>
                  </a:lnTo>
                  <a:lnTo>
                    <a:pt x="234" y="24"/>
                  </a:lnTo>
                  <a:lnTo>
                    <a:pt x="225" y="17"/>
                  </a:lnTo>
                  <a:lnTo>
                    <a:pt x="215" y="11"/>
                  </a:lnTo>
                  <a:lnTo>
                    <a:pt x="209" y="9"/>
                  </a:lnTo>
                  <a:lnTo>
                    <a:pt x="202" y="8"/>
                  </a:lnTo>
                  <a:lnTo>
                    <a:pt x="195" y="7"/>
                  </a:lnTo>
                  <a:lnTo>
                    <a:pt x="186" y="6"/>
                  </a:lnTo>
                  <a:lnTo>
                    <a:pt x="178" y="7"/>
                  </a:lnTo>
                  <a:lnTo>
                    <a:pt x="171" y="8"/>
                  </a:lnTo>
                  <a:lnTo>
                    <a:pt x="163" y="11"/>
                  </a:lnTo>
                  <a:lnTo>
                    <a:pt x="156" y="14"/>
                  </a:lnTo>
                  <a:lnTo>
                    <a:pt x="143" y="22"/>
                  </a:lnTo>
                  <a:lnTo>
                    <a:pt x="132" y="32"/>
                  </a:lnTo>
                  <a:lnTo>
                    <a:pt x="120" y="41"/>
                  </a:lnTo>
                  <a:lnTo>
                    <a:pt x="110" y="48"/>
                  </a:lnTo>
                  <a:lnTo>
                    <a:pt x="105" y="51"/>
                  </a:lnTo>
                  <a:lnTo>
                    <a:pt x="98" y="54"/>
                  </a:lnTo>
                  <a:lnTo>
                    <a:pt x="93" y="55"/>
                  </a:lnTo>
                  <a:lnTo>
                    <a:pt x="87" y="56"/>
                  </a:lnTo>
                  <a:lnTo>
                    <a:pt x="86" y="69"/>
                  </a:lnTo>
                  <a:lnTo>
                    <a:pt x="84" y="81"/>
                  </a:lnTo>
                  <a:lnTo>
                    <a:pt x="82" y="91"/>
                  </a:lnTo>
                  <a:lnTo>
                    <a:pt x="77" y="100"/>
                  </a:lnTo>
                  <a:lnTo>
                    <a:pt x="73" y="109"/>
                  </a:lnTo>
                  <a:lnTo>
                    <a:pt x="67" y="116"/>
                  </a:lnTo>
                  <a:lnTo>
                    <a:pt x="62" y="123"/>
                  </a:lnTo>
                  <a:lnTo>
                    <a:pt x="56" y="129"/>
                  </a:lnTo>
                  <a:lnTo>
                    <a:pt x="45" y="141"/>
                  </a:lnTo>
                  <a:lnTo>
                    <a:pt x="37" y="152"/>
                  </a:lnTo>
                  <a:lnTo>
                    <a:pt x="32" y="158"/>
                  </a:lnTo>
                  <a:lnTo>
                    <a:pt x="30" y="164"/>
                  </a:lnTo>
                  <a:lnTo>
                    <a:pt x="28" y="171"/>
                  </a:lnTo>
                  <a:lnTo>
                    <a:pt x="27" y="179"/>
                  </a:lnTo>
                  <a:lnTo>
                    <a:pt x="28" y="186"/>
                  </a:lnTo>
                  <a:lnTo>
                    <a:pt x="28" y="194"/>
                  </a:lnTo>
                  <a:lnTo>
                    <a:pt x="30" y="201"/>
                  </a:lnTo>
                  <a:lnTo>
                    <a:pt x="32" y="207"/>
                  </a:lnTo>
                  <a:lnTo>
                    <a:pt x="38" y="218"/>
                  </a:lnTo>
                  <a:lnTo>
                    <a:pt x="43" y="228"/>
                  </a:lnTo>
                  <a:lnTo>
                    <a:pt x="50" y="239"/>
                  </a:lnTo>
                  <a:lnTo>
                    <a:pt x="55" y="251"/>
                  </a:lnTo>
                  <a:lnTo>
                    <a:pt x="57" y="257"/>
                  </a:lnTo>
                  <a:lnTo>
                    <a:pt x="59" y="263"/>
                  </a:lnTo>
                  <a:lnTo>
                    <a:pt x="60" y="270"/>
                  </a:lnTo>
                  <a:lnTo>
                    <a:pt x="60" y="278"/>
                  </a:lnTo>
                  <a:lnTo>
                    <a:pt x="60" y="289"/>
                  </a:lnTo>
                  <a:lnTo>
                    <a:pt x="57" y="299"/>
                  </a:lnTo>
                  <a:lnTo>
                    <a:pt x="54" y="310"/>
                  </a:lnTo>
                  <a:lnTo>
                    <a:pt x="51" y="319"/>
                  </a:lnTo>
                  <a:lnTo>
                    <a:pt x="41" y="337"/>
                  </a:lnTo>
                  <a:lnTo>
                    <a:pt x="30" y="354"/>
                  </a:lnTo>
                  <a:lnTo>
                    <a:pt x="19" y="372"/>
                  </a:lnTo>
                  <a:lnTo>
                    <a:pt x="9" y="390"/>
                  </a:lnTo>
                  <a:lnTo>
                    <a:pt x="6" y="400"/>
                  </a:lnTo>
                  <a:lnTo>
                    <a:pt x="3" y="410"/>
                  </a:lnTo>
                  <a:lnTo>
                    <a:pt x="2" y="421"/>
                  </a:lnTo>
                  <a:lnTo>
                    <a:pt x="0" y="432"/>
                  </a:lnTo>
                  <a:lnTo>
                    <a:pt x="0" y="471"/>
                  </a:lnTo>
                  <a:lnTo>
                    <a:pt x="0" y="501"/>
                  </a:lnTo>
                  <a:lnTo>
                    <a:pt x="0" y="529"/>
                  </a:lnTo>
                  <a:lnTo>
                    <a:pt x="0" y="561"/>
                  </a:lnTo>
                  <a:lnTo>
                    <a:pt x="2" y="574"/>
                  </a:lnTo>
                  <a:lnTo>
                    <a:pt x="4" y="587"/>
                  </a:lnTo>
                  <a:lnTo>
                    <a:pt x="8" y="598"/>
                  </a:lnTo>
                  <a:lnTo>
                    <a:pt x="12" y="609"/>
                  </a:lnTo>
                  <a:lnTo>
                    <a:pt x="19" y="618"/>
                  </a:lnTo>
                  <a:lnTo>
                    <a:pt x="26" y="627"/>
                  </a:lnTo>
                  <a:lnTo>
                    <a:pt x="33" y="637"/>
                  </a:lnTo>
                  <a:lnTo>
                    <a:pt x="40" y="645"/>
                  </a:lnTo>
                  <a:lnTo>
                    <a:pt x="55" y="662"/>
                  </a:lnTo>
                  <a:lnTo>
                    <a:pt x="67" y="678"/>
                  </a:lnTo>
                  <a:lnTo>
                    <a:pt x="73" y="686"/>
                  </a:lnTo>
                  <a:lnTo>
                    <a:pt x="76" y="696"/>
                  </a:lnTo>
                  <a:lnTo>
                    <a:pt x="79" y="705"/>
                  </a:lnTo>
                  <a:lnTo>
                    <a:pt x="81" y="715"/>
                  </a:lnTo>
                  <a:lnTo>
                    <a:pt x="79" y="722"/>
                  </a:lnTo>
                  <a:lnTo>
                    <a:pt x="78" y="728"/>
                  </a:lnTo>
                  <a:lnTo>
                    <a:pt x="75" y="733"/>
                  </a:lnTo>
                  <a:lnTo>
                    <a:pt x="73" y="738"/>
                  </a:lnTo>
                  <a:lnTo>
                    <a:pt x="66" y="747"/>
                  </a:lnTo>
                  <a:lnTo>
                    <a:pt x="60" y="753"/>
                  </a:lnTo>
                  <a:lnTo>
                    <a:pt x="71" y="753"/>
                  </a:lnTo>
                  <a:lnTo>
                    <a:pt x="81" y="753"/>
                  </a:lnTo>
                  <a:lnTo>
                    <a:pt x="79" y="760"/>
                  </a:lnTo>
                  <a:lnTo>
                    <a:pt x="77" y="768"/>
                  </a:lnTo>
                  <a:lnTo>
                    <a:pt x="74" y="776"/>
                  </a:lnTo>
                  <a:lnTo>
                    <a:pt x="71" y="784"/>
                  </a:lnTo>
                  <a:lnTo>
                    <a:pt x="63" y="799"/>
                  </a:lnTo>
                  <a:lnTo>
                    <a:pt x="60" y="808"/>
                  </a:lnTo>
                  <a:lnTo>
                    <a:pt x="61" y="813"/>
                  </a:lnTo>
                  <a:lnTo>
                    <a:pt x="63" y="817"/>
                  </a:lnTo>
                  <a:lnTo>
                    <a:pt x="66" y="822"/>
                  </a:lnTo>
                  <a:lnTo>
                    <a:pt x="71" y="827"/>
                  </a:lnTo>
                  <a:lnTo>
                    <a:pt x="74" y="832"/>
                  </a:lnTo>
                  <a:lnTo>
                    <a:pt x="77" y="838"/>
                  </a:lnTo>
                  <a:lnTo>
                    <a:pt x="79" y="844"/>
                  </a:lnTo>
                  <a:lnTo>
                    <a:pt x="81" y="850"/>
                  </a:lnTo>
                  <a:lnTo>
                    <a:pt x="79" y="858"/>
                  </a:lnTo>
                  <a:lnTo>
                    <a:pt x="76" y="864"/>
                  </a:lnTo>
                  <a:lnTo>
                    <a:pt x="72" y="870"/>
                  </a:lnTo>
                  <a:lnTo>
                    <a:pt x="67" y="876"/>
                  </a:lnTo>
                  <a:lnTo>
                    <a:pt x="62" y="881"/>
                  </a:lnTo>
                  <a:lnTo>
                    <a:pt x="57" y="887"/>
                  </a:lnTo>
                  <a:lnTo>
                    <a:pt x="54" y="893"/>
                  </a:lnTo>
                  <a:lnTo>
                    <a:pt x="53" y="900"/>
                  </a:lnTo>
                  <a:lnTo>
                    <a:pt x="54" y="909"/>
                  </a:lnTo>
                  <a:lnTo>
                    <a:pt x="55" y="918"/>
                  </a:lnTo>
                  <a:lnTo>
                    <a:pt x="56" y="925"/>
                  </a:lnTo>
                  <a:lnTo>
                    <a:pt x="59" y="932"/>
                  </a:lnTo>
                  <a:lnTo>
                    <a:pt x="64" y="945"/>
                  </a:lnTo>
                  <a:lnTo>
                    <a:pt x="71" y="958"/>
                  </a:lnTo>
                  <a:lnTo>
                    <a:pt x="76" y="970"/>
                  </a:lnTo>
                  <a:lnTo>
                    <a:pt x="82" y="983"/>
                  </a:lnTo>
                  <a:lnTo>
                    <a:pt x="84" y="989"/>
                  </a:lnTo>
                  <a:lnTo>
                    <a:pt x="85" y="996"/>
                  </a:lnTo>
                  <a:lnTo>
                    <a:pt x="86" y="1003"/>
                  </a:lnTo>
                  <a:lnTo>
                    <a:pt x="87" y="1011"/>
                  </a:lnTo>
                  <a:lnTo>
                    <a:pt x="86" y="1022"/>
                  </a:lnTo>
                  <a:lnTo>
                    <a:pt x="85" y="1034"/>
                  </a:lnTo>
                  <a:lnTo>
                    <a:pt x="83" y="1044"/>
                  </a:lnTo>
                  <a:lnTo>
                    <a:pt x="81" y="1055"/>
                  </a:lnTo>
                  <a:lnTo>
                    <a:pt x="77" y="1066"/>
                  </a:lnTo>
                  <a:lnTo>
                    <a:pt x="75" y="1077"/>
                  </a:lnTo>
                  <a:lnTo>
                    <a:pt x="74" y="1090"/>
                  </a:lnTo>
                  <a:lnTo>
                    <a:pt x="74" y="1103"/>
                  </a:lnTo>
                  <a:lnTo>
                    <a:pt x="74" y="1116"/>
                  </a:lnTo>
                  <a:lnTo>
                    <a:pt x="75" y="1128"/>
                  </a:lnTo>
                  <a:lnTo>
                    <a:pt x="76" y="1141"/>
                  </a:lnTo>
                  <a:lnTo>
                    <a:pt x="78" y="1152"/>
                  </a:lnTo>
                  <a:lnTo>
                    <a:pt x="82" y="1163"/>
                  </a:lnTo>
                  <a:lnTo>
                    <a:pt x="85" y="1174"/>
                  </a:lnTo>
                  <a:lnTo>
                    <a:pt x="89" y="1184"/>
                  </a:lnTo>
                  <a:lnTo>
                    <a:pt x="94" y="1195"/>
                  </a:lnTo>
                  <a:lnTo>
                    <a:pt x="103" y="1213"/>
                  </a:lnTo>
                  <a:lnTo>
                    <a:pt x="113" y="1231"/>
                  </a:lnTo>
                  <a:lnTo>
                    <a:pt x="124" y="1249"/>
                  </a:lnTo>
                  <a:lnTo>
                    <a:pt x="137" y="1265"/>
                  </a:lnTo>
                  <a:lnTo>
                    <a:pt x="149" y="1282"/>
                  </a:lnTo>
                  <a:lnTo>
                    <a:pt x="160" y="1298"/>
                  </a:lnTo>
                  <a:lnTo>
                    <a:pt x="171" y="1316"/>
                  </a:lnTo>
                  <a:lnTo>
                    <a:pt x="180" y="1334"/>
                  </a:lnTo>
                  <a:lnTo>
                    <a:pt x="188" y="1352"/>
                  </a:lnTo>
                  <a:lnTo>
                    <a:pt x="195" y="1373"/>
                  </a:lnTo>
                  <a:lnTo>
                    <a:pt x="197" y="1383"/>
                  </a:lnTo>
                  <a:lnTo>
                    <a:pt x="198" y="1394"/>
                  </a:lnTo>
                  <a:lnTo>
                    <a:pt x="199" y="1405"/>
                  </a:lnTo>
                  <a:lnTo>
                    <a:pt x="200" y="1418"/>
                  </a:lnTo>
                  <a:lnTo>
                    <a:pt x="200" y="1425"/>
                  </a:lnTo>
                  <a:lnTo>
                    <a:pt x="201" y="1431"/>
                  </a:lnTo>
                  <a:lnTo>
                    <a:pt x="202" y="1437"/>
                  </a:lnTo>
                  <a:lnTo>
                    <a:pt x="205" y="1442"/>
                  </a:lnTo>
                  <a:lnTo>
                    <a:pt x="210" y="1453"/>
                  </a:lnTo>
                  <a:lnTo>
                    <a:pt x="217" y="1463"/>
                  </a:lnTo>
                  <a:lnTo>
                    <a:pt x="222" y="1475"/>
                  </a:lnTo>
                  <a:lnTo>
                    <a:pt x="228" y="1485"/>
                  </a:lnTo>
                  <a:lnTo>
                    <a:pt x="230" y="1491"/>
                  </a:lnTo>
                  <a:lnTo>
                    <a:pt x="231" y="1497"/>
                  </a:lnTo>
                  <a:lnTo>
                    <a:pt x="232" y="1503"/>
                  </a:lnTo>
                  <a:lnTo>
                    <a:pt x="233" y="1510"/>
                  </a:lnTo>
                  <a:lnTo>
                    <a:pt x="232" y="1518"/>
                  </a:lnTo>
                  <a:lnTo>
                    <a:pt x="230" y="1526"/>
                  </a:lnTo>
                  <a:lnTo>
                    <a:pt x="227" y="1532"/>
                  </a:lnTo>
                  <a:lnTo>
                    <a:pt x="223" y="1537"/>
                  </a:lnTo>
                  <a:lnTo>
                    <a:pt x="219" y="1542"/>
                  </a:lnTo>
                  <a:lnTo>
                    <a:pt x="216" y="1547"/>
                  </a:lnTo>
                  <a:lnTo>
                    <a:pt x="213" y="1553"/>
                  </a:lnTo>
                  <a:lnTo>
                    <a:pt x="213" y="1559"/>
                  </a:lnTo>
                  <a:lnTo>
                    <a:pt x="213" y="1578"/>
                  </a:lnTo>
                  <a:lnTo>
                    <a:pt x="213" y="1590"/>
                  </a:lnTo>
                  <a:lnTo>
                    <a:pt x="213" y="1598"/>
                  </a:lnTo>
                  <a:lnTo>
                    <a:pt x="213" y="1603"/>
                  </a:lnTo>
                  <a:lnTo>
                    <a:pt x="212" y="1609"/>
                  </a:lnTo>
                  <a:lnTo>
                    <a:pt x="211" y="1615"/>
                  </a:lnTo>
                  <a:lnTo>
                    <a:pt x="209" y="1622"/>
                  </a:lnTo>
                  <a:lnTo>
                    <a:pt x="207" y="1628"/>
                  </a:lnTo>
                  <a:lnTo>
                    <a:pt x="204" y="1635"/>
                  </a:lnTo>
                  <a:lnTo>
                    <a:pt x="201" y="1644"/>
                  </a:lnTo>
                  <a:lnTo>
                    <a:pt x="200" y="1654"/>
                  </a:lnTo>
                  <a:lnTo>
                    <a:pt x="200" y="1664"/>
                  </a:lnTo>
                  <a:lnTo>
                    <a:pt x="200" y="1672"/>
                  </a:lnTo>
                  <a:lnTo>
                    <a:pt x="204" y="1681"/>
                  </a:lnTo>
                  <a:lnTo>
                    <a:pt x="207" y="1690"/>
                  </a:lnTo>
                  <a:lnTo>
                    <a:pt x="213" y="1700"/>
                  </a:lnTo>
                  <a:lnTo>
                    <a:pt x="220" y="1709"/>
                  </a:lnTo>
                  <a:lnTo>
                    <a:pt x="228" y="1718"/>
                  </a:lnTo>
                  <a:lnTo>
                    <a:pt x="236" y="1727"/>
                  </a:lnTo>
                  <a:lnTo>
                    <a:pt x="246" y="1735"/>
                  </a:lnTo>
                  <a:lnTo>
                    <a:pt x="256" y="1743"/>
                  </a:lnTo>
                  <a:lnTo>
                    <a:pt x="267" y="1752"/>
                  </a:lnTo>
                  <a:lnTo>
                    <a:pt x="278" y="1758"/>
                  </a:lnTo>
                  <a:lnTo>
                    <a:pt x="289" y="1764"/>
                  </a:lnTo>
                  <a:lnTo>
                    <a:pt x="300" y="1769"/>
                  </a:lnTo>
                  <a:lnTo>
                    <a:pt x="311" y="1772"/>
                  </a:lnTo>
                  <a:lnTo>
                    <a:pt x="322" y="1774"/>
                  </a:lnTo>
                  <a:lnTo>
                    <a:pt x="333" y="1775"/>
                  </a:lnTo>
                  <a:lnTo>
                    <a:pt x="342" y="1776"/>
                  </a:lnTo>
                  <a:lnTo>
                    <a:pt x="351" y="1779"/>
                  </a:lnTo>
                  <a:lnTo>
                    <a:pt x="358" y="1781"/>
                  </a:lnTo>
                  <a:lnTo>
                    <a:pt x="366" y="1784"/>
                  </a:lnTo>
                  <a:lnTo>
                    <a:pt x="380" y="1791"/>
                  </a:lnTo>
                  <a:lnTo>
                    <a:pt x="392" y="1798"/>
                  </a:lnTo>
                  <a:lnTo>
                    <a:pt x="404" y="1807"/>
                  </a:lnTo>
                  <a:lnTo>
                    <a:pt x="419" y="1813"/>
                  </a:lnTo>
                  <a:lnTo>
                    <a:pt x="426" y="1815"/>
                  </a:lnTo>
                  <a:lnTo>
                    <a:pt x="434" y="1817"/>
                  </a:lnTo>
                  <a:lnTo>
                    <a:pt x="443" y="1818"/>
                  </a:lnTo>
                  <a:lnTo>
                    <a:pt x="452" y="1818"/>
                  </a:lnTo>
                  <a:lnTo>
                    <a:pt x="452" y="1803"/>
                  </a:lnTo>
                  <a:lnTo>
                    <a:pt x="451" y="1786"/>
                  </a:lnTo>
                  <a:lnTo>
                    <a:pt x="448" y="1772"/>
                  </a:lnTo>
                  <a:lnTo>
                    <a:pt x="445" y="1758"/>
                  </a:lnTo>
                  <a:lnTo>
                    <a:pt x="441" y="1736"/>
                  </a:lnTo>
                  <a:lnTo>
                    <a:pt x="439" y="1726"/>
                  </a:lnTo>
                  <a:lnTo>
                    <a:pt x="440" y="1721"/>
                  </a:lnTo>
                  <a:lnTo>
                    <a:pt x="443" y="1715"/>
                  </a:lnTo>
                  <a:lnTo>
                    <a:pt x="448" y="1709"/>
                  </a:lnTo>
                  <a:lnTo>
                    <a:pt x="454" y="1703"/>
                  </a:lnTo>
                  <a:lnTo>
                    <a:pt x="460" y="1698"/>
                  </a:lnTo>
                  <a:lnTo>
                    <a:pt x="467" y="1693"/>
                  </a:lnTo>
                  <a:lnTo>
                    <a:pt x="474" y="1689"/>
                  </a:lnTo>
                  <a:lnTo>
                    <a:pt x="479" y="1688"/>
                  </a:lnTo>
                  <a:lnTo>
                    <a:pt x="466" y="1633"/>
                  </a:lnTo>
                  <a:lnTo>
                    <a:pt x="459" y="1633"/>
                  </a:lnTo>
                  <a:lnTo>
                    <a:pt x="459" y="1615"/>
                  </a:lnTo>
                  <a:lnTo>
                    <a:pt x="470" y="1612"/>
                  </a:lnTo>
                  <a:lnTo>
                    <a:pt x="479" y="1610"/>
                  </a:lnTo>
                  <a:lnTo>
                    <a:pt x="487" y="1608"/>
                  </a:lnTo>
                  <a:lnTo>
                    <a:pt x="493" y="1605"/>
                  </a:lnTo>
                  <a:lnTo>
                    <a:pt x="505" y="1599"/>
                  </a:lnTo>
                  <a:lnTo>
                    <a:pt x="519" y="1590"/>
                  </a:lnTo>
                  <a:lnTo>
                    <a:pt x="519" y="1510"/>
                  </a:lnTo>
                  <a:lnTo>
                    <a:pt x="507" y="1510"/>
                  </a:lnTo>
                  <a:lnTo>
                    <a:pt x="495" y="1509"/>
                  </a:lnTo>
                  <a:lnTo>
                    <a:pt x="482" y="1508"/>
                  </a:lnTo>
                  <a:lnTo>
                    <a:pt x="471" y="1506"/>
                  </a:lnTo>
                  <a:lnTo>
                    <a:pt x="462" y="1504"/>
                  </a:lnTo>
                  <a:lnTo>
                    <a:pt x="452" y="1502"/>
                  </a:lnTo>
                  <a:lnTo>
                    <a:pt x="443" y="1498"/>
                  </a:lnTo>
                  <a:lnTo>
                    <a:pt x="434" y="1495"/>
                  </a:lnTo>
                  <a:lnTo>
                    <a:pt x="426" y="1490"/>
                  </a:lnTo>
                  <a:lnTo>
                    <a:pt x="420" y="1486"/>
                  </a:lnTo>
                  <a:lnTo>
                    <a:pt x="413" y="1480"/>
                  </a:lnTo>
                  <a:lnTo>
                    <a:pt x="409" y="1474"/>
                  </a:lnTo>
                  <a:lnTo>
                    <a:pt x="404" y="1466"/>
                  </a:lnTo>
                  <a:lnTo>
                    <a:pt x="401" y="1459"/>
                  </a:lnTo>
                  <a:lnTo>
                    <a:pt x="400" y="1451"/>
                  </a:lnTo>
                  <a:lnTo>
                    <a:pt x="399" y="1442"/>
                  </a:lnTo>
                  <a:lnTo>
                    <a:pt x="400" y="1436"/>
                  </a:lnTo>
                  <a:lnTo>
                    <a:pt x="401" y="1430"/>
                  </a:lnTo>
                  <a:lnTo>
                    <a:pt x="404" y="1424"/>
                  </a:lnTo>
                  <a:lnTo>
                    <a:pt x="408" y="1419"/>
                  </a:lnTo>
                  <a:lnTo>
                    <a:pt x="412" y="1415"/>
                  </a:lnTo>
                  <a:lnTo>
                    <a:pt x="417" y="1410"/>
                  </a:lnTo>
                  <a:lnTo>
                    <a:pt x="422" y="1407"/>
                  </a:lnTo>
                  <a:lnTo>
                    <a:pt x="429" y="1403"/>
                  </a:lnTo>
                  <a:lnTo>
                    <a:pt x="441" y="1399"/>
                  </a:lnTo>
                  <a:lnTo>
                    <a:pt x="453" y="1395"/>
                  </a:lnTo>
                  <a:lnTo>
                    <a:pt x="464" y="1393"/>
                  </a:lnTo>
                  <a:lnTo>
                    <a:pt x="473" y="1393"/>
                  </a:lnTo>
                  <a:lnTo>
                    <a:pt x="473" y="1384"/>
                  </a:lnTo>
                  <a:lnTo>
                    <a:pt x="474" y="1374"/>
                  </a:lnTo>
                  <a:lnTo>
                    <a:pt x="476" y="1364"/>
                  </a:lnTo>
                  <a:lnTo>
                    <a:pt x="479" y="1353"/>
                  </a:lnTo>
                  <a:lnTo>
                    <a:pt x="481" y="1342"/>
                  </a:lnTo>
                  <a:lnTo>
                    <a:pt x="484" y="1332"/>
                  </a:lnTo>
                  <a:lnTo>
                    <a:pt x="485" y="1323"/>
                  </a:lnTo>
                  <a:lnTo>
                    <a:pt x="486" y="1313"/>
                  </a:lnTo>
                  <a:lnTo>
                    <a:pt x="485" y="1301"/>
                  </a:lnTo>
                  <a:lnTo>
                    <a:pt x="482" y="1290"/>
                  </a:lnTo>
                  <a:lnTo>
                    <a:pt x="480" y="1278"/>
                  </a:lnTo>
                  <a:lnTo>
                    <a:pt x="476" y="1267"/>
                  </a:lnTo>
                  <a:lnTo>
                    <a:pt x="466" y="1245"/>
                  </a:lnTo>
                  <a:lnTo>
                    <a:pt x="455" y="1224"/>
                  </a:lnTo>
                  <a:lnTo>
                    <a:pt x="444" y="1205"/>
                  </a:lnTo>
                  <a:lnTo>
                    <a:pt x="435" y="1187"/>
                  </a:lnTo>
                  <a:lnTo>
                    <a:pt x="431" y="1179"/>
                  </a:lnTo>
                  <a:lnTo>
                    <a:pt x="429" y="1172"/>
                  </a:lnTo>
                  <a:lnTo>
                    <a:pt x="426" y="1165"/>
                  </a:lnTo>
                  <a:lnTo>
                    <a:pt x="425" y="1159"/>
                  </a:lnTo>
                  <a:lnTo>
                    <a:pt x="425" y="1148"/>
                  </a:lnTo>
                  <a:lnTo>
                    <a:pt x="425" y="1141"/>
                  </a:lnTo>
                  <a:lnTo>
                    <a:pt x="433" y="1141"/>
                  </a:lnTo>
                  <a:lnTo>
                    <a:pt x="441" y="1142"/>
                  </a:lnTo>
                  <a:lnTo>
                    <a:pt x="448" y="1144"/>
                  </a:lnTo>
                  <a:lnTo>
                    <a:pt x="456" y="1145"/>
                  </a:lnTo>
                  <a:lnTo>
                    <a:pt x="473" y="1150"/>
                  </a:lnTo>
                  <a:lnTo>
                    <a:pt x="488" y="1156"/>
                  </a:lnTo>
                  <a:lnTo>
                    <a:pt x="503" y="1161"/>
                  </a:lnTo>
                  <a:lnTo>
                    <a:pt x="518" y="1166"/>
                  </a:lnTo>
                  <a:lnTo>
                    <a:pt x="532" y="1170"/>
                  </a:lnTo>
                  <a:lnTo>
                    <a:pt x="545" y="1171"/>
                  </a:lnTo>
                  <a:lnTo>
                    <a:pt x="549" y="1171"/>
                  </a:lnTo>
                  <a:lnTo>
                    <a:pt x="554" y="1169"/>
                  </a:lnTo>
                  <a:lnTo>
                    <a:pt x="557" y="1168"/>
                  </a:lnTo>
                  <a:lnTo>
                    <a:pt x="560" y="1165"/>
                  </a:lnTo>
                  <a:lnTo>
                    <a:pt x="565" y="1159"/>
                  </a:lnTo>
                  <a:lnTo>
                    <a:pt x="568" y="1151"/>
                  </a:lnTo>
                  <a:lnTo>
                    <a:pt x="570" y="1142"/>
                  </a:lnTo>
                  <a:lnTo>
                    <a:pt x="571" y="1132"/>
                  </a:lnTo>
                  <a:lnTo>
                    <a:pt x="571" y="1123"/>
                  </a:lnTo>
                  <a:lnTo>
                    <a:pt x="571" y="1116"/>
                  </a:lnTo>
                  <a:lnTo>
                    <a:pt x="569" y="1112"/>
                  </a:lnTo>
                  <a:lnTo>
                    <a:pt x="565" y="1102"/>
                  </a:lnTo>
                  <a:lnTo>
                    <a:pt x="560" y="1090"/>
                  </a:lnTo>
                  <a:lnTo>
                    <a:pt x="558" y="1078"/>
                  </a:lnTo>
                  <a:lnTo>
                    <a:pt x="552" y="1066"/>
                  </a:lnTo>
                  <a:lnTo>
                    <a:pt x="545" y="1054"/>
                  </a:lnTo>
                  <a:lnTo>
                    <a:pt x="546" y="1049"/>
                  </a:lnTo>
                  <a:lnTo>
                    <a:pt x="548" y="1044"/>
                  </a:lnTo>
                  <a:lnTo>
                    <a:pt x="551" y="1040"/>
                  </a:lnTo>
                  <a:lnTo>
                    <a:pt x="555" y="1036"/>
                  </a:lnTo>
                  <a:lnTo>
                    <a:pt x="559" y="1032"/>
                  </a:lnTo>
                  <a:lnTo>
                    <a:pt x="565" y="1030"/>
                  </a:lnTo>
                  <a:lnTo>
                    <a:pt x="571" y="1027"/>
                  </a:lnTo>
                  <a:lnTo>
                    <a:pt x="578" y="1025"/>
                  </a:lnTo>
                  <a:lnTo>
                    <a:pt x="591" y="1022"/>
                  </a:lnTo>
                  <a:lnTo>
                    <a:pt x="604" y="1021"/>
                  </a:lnTo>
                  <a:lnTo>
                    <a:pt x="615" y="1021"/>
                  </a:lnTo>
                  <a:lnTo>
                    <a:pt x="625" y="1023"/>
                  </a:lnTo>
                  <a:lnTo>
                    <a:pt x="652" y="1023"/>
                  </a:lnTo>
                  <a:lnTo>
                    <a:pt x="676" y="1023"/>
                  </a:lnTo>
                  <a:lnTo>
                    <a:pt x="697" y="1021"/>
                  </a:lnTo>
                  <a:lnTo>
                    <a:pt x="716" y="1017"/>
                  </a:lnTo>
                  <a:lnTo>
                    <a:pt x="734" y="1013"/>
                  </a:lnTo>
                  <a:lnTo>
                    <a:pt x="750" y="1007"/>
                  </a:lnTo>
                  <a:lnTo>
                    <a:pt x="764" y="1001"/>
                  </a:lnTo>
                  <a:lnTo>
                    <a:pt x="776" y="993"/>
                  </a:lnTo>
                  <a:lnTo>
                    <a:pt x="787" y="984"/>
                  </a:lnTo>
                  <a:lnTo>
                    <a:pt x="795" y="973"/>
                  </a:lnTo>
                  <a:lnTo>
                    <a:pt x="802" y="961"/>
                  </a:lnTo>
                  <a:lnTo>
                    <a:pt x="809" y="949"/>
                  </a:lnTo>
                  <a:lnTo>
                    <a:pt x="812" y="935"/>
                  </a:lnTo>
                  <a:lnTo>
                    <a:pt x="815" y="921"/>
                  </a:lnTo>
                  <a:lnTo>
                    <a:pt x="817" y="904"/>
                  </a:lnTo>
                  <a:lnTo>
                    <a:pt x="817" y="888"/>
                  </a:lnTo>
                  <a:lnTo>
                    <a:pt x="817" y="884"/>
                  </a:lnTo>
                  <a:lnTo>
                    <a:pt x="816" y="882"/>
                  </a:lnTo>
                  <a:lnTo>
                    <a:pt x="815" y="879"/>
                  </a:lnTo>
                  <a:lnTo>
                    <a:pt x="813" y="877"/>
                  </a:lnTo>
                  <a:lnTo>
                    <a:pt x="809" y="874"/>
                  </a:lnTo>
                  <a:lnTo>
                    <a:pt x="803" y="871"/>
                  </a:lnTo>
                  <a:lnTo>
                    <a:pt x="792" y="867"/>
                  </a:lnTo>
                  <a:lnTo>
                    <a:pt x="784" y="863"/>
                  </a:lnTo>
                  <a:lnTo>
                    <a:pt x="782" y="859"/>
                  </a:lnTo>
                  <a:lnTo>
                    <a:pt x="781" y="852"/>
                  </a:lnTo>
                  <a:lnTo>
                    <a:pt x="780" y="847"/>
                  </a:lnTo>
                  <a:lnTo>
                    <a:pt x="779" y="841"/>
                  </a:lnTo>
                  <a:lnTo>
                    <a:pt x="780" y="836"/>
                  </a:lnTo>
                  <a:lnTo>
                    <a:pt x="781" y="830"/>
                  </a:lnTo>
                  <a:lnTo>
                    <a:pt x="782" y="825"/>
                  </a:lnTo>
                  <a:lnTo>
                    <a:pt x="784" y="820"/>
                  </a:lnTo>
                  <a:lnTo>
                    <a:pt x="772" y="816"/>
                  </a:lnTo>
                  <a:lnTo>
                    <a:pt x="758" y="810"/>
                  </a:lnTo>
                  <a:lnTo>
                    <a:pt x="742" y="800"/>
                  </a:lnTo>
                  <a:lnTo>
                    <a:pt x="725" y="789"/>
                  </a:lnTo>
                  <a:lnTo>
                    <a:pt x="717" y="783"/>
                  </a:lnTo>
                  <a:lnTo>
                    <a:pt x="711" y="777"/>
                  </a:lnTo>
                  <a:lnTo>
                    <a:pt x="704" y="771"/>
                  </a:lnTo>
                  <a:lnTo>
                    <a:pt x="700" y="765"/>
                  </a:lnTo>
                  <a:lnTo>
                    <a:pt x="695" y="758"/>
                  </a:lnTo>
                  <a:lnTo>
                    <a:pt x="692" y="752"/>
                  </a:lnTo>
                  <a:lnTo>
                    <a:pt x="691" y="745"/>
                  </a:lnTo>
                  <a:lnTo>
                    <a:pt x="691" y="739"/>
                  </a:lnTo>
                  <a:lnTo>
                    <a:pt x="698" y="616"/>
                  </a:lnTo>
                  <a:lnTo>
                    <a:pt x="697" y="585"/>
                  </a:lnTo>
                  <a:lnTo>
                    <a:pt x="697" y="553"/>
                  </a:lnTo>
                  <a:lnTo>
                    <a:pt x="698" y="546"/>
                  </a:lnTo>
                  <a:lnTo>
                    <a:pt x="699" y="539"/>
                  </a:lnTo>
                  <a:lnTo>
                    <a:pt x="701" y="532"/>
                  </a:lnTo>
                  <a:lnTo>
                    <a:pt x="703" y="525"/>
                  </a:lnTo>
                  <a:lnTo>
                    <a:pt x="708" y="518"/>
                  </a:lnTo>
                  <a:lnTo>
                    <a:pt x="712" y="511"/>
                  </a:lnTo>
                  <a:lnTo>
                    <a:pt x="717" y="505"/>
                  </a:lnTo>
                  <a:lnTo>
                    <a:pt x="725" y="499"/>
                  </a:lnTo>
                  <a:lnTo>
                    <a:pt x="725" y="493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444" name="Freeform 442"/>
          <p:cNvSpPr>
            <a:spLocks/>
          </p:cNvSpPr>
          <p:nvPr userDrawn="1">
            <p:custDataLst>
              <p:tags r:id="rId279"/>
            </p:custDataLst>
          </p:nvPr>
        </p:nvSpPr>
        <p:spPr bwMode="auto">
          <a:xfrm>
            <a:off x="5073654" y="1931204"/>
            <a:ext cx="123825" cy="82154"/>
          </a:xfrm>
          <a:custGeom>
            <a:avLst/>
            <a:gdLst>
              <a:gd name="T0" fmla="*/ 6500146 w 279"/>
              <a:gd name="T1" fmla="*/ 25083666 h 204"/>
              <a:gd name="T2" fmla="*/ 11621352 w 279"/>
              <a:gd name="T3" fmla="*/ 40940906 h 204"/>
              <a:gd name="T4" fmla="*/ 11621352 w 279"/>
              <a:gd name="T5" fmla="*/ 51608508 h 204"/>
              <a:gd name="T6" fmla="*/ 20091159 w 279"/>
              <a:gd name="T7" fmla="*/ 56509795 h 204"/>
              <a:gd name="T8" fmla="*/ 24030923 w 279"/>
              <a:gd name="T9" fmla="*/ 58239850 h 204"/>
              <a:gd name="T10" fmla="*/ 27379522 w 279"/>
              <a:gd name="T11" fmla="*/ 58816536 h 204"/>
              <a:gd name="T12" fmla="*/ 28758018 w 279"/>
              <a:gd name="T13" fmla="*/ 57951508 h 204"/>
              <a:gd name="T14" fmla="*/ 29742855 w 279"/>
              <a:gd name="T15" fmla="*/ 55933110 h 204"/>
              <a:gd name="T16" fmla="*/ 31515904 w 279"/>
              <a:gd name="T17" fmla="*/ 49590647 h 204"/>
              <a:gd name="T18" fmla="*/ 33879673 w 279"/>
              <a:gd name="T19" fmla="*/ 42959304 h 204"/>
              <a:gd name="T20" fmla="*/ 35652278 w 279"/>
              <a:gd name="T21" fmla="*/ 40652563 h 204"/>
              <a:gd name="T22" fmla="*/ 37818993 w 279"/>
              <a:gd name="T23" fmla="*/ 39210850 h 204"/>
              <a:gd name="T24" fmla="*/ 41167592 w 279"/>
              <a:gd name="T25" fmla="*/ 39787536 h 204"/>
              <a:gd name="T26" fmla="*/ 43334307 w 279"/>
              <a:gd name="T27" fmla="*/ 40940906 h 204"/>
              <a:gd name="T28" fmla="*/ 44909857 w 279"/>
              <a:gd name="T29" fmla="*/ 42670961 h 204"/>
              <a:gd name="T30" fmla="*/ 45501021 w 279"/>
              <a:gd name="T31" fmla="*/ 44400480 h 204"/>
              <a:gd name="T32" fmla="*/ 46091742 w 279"/>
              <a:gd name="T33" fmla="*/ 47283906 h 204"/>
              <a:gd name="T34" fmla="*/ 45501021 w 279"/>
              <a:gd name="T35" fmla="*/ 48148934 h 204"/>
              <a:gd name="T36" fmla="*/ 46091742 w 279"/>
              <a:gd name="T37" fmla="*/ 44112674 h 204"/>
              <a:gd name="T38" fmla="*/ 46879517 w 279"/>
              <a:gd name="T39" fmla="*/ 40364221 h 204"/>
              <a:gd name="T40" fmla="*/ 48258456 w 279"/>
              <a:gd name="T41" fmla="*/ 33732870 h 204"/>
              <a:gd name="T42" fmla="*/ 50031505 w 279"/>
              <a:gd name="T43" fmla="*/ 33156185 h 204"/>
              <a:gd name="T44" fmla="*/ 52001165 w 279"/>
              <a:gd name="T45" fmla="*/ 31715009 h 204"/>
              <a:gd name="T46" fmla="*/ 54955655 w 279"/>
              <a:gd name="T47" fmla="*/ 28543240 h 204"/>
              <a:gd name="T48" fmla="*/ 49637396 w 279"/>
              <a:gd name="T49" fmla="*/ 21623555 h 204"/>
              <a:gd name="T50" fmla="*/ 44712802 w 279"/>
              <a:gd name="T51" fmla="*/ 16722264 h 204"/>
              <a:gd name="T52" fmla="*/ 40182762 w 279"/>
              <a:gd name="T53" fmla="*/ 12686004 h 204"/>
              <a:gd name="T54" fmla="*/ 36440053 w 279"/>
              <a:gd name="T55" fmla="*/ 8937551 h 204"/>
              <a:gd name="T56" fmla="*/ 28758018 w 279"/>
              <a:gd name="T57" fmla="*/ 19605694 h 204"/>
              <a:gd name="T58" fmla="*/ 15561119 w 279"/>
              <a:gd name="T59" fmla="*/ 7208030 h 204"/>
              <a:gd name="T60" fmla="*/ 10242412 w 279"/>
              <a:gd name="T61" fmla="*/ 3459575 h 204"/>
              <a:gd name="T62" fmla="*/ 9060972 w 279"/>
              <a:gd name="T63" fmla="*/ 17875638 h 204"/>
              <a:gd name="T64" fmla="*/ 0 w 279"/>
              <a:gd name="T65" fmla="*/ 16145578 h 20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279"/>
              <a:gd name="T100" fmla="*/ 0 h 204"/>
              <a:gd name="T101" fmla="*/ 279 w 279"/>
              <a:gd name="T102" fmla="*/ 204 h 204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279" h="204">
                <a:moveTo>
                  <a:pt x="0" y="56"/>
                </a:moveTo>
                <a:lnTo>
                  <a:pt x="33" y="87"/>
                </a:lnTo>
                <a:lnTo>
                  <a:pt x="46" y="123"/>
                </a:lnTo>
                <a:lnTo>
                  <a:pt x="59" y="142"/>
                </a:lnTo>
                <a:lnTo>
                  <a:pt x="59" y="173"/>
                </a:lnTo>
                <a:lnTo>
                  <a:pt x="59" y="179"/>
                </a:lnTo>
                <a:lnTo>
                  <a:pt x="80" y="188"/>
                </a:lnTo>
                <a:lnTo>
                  <a:pt x="102" y="196"/>
                </a:lnTo>
                <a:lnTo>
                  <a:pt x="112" y="199"/>
                </a:lnTo>
                <a:lnTo>
                  <a:pt x="122" y="202"/>
                </a:lnTo>
                <a:lnTo>
                  <a:pt x="130" y="203"/>
                </a:lnTo>
                <a:lnTo>
                  <a:pt x="139" y="204"/>
                </a:lnTo>
                <a:lnTo>
                  <a:pt x="142" y="203"/>
                </a:lnTo>
                <a:lnTo>
                  <a:pt x="146" y="201"/>
                </a:lnTo>
                <a:lnTo>
                  <a:pt x="148" y="198"/>
                </a:lnTo>
                <a:lnTo>
                  <a:pt x="151" y="194"/>
                </a:lnTo>
                <a:lnTo>
                  <a:pt x="156" y="183"/>
                </a:lnTo>
                <a:lnTo>
                  <a:pt x="160" y="172"/>
                </a:lnTo>
                <a:lnTo>
                  <a:pt x="165" y="160"/>
                </a:lnTo>
                <a:lnTo>
                  <a:pt x="172" y="149"/>
                </a:lnTo>
                <a:lnTo>
                  <a:pt x="176" y="145"/>
                </a:lnTo>
                <a:lnTo>
                  <a:pt x="181" y="141"/>
                </a:lnTo>
                <a:lnTo>
                  <a:pt x="186" y="138"/>
                </a:lnTo>
                <a:lnTo>
                  <a:pt x="192" y="136"/>
                </a:lnTo>
                <a:lnTo>
                  <a:pt x="201" y="137"/>
                </a:lnTo>
                <a:lnTo>
                  <a:pt x="209" y="138"/>
                </a:lnTo>
                <a:lnTo>
                  <a:pt x="215" y="140"/>
                </a:lnTo>
                <a:lnTo>
                  <a:pt x="220" y="142"/>
                </a:lnTo>
                <a:lnTo>
                  <a:pt x="225" y="145"/>
                </a:lnTo>
                <a:lnTo>
                  <a:pt x="228" y="148"/>
                </a:lnTo>
                <a:lnTo>
                  <a:pt x="230" y="151"/>
                </a:lnTo>
                <a:lnTo>
                  <a:pt x="231" y="154"/>
                </a:lnTo>
                <a:lnTo>
                  <a:pt x="234" y="160"/>
                </a:lnTo>
                <a:lnTo>
                  <a:pt x="234" y="164"/>
                </a:lnTo>
                <a:lnTo>
                  <a:pt x="232" y="167"/>
                </a:lnTo>
                <a:lnTo>
                  <a:pt x="231" y="167"/>
                </a:lnTo>
                <a:lnTo>
                  <a:pt x="232" y="160"/>
                </a:lnTo>
                <a:lnTo>
                  <a:pt x="234" y="153"/>
                </a:lnTo>
                <a:lnTo>
                  <a:pt x="236" y="147"/>
                </a:lnTo>
                <a:lnTo>
                  <a:pt x="238" y="140"/>
                </a:lnTo>
                <a:lnTo>
                  <a:pt x="243" y="127"/>
                </a:lnTo>
                <a:lnTo>
                  <a:pt x="245" y="117"/>
                </a:lnTo>
                <a:lnTo>
                  <a:pt x="250" y="117"/>
                </a:lnTo>
                <a:lnTo>
                  <a:pt x="254" y="115"/>
                </a:lnTo>
                <a:lnTo>
                  <a:pt x="260" y="113"/>
                </a:lnTo>
                <a:lnTo>
                  <a:pt x="264" y="110"/>
                </a:lnTo>
                <a:lnTo>
                  <a:pt x="272" y="104"/>
                </a:lnTo>
                <a:lnTo>
                  <a:pt x="279" y="99"/>
                </a:lnTo>
                <a:lnTo>
                  <a:pt x="265" y="87"/>
                </a:lnTo>
                <a:lnTo>
                  <a:pt x="252" y="75"/>
                </a:lnTo>
                <a:lnTo>
                  <a:pt x="239" y="66"/>
                </a:lnTo>
                <a:lnTo>
                  <a:pt x="227" y="58"/>
                </a:lnTo>
                <a:lnTo>
                  <a:pt x="215" y="51"/>
                </a:lnTo>
                <a:lnTo>
                  <a:pt x="204" y="44"/>
                </a:lnTo>
                <a:lnTo>
                  <a:pt x="194" y="38"/>
                </a:lnTo>
                <a:lnTo>
                  <a:pt x="185" y="31"/>
                </a:lnTo>
                <a:lnTo>
                  <a:pt x="172" y="31"/>
                </a:lnTo>
                <a:lnTo>
                  <a:pt x="146" y="68"/>
                </a:lnTo>
                <a:lnTo>
                  <a:pt x="112" y="50"/>
                </a:lnTo>
                <a:lnTo>
                  <a:pt x="79" y="25"/>
                </a:lnTo>
                <a:lnTo>
                  <a:pt x="33" y="0"/>
                </a:lnTo>
                <a:lnTo>
                  <a:pt x="52" y="12"/>
                </a:lnTo>
                <a:lnTo>
                  <a:pt x="72" y="74"/>
                </a:lnTo>
                <a:lnTo>
                  <a:pt x="46" y="62"/>
                </a:lnTo>
                <a:lnTo>
                  <a:pt x="19" y="50"/>
                </a:lnTo>
                <a:lnTo>
                  <a:pt x="0" y="56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45" name="Freeform 443"/>
          <p:cNvSpPr>
            <a:spLocks/>
          </p:cNvSpPr>
          <p:nvPr userDrawn="1">
            <p:custDataLst>
              <p:tags r:id="rId280"/>
            </p:custDataLst>
          </p:nvPr>
        </p:nvSpPr>
        <p:spPr bwMode="auto">
          <a:xfrm>
            <a:off x="4540251" y="1610918"/>
            <a:ext cx="209550" cy="113109"/>
          </a:xfrm>
          <a:custGeom>
            <a:avLst/>
            <a:gdLst>
              <a:gd name="T0" fmla="*/ 47042897 w 485"/>
              <a:gd name="T1" fmla="*/ 5371706 h 291"/>
              <a:gd name="T2" fmla="*/ 56003425 w 485"/>
              <a:gd name="T3" fmla="*/ 11817752 h 291"/>
              <a:gd name="T4" fmla="*/ 69444015 w 485"/>
              <a:gd name="T5" fmla="*/ 11817752 h 291"/>
              <a:gd name="T6" fmla="*/ 79337797 w 485"/>
              <a:gd name="T7" fmla="*/ 35184804 h 291"/>
              <a:gd name="T8" fmla="*/ 90538566 w 485"/>
              <a:gd name="T9" fmla="*/ 44853870 h 291"/>
              <a:gd name="T10" fmla="*/ 76910907 w 485"/>
              <a:gd name="T11" fmla="*/ 46465640 h 291"/>
              <a:gd name="T12" fmla="*/ 80831435 w 485"/>
              <a:gd name="T13" fmla="*/ 56403162 h 291"/>
              <a:gd name="T14" fmla="*/ 73177461 w 485"/>
              <a:gd name="T15" fmla="*/ 64729432 h 291"/>
              <a:gd name="T16" fmla="*/ 71870906 w 485"/>
              <a:gd name="T17" fmla="*/ 78158966 h 291"/>
              <a:gd name="T18" fmla="*/ 53203233 w 485"/>
              <a:gd name="T19" fmla="*/ 71444467 h 291"/>
              <a:gd name="T20" fmla="*/ 32295333 w 485"/>
              <a:gd name="T21" fmla="*/ 68221444 h 291"/>
              <a:gd name="T22" fmla="*/ 11200772 w 485"/>
              <a:gd name="T23" fmla="*/ 71444467 h 291"/>
              <a:gd name="T24" fmla="*/ 2800193 w 485"/>
              <a:gd name="T25" fmla="*/ 72787263 h 291"/>
              <a:gd name="T26" fmla="*/ 1493206 w 485"/>
              <a:gd name="T27" fmla="*/ 69026811 h 291"/>
              <a:gd name="T28" fmla="*/ 559952 w 485"/>
              <a:gd name="T29" fmla="*/ 65535317 h 291"/>
              <a:gd name="T30" fmla="*/ 0 w 485"/>
              <a:gd name="T31" fmla="*/ 61506410 h 291"/>
              <a:gd name="T32" fmla="*/ 933254 w 485"/>
              <a:gd name="T33" fmla="*/ 58820818 h 291"/>
              <a:gd name="T34" fmla="*/ 2613542 w 485"/>
              <a:gd name="T35" fmla="*/ 55597795 h 291"/>
              <a:gd name="T36" fmla="*/ 4293399 w 485"/>
              <a:gd name="T37" fmla="*/ 50763003 h 291"/>
              <a:gd name="T38" fmla="*/ 5787037 w 485"/>
              <a:gd name="T39" fmla="*/ 44585415 h 291"/>
              <a:gd name="T40" fmla="*/ 7653977 w 485"/>
              <a:gd name="T41" fmla="*/ 36796574 h 291"/>
              <a:gd name="T42" fmla="*/ 8960532 w 485"/>
              <a:gd name="T43" fmla="*/ 33841999 h 291"/>
              <a:gd name="T44" fmla="*/ 11200772 w 485"/>
              <a:gd name="T45" fmla="*/ 31961774 h 291"/>
              <a:gd name="T46" fmla="*/ 16240776 w 485"/>
              <a:gd name="T47" fmla="*/ 29813092 h 291"/>
              <a:gd name="T48" fmla="*/ 16614509 w 485"/>
              <a:gd name="T49" fmla="*/ 28470296 h 291"/>
              <a:gd name="T50" fmla="*/ 17547763 w 485"/>
              <a:gd name="T51" fmla="*/ 26858526 h 291"/>
              <a:gd name="T52" fmla="*/ 18854317 w 485"/>
              <a:gd name="T53" fmla="*/ 25515729 h 291"/>
              <a:gd name="T54" fmla="*/ 19788003 w 485"/>
              <a:gd name="T55" fmla="*/ 24978818 h 291"/>
              <a:gd name="T56" fmla="*/ 19788003 w 485"/>
              <a:gd name="T57" fmla="*/ 20412481 h 291"/>
              <a:gd name="T58" fmla="*/ 20347955 w 485"/>
              <a:gd name="T59" fmla="*/ 18801230 h 291"/>
              <a:gd name="T60" fmla="*/ 21094557 w 485"/>
              <a:gd name="T61" fmla="*/ 17995344 h 291"/>
              <a:gd name="T62" fmla="*/ 22774846 w 485"/>
              <a:gd name="T63" fmla="*/ 18532774 h 291"/>
              <a:gd name="T64" fmla="*/ 23894750 w 485"/>
              <a:gd name="T65" fmla="*/ 18532774 h 291"/>
              <a:gd name="T66" fmla="*/ 24641352 w 485"/>
              <a:gd name="T67" fmla="*/ 17726889 h 291"/>
              <a:gd name="T68" fmla="*/ 25014654 w 485"/>
              <a:gd name="T69" fmla="*/ 15040774 h 291"/>
              <a:gd name="T70" fmla="*/ 25948339 w 485"/>
              <a:gd name="T71" fmla="*/ 11817752 h 291"/>
              <a:gd name="T72" fmla="*/ 26881592 w 485"/>
              <a:gd name="T73" fmla="*/ 10474955 h 291"/>
              <a:gd name="T74" fmla="*/ 39762224 w 485"/>
              <a:gd name="T75" fmla="*/ 0 h 291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485"/>
              <a:gd name="T115" fmla="*/ 0 h 291"/>
              <a:gd name="T116" fmla="*/ 485 w 485"/>
              <a:gd name="T117" fmla="*/ 291 h 291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485" h="291">
                <a:moveTo>
                  <a:pt x="206" y="6"/>
                </a:moveTo>
                <a:lnTo>
                  <a:pt x="252" y="20"/>
                </a:lnTo>
                <a:lnTo>
                  <a:pt x="292" y="20"/>
                </a:lnTo>
                <a:lnTo>
                  <a:pt x="300" y="44"/>
                </a:lnTo>
                <a:lnTo>
                  <a:pt x="339" y="32"/>
                </a:lnTo>
                <a:lnTo>
                  <a:pt x="372" y="44"/>
                </a:lnTo>
                <a:lnTo>
                  <a:pt x="379" y="93"/>
                </a:lnTo>
                <a:lnTo>
                  <a:pt x="425" y="131"/>
                </a:lnTo>
                <a:lnTo>
                  <a:pt x="459" y="149"/>
                </a:lnTo>
                <a:lnTo>
                  <a:pt x="485" y="167"/>
                </a:lnTo>
                <a:lnTo>
                  <a:pt x="459" y="186"/>
                </a:lnTo>
                <a:lnTo>
                  <a:pt x="412" y="173"/>
                </a:lnTo>
                <a:lnTo>
                  <a:pt x="418" y="198"/>
                </a:lnTo>
                <a:lnTo>
                  <a:pt x="433" y="210"/>
                </a:lnTo>
                <a:lnTo>
                  <a:pt x="433" y="241"/>
                </a:lnTo>
                <a:lnTo>
                  <a:pt x="392" y="241"/>
                </a:lnTo>
                <a:lnTo>
                  <a:pt x="385" y="266"/>
                </a:lnTo>
                <a:lnTo>
                  <a:pt x="385" y="291"/>
                </a:lnTo>
                <a:lnTo>
                  <a:pt x="339" y="278"/>
                </a:lnTo>
                <a:lnTo>
                  <a:pt x="285" y="266"/>
                </a:lnTo>
                <a:lnTo>
                  <a:pt x="239" y="272"/>
                </a:lnTo>
                <a:lnTo>
                  <a:pt x="173" y="254"/>
                </a:lnTo>
                <a:lnTo>
                  <a:pt x="113" y="254"/>
                </a:lnTo>
                <a:lnTo>
                  <a:pt x="60" y="266"/>
                </a:lnTo>
                <a:lnTo>
                  <a:pt x="20" y="278"/>
                </a:lnTo>
                <a:lnTo>
                  <a:pt x="15" y="271"/>
                </a:lnTo>
                <a:lnTo>
                  <a:pt x="11" y="264"/>
                </a:lnTo>
                <a:lnTo>
                  <a:pt x="8" y="257"/>
                </a:lnTo>
                <a:lnTo>
                  <a:pt x="5" y="251"/>
                </a:lnTo>
                <a:lnTo>
                  <a:pt x="3" y="244"/>
                </a:lnTo>
                <a:lnTo>
                  <a:pt x="1" y="237"/>
                </a:lnTo>
                <a:lnTo>
                  <a:pt x="0" y="229"/>
                </a:lnTo>
                <a:lnTo>
                  <a:pt x="0" y="222"/>
                </a:lnTo>
                <a:lnTo>
                  <a:pt x="5" y="219"/>
                </a:lnTo>
                <a:lnTo>
                  <a:pt x="10" y="214"/>
                </a:lnTo>
                <a:lnTo>
                  <a:pt x="14" y="207"/>
                </a:lnTo>
                <a:lnTo>
                  <a:pt x="20" y="198"/>
                </a:lnTo>
                <a:lnTo>
                  <a:pt x="23" y="189"/>
                </a:lnTo>
                <a:lnTo>
                  <a:pt x="27" y="178"/>
                </a:lnTo>
                <a:lnTo>
                  <a:pt x="31" y="166"/>
                </a:lnTo>
                <a:lnTo>
                  <a:pt x="33" y="155"/>
                </a:lnTo>
                <a:lnTo>
                  <a:pt x="41" y="137"/>
                </a:lnTo>
                <a:lnTo>
                  <a:pt x="44" y="131"/>
                </a:lnTo>
                <a:lnTo>
                  <a:pt x="48" y="126"/>
                </a:lnTo>
                <a:lnTo>
                  <a:pt x="54" y="123"/>
                </a:lnTo>
                <a:lnTo>
                  <a:pt x="60" y="119"/>
                </a:lnTo>
                <a:lnTo>
                  <a:pt x="75" y="115"/>
                </a:lnTo>
                <a:lnTo>
                  <a:pt x="87" y="111"/>
                </a:lnTo>
                <a:lnTo>
                  <a:pt x="87" y="109"/>
                </a:lnTo>
                <a:lnTo>
                  <a:pt x="89" y="106"/>
                </a:lnTo>
                <a:lnTo>
                  <a:pt x="91" y="103"/>
                </a:lnTo>
                <a:lnTo>
                  <a:pt x="94" y="100"/>
                </a:lnTo>
                <a:lnTo>
                  <a:pt x="98" y="97"/>
                </a:lnTo>
                <a:lnTo>
                  <a:pt x="101" y="95"/>
                </a:lnTo>
                <a:lnTo>
                  <a:pt x="103" y="94"/>
                </a:lnTo>
                <a:lnTo>
                  <a:pt x="106" y="93"/>
                </a:lnTo>
                <a:lnTo>
                  <a:pt x="106" y="81"/>
                </a:lnTo>
                <a:lnTo>
                  <a:pt x="106" y="76"/>
                </a:lnTo>
                <a:lnTo>
                  <a:pt x="107" y="72"/>
                </a:lnTo>
                <a:lnTo>
                  <a:pt x="109" y="70"/>
                </a:lnTo>
                <a:lnTo>
                  <a:pt x="110" y="68"/>
                </a:lnTo>
                <a:lnTo>
                  <a:pt x="113" y="67"/>
                </a:lnTo>
                <a:lnTo>
                  <a:pt x="117" y="68"/>
                </a:lnTo>
                <a:lnTo>
                  <a:pt x="122" y="69"/>
                </a:lnTo>
                <a:lnTo>
                  <a:pt x="126" y="69"/>
                </a:lnTo>
                <a:lnTo>
                  <a:pt x="128" y="69"/>
                </a:lnTo>
                <a:lnTo>
                  <a:pt x="129" y="68"/>
                </a:lnTo>
                <a:lnTo>
                  <a:pt x="132" y="66"/>
                </a:lnTo>
                <a:lnTo>
                  <a:pt x="133" y="62"/>
                </a:lnTo>
                <a:lnTo>
                  <a:pt x="134" y="56"/>
                </a:lnTo>
                <a:lnTo>
                  <a:pt x="137" y="48"/>
                </a:lnTo>
                <a:lnTo>
                  <a:pt x="139" y="44"/>
                </a:lnTo>
                <a:lnTo>
                  <a:pt x="142" y="41"/>
                </a:lnTo>
                <a:lnTo>
                  <a:pt x="144" y="39"/>
                </a:lnTo>
                <a:lnTo>
                  <a:pt x="146" y="38"/>
                </a:lnTo>
                <a:lnTo>
                  <a:pt x="213" y="0"/>
                </a:lnTo>
                <a:lnTo>
                  <a:pt x="206" y="6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46" name="Freeform 444"/>
          <p:cNvSpPr>
            <a:spLocks/>
          </p:cNvSpPr>
          <p:nvPr userDrawn="1">
            <p:custDataLst>
              <p:tags r:id="rId281"/>
            </p:custDataLst>
          </p:nvPr>
        </p:nvSpPr>
        <p:spPr bwMode="auto">
          <a:xfrm>
            <a:off x="4397377" y="1859769"/>
            <a:ext cx="82550" cy="65485"/>
          </a:xfrm>
          <a:custGeom>
            <a:avLst/>
            <a:gdLst>
              <a:gd name="T0" fmla="*/ 16939616 w 186"/>
              <a:gd name="T1" fmla="*/ 40668398 h 166"/>
              <a:gd name="T2" fmla="*/ 16348896 w 186"/>
              <a:gd name="T3" fmla="*/ 37625594 h 166"/>
              <a:gd name="T4" fmla="*/ 15364066 w 186"/>
              <a:gd name="T5" fmla="*/ 35135596 h 166"/>
              <a:gd name="T6" fmla="*/ 14575847 w 186"/>
              <a:gd name="T7" fmla="*/ 32645591 h 166"/>
              <a:gd name="T8" fmla="*/ 13788068 w 186"/>
              <a:gd name="T9" fmla="*/ 30432259 h 166"/>
              <a:gd name="T10" fmla="*/ 11818408 w 186"/>
              <a:gd name="T11" fmla="*/ 26282264 h 166"/>
              <a:gd name="T12" fmla="*/ 9651693 w 186"/>
              <a:gd name="T13" fmla="*/ 22686126 h 166"/>
              <a:gd name="T14" fmla="*/ 7287923 w 186"/>
              <a:gd name="T15" fmla="*/ 19366130 h 166"/>
              <a:gd name="T16" fmla="*/ 4924152 w 186"/>
              <a:gd name="T17" fmla="*/ 15492796 h 166"/>
              <a:gd name="T18" fmla="*/ 2560825 w 186"/>
              <a:gd name="T19" fmla="*/ 10512801 h 166"/>
              <a:gd name="T20" fmla="*/ 0 w 186"/>
              <a:gd name="T21" fmla="*/ 4979997 h 166"/>
              <a:gd name="T22" fmla="*/ 0 w 186"/>
              <a:gd name="T23" fmla="*/ 0 h 166"/>
              <a:gd name="T24" fmla="*/ 1378940 w 186"/>
              <a:gd name="T25" fmla="*/ 553333 h 166"/>
              <a:gd name="T26" fmla="*/ 2757436 w 186"/>
              <a:gd name="T27" fmla="*/ 829999 h 166"/>
              <a:gd name="T28" fmla="*/ 3939322 w 186"/>
              <a:gd name="T29" fmla="*/ 1106666 h 166"/>
              <a:gd name="T30" fmla="*/ 5318262 w 186"/>
              <a:gd name="T31" fmla="*/ 1106666 h 166"/>
              <a:gd name="T32" fmla="*/ 6500146 w 186"/>
              <a:gd name="T33" fmla="*/ 1106666 h 166"/>
              <a:gd name="T34" fmla="*/ 7879088 w 186"/>
              <a:gd name="T35" fmla="*/ 829999 h 166"/>
              <a:gd name="T36" fmla="*/ 9257583 w 186"/>
              <a:gd name="T37" fmla="*/ 553333 h 166"/>
              <a:gd name="T38" fmla="*/ 10439468 w 186"/>
              <a:gd name="T39" fmla="*/ 0 h 166"/>
              <a:gd name="T40" fmla="*/ 27576136 w 186"/>
              <a:gd name="T41" fmla="*/ 3319998 h 166"/>
              <a:gd name="T42" fmla="*/ 36637112 w 186"/>
              <a:gd name="T43" fmla="*/ 25175598 h 166"/>
              <a:gd name="T44" fmla="*/ 33682622 w 186"/>
              <a:gd name="T45" fmla="*/ 30985592 h 166"/>
              <a:gd name="T46" fmla="*/ 30531077 w 186"/>
              <a:gd name="T47" fmla="*/ 35688929 h 166"/>
              <a:gd name="T48" fmla="*/ 29349192 w 186"/>
              <a:gd name="T49" fmla="*/ 37902260 h 166"/>
              <a:gd name="T50" fmla="*/ 28364355 w 186"/>
              <a:gd name="T51" fmla="*/ 40115065 h 166"/>
              <a:gd name="T52" fmla="*/ 27970246 w 186"/>
              <a:gd name="T53" fmla="*/ 41498397 h 166"/>
              <a:gd name="T54" fmla="*/ 27773191 w 186"/>
              <a:gd name="T55" fmla="*/ 43158396 h 166"/>
              <a:gd name="T56" fmla="*/ 27576136 w 186"/>
              <a:gd name="T57" fmla="*/ 44541728 h 166"/>
              <a:gd name="T58" fmla="*/ 27576136 w 186"/>
              <a:gd name="T59" fmla="*/ 45925060 h 166"/>
              <a:gd name="T60" fmla="*/ 16939616 w 186"/>
              <a:gd name="T61" fmla="*/ 40668398 h 16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186"/>
              <a:gd name="T94" fmla="*/ 0 h 166"/>
              <a:gd name="T95" fmla="*/ 186 w 186"/>
              <a:gd name="T96" fmla="*/ 166 h 16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186" h="166">
                <a:moveTo>
                  <a:pt x="86" y="147"/>
                </a:moveTo>
                <a:lnTo>
                  <a:pt x="83" y="136"/>
                </a:lnTo>
                <a:lnTo>
                  <a:pt x="78" y="127"/>
                </a:lnTo>
                <a:lnTo>
                  <a:pt x="74" y="118"/>
                </a:lnTo>
                <a:lnTo>
                  <a:pt x="70" y="110"/>
                </a:lnTo>
                <a:lnTo>
                  <a:pt x="60" y="95"/>
                </a:lnTo>
                <a:lnTo>
                  <a:pt x="49" y="82"/>
                </a:lnTo>
                <a:lnTo>
                  <a:pt x="37" y="70"/>
                </a:lnTo>
                <a:lnTo>
                  <a:pt x="25" y="56"/>
                </a:lnTo>
                <a:lnTo>
                  <a:pt x="13" y="38"/>
                </a:lnTo>
                <a:lnTo>
                  <a:pt x="0" y="18"/>
                </a:lnTo>
                <a:lnTo>
                  <a:pt x="0" y="0"/>
                </a:lnTo>
                <a:lnTo>
                  <a:pt x="7" y="2"/>
                </a:lnTo>
                <a:lnTo>
                  <a:pt x="14" y="3"/>
                </a:lnTo>
                <a:lnTo>
                  <a:pt x="20" y="4"/>
                </a:lnTo>
                <a:lnTo>
                  <a:pt x="27" y="4"/>
                </a:lnTo>
                <a:lnTo>
                  <a:pt x="33" y="4"/>
                </a:lnTo>
                <a:lnTo>
                  <a:pt x="40" y="3"/>
                </a:lnTo>
                <a:lnTo>
                  <a:pt x="47" y="2"/>
                </a:lnTo>
                <a:lnTo>
                  <a:pt x="53" y="0"/>
                </a:lnTo>
                <a:lnTo>
                  <a:pt x="140" y="12"/>
                </a:lnTo>
                <a:lnTo>
                  <a:pt x="186" y="91"/>
                </a:lnTo>
                <a:lnTo>
                  <a:pt x="171" y="112"/>
                </a:lnTo>
                <a:lnTo>
                  <a:pt x="155" y="129"/>
                </a:lnTo>
                <a:lnTo>
                  <a:pt x="149" y="137"/>
                </a:lnTo>
                <a:lnTo>
                  <a:pt x="144" y="145"/>
                </a:lnTo>
                <a:lnTo>
                  <a:pt x="142" y="150"/>
                </a:lnTo>
                <a:lnTo>
                  <a:pt x="141" y="156"/>
                </a:lnTo>
                <a:lnTo>
                  <a:pt x="140" y="161"/>
                </a:lnTo>
                <a:lnTo>
                  <a:pt x="140" y="166"/>
                </a:lnTo>
                <a:lnTo>
                  <a:pt x="86" y="147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47" name="Freeform 445"/>
          <p:cNvSpPr>
            <a:spLocks/>
          </p:cNvSpPr>
          <p:nvPr userDrawn="1">
            <p:custDataLst>
              <p:tags r:id="rId282"/>
            </p:custDataLst>
          </p:nvPr>
        </p:nvSpPr>
        <p:spPr bwMode="auto">
          <a:xfrm>
            <a:off x="2800351" y="2937277"/>
            <a:ext cx="82550" cy="42863"/>
          </a:xfrm>
          <a:custGeom>
            <a:avLst/>
            <a:gdLst>
              <a:gd name="T0" fmla="*/ 30136967 w 186"/>
              <a:gd name="T1" fmla="*/ 6341452 h 104"/>
              <a:gd name="T2" fmla="*/ 28758021 w 186"/>
              <a:gd name="T3" fmla="*/ 6341452 h 104"/>
              <a:gd name="T4" fmla="*/ 27773191 w 186"/>
              <a:gd name="T5" fmla="*/ 6039217 h 104"/>
              <a:gd name="T6" fmla="*/ 26788361 w 186"/>
              <a:gd name="T7" fmla="*/ 5435295 h 104"/>
              <a:gd name="T8" fmla="*/ 26197640 w 186"/>
              <a:gd name="T9" fmla="*/ 4529688 h 104"/>
              <a:gd name="T10" fmla="*/ 25606476 w 186"/>
              <a:gd name="T11" fmla="*/ 3925765 h 104"/>
              <a:gd name="T12" fmla="*/ 24621646 w 186"/>
              <a:gd name="T13" fmla="*/ 3321844 h 104"/>
              <a:gd name="T14" fmla="*/ 23636816 w 186"/>
              <a:gd name="T15" fmla="*/ 3019608 h 104"/>
              <a:gd name="T16" fmla="*/ 22257876 w 186"/>
              <a:gd name="T17" fmla="*/ 2717922 h 104"/>
              <a:gd name="T18" fmla="*/ 19697496 w 186"/>
              <a:gd name="T19" fmla="*/ 2415687 h 104"/>
              <a:gd name="T20" fmla="*/ 17333726 w 186"/>
              <a:gd name="T21" fmla="*/ 1811765 h 104"/>
              <a:gd name="T22" fmla="*/ 14772902 w 186"/>
              <a:gd name="T23" fmla="*/ 906157 h 104"/>
              <a:gd name="T24" fmla="*/ 12606183 w 186"/>
              <a:gd name="T25" fmla="*/ 302236 h 104"/>
              <a:gd name="T26" fmla="*/ 11818408 w 186"/>
              <a:gd name="T27" fmla="*/ 0 h 104"/>
              <a:gd name="T28" fmla="*/ 10636523 w 186"/>
              <a:gd name="T29" fmla="*/ 0 h 104"/>
              <a:gd name="T30" fmla="*/ 10045803 w 186"/>
              <a:gd name="T31" fmla="*/ 302236 h 104"/>
              <a:gd name="T32" fmla="*/ 9060973 w 186"/>
              <a:gd name="T33" fmla="*/ 603922 h 104"/>
              <a:gd name="T34" fmla="*/ 8666863 w 186"/>
              <a:gd name="T35" fmla="*/ 1207843 h 104"/>
              <a:gd name="T36" fmla="*/ 8272753 w 186"/>
              <a:gd name="T37" fmla="*/ 1811765 h 104"/>
              <a:gd name="T38" fmla="*/ 8076142 w 186"/>
              <a:gd name="T39" fmla="*/ 3019608 h 104"/>
              <a:gd name="T40" fmla="*/ 7879088 w 186"/>
              <a:gd name="T41" fmla="*/ 4529688 h 104"/>
              <a:gd name="T42" fmla="*/ 6697201 w 186"/>
              <a:gd name="T43" fmla="*/ 8153217 h 104"/>
              <a:gd name="T44" fmla="*/ 3939322 w 186"/>
              <a:gd name="T45" fmla="*/ 14192433 h 104"/>
              <a:gd name="T46" fmla="*/ 1378940 w 186"/>
              <a:gd name="T47" fmla="*/ 19929966 h 104"/>
              <a:gd name="T48" fmla="*/ 0 w 186"/>
              <a:gd name="T49" fmla="*/ 23251809 h 104"/>
              <a:gd name="T50" fmla="*/ 1575995 w 186"/>
              <a:gd name="T51" fmla="*/ 23251809 h 104"/>
              <a:gd name="T52" fmla="*/ 3151546 w 186"/>
              <a:gd name="T53" fmla="*/ 23554044 h 104"/>
              <a:gd name="T54" fmla="*/ 4136377 w 186"/>
              <a:gd name="T55" fmla="*/ 23855730 h 104"/>
              <a:gd name="T56" fmla="*/ 4924152 w 186"/>
              <a:gd name="T57" fmla="*/ 24459652 h 104"/>
              <a:gd name="T58" fmla="*/ 6500146 w 186"/>
              <a:gd name="T59" fmla="*/ 25667495 h 104"/>
              <a:gd name="T60" fmla="*/ 7879088 w 186"/>
              <a:gd name="T61" fmla="*/ 26875338 h 104"/>
              <a:gd name="T62" fmla="*/ 8863918 w 186"/>
              <a:gd name="T63" fmla="*/ 28385416 h 104"/>
              <a:gd name="T64" fmla="*/ 10242414 w 186"/>
              <a:gd name="T65" fmla="*/ 29593259 h 104"/>
              <a:gd name="T66" fmla="*/ 11030633 w 186"/>
              <a:gd name="T67" fmla="*/ 30197180 h 104"/>
              <a:gd name="T68" fmla="*/ 12015463 w 186"/>
              <a:gd name="T69" fmla="*/ 30498866 h 104"/>
              <a:gd name="T70" fmla="*/ 13000293 w 186"/>
              <a:gd name="T71" fmla="*/ 30801102 h 104"/>
              <a:gd name="T72" fmla="*/ 14575847 w 186"/>
              <a:gd name="T73" fmla="*/ 30801102 h 104"/>
              <a:gd name="T74" fmla="*/ 21075991 w 186"/>
              <a:gd name="T75" fmla="*/ 31102788 h 104"/>
              <a:gd name="T76" fmla="*/ 25803531 w 186"/>
              <a:gd name="T77" fmla="*/ 31405023 h 104"/>
              <a:gd name="T78" fmla="*/ 26591306 w 186"/>
              <a:gd name="T79" fmla="*/ 31102788 h 104"/>
              <a:gd name="T80" fmla="*/ 27379525 w 186"/>
              <a:gd name="T81" fmla="*/ 30801102 h 104"/>
              <a:gd name="T82" fmla="*/ 27970246 w 186"/>
              <a:gd name="T83" fmla="*/ 30197180 h 104"/>
              <a:gd name="T84" fmla="*/ 28561410 w 186"/>
              <a:gd name="T85" fmla="*/ 29291024 h 104"/>
              <a:gd name="T86" fmla="*/ 28955076 w 186"/>
              <a:gd name="T87" fmla="*/ 28385416 h 104"/>
              <a:gd name="T88" fmla="*/ 29546247 w 186"/>
              <a:gd name="T89" fmla="*/ 26573652 h 104"/>
              <a:gd name="T90" fmla="*/ 29939913 w 186"/>
              <a:gd name="T91" fmla="*/ 25063573 h 104"/>
              <a:gd name="T92" fmla="*/ 30136967 w 186"/>
              <a:gd name="T93" fmla="*/ 23251809 h 104"/>
              <a:gd name="T94" fmla="*/ 36637112 w 186"/>
              <a:gd name="T95" fmla="*/ 8153217 h 104"/>
              <a:gd name="T96" fmla="*/ 30136967 w 186"/>
              <a:gd name="T97" fmla="*/ 6341452 h 10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186"/>
              <a:gd name="T148" fmla="*/ 0 h 104"/>
              <a:gd name="T149" fmla="*/ 186 w 186"/>
              <a:gd name="T150" fmla="*/ 104 h 104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186" h="104">
                <a:moveTo>
                  <a:pt x="153" y="21"/>
                </a:moveTo>
                <a:lnTo>
                  <a:pt x="146" y="21"/>
                </a:lnTo>
                <a:lnTo>
                  <a:pt x="141" y="20"/>
                </a:lnTo>
                <a:lnTo>
                  <a:pt x="136" y="18"/>
                </a:lnTo>
                <a:lnTo>
                  <a:pt x="133" y="15"/>
                </a:lnTo>
                <a:lnTo>
                  <a:pt x="130" y="13"/>
                </a:lnTo>
                <a:lnTo>
                  <a:pt x="125" y="11"/>
                </a:lnTo>
                <a:lnTo>
                  <a:pt x="120" y="10"/>
                </a:lnTo>
                <a:lnTo>
                  <a:pt x="113" y="9"/>
                </a:lnTo>
                <a:lnTo>
                  <a:pt x="100" y="8"/>
                </a:lnTo>
                <a:lnTo>
                  <a:pt x="88" y="6"/>
                </a:lnTo>
                <a:lnTo>
                  <a:pt x="75" y="3"/>
                </a:lnTo>
                <a:lnTo>
                  <a:pt x="64" y="1"/>
                </a:lnTo>
                <a:lnTo>
                  <a:pt x="60" y="0"/>
                </a:lnTo>
                <a:lnTo>
                  <a:pt x="54" y="0"/>
                </a:lnTo>
                <a:lnTo>
                  <a:pt x="51" y="1"/>
                </a:lnTo>
                <a:lnTo>
                  <a:pt x="46" y="2"/>
                </a:lnTo>
                <a:lnTo>
                  <a:pt x="44" y="4"/>
                </a:lnTo>
                <a:lnTo>
                  <a:pt x="42" y="6"/>
                </a:lnTo>
                <a:lnTo>
                  <a:pt x="41" y="10"/>
                </a:lnTo>
                <a:lnTo>
                  <a:pt x="40" y="15"/>
                </a:lnTo>
                <a:lnTo>
                  <a:pt x="34" y="27"/>
                </a:lnTo>
                <a:lnTo>
                  <a:pt x="20" y="47"/>
                </a:lnTo>
                <a:lnTo>
                  <a:pt x="7" y="66"/>
                </a:lnTo>
                <a:lnTo>
                  <a:pt x="0" y="77"/>
                </a:lnTo>
                <a:lnTo>
                  <a:pt x="8" y="77"/>
                </a:lnTo>
                <a:lnTo>
                  <a:pt x="16" y="78"/>
                </a:lnTo>
                <a:lnTo>
                  <a:pt x="21" y="79"/>
                </a:lnTo>
                <a:lnTo>
                  <a:pt x="25" y="81"/>
                </a:lnTo>
                <a:lnTo>
                  <a:pt x="33" y="85"/>
                </a:lnTo>
                <a:lnTo>
                  <a:pt x="40" y="89"/>
                </a:lnTo>
                <a:lnTo>
                  <a:pt x="45" y="94"/>
                </a:lnTo>
                <a:lnTo>
                  <a:pt x="52" y="98"/>
                </a:lnTo>
                <a:lnTo>
                  <a:pt x="56" y="100"/>
                </a:lnTo>
                <a:lnTo>
                  <a:pt x="61" y="101"/>
                </a:lnTo>
                <a:lnTo>
                  <a:pt x="66" y="102"/>
                </a:lnTo>
                <a:lnTo>
                  <a:pt x="74" y="102"/>
                </a:lnTo>
                <a:lnTo>
                  <a:pt x="107" y="103"/>
                </a:lnTo>
                <a:lnTo>
                  <a:pt x="131" y="104"/>
                </a:lnTo>
                <a:lnTo>
                  <a:pt x="135" y="103"/>
                </a:lnTo>
                <a:lnTo>
                  <a:pt x="139" y="102"/>
                </a:lnTo>
                <a:lnTo>
                  <a:pt x="142" y="100"/>
                </a:lnTo>
                <a:lnTo>
                  <a:pt x="145" y="97"/>
                </a:lnTo>
                <a:lnTo>
                  <a:pt x="147" y="94"/>
                </a:lnTo>
                <a:lnTo>
                  <a:pt x="150" y="88"/>
                </a:lnTo>
                <a:lnTo>
                  <a:pt x="152" y="83"/>
                </a:lnTo>
                <a:lnTo>
                  <a:pt x="153" y="77"/>
                </a:lnTo>
                <a:lnTo>
                  <a:pt x="186" y="27"/>
                </a:lnTo>
                <a:lnTo>
                  <a:pt x="153" y="21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48" name="Freeform 446"/>
          <p:cNvSpPr>
            <a:spLocks/>
          </p:cNvSpPr>
          <p:nvPr userDrawn="1">
            <p:custDataLst>
              <p:tags r:id="rId283"/>
            </p:custDataLst>
          </p:nvPr>
        </p:nvSpPr>
        <p:spPr bwMode="auto">
          <a:xfrm>
            <a:off x="4556125" y="1885962"/>
            <a:ext cx="133350" cy="72629"/>
          </a:xfrm>
          <a:custGeom>
            <a:avLst/>
            <a:gdLst>
              <a:gd name="T0" fmla="*/ 14524003 w 311"/>
              <a:gd name="T1" fmla="*/ 11121764 h 179"/>
              <a:gd name="T2" fmla="*/ 21142619 w 311"/>
              <a:gd name="T3" fmla="*/ 7609627 h 179"/>
              <a:gd name="T4" fmla="*/ 27209828 w 311"/>
              <a:gd name="T5" fmla="*/ 4097491 h 179"/>
              <a:gd name="T6" fmla="*/ 32725634 w 311"/>
              <a:gd name="T7" fmla="*/ 1170712 h 179"/>
              <a:gd name="T8" fmla="*/ 38792414 w 311"/>
              <a:gd name="T9" fmla="*/ 0 h 179"/>
              <a:gd name="T10" fmla="*/ 43388913 w 311"/>
              <a:gd name="T11" fmla="*/ 585356 h 179"/>
              <a:gd name="T12" fmla="*/ 47065684 w 311"/>
              <a:gd name="T13" fmla="*/ 1756068 h 179"/>
              <a:gd name="T14" fmla="*/ 53684301 w 311"/>
              <a:gd name="T15" fmla="*/ 3512136 h 179"/>
              <a:gd name="T16" fmla="*/ 52765001 w 311"/>
              <a:gd name="T17" fmla="*/ 8194983 h 179"/>
              <a:gd name="T18" fmla="*/ 51110347 w 311"/>
              <a:gd name="T19" fmla="*/ 12292475 h 179"/>
              <a:gd name="T20" fmla="*/ 49455693 w 311"/>
              <a:gd name="T21" fmla="*/ 15511932 h 179"/>
              <a:gd name="T22" fmla="*/ 48720339 w 311"/>
              <a:gd name="T23" fmla="*/ 18146037 h 179"/>
              <a:gd name="T24" fmla="*/ 48904284 w 311"/>
              <a:gd name="T25" fmla="*/ 19316748 h 179"/>
              <a:gd name="T26" fmla="*/ 49823584 w 311"/>
              <a:gd name="T27" fmla="*/ 20780138 h 179"/>
              <a:gd name="T28" fmla="*/ 52397538 w 311"/>
              <a:gd name="T29" fmla="*/ 23121561 h 179"/>
              <a:gd name="T30" fmla="*/ 57177569 w 311"/>
              <a:gd name="T31" fmla="*/ 27218510 h 179"/>
              <a:gd name="T32" fmla="*/ 52765001 w 311"/>
              <a:gd name="T33" fmla="*/ 31316000 h 179"/>
              <a:gd name="T34" fmla="*/ 51662184 w 311"/>
              <a:gd name="T35" fmla="*/ 33657423 h 179"/>
              <a:gd name="T36" fmla="*/ 51110347 w 311"/>
              <a:gd name="T37" fmla="*/ 37754922 h 179"/>
              <a:gd name="T38" fmla="*/ 46330330 w 311"/>
              <a:gd name="T39" fmla="*/ 39803667 h 179"/>
              <a:gd name="T40" fmla="*/ 38792414 w 311"/>
              <a:gd name="T41" fmla="*/ 43315802 h 179"/>
              <a:gd name="T42" fmla="*/ 35115643 w 311"/>
              <a:gd name="T43" fmla="*/ 49169359 h 179"/>
              <a:gd name="T44" fmla="*/ 32725634 w 311"/>
              <a:gd name="T45" fmla="*/ 51510782 h 179"/>
              <a:gd name="T46" fmla="*/ 30335197 w 311"/>
              <a:gd name="T47" fmla="*/ 52388816 h 179"/>
              <a:gd name="T48" fmla="*/ 27761236 w 311"/>
              <a:gd name="T49" fmla="*/ 51218105 h 179"/>
              <a:gd name="T50" fmla="*/ 25187711 w 311"/>
              <a:gd name="T51" fmla="*/ 48876682 h 179"/>
              <a:gd name="T52" fmla="*/ 22061919 w 311"/>
              <a:gd name="T53" fmla="*/ 46242581 h 179"/>
              <a:gd name="T54" fmla="*/ 18017257 w 311"/>
              <a:gd name="T55" fmla="*/ 45364547 h 179"/>
              <a:gd name="T56" fmla="*/ 12133991 w 311"/>
              <a:gd name="T57" fmla="*/ 45364547 h 179"/>
              <a:gd name="T58" fmla="*/ 9376520 w 311"/>
              <a:gd name="T59" fmla="*/ 45949903 h 179"/>
              <a:gd name="T60" fmla="*/ 7170029 w 311"/>
              <a:gd name="T61" fmla="*/ 47120614 h 179"/>
              <a:gd name="T62" fmla="*/ 6618618 w 311"/>
              <a:gd name="T63" fmla="*/ 41559735 h 179"/>
              <a:gd name="T64" fmla="*/ 5883264 w 311"/>
              <a:gd name="T65" fmla="*/ 35998855 h 179"/>
              <a:gd name="T66" fmla="*/ 3860718 w 311"/>
              <a:gd name="T67" fmla="*/ 37462244 h 179"/>
              <a:gd name="T68" fmla="*/ 2390009 w 311"/>
              <a:gd name="T69" fmla="*/ 37754922 h 179"/>
              <a:gd name="T70" fmla="*/ 1286763 w 311"/>
              <a:gd name="T71" fmla="*/ 36876889 h 179"/>
              <a:gd name="T72" fmla="*/ 551409 w 311"/>
              <a:gd name="T73" fmla="*/ 35413491 h 179"/>
              <a:gd name="T74" fmla="*/ 0 w 311"/>
              <a:gd name="T75" fmla="*/ 30730645 h 179"/>
              <a:gd name="T76" fmla="*/ 0 w 311"/>
              <a:gd name="T77" fmla="*/ 25462984 h 179"/>
              <a:gd name="T78" fmla="*/ 551409 w 311"/>
              <a:gd name="T79" fmla="*/ 23999594 h 179"/>
              <a:gd name="T80" fmla="*/ 2390009 w 311"/>
              <a:gd name="T81" fmla="*/ 22828883 h 179"/>
              <a:gd name="T82" fmla="*/ 3860718 w 311"/>
              <a:gd name="T83" fmla="*/ 21072816 h 179"/>
              <a:gd name="T84" fmla="*/ 4596073 w 311"/>
              <a:gd name="T85" fmla="*/ 19902104 h 179"/>
              <a:gd name="T86" fmla="*/ 4780018 w 311"/>
              <a:gd name="T87" fmla="*/ 18146037 h 179"/>
              <a:gd name="T88" fmla="*/ 4412556 w 311"/>
              <a:gd name="T89" fmla="*/ 14926576 h 179"/>
              <a:gd name="T90" fmla="*/ 3493255 w 311"/>
              <a:gd name="T91" fmla="*/ 12585153 h 179"/>
              <a:gd name="T92" fmla="*/ 1470709 w 311"/>
              <a:gd name="T93" fmla="*/ 8487661 h 179"/>
              <a:gd name="T94" fmla="*/ 183946 w 311"/>
              <a:gd name="T95" fmla="*/ 5268204 h 179"/>
              <a:gd name="T96" fmla="*/ 183946 w 311"/>
              <a:gd name="T97" fmla="*/ 3804813 h 179"/>
              <a:gd name="T98" fmla="*/ 1103246 w 311"/>
              <a:gd name="T99" fmla="*/ 1756068 h 179"/>
              <a:gd name="T100" fmla="*/ 0 w 311"/>
              <a:gd name="T101" fmla="*/ 1756068 h 17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311"/>
              <a:gd name="T154" fmla="*/ 0 h 179"/>
              <a:gd name="T155" fmla="*/ 311 w 311"/>
              <a:gd name="T156" fmla="*/ 179 h 179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311" h="179">
                <a:moveTo>
                  <a:pt x="0" y="6"/>
                </a:moveTo>
                <a:lnTo>
                  <a:pt x="79" y="38"/>
                </a:lnTo>
                <a:lnTo>
                  <a:pt x="97" y="33"/>
                </a:lnTo>
                <a:lnTo>
                  <a:pt x="115" y="26"/>
                </a:lnTo>
                <a:lnTo>
                  <a:pt x="132" y="20"/>
                </a:lnTo>
                <a:lnTo>
                  <a:pt x="148" y="14"/>
                </a:lnTo>
                <a:lnTo>
                  <a:pt x="163" y="9"/>
                </a:lnTo>
                <a:lnTo>
                  <a:pt x="178" y="4"/>
                </a:lnTo>
                <a:lnTo>
                  <a:pt x="195" y="1"/>
                </a:lnTo>
                <a:lnTo>
                  <a:pt x="211" y="0"/>
                </a:lnTo>
                <a:lnTo>
                  <a:pt x="224" y="1"/>
                </a:lnTo>
                <a:lnTo>
                  <a:pt x="236" y="2"/>
                </a:lnTo>
                <a:lnTo>
                  <a:pt x="247" y="4"/>
                </a:lnTo>
                <a:lnTo>
                  <a:pt x="256" y="6"/>
                </a:lnTo>
                <a:lnTo>
                  <a:pt x="275" y="10"/>
                </a:lnTo>
                <a:lnTo>
                  <a:pt x="292" y="12"/>
                </a:lnTo>
                <a:lnTo>
                  <a:pt x="290" y="21"/>
                </a:lnTo>
                <a:lnTo>
                  <a:pt x="287" y="28"/>
                </a:lnTo>
                <a:lnTo>
                  <a:pt x="283" y="36"/>
                </a:lnTo>
                <a:lnTo>
                  <a:pt x="278" y="42"/>
                </a:lnTo>
                <a:lnTo>
                  <a:pt x="273" y="48"/>
                </a:lnTo>
                <a:lnTo>
                  <a:pt x="269" y="53"/>
                </a:lnTo>
                <a:lnTo>
                  <a:pt x="266" y="57"/>
                </a:lnTo>
                <a:lnTo>
                  <a:pt x="265" y="62"/>
                </a:lnTo>
                <a:lnTo>
                  <a:pt x="265" y="64"/>
                </a:lnTo>
                <a:lnTo>
                  <a:pt x="266" y="66"/>
                </a:lnTo>
                <a:lnTo>
                  <a:pt x="269" y="69"/>
                </a:lnTo>
                <a:lnTo>
                  <a:pt x="271" y="71"/>
                </a:lnTo>
                <a:lnTo>
                  <a:pt x="277" y="75"/>
                </a:lnTo>
                <a:lnTo>
                  <a:pt x="285" y="79"/>
                </a:lnTo>
                <a:lnTo>
                  <a:pt x="301" y="87"/>
                </a:lnTo>
                <a:lnTo>
                  <a:pt x="311" y="93"/>
                </a:lnTo>
                <a:lnTo>
                  <a:pt x="298" y="100"/>
                </a:lnTo>
                <a:lnTo>
                  <a:pt x="287" y="107"/>
                </a:lnTo>
                <a:lnTo>
                  <a:pt x="283" y="110"/>
                </a:lnTo>
                <a:lnTo>
                  <a:pt x="281" y="115"/>
                </a:lnTo>
                <a:lnTo>
                  <a:pt x="278" y="121"/>
                </a:lnTo>
                <a:lnTo>
                  <a:pt x="278" y="129"/>
                </a:lnTo>
                <a:lnTo>
                  <a:pt x="271" y="131"/>
                </a:lnTo>
                <a:lnTo>
                  <a:pt x="252" y="136"/>
                </a:lnTo>
                <a:lnTo>
                  <a:pt x="230" y="143"/>
                </a:lnTo>
                <a:lnTo>
                  <a:pt x="211" y="148"/>
                </a:lnTo>
                <a:lnTo>
                  <a:pt x="202" y="158"/>
                </a:lnTo>
                <a:lnTo>
                  <a:pt x="191" y="168"/>
                </a:lnTo>
                <a:lnTo>
                  <a:pt x="185" y="172"/>
                </a:lnTo>
                <a:lnTo>
                  <a:pt x="178" y="176"/>
                </a:lnTo>
                <a:lnTo>
                  <a:pt x="172" y="178"/>
                </a:lnTo>
                <a:lnTo>
                  <a:pt x="165" y="179"/>
                </a:lnTo>
                <a:lnTo>
                  <a:pt x="158" y="178"/>
                </a:lnTo>
                <a:lnTo>
                  <a:pt x="151" y="175"/>
                </a:lnTo>
                <a:lnTo>
                  <a:pt x="144" y="171"/>
                </a:lnTo>
                <a:lnTo>
                  <a:pt x="137" y="167"/>
                </a:lnTo>
                <a:lnTo>
                  <a:pt x="129" y="162"/>
                </a:lnTo>
                <a:lnTo>
                  <a:pt x="120" y="158"/>
                </a:lnTo>
                <a:lnTo>
                  <a:pt x="110" y="156"/>
                </a:lnTo>
                <a:lnTo>
                  <a:pt x="98" y="155"/>
                </a:lnTo>
                <a:lnTo>
                  <a:pt x="83" y="155"/>
                </a:lnTo>
                <a:lnTo>
                  <a:pt x="66" y="155"/>
                </a:lnTo>
                <a:lnTo>
                  <a:pt x="59" y="156"/>
                </a:lnTo>
                <a:lnTo>
                  <a:pt x="51" y="157"/>
                </a:lnTo>
                <a:lnTo>
                  <a:pt x="45" y="159"/>
                </a:lnTo>
                <a:lnTo>
                  <a:pt x="39" y="161"/>
                </a:lnTo>
                <a:lnTo>
                  <a:pt x="38" y="151"/>
                </a:lnTo>
                <a:lnTo>
                  <a:pt x="36" y="142"/>
                </a:lnTo>
                <a:lnTo>
                  <a:pt x="34" y="132"/>
                </a:lnTo>
                <a:lnTo>
                  <a:pt x="32" y="123"/>
                </a:lnTo>
                <a:lnTo>
                  <a:pt x="26" y="126"/>
                </a:lnTo>
                <a:lnTo>
                  <a:pt x="21" y="128"/>
                </a:lnTo>
                <a:lnTo>
                  <a:pt x="17" y="129"/>
                </a:lnTo>
                <a:lnTo>
                  <a:pt x="13" y="129"/>
                </a:lnTo>
                <a:lnTo>
                  <a:pt x="9" y="128"/>
                </a:lnTo>
                <a:lnTo>
                  <a:pt x="7" y="126"/>
                </a:lnTo>
                <a:lnTo>
                  <a:pt x="5" y="124"/>
                </a:lnTo>
                <a:lnTo>
                  <a:pt x="3" y="121"/>
                </a:lnTo>
                <a:lnTo>
                  <a:pt x="1" y="114"/>
                </a:lnTo>
                <a:lnTo>
                  <a:pt x="0" y="105"/>
                </a:lnTo>
                <a:lnTo>
                  <a:pt x="0" y="96"/>
                </a:lnTo>
                <a:lnTo>
                  <a:pt x="0" y="87"/>
                </a:lnTo>
                <a:lnTo>
                  <a:pt x="1" y="84"/>
                </a:lnTo>
                <a:lnTo>
                  <a:pt x="3" y="82"/>
                </a:lnTo>
                <a:lnTo>
                  <a:pt x="7" y="80"/>
                </a:lnTo>
                <a:lnTo>
                  <a:pt x="13" y="78"/>
                </a:lnTo>
                <a:lnTo>
                  <a:pt x="17" y="76"/>
                </a:lnTo>
                <a:lnTo>
                  <a:pt x="21" y="72"/>
                </a:lnTo>
                <a:lnTo>
                  <a:pt x="23" y="70"/>
                </a:lnTo>
                <a:lnTo>
                  <a:pt x="25" y="68"/>
                </a:lnTo>
                <a:lnTo>
                  <a:pt x="25" y="65"/>
                </a:lnTo>
                <a:lnTo>
                  <a:pt x="26" y="62"/>
                </a:lnTo>
                <a:lnTo>
                  <a:pt x="25" y="56"/>
                </a:lnTo>
                <a:lnTo>
                  <a:pt x="24" y="51"/>
                </a:lnTo>
                <a:lnTo>
                  <a:pt x="21" y="47"/>
                </a:lnTo>
                <a:lnTo>
                  <a:pt x="19" y="43"/>
                </a:lnTo>
                <a:lnTo>
                  <a:pt x="14" y="36"/>
                </a:lnTo>
                <a:lnTo>
                  <a:pt x="8" y="29"/>
                </a:lnTo>
                <a:lnTo>
                  <a:pt x="3" y="24"/>
                </a:lnTo>
                <a:lnTo>
                  <a:pt x="1" y="18"/>
                </a:lnTo>
                <a:lnTo>
                  <a:pt x="0" y="16"/>
                </a:lnTo>
                <a:lnTo>
                  <a:pt x="1" y="13"/>
                </a:lnTo>
                <a:lnTo>
                  <a:pt x="3" y="10"/>
                </a:lnTo>
                <a:lnTo>
                  <a:pt x="6" y="6"/>
                </a:lnTo>
                <a:lnTo>
                  <a:pt x="3" y="6"/>
                </a:lnTo>
                <a:lnTo>
                  <a:pt x="0" y="6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49" name="Freeform 447"/>
          <p:cNvSpPr>
            <a:spLocks/>
          </p:cNvSpPr>
          <p:nvPr userDrawn="1">
            <p:custDataLst>
              <p:tags r:id="rId284"/>
            </p:custDataLst>
          </p:nvPr>
        </p:nvSpPr>
        <p:spPr bwMode="auto">
          <a:xfrm>
            <a:off x="3949702" y="2581277"/>
            <a:ext cx="177800" cy="123825"/>
          </a:xfrm>
          <a:custGeom>
            <a:avLst/>
            <a:gdLst>
              <a:gd name="T0" fmla="*/ 1156359 w 405"/>
              <a:gd name="T1" fmla="*/ 71880023 h 314"/>
              <a:gd name="T2" fmla="*/ 2505444 w 405"/>
              <a:gd name="T3" fmla="*/ 65521556 h 314"/>
              <a:gd name="T4" fmla="*/ 3276349 w 405"/>
              <a:gd name="T5" fmla="*/ 55845333 h 314"/>
              <a:gd name="T6" fmla="*/ 4432708 w 405"/>
              <a:gd name="T7" fmla="*/ 47827996 h 314"/>
              <a:gd name="T8" fmla="*/ 6167245 w 405"/>
              <a:gd name="T9" fmla="*/ 44786792 h 314"/>
              <a:gd name="T10" fmla="*/ 9251308 w 405"/>
              <a:gd name="T11" fmla="*/ 41469019 h 314"/>
              <a:gd name="T12" fmla="*/ 13876740 w 405"/>
              <a:gd name="T13" fmla="*/ 38980953 h 314"/>
              <a:gd name="T14" fmla="*/ 17923998 w 405"/>
              <a:gd name="T15" fmla="*/ 37046023 h 314"/>
              <a:gd name="T16" fmla="*/ 20043987 w 405"/>
              <a:gd name="T17" fmla="*/ 34557957 h 314"/>
              <a:gd name="T18" fmla="*/ 21778525 w 405"/>
              <a:gd name="T19" fmla="*/ 31516745 h 314"/>
              <a:gd name="T20" fmla="*/ 23706227 w 405"/>
              <a:gd name="T21" fmla="*/ 25710906 h 314"/>
              <a:gd name="T22" fmla="*/ 26211670 w 405"/>
              <a:gd name="T23" fmla="*/ 19075886 h 314"/>
              <a:gd name="T24" fmla="*/ 28331660 w 405"/>
              <a:gd name="T25" fmla="*/ 15205498 h 314"/>
              <a:gd name="T26" fmla="*/ 29873478 w 405"/>
              <a:gd name="T27" fmla="*/ 14099749 h 314"/>
              <a:gd name="T28" fmla="*/ 32764373 w 405"/>
              <a:gd name="T29" fmla="*/ 14099749 h 314"/>
              <a:gd name="T30" fmla="*/ 36426174 w 405"/>
              <a:gd name="T31" fmla="*/ 13270043 h 314"/>
              <a:gd name="T32" fmla="*/ 41052046 w 405"/>
              <a:gd name="T33" fmla="*/ 9676227 h 314"/>
              <a:gd name="T34" fmla="*/ 45677478 w 405"/>
              <a:gd name="T35" fmla="*/ 5529273 h 314"/>
              <a:gd name="T36" fmla="*/ 49532006 w 405"/>
              <a:gd name="T37" fmla="*/ 3041205 h 314"/>
              <a:gd name="T38" fmla="*/ 54350165 w 405"/>
              <a:gd name="T39" fmla="*/ 1105749 h 314"/>
              <a:gd name="T40" fmla="*/ 60517861 w 405"/>
              <a:gd name="T41" fmla="*/ 0 h 314"/>
              <a:gd name="T42" fmla="*/ 63986936 w 405"/>
              <a:gd name="T43" fmla="*/ 3870385 h 314"/>
              <a:gd name="T44" fmla="*/ 64950567 w 405"/>
              <a:gd name="T45" fmla="*/ 9399659 h 314"/>
              <a:gd name="T46" fmla="*/ 66106926 w 405"/>
              <a:gd name="T47" fmla="*/ 13823180 h 314"/>
              <a:gd name="T48" fmla="*/ 67841463 w 405"/>
              <a:gd name="T49" fmla="*/ 17140427 h 314"/>
              <a:gd name="T50" fmla="*/ 70925524 w 405"/>
              <a:gd name="T51" fmla="*/ 20458204 h 314"/>
              <a:gd name="T52" fmla="*/ 73623693 w 405"/>
              <a:gd name="T53" fmla="*/ 23499408 h 314"/>
              <a:gd name="T54" fmla="*/ 75165504 w 405"/>
              <a:gd name="T55" fmla="*/ 25710906 h 314"/>
              <a:gd name="T56" fmla="*/ 76321862 w 405"/>
              <a:gd name="T57" fmla="*/ 31793313 h 314"/>
              <a:gd name="T58" fmla="*/ 76707314 w 405"/>
              <a:gd name="T59" fmla="*/ 39534090 h 314"/>
              <a:gd name="T60" fmla="*/ 76707314 w 405"/>
              <a:gd name="T61" fmla="*/ 46998290 h 314"/>
              <a:gd name="T62" fmla="*/ 77478220 w 405"/>
              <a:gd name="T63" fmla="*/ 54186446 h 314"/>
              <a:gd name="T64" fmla="*/ 76707314 w 405"/>
              <a:gd name="T65" fmla="*/ 59992285 h 314"/>
              <a:gd name="T66" fmla="*/ 73623693 w 405"/>
              <a:gd name="T67" fmla="*/ 62480352 h 314"/>
              <a:gd name="T68" fmla="*/ 70347345 w 405"/>
              <a:gd name="T69" fmla="*/ 66627305 h 314"/>
              <a:gd name="T70" fmla="*/ 69961453 w 405"/>
              <a:gd name="T71" fmla="*/ 65521556 h 314"/>
              <a:gd name="T72" fmla="*/ 68997821 w 405"/>
              <a:gd name="T73" fmla="*/ 64415281 h 314"/>
              <a:gd name="T74" fmla="*/ 65914199 w 405"/>
              <a:gd name="T75" fmla="*/ 62756921 h 314"/>
              <a:gd name="T76" fmla="*/ 61481493 w 405"/>
              <a:gd name="T77" fmla="*/ 61651172 h 314"/>
              <a:gd name="T78" fmla="*/ 29295299 w 405"/>
              <a:gd name="T79" fmla="*/ 66627305 h 314"/>
              <a:gd name="T80" fmla="*/ 28909846 w 405"/>
              <a:gd name="T81" fmla="*/ 71050843 h 314"/>
              <a:gd name="T82" fmla="*/ 28909846 w 405"/>
              <a:gd name="T83" fmla="*/ 75750407 h 314"/>
              <a:gd name="T84" fmla="*/ 29295299 w 405"/>
              <a:gd name="T85" fmla="*/ 86808948 h 314"/>
              <a:gd name="T86" fmla="*/ 26789849 w 405"/>
              <a:gd name="T87" fmla="*/ 86255811 h 314"/>
              <a:gd name="T88" fmla="*/ 24284406 w 405"/>
              <a:gd name="T89" fmla="*/ 84320882 h 314"/>
              <a:gd name="T90" fmla="*/ 19273082 w 405"/>
              <a:gd name="T91" fmla="*/ 80173929 h 314"/>
              <a:gd name="T92" fmla="*/ 17153092 w 405"/>
              <a:gd name="T93" fmla="*/ 84873493 h 314"/>
              <a:gd name="T94" fmla="*/ 15804008 w 405"/>
              <a:gd name="T95" fmla="*/ 86255811 h 314"/>
              <a:gd name="T96" fmla="*/ 14069467 w 405"/>
              <a:gd name="T97" fmla="*/ 86808948 h 314"/>
              <a:gd name="T98" fmla="*/ 11564024 w 405"/>
              <a:gd name="T99" fmla="*/ 85979768 h 314"/>
              <a:gd name="T100" fmla="*/ 9058581 w 405"/>
              <a:gd name="T101" fmla="*/ 83491176 h 314"/>
              <a:gd name="T102" fmla="*/ 5396340 w 405"/>
              <a:gd name="T103" fmla="*/ 80450497 h 314"/>
              <a:gd name="T104" fmla="*/ 0 w 405"/>
              <a:gd name="T105" fmla="*/ 78515042 h 31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405"/>
              <a:gd name="T160" fmla="*/ 0 h 314"/>
              <a:gd name="T161" fmla="*/ 405 w 405"/>
              <a:gd name="T162" fmla="*/ 314 h 314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405" h="314">
                <a:moveTo>
                  <a:pt x="0" y="272"/>
                </a:moveTo>
                <a:lnTo>
                  <a:pt x="6" y="260"/>
                </a:lnTo>
                <a:lnTo>
                  <a:pt x="11" y="248"/>
                </a:lnTo>
                <a:lnTo>
                  <a:pt x="13" y="237"/>
                </a:lnTo>
                <a:lnTo>
                  <a:pt x="15" y="226"/>
                </a:lnTo>
                <a:lnTo>
                  <a:pt x="17" y="202"/>
                </a:lnTo>
                <a:lnTo>
                  <a:pt x="20" y="179"/>
                </a:lnTo>
                <a:lnTo>
                  <a:pt x="23" y="173"/>
                </a:lnTo>
                <a:lnTo>
                  <a:pt x="26" y="167"/>
                </a:lnTo>
                <a:lnTo>
                  <a:pt x="32" y="162"/>
                </a:lnTo>
                <a:lnTo>
                  <a:pt x="36" y="158"/>
                </a:lnTo>
                <a:lnTo>
                  <a:pt x="48" y="150"/>
                </a:lnTo>
                <a:lnTo>
                  <a:pt x="60" y="145"/>
                </a:lnTo>
                <a:lnTo>
                  <a:pt x="72" y="141"/>
                </a:lnTo>
                <a:lnTo>
                  <a:pt x="83" y="137"/>
                </a:lnTo>
                <a:lnTo>
                  <a:pt x="93" y="134"/>
                </a:lnTo>
                <a:lnTo>
                  <a:pt x="100" y="130"/>
                </a:lnTo>
                <a:lnTo>
                  <a:pt x="104" y="125"/>
                </a:lnTo>
                <a:lnTo>
                  <a:pt x="109" y="120"/>
                </a:lnTo>
                <a:lnTo>
                  <a:pt x="113" y="114"/>
                </a:lnTo>
                <a:lnTo>
                  <a:pt x="116" y="107"/>
                </a:lnTo>
                <a:lnTo>
                  <a:pt x="123" y="93"/>
                </a:lnTo>
                <a:lnTo>
                  <a:pt x="129" y="81"/>
                </a:lnTo>
                <a:lnTo>
                  <a:pt x="136" y="69"/>
                </a:lnTo>
                <a:lnTo>
                  <a:pt x="143" y="59"/>
                </a:lnTo>
                <a:lnTo>
                  <a:pt x="147" y="55"/>
                </a:lnTo>
                <a:lnTo>
                  <a:pt x="150" y="53"/>
                </a:lnTo>
                <a:lnTo>
                  <a:pt x="155" y="51"/>
                </a:lnTo>
                <a:lnTo>
                  <a:pt x="159" y="50"/>
                </a:lnTo>
                <a:lnTo>
                  <a:pt x="170" y="51"/>
                </a:lnTo>
                <a:lnTo>
                  <a:pt x="180" y="50"/>
                </a:lnTo>
                <a:lnTo>
                  <a:pt x="189" y="48"/>
                </a:lnTo>
                <a:lnTo>
                  <a:pt x="196" y="44"/>
                </a:lnTo>
                <a:lnTo>
                  <a:pt x="213" y="35"/>
                </a:lnTo>
                <a:lnTo>
                  <a:pt x="228" y="25"/>
                </a:lnTo>
                <a:lnTo>
                  <a:pt x="237" y="20"/>
                </a:lnTo>
                <a:lnTo>
                  <a:pt x="247" y="15"/>
                </a:lnTo>
                <a:lnTo>
                  <a:pt x="257" y="11"/>
                </a:lnTo>
                <a:lnTo>
                  <a:pt x="269" y="7"/>
                </a:lnTo>
                <a:lnTo>
                  <a:pt x="282" y="4"/>
                </a:lnTo>
                <a:lnTo>
                  <a:pt x="296" y="1"/>
                </a:lnTo>
                <a:lnTo>
                  <a:pt x="314" y="0"/>
                </a:lnTo>
                <a:lnTo>
                  <a:pt x="332" y="1"/>
                </a:lnTo>
                <a:lnTo>
                  <a:pt x="332" y="14"/>
                </a:lnTo>
                <a:lnTo>
                  <a:pt x="335" y="25"/>
                </a:lnTo>
                <a:lnTo>
                  <a:pt x="337" y="34"/>
                </a:lnTo>
                <a:lnTo>
                  <a:pt x="340" y="43"/>
                </a:lnTo>
                <a:lnTo>
                  <a:pt x="343" y="50"/>
                </a:lnTo>
                <a:lnTo>
                  <a:pt x="348" y="56"/>
                </a:lnTo>
                <a:lnTo>
                  <a:pt x="352" y="62"/>
                </a:lnTo>
                <a:lnTo>
                  <a:pt x="357" y="66"/>
                </a:lnTo>
                <a:lnTo>
                  <a:pt x="368" y="74"/>
                </a:lnTo>
                <a:lnTo>
                  <a:pt x="378" y="81"/>
                </a:lnTo>
                <a:lnTo>
                  <a:pt x="382" y="85"/>
                </a:lnTo>
                <a:lnTo>
                  <a:pt x="385" y="89"/>
                </a:lnTo>
                <a:lnTo>
                  <a:pt x="390" y="93"/>
                </a:lnTo>
                <a:lnTo>
                  <a:pt x="392" y="100"/>
                </a:lnTo>
                <a:lnTo>
                  <a:pt x="396" y="115"/>
                </a:lnTo>
                <a:lnTo>
                  <a:pt x="398" y="129"/>
                </a:lnTo>
                <a:lnTo>
                  <a:pt x="398" y="143"/>
                </a:lnTo>
                <a:lnTo>
                  <a:pt x="398" y="157"/>
                </a:lnTo>
                <a:lnTo>
                  <a:pt x="398" y="170"/>
                </a:lnTo>
                <a:lnTo>
                  <a:pt x="399" y="183"/>
                </a:lnTo>
                <a:lnTo>
                  <a:pt x="402" y="196"/>
                </a:lnTo>
                <a:lnTo>
                  <a:pt x="405" y="211"/>
                </a:lnTo>
                <a:lnTo>
                  <a:pt x="398" y="217"/>
                </a:lnTo>
                <a:lnTo>
                  <a:pt x="390" y="221"/>
                </a:lnTo>
                <a:lnTo>
                  <a:pt x="382" y="226"/>
                </a:lnTo>
                <a:lnTo>
                  <a:pt x="374" y="233"/>
                </a:lnTo>
                <a:lnTo>
                  <a:pt x="365" y="241"/>
                </a:lnTo>
                <a:lnTo>
                  <a:pt x="365" y="239"/>
                </a:lnTo>
                <a:lnTo>
                  <a:pt x="363" y="237"/>
                </a:lnTo>
                <a:lnTo>
                  <a:pt x="361" y="235"/>
                </a:lnTo>
                <a:lnTo>
                  <a:pt x="358" y="233"/>
                </a:lnTo>
                <a:lnTo>
                  <a:pt x="351" y="230"/>
                </a:lnTo>
                <a:lnTo>
                  <a:pt x="342" y="227"/>
                </a:lnTo>
                <a:lnTo>
                  <a:pt x="326" y="224"/>
                </a:lnTo>
                <a:lnTo>
                  <a:pt x="319" y="223"/>
                </a:lnTo>
                <a:lnTo>
                  <a:pt x="300" y="241"/>
                </a:lnTo>
                <a:lnTo>
                  <a:pt x="152" y="241"/>
                </a:lnTo>
                <a:lnTo>
                  <a:pt x="151" y="249"/>
                </a:lnTo>
                <a:lnTo>
                  <a:pt x="150" y="257"/>
                </a:lnTo>
                <a:lnTo>
                  <a:pt x="150" y="266"/>
                </a:lnTo>
                <a:lnTo>
                  <a:pt x="150" y="274"/>
                </a:lnTo>
                <a:lnTo>
                  <a:pt x="152" y="291"/>
                </a:lnTo>
                <a:lnTo>
                  <a:pt x="152" y="314"/>
                </a:lnTo>
                <a:lnTo>
                  <a:pt x="146" y="314"/>
                </a:lnTo>
                <a:lnTo>
                  <a:pt x="139" y="312"/>
                </a:lnTo>
                <a:lnTo>
                  <a:pt x="133" y="308"/>
                </a:lnTo>
                <a:lnTo>
                  <a:pt x="126" y="305"/>
                </a:lnTo>
                <a:lnTo>
                  <a:pt x="114" y="297"/>
                </a:lnTo>
                <a:lnTo>
                  <a:pt x="100" y="290"/>
                </a:lnTo>
                <a:lnTo>
                  <a:pt x="94" y="299"/>
                </a:lnTo>
                <a:lnTo>
                  <a:pt x="89" y="307"/>
                </a:lnTo>
                <a:lnTo>
                  <a:pt x="85" y="310"/>
                </a:lnTo>
                <a:lnTo>
                  <a:pt x="82" y="312"/>
                </a:lnTo>
                <a:lnTo>
                  <a:pt x="78" y="314"/>
                </a:lnTo>
                <a:lnTo>
                  <a:pt x="73" y="314"/>
                </a:lnTo>
                <a:lnTo>
                  <a:pt x="66" y="313"/>
                </a:lnTo>
                <a:lnTo>
                  <a:pt x="60" y="311"/>
                </a:lnTo>
                <a:lnTo>
                  <a:pt x="54" y="306"/>
                </a:lnTo>
                <a:lnTo>
                  <a:pt x="47" y="302"/>
                </a:lnTo>
                <a:lnTo>
                  <a:pt x="38" y="296"/>
                </a:lnTo>
                <a:lnTo>
                  <a:pt x="28" y="291"/>
                </a:lnTo>
                <a:lnTo>
                  <a:pt x="16" y="287"/>
                </a:lnTo>
                <a:lnTo>
                  <a:pt x="0" y="284"/>
                </a:lnTo>
                <a:lnTo>
                  <a:pt x="0" y="272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50" name="Freeform 448"/>
          <p:cNvSpPr>
            <a:spLocks/>
          </p:cNvSpPr>
          <p:nvPr userDrawn="1">
            <p:custDataLst>
              <p:tags r:id="rId285"/>
            </p:custDataLst>
          </p:nvPr>
        </p:nvSpPr>
        <p:spPr bwMode="auto">
          <a:xfrm>
            <a:off x="4297370" y="2632475"/>
            <a:ext cx="193675" cy="261938"/>
          </a:xfrm>
          <a:custGeom>
            <a:avLst/>
            <a:gdLst>
              <a:gd name="T0" fmla="*/ 61234231 w 453"/>
              <a:gd name="T1" fmla="*/ 10050052 h 661"/>
              <a:gd name="T2" fmla="*/ 58675413 w 453"/>
              <a:gd name="T3" fmla="*/ 27358795 h 661"/>
              <a:gd name="T4" fmla="*/ 50632545 w 453"/>
              <a:gd name="T5" fmla="*/ 45225497 h 661"/>
              <a:gd name="T6" fmla="*/ 46245572 w 453"/>
              <a:gd name="T7" fmla="*/ 61138293 h 661"/>
              <a:gd name="T8" fmla="*/ 42407131 w 453"/>
              <a:gd name="T9" fmla="*/ 75934669 h 661"/>
              <a:gd name="T10" fmla="*/ 38203145 w 453"/>
              <a:gd name="T11" fmla="*/ 91846937 h 661"/>
              <a:gd name="T12" fmla="*/ 35826886 w 453"/>
              <a:gd name="T13" fmla="*/ 101060054 h 661"/>
              <a:gd name="T14" fmla="*/ 32902095 w 453"/>
              <a:gd name="T15" fmla="*/ 106084813 h 661"/>
              <a:gd name="T16" fmla="*/ 30525836 w 453"/>
              <a:gd name="T17" fmla="*/ 108876699 h 661"/>
              <a:gd name="T18" fmla="*/ 25773311 w 453"/>
              <a:gd name="T19" fmla="*/ 106643296 h 661"/>
              <a:gd name="T20" fmla="*/ 22117429 w 453"/>
              <a:gd name="T21" fmla="*/ 103292928 h 661"/>
              <a:gd name="T22" fmla="*/ 17182352 w 453"/>
              <a:gd name="T23" fmla="*/ 102455468 h 661"/>
              <a:gd name="T24" fmla="*/ 11698312 w 453"/>
              <a:gd name="T25" fmla="*/ 106084813 h 661"/>
              <a:gd name="T26" fmla="*/ 8042858 w 453"/>
              <a:gd name="T27" fmla="*/ 112506044 h 661"/>
              <a:gd name="T28" fmla="*/ 3838442 w 453"/>
              <a:gd name="T29" fmla="*/ 126743392 h 661"/>
              <a:gd name="T30" fmla="*/ 1279623 w 453"/>
              <a:gd name="T31" fmla="*/ 134560038 h 661"/>
              <a:gd name="T32" fmla="*/ 182987 w 453"/>
              <a:gd name="T33" fmla="*/ 139585359 h 661"/>
              <a:gd name="T34" fmla="*/ 1462182 w 453"/>
              <a:gd name="T35" fmla="*/ 144331142 h 661"/>
              <a:gd name="T36" fmla="*/ 3655884 w 453"/>
              <a:gd name="T37" fmla="*/ 146844050 h 661"/>
              <a:gd name="T38" fmla="*/ 10053572 w 453"/>
              <a:gd name="T39" fmla="*/ 146844050 h 661"/>
              <a:gd name="T40" fmla="*/ 12977935 w 453"/>
              <a:gd name="T41" fmla="*/ 152985775 h 661"/>
              <a:gd name="T42" fmla="*/ 13343480 w 453"/>
              <a:gd name="T43" fmla="*/ 164710743 h 661"/>
              <a:gd name="T44" fmla="*/ 12246844 w 453"/>
              <a:gd name="T45" fmla="*/ 175877757 h 661"/>
              <a:gd name="T46" fmla="*/ 79147667 w 453"/>
              <a:gd name="T47" fmla="*/ 184531862 h 661"/>
              <a:gd name="T48" fmla="*/ 80792835 w 453"/>
              <a:gd name="T49" fmla="*/ 162477341 h 661"/>
              <a:gd name="T50" fmla="*/ 75857758 w 453"/>
              <a:gd name="T51" fmla="*/ 158569018 h 661"/>
              <a:gd name="T52" fmla="*/ 68180449 w 453"/>
              <a:gd name="T53" fmla="*/ 155498155 h 661"/>
              <a:gd name="T54" fmla="*/ 64524567 w 453"/>
              <a:gd name="T55" fmla="*/ 153264753 h 661"/>
              <a:gd name="T56" fmla="*/ 62148308 w 453"/>
              <a:gd name="T57" fmla="*/ 149914913 h 661"/>
              <a:gd name="T58" fmla="*/ 60868685 w 453"/>
              <a:gd name="T59" fmla="*/ 143773187 h 661"/>
              <a:gd name="T60" fmla="*/ 60868685 w 453"/>
              <a:gd name="T61" fmla="*/ 129535278 h 661"/>
              <a:gd name="T62" fmla="*/ 61600204 w 453"/>
              <a:gd name="T63" fmla="*/ 119485230 h 661"/>
              <a:gd name="T64" fmla="*/ 64159022 w 453"/>
              <a:gd name="T65" fmla="*/ 110830596 h 661"/>
              <a:gd name="T66" fmla="*/ 68180449 w 453"/>
              <a:gd name="T67" fmla="*/ 101618008 h 661"/>
              <a:gd name="T68" fmla="*/ 71653344 w 453"/>
              <a:gd name="T69" fmla="*/ 92126443 h 661"/>
              <a:gd name="T70" fmla="*/ 72932967 w 453"/>
              <a:gd name="T71" fmla="*/ 82913855 h 661"/>
              <a:gd name="T72" fmla="*/ 71105240 w 453"/>
              <a:gd name="T73" fmla="*/ 74538726 h 661"/>
              <a:gd name="T74" fmla="*/ 68180449 w 453"/>
              <a:gd name="T75" fmla="*/ 68675962 h 661"/>
              <a:gd name="T76" fmla="*/ 62696840 w 453"/>
              <a:gd name="T77" fmla="*/ 60579811 h 661"/>
              <a:gd name="T78" fmla="*/ 60868685 w 453"/>
              <a:gd name="T79" fmla="*/ 53600625 h 661"/>
              <a:gd name="T80" fmla="*/ 61234231 w 453"/>
              <a:gd name="T81" fmla="*/ 48296360 h 661"/>
              <a:gd name="T82" fmla="*/ 64524567 w 453"/>
              <a:gd name="T83" fmla="*/ 45783980 h 661"/>
              <a:gd name="T84" fmla="*/ 74212590 w 453"/>
              <a:gd name="T85" fmla="*/ 45225497 h 661"/>
              <a:gd name="T86" fmla="*/ 72201876 w 453"/>
              <a:gd name="T87" fmla="*/ 42154634 h 661"/>
              <a:gd name="T88" fmla="*/ 69277085 w 453"/>
              <a:gd name="T89" fmla="*/ 32663061 h 661"/>
              <a:gd name="T90" fmla="*/ 67814904 w 453"/>
              <a:gd name="T91" fmla="*/ 20379610 h 661"/>
              <a:gd name="T92" fmla="*/ 68180449 w 453"/>
              <a:gd name="T93" fmla="*/ 12562432 h 661"/>
              <a:gd name="T94" fmla="*/ 67083813 w 453"/>
              <a:gd name="T95" fmla="*/ 3070864 h 661"/>
              <a:gd name="T96" fmla="*/ 63427931 w 453"/>
              <a:gd name="T97" fmla="*/ 0 h 661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453"/>
              <a:gd name="T148" fmla="*/ 0 h 661"/>
              <a:gd name="T149" fmla="*/ 453 w 453"/>
              <a:gd name="T150" fmla="*/ 661 h 661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453" h="661">
                <a:moveTo>
                  <a:pt x="330" y="9"/>
                </a:moveTo>
                <a:lnTo>
                  <a:pt x="332" y="23"/>
                </a:lnTo>
                <a:lnTo>
                  <a:pt x="335" y="36"/>
                </a:lnTo>
                <a:lnTo>
                  <a:pt x="340" y="50"/>
                </a:lnTo>
                <a:lnTo>
                  <a:pt x="346" y="63"/>
                </a:lnTo>
                <a:lnTo>
                  <a:pt x="321" y="98"/>
                </a:lnTo>
                <a:lnTo>
                  <a:pt x="298" y="129"/>
                </a:lnTo>
                <a:lnTo>
                  <a:pt x="287" y="145"/>
                </a:lnTo>
                <a:lnTo>
                  <a:pt x="277" y="162"/>
                </a:lnTo>
                <a:lnTo>
                  <a:pt x="268" y="179"/>
                </a:lnTo>
                <a:lnTo>
                  <a:pt x="259" y="200"/>
                </a:lnTo>
                <a:lnTo>
                  <a:pt x="253" y="219"/>
                </a:lnTo>
                <a:lnTo>
                  <a:pt x="245" y="237"/>
                </a:lnTo>
                <a:lnTo>
                  <a:pt x="239" y="255"/>
                </a:lnTo>
                <a:lnTo>
                  <a:pt x="232" y="272"/>
                </a:lnTo>
                <a:lnTo>
                  <a:pt x="225" y="289"/>
                </a:lnTo>
                <a:lnTo>
                  <a:pt x="218" y="309"/>
                </a:lnTo>
                <a:lnTo>
                  <a:pt x="209" y="329"/>
                </a:lnTo>
                <a:lnTo>
                  <a:pt x="200" y="353"/>
                </a:lnTo>
                <a:lnTo>
                  <a:pt x="199" y="356"/>
                </a:lnTo>
                <a:lnTo>
                  <a:pt x="196" y="362"/>
                </a:lnTo>
                <a:lnTo>
                  <a:pt x="191" y="368"/>
                </a:lnTo>
                <a:lnTo>
                  <a:pt x="186" y="374"/>
                </a:lnTo>
                <a:lnTo>
                  <a:pt x="180" y="380"/>
                </a:lnTo>
                <a:lnTo>
                  <a:pt x="175" y="385"/>
                </a:lnTo>
                <a:lnTo>
                  <a:pt x="171" y="389"/>
                </a:lnTo>
                <a:lnTo>
                  <a:pt x="167" y="390"/>
                </a:lnTo>
                <a:lnTo>
                  <a:pt x="157" y="389"/>
                </a:lnTo>
                <a:lnTo>
                  <a:pt x="149" y="386"/>
                </a:lnTo>
                <a:lnTo>
                  <a:pt x="141" y="382"/>
                </a:lnTo>
                <a:lnTo>
                  <a:pt x="134" y="378"/>
                </a:lnTo>
                <a:lnTo>
                  <a:pt x="128" y="374"/>
                </a:lnTo>
                <a:lnTo>
                  <a:pt x="121" y="370"/>
                </a:lnTo>
                <a:lnTo>
                  <a:pt x="115" y="367"/>
                </a:lnTo>
                <a:lnTo>
                  <a:pt x="107" y="366"/>
                </a:lnTo>
                <a:lnTo>
                  <a:pt x="94" y="367"/>
                </a:lnTo>
                <a:lnTo>
                  <a:pt x="83" y="370"/>
                </a:lnTo>
                <a:lnTo>
                  <a:pt x="73" y="374"/>
                </a:lnTo>
                <a:lnTo>
                  <a:pt x="64" y="380"/>
                </a:lnTo>
                <a:lnTo>
                  <a:pt x="56" y="387"/>
                </a:lnTo>
                <a:lnTo>
                  <a:pt x="50" y="395"/>
                </a:lnTo>
                <a:lnTo>
                  <a:pt x="44" y="403"/>
                </a:lnTo>
                <a:lnTo>
                  <a:pt x="39" y="413"/>
                </a:lnTo>
                <a:lnTo>
                  <a:pt x="30" y="434"/>
                </a:lnTo>
                <a:lnTo>
                  <a:pt x="21" y="454"/>
                </a:lnTo>
                <a:lnTo>
                  <a:pt x="17" y="463"/>
                </a:lnTo>
                <a:lnTo>
                  <a:pt x="11" y="473"/>
                </a:lnTo>
                <a:lnTo>
                  <a:pt x="7" y="482"/>
                </a:lnTo>
                <a:lnTo>
                  <a:pt x="0" y="489"/>
                </a:lnTo>
                <a:lnTo>
                  <a:pt x="1" y="494"/>
                </a:lnTo>
                <a:lnTo>
                  <a:pt x="1" y="500"/>
                </a:lnTo>
                <a:lnTo>
                  <a:pt x="4" y="506"/>
                </a:lnTo>
                <a:lnTo>
                  <a:pt x="6" y="512"/>
                </a:lnTo>
                <a:lnTo>
                  <a:pt x="8" y="517"/>
                </a:lnTo>
                <a:lnTo>
                  <a:pt x="11" y="521"/>
                </a:lnTo>
                <a:lnTo>
                  <a:pt x="16" y="524"/>
                </a:lnTo>
                <a:lnTo>
                  <a:pt x="20" y="526"/>
                </a:lnTo>
                <a:lnTo>
                  <a:pt x="28" y="526"/>
                </a:lnTo>
                <a:lnTo>
                  <a:pt x="40" y="526"/>
                </a:lnTo>
                <a:lnTo>
                  <a:pt x="55" y="526"/>
                </a:lnTo>
                <a:lnTo>
                  <a:pt x="74" y="526"/>
                </a:lnTo>
                <a:lnTo>
                  <a:pt x="72" y="537"/>
                </a:lnTo>
                <a:lnTo>
                  <a:pt x="71" y="548"/>
                </a:lnTo>
                <a:lnTo>
                  <a:pt x="71" y="558"/>
                </a:lnTo>
                <a:lnTo>
                  <a:pt x="72" y="569"/>
                </a:lnTo>
                <a:lnTo>
                  <a:pt x="73" y="590"/>
                </a:lnTo>
                <a:lnTo>
                  <a:pt x="74" y="612"/>
                </a:lnTo>
                <a:lnTo>
                  <a:pt x="71" y="621"/>
                </a:lnTo>
                <a:lnTo>
                  <a:pt x="67" y="630"/>
                </a:lnTo>
                <a:lnTo>
                  <a:pt x="167" y="630"/>
                </a:lnTo>
                <a:lnTo>
                  <a:pt x="273" y="630"/>
                </a:lnTo>
                <a:lnTo>
                  <a:pt x="433" y="661"/>
                </a:lnTo>
                <a:lnTo>
                  <a:pt x="453" y="594"/>
                </a:lnTo>
                <a:lnTo>
                  <a:pt x="447" y="588"/>
                </a:lnTo>
                <a:lnTo>
                  <a:pt x="442" y="582"/>
                </a:lnTo>
                <a:lnTo>
                  <a:pt x="435" y="577"/>
                </a:lnTo>
                <a:lnTo>
                  <a:pt x="430" y="573"/>
                </a:lnTo>
                <a:lnTo>
                  <a:pt x="415" y="568"/>
                </a:lnTo>
                <a:lnTo>
                  <a:pt x="402" y="564"/>
                </a:lnTo>
                <a:lnTo>
                  <a:pt x="387" y="561"/>
                </a:lnTo>
                <a:lnTo>
                  <a:pt x="373" y="557"/>
                </a:lnTo>
                <a:lnTo>
                  <a:pt x="366" y="555"/>
                </a:lnTo>
                <a:lnTo>
                  <a:pt x="359" y="552"/>
                </a:lnTo>
                <a:lnTo>
                  <a:pt x="353" y="549"/>
                </a:lnTo>
                <a:lnTo>
                  <a:pt x="346" y="544"/>
                </a:lnTo>
                <a:lnTo>
                  <a:pt x="343" y="541"/>
                </a:lnTo>
                <a:lnTo>
                  <a:pt x="340" y="537"/>
                </a:lnTo>
                <a:lnTo>
                  <a:pt x="337" y="532"/>
                </a:lnTo>
                <a:lnTo>
                  <a:pt x="335" y="527"/>
                </a:lnTo>
                <a:lnTo>
                  <a:pt x="333" y="515"/>
                </a:lnTo>
                <a:lnTo>
                  <a:pt x="332" y="504"/>
                </a:lnTo>
                <a:lnTo>
                  <a:pt x="332" y="482"/>
                </a:lnTo>
                <a:lnTo>
                  <a:pt x="333" y="464"/>
                </a:lnTo>
                <a:lnTo>
                  <a:pt x="333" y="451"/>
                </a:lnTo>
                <a:lnTo>
                  <a:pt x="335" y="439"/>
                </a:lnTo>
                <a:lnTo>
                  <a:pt x="337" y="428"/>
                </a:lnTo>
                <a:lnTo>
                  <a:pt x="342" y="417"/>
                </a:lnTo>
                <a:lnTo>
                  <a:pt x="345" y="406"/>
                </a:lnTo>
                <a:lnTo>
                  <a:pt x="351" y="397"/>
                </a:lnTo>
                <a:lnTo>
                  <a:pt x="355" y="389"/>
                </a:lnTo>
                <a:lnTo>
                  <a:pt x="362" y="380"/>
                </a:lnTo>
                <a:lnTo>
                  <a:pt x="373" y="364"/>
                </a:lnTo>
                <a:lnTo>
                  <a:pt x="384" y="347"/>
                </a:lnTo>
                <a:lnTo>
                  <a:pt x="388" y="338"/>
                </a:lnTo>
                <a:lnTo>
                  <a:pt x="392" y="330"/>
                </a:lnTo>
                <a:lnTo>
                  <a:pt x="397" y="320"/>
                </a:lnTo>
                <a:lnTo>
                  <a:pt x="399" y="310"/>
                </a:lnTo>
                <a:lnTo>
                  <a:pt x="399" y="297"/>
                </a:lnTo>
                <a:lnTo>
                  <a:pt x="397" y="286"/>
                </a:lnTo>
                <a:lnTo>
                  <a:pt x="393" y="276"/>
                </a:lnTo>
                <a:lnTo>
                  <a:pt x="389" y="267"/>
                </a:lnTo>
                <a:lnTo>
                  <a:pt x="384" y="260"/>
                </a:lnTo>
                <a:lnTo>
                  <a:pt x="378" y="253"/>
                </a:lnTo>
                <a:lnTo>
                  <a:pt x="373" y="246"/>
                </a:lnTo>
                <a:lnTo>
                  <a:pt x="366" y="240"/>
                </a:lnTo>
                <a:lnTo>
                  <a:pt x="354" y="229"/>
                </a:lnTo>
                <a:lnTo>
                  <a:pt x="343" y="217"/>
                </a:lnTo>
                <a:lnTo>
                  <a:pt x="339" y="209"/>
                </a:lnTo>
                <a:lnTo>
                  <a:pt x="335" y="201"/>
                </a:lnTo>
                <a:lnTo>
                  <a:pt x="333" y="192"/>
                </a:lnTo>
                <a:lnTo>
                  <a:pt x="333" y="180"/>
                </a:lnTo>
                <a:lnTo>
                  <a:pt x="333" y="176"/>
                </a:lnTo>
                <a:lnTo>
                  <a:pt x="335" y="173"/>
                </a:lnTo>
                <a:lnTo>
                  <a:pt x="339" y="170"/>
                </a:lnTo>
                <a:lnTo>
                  <a:pt x="343" y="167"/>
                </a:lnTo>
                <a:lnTo>
                  <a:pt x="353" y="164"/>
                </a:lnTo>
                <a:lnTo>
                  <a:pt x="365" y="162"/>
                </a:lnTo>
                <a:lnTo>
                  <a:pt x="389" y="162"/>
                </a:lnTo>
                <a:lnTo>
                  <a:pt x="406" y="162"/>
                </a:lnTo>
                <a:lnTo>
                  <a:pt x="402" y="160"/>
                </a:lnTo>
                <a:lnTo>
                  <a:pt x="399" y="156"/>
                </a:lnTo>
                <a:lnTo>
                  <a:pt x="395" y="151"/>
                </a:lnTo>
                <a:lnTo>
                  <a:pt x="391" y="146"/>
                </a:lnTo>
                <a:lnTo>
                  <a:pt x="385" y="132"/>
                </a:lnTo>
                <a:lnTo>
                  <a:pt x="379" y="117"/>
                </a:lnTo>
                <a:lnTo>
                  <a:pt x="375" y="101"/>
                </a:lnTo>
                <a:lnTo>
                  <a:pt x="373" y="83"/>
                </a:lnTo>
                <a:lnTo>
                  <a:pt x="371" y="73"/>
                </a:lnTo>
                <a:lnTo>
                  <a:pt x="371" y="64"/>
                </a:lnTo>
                <a:lnTo>
                  <a:pt x="371" y="54"/>
                </a:lnTo>
                <a:lnTo>
                  <a:pt x="373" y="45"/>
                </a:lnTo>
                <a:lnTo>
                  <a:pt x="371" y="33"/>
                </a:lnTo>
                <a:lnTo>
                  <a:pt x="369" y="21"/>
                </a:lnTo>
                <a:lnTo>
                  <a:pt x="367" y="11"/>
                </a:lnTo>
                <a:lnTo>
                  <a:pt x="366" y="2"/>
                </a:lnTo>
                <a:lnTo>
                  <a:pt x="357" y="1"/>
                </a:lnTo>
                <a:lnTo>
                  <a:pt x="347" y="0"/>
                </a:lnTo>
                <a:lnTo>
                  <a:pt x="346" y="2"/>
                </a:lnTo>
                <a:lnTo>
                  <a:pt x="330" y="9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51" name="Freeform 449"/>
          <p:cNvSpPr>
            <a:spLocks/>
          </p:cNvSpPr>
          <p:nvPr userDrawn="1">
            <p:custDataLst>
              <p:tags r:id="rId286"/>
            </p:custDataLst>
          </p:nvPr>
        </p:nvSpPr>
        <p:spPr bwMode="auto">
          <a:xfrm>
            <a:off x="6748467" y="2451509"/>
            <a:ext cx="55563" cy="42863"/>
          </a:xfrm>
          <a:custGeom>
            <a:avLst/>
            <a:gdLst>
              <a:gd name="T0" fmla="*/ 0 w 126"/>
              <a:gd name="T1" fmla="*/ 16589828 h 105"/>
              <a:gd name="T2" fmla="*/ 777882 w 126"/>
              <a:gd name="T3" fmla="*/ 14516100 h 105"/>
              <a:gd name="T4" fmla="*/ 1944705 w 126"/>
              <a:gd name="T5" fmla="*/ 12146281 h 105"/>
              <a:gd name="T6" fmla="*/ 3111528 w 126"/>
              <a:gd name="T7" fmla="*/ 9775917 h 105"/>
              <a:gd name="T8" fmla="*/ 4666852 w 126"/>
              <a:gd name="T9" fmla="*/ 7406096 h 105"/>
              <a:gd name="T10" fmla="*/ 7194968 w 126"/>
              <a:gd name="T11" fmla="*/ 3258639 h 105"/>
              <a:gd name="T12" fmla="*/ 9139674 w 126"/>
              <a:gd name="T13" fmla="*/ 0 h 105"/>
              <a:gd name="T14" fmla="*/ 21973845 w 126"/>
              <a:gd name="T15" fmla="*/ 0 h 105"/>
              <a:gd name="T16" fmla="*/ 22168316 w 126"/>
              <a:gd name="T17" fmla="*/ 1184910 h 105"/>
              <a:gd name="T18" fmla="*/ 22362786 w 126"/>
              <a:gd name="T19" fmla="*/ 2369820 h 105"/>
              <a:gd name="T20" fmla="*/ 22751727 w 126"/>
              <a:gd name="T21" fmla="*/ 3554730 h 105"/>
              <a:gd name="T22" fmla="*/ 23140668 w 126"/>
              <a:gd name="T23" fmla="*/ 4147457 h 105"/>
              <a:gd name="T24" fmla="*/ 24113020 w 126"/>
              <a:gd name="T25" fmla="*/ 5925095 h 105"/>
              <a:gd name="T26" fmla="*/ 24501961 w 126"/>
              <a:gd name="T27" fmla="*/ 7110004 h 105"/>
              <a:gd name="T28" fmla="*/ 24501961 w 126"/>
              <a:gd name="T29" fmla="*/ 9479826 h 105"/>
              <a:gd name="T30" fmla="*/ 24307491 w 126"/>
              <a:gd name="T31" fmla="*/ 12146281 h 105"/>
              <a:gd name="T32" fmla="*/ 24113020 w 126"/>
              <a:gd name="T33" fmla="*/ 14220009 h 105"/>
              <a:gd name="T34" fmla="*/ 23724079 w 126"/>
              <a:gd name="T35" fmla="*/ 16293737 h 105"/>
              <a:gd name="T36" fmla="*/ 23140668 w 126"/>
              <a:gd name="T37" fmla="*/ 18367469 h 105"/>
              <a:gd name="T38" fmla="*/ 22557256 w 126"/>
              <a:gd name="T39" fmla="*/ 20441197 h 105"/>
              <a:gd name="T40" fmla="*/ 21779375 w 126"/>
              <a:gd name="T41" fmla="*/ 22218289 h 105"/>
              <a:gd name="T42" fmla="*/ 21001493 w 126"/>
              <a:gd name="T43" fmla="*/ 23995926 h 105"/>
              <a:gd name="T44" fmla="*/ 20224052 w 126"/>
              <a:gd name="T45" fmla="*/ 25477471 h 105"/>
              <a:gd name="T46" fmla="*/ 19251700 w 126"/>
              <a:gd name="T47" fmla="*/ 26662381 h 105"/>
              <a:gd name="T48" fmla="*/ 18084877 w 126"/>
              <a:gd name="T49" fmla="*/ 27847290 h 105"/>
              <a:gd name="T50" fmla="*/ 17112525 w 126"/>
              <a:gd name="T51" fmla="*/ 29328291 h 105"/>
              <a:gd name="T52" fmla="*/ 15751232 w 126"/>
              <a:gd name="T53" fmla="*/ 29921018 h 105"/>
              <a:gd name="T54" fmla="*/ 14389935 w 126"/>
              <a:gd name="T55" fmla="*/ 30513201 h 105"/>
              <a:gd name="T56" fmla="*/ 13028642 w 126"/>
              <a:gd name="T57" fmla="*/ 31105928 h 105"/>
              <a:gd name="T58" fmla="*/ 11667790 w 126"/>
              <a:gd name="T59" fmla="*/ 31105928 h 105"/>
              <a:gd name="T60" fmla="*/ 9334144 w 126"/>
              <a:gd name="T61" fmla="*/ 30809837 h 105"/>
              <a:gd name="T62" fmla="*/ 7389440 w 126"/>
              <a:gd name="T63" fmla="*/ 30217110 h 105"/>
              <a:gd name="T64" fmla="*/ 6028145 w 126"/>
              <a:gd name="T65" fmla="*/ 29032200 h 105"/>
              <a:gd name="T66" fmla="*/ 4666852 w 126"/>
              <a:gd name="T67" fmla="*/ 27254563 h 105"/>
              <a:gd name="T68" fmla="*/ 3889411 w 126"/>
              <a:gd name="T69" fmla="*/ 25477471 h 105"/>
              <a:gd name="T70" fmla="*/ 3111528 w 126"/>
              <a:gd name="T71" fmla="*/ 23107108 h 105"/>
              <a:gd name="T72" fmla="*/ 2722587 w 126"/>
              <a:gd name="T73" fmla="*/ 20737288 h 105"/>
              <a:gd name="T74" fmla="*/ 2528117 w 126"/>
              <a:gd name="T75" fmla="*/ 18367469 h 105"/>
              <a:gd name="T76" fmla="*/ 0 w 126"/>
              <a:gd name="T77" fmla="*/ 16589828 h 105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126"/>
              <a:gd name="T118" fmla="*/ 0 h 105"/>
              <a:gd name="T119" fmla="*/ 126 w 126"/>
              <a:gd name="T120" fmla="*/ 105 h 105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126" h="105">
                <a:moveTo>
                  <a:pt x="0" y="56"/>
                </a:moveTo>
                <a:lnTo>
                  <a:pt x="4" y="49"/>
                </a:lnTo>
                <a:lnTo>
                  <a:pt x="10" y="41"/>
                </a:lnTo>
                <a:lnTo>
                  <a:pt x="16" y="33"/>
                </a:lnTo>
                <a:lnTo>
                  <a:pt x="24" y="25"/>
                </a:lnTo>
                <a:lnTo>
                  <a:pt x="37" y="11"/>
                </a:lnTo>
                <a:lnTo>
                  <a:pt x="47" y="0"/>
                </a:lnTo>
                <a:lnTo>
                  <a:pt x="113" y="0"/>
                </a:lnTo>
                <a:lnTo>
                  <a:pt x="114" y="4"/>
                </a:lnTo>
                <a:lnTo>
                  <a:pt x="115" y="8"/>
                </a:lnTo>
                <a:lnTo>
                  <a:pt x="117" y="12"/>
                </a:lnTo>
                <a:lnTo>
                  <a:pt x="119" y="14"/>
                </a:lnTo>
                <a:lnTo>
                  <a:pt x="124" y="20"/>
                </a:lnTo>
                <a:lnTo>
                  <a:pt x="126" y="24"/>
                </a:lnTo>
                <a:lnTo>
                  <a:pt x="126" y="32"/>
                </a:lnTo>
                <a:lnTo>
                  <a:pt x="125" y="41"/>
                </a:lnTo>
                <a:lnTo>
                  <a:pt x="124" y="48"/>
                </a:lnTo>
                <a:lnTo>
                  <a:pt x="122" y="55"/>
                </a:lnTo>
                <a:lnTo>
                  <a:pt x="119" y="62"/>
                </a:lnTo>
                <a:lnTo>
                  <a:pt x="116" y="69"/>
                </a:lnTo>
                <a:lnTo>
                  <a:pt x="112" y="75"/>
                </a:lnTo>
                <a:lnTo>
                  <a:pt x="108" y="81"/>
                </a:lnTo>
                <a:lnTo>
                  <a:pt x="104" y="86"/>
                </a:lnTo>
                <a:lnTo>
                  <a:pt x="99" y="90"/>
                </a:lnTo>
                <a:lnTo>
                  <a:pt x="93" y="94"/>
                </a:lnTo>
                <a:lnTo>
                  <a:pt x="88" y="99"/>
                </a:lnTo>
                <a:lnTo>
                  <a:pt x="81" y="101"/>
                </a:lnTo>
                <a:lnTo>
                  <a:pt x="74" y="103"/>
                </a:lnTo>
                <a:lnTo>
                  <a:pt x="67" y="105"/>
                </a:lnTo>
                <a:lnTo>
                  <a:pt x="60" y="105"/>
                </a:lnTo>
                <a:lnTo>
                  <a:pt x="48" y="104"/>
                </a:lnTo>
                <a:lnTo>
                  <a:pt x="38" y="102"/>
                </a:lnTo>
                <a:lnTo>
                  <a:pt x="31" y="98"/>
                </a:lnTo>
                <a:lnTo>
                  <a:pt x="24" y="92"/>
                </a:lnTo>
                <a:lnTo>
                  <a:pt x="20" y="86"/>
                </a:lnTo>
                <a:lnTo>
                  <a:pt x="16" y="78"/>
                </a:lnTo>
                <a:lnTo>
                  <a:pt x="14" y="70"/>
                </a:lnTo>
                <a:lnTo>
                  <a:pt x="13" y="62"/>
                </a:lnTo>
                <a:lnTo>
                  <a:pt x="0" y="56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52" name="Freeform 450"/>
          <p:cNvSpPr>
            <a:spLocks/>
          </p:cNvSpPr>
          <p:nvPr userDrawn="1">
            <p:custDataLst>
              <p:tags r:id="rId287"/>
            </p:custDataLst>
          </p:nvPr>
        </p:nvSpPr>
        <p:spPr bwMode="auto">
          <a:xfrm>
            <a:off x="2103438" y="2649141"/>
            <a:ext cx="298450" cy="392906"/>
          </a:xfrm>
          <a:custGeom>
            <a:avLst/>
            <a:gdLst>
              <a:gd name="T0" fmla="*/ 127747954 w 684"/>
              <a:gd name="T1" fmla="*/ 157887973 h 998"/>
              <a:gd name="T2" fmla="*/ 129461422 w 684"/>
              <a:gd name="T3" fmla="*/ 151550557 h 998"/>
              <a:gd name="T4" fmla="*/ 127747954 w 684"/>
              <a:gd name="T5" fmla="*/ 135293081 h 998"/>
              <a:gd name="T6" fmla="*/ 125463328 w 684"/>
              <a:gd name="T7" fmla="*/ 116555893 h 998"/>
              <a:gd name="T8" fmla="*/ 129080506 w 684"/>
              <a:gd name="T9" fmla="*/ 107187561 h 998"/>
              <a:gd name="T10" fmla="*/ 106043987 w 684"/>
              <a:gd name="T11" fmla="*/ 99472218 h 998"/>
              <a:gd name="T12" fmla="*/ 101474736 w 684"/>
              <a:gd name="T13" fmla="*/ 89828301 h 998"/>
              <a:gd name="T14" fmla="*/ 87957661 w 684"/>
              <a:gd name="T15" fmla="*/ 85419458 h 998"/>
              <a:gd name="T16" fmla="*/ 76534535 w 684"/>
              <a:gd name="T17" fmla="*/ 74397614 h 998"/>
              <a:gd name="T18" fmla="*/ 71394129 w 684"/>
              <a:gd name="T19" fmla="*/ 55384824 h 998"/>
              <a:gd name="T20" fmla="*/ 71394129 w 684"/>
              <a:gd name="T21" fmla="*/ 36647636 h 998"/>
              <a:gd name="T22" fmla="*/ 75201983 w 684"/>
              <a:gd name="T23" fmla="*/ 23146039 h 998"/>
              <a:gd name="T24" fmla="*/ 82817255 w 684"/>
              <a:gd name="T25" fmla="*/ 13226007 h 998"/>
              <a:gd name="T26" fmla="*/ 88147901 w 684"/>
              <a:gd name="T27" fmla="*/ 3030916 h 998"/>
              <a:gd name="T28" fmla="*/ 74059670 w 684"/>
              <a:gd name="T29" fmla="*/ 10746263 h 998"/>
              <a:gd name="T30" fmla="*/ 63778857 w 684"/>
              <a:gd name="T31" fmla="*/ 18737196 h 998"/>
              <a:gd name="T32" fmla="*/ 57876617 w 684"/>
              <a:gd name="T33" fmla="*/ 21492526 h 998"/>
              <a:gd name="T34" fmla="*/ 52926873 w 684"/>
              <a:gd name="T35" fmla="*/ 23146039 h 998"/>
              <a:gd name="T36" fmla="*/ 45882758 w 684"/>
              <a:gd name="T37" fmla="*/ 22319282 h 998"/>
              <a:gd name="T38" fmla="*/ 41313507 w 684"/>
              <a:gd name="T39" fmla="*/ 29759041 h 998"/>
              <a:gd name="T40" fmla="*/ 37315413 w 684"/>
              <a:gd name="T41" fmla="*/ 48220651 h 998"/>
              <a:gd name="T42" fmla="*/ 29890381 w 684"/>
              <a:gd name="T43" fmla="*/ 62548996 h 998"/>
              <a:gd name="T44" fmla="*/ 20370957 w 684"/>
              <a:gd name="T45" fmla="*/ 78255285 h 998"/>
              <a:gd name="T46" fmla="*/ 17134696 w 684"/>
              <a:gd name="T47" fmla="*/ 87348031 h 998"/>
              <a:gd name="T48" fmla="*/ 16372863 w 684"/>
              <a:gd name="T49" fmla="*/ 98094290 h 998"/>
              <a:gd name="T50" fmla="*/ 18467248 w 684"/>
              <a:gd name="T51" fmla="*/ 105258463 h 998"/>
              <a:gd name="T52" fmla="*/ 18467248 w 684"/>
              <a:gd name="T53" fmla="*/ 124271236 h 998"/>
              <a:gd name="T54" fmla="*/ 18086332 w 684"/>
              <a:gd name="T55" fmla="*/ 144661970 h 998"/>
              <a:gd name="T56" fmla="*/ 13707755 w 684"/>
              <a:gd name="T57" fmla="*/ 155132643 h 998"/>
              <a:gd name="T58" fmla="*/ 7044117 w 684"/>
              <a:gd name="T59" fmla="*/ 163123572 h 998"/>
              <a:gd name="T60" fmla="*/ 2094386 w 684"/>
              <a:gd name="T61" fmla="*/ 168634232 h 998"/>
              <a:gd name="T62" fmla="*/ 5711565 w 684"/>
              <a:gd name="T63" fmla="*/ 184064919 h 998"/>
              <a:gd name="T64" fmla="*/ 23417415 w 684"/>
              <a:gd name="T65" fmla="*/ 199771192 h 998"/>
              <a:gd name="T66" fmla="*/ 33317319 w 684"/>
              <a:gd name="T67" fmla="*/ 200597423 h 998"/>
              <a:gd name="T68" fmla="*/ 44549769 w 684"/>
              <a:gd name="T69" fmla="*/ 205557437 h 998"/>
              <a:gd name="T70" fmla="*/ 56924968 w 684"/>
              <a:gd name="T71" fmla="*/ 219059026 h 998"/>
              <a:gd name="T72" fmla="*/ 64159337 w 684"/>
              <a:gd name="T73" fmla="*/ 234214127 h 998"/>
              <a:gd name="T74" fmla="*/ 69870900 w 684"/>
              <a:gd name="T75" fmla="*/ 242756227 h 998"/>
              <a:gd name="T76" fmla="*/ 78438244 w 684"/>
              <a:gd name="T77" fmla="*/ 244133630 h 998"/>
              <a:gd name="T78" fmla="*/ 87957661 w 684"/>
              <a:gd name="T79" fmla="*/ 241378300 h 998"/>
              <a:gd name="T80" fmla="*/ 93669224 w 684"/>
              <a:gd name="T81" fmla="*/ 241929471 h 998"/>
              <a:gd name="T82" fmla="*/ 98047799 w 684"/>
              <a:gd name="T83" fmla="*/ 249093643 h 998"/>
              <a:gd name="T84" fmla="*/ 97667319 w 684"/>
              <a:gd name="T85" fmla="*/ 254053657 h 998"/>
              <a:gd name="T86" fmla="*/ 92907392 w 684"/>
              <a:gd name="T87" fmla="*/ 258186914 h 998"/>
              <a:gd name="T88" fmla="*/ 92907392 w 684"/>
              <a:gd name="T89" fmla="*/ 265351087 h 998"/>
              <a:gd name="T90" fmla="*/ 97286402 w 684"/>
              <a:gd name="T91" fmla="*/ 273892662 h 998"/>
              <a:gd name="T92" fmla="*/ 103188205 w 684"/>
              <a:gd name="T93" fmla="*/ 265075502 h 998"/>
              <a:gd name="T94" fmla="*/ 107757456 w 684"/>
              <a:gd name="T95" fmla="*/ 237245043 h 998"/>
              <a:gd name="T96" fmla="*/ 108709528 w 684"/>
              <a:gd name="T97" fmla="*/ 221263710 h 998"/>
              <a:gd name="T98" fmla="*/ 105663070 w 684"/>
              <a:gd name="T99" fmla="*/ 212446024 h 998"/>
              <a:gd name="T100" fmla="*/ 99571027 w 684"/>
              <a:gd name="T101" fmla="*/ 206384193 h 998"/>
              <a:gd name="T102" fmla="*/ 99190111 w 684"/>
              <a:gd name="T103" fmla="*/ 199220021 h 998"/>
              <a:gd name="T104" fmla="*/ 107757456 w 684"/>
              <a:gd name="T105" fmla="*/ 192882080 h 998"/>
              <a:gd name="T106" fmla="*/ 105853747 w 684"/>
              <a:gd name="T107" fmla="*/ 183238163 h 998"/>
              <a:gd name="T108" fmla="*/ 105853747 w 684"/>
              <a:gd name="T109" fmla="*/ 178829320 h 998"/>
              <a:gd name="T110" fmla="*/ 124701496 w 684"/>
              <a:gd name="T111" fmla="*/ 173043075 h 99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684"/>
              <a:gd name="T169" fmla="*/ 0 h 998"/>
              <a:gd name="T170" fmla="*/ 684 w 684"/>
              <a:gd name="T171" fmla="*/ 998 h 998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684" h="998">
                <a:moveTo>
                  <a:pt x="684" y="622"/>
                </a:moveTo>
                <a:lnTo>
                  <a:pt x="680" y="609"/>
                </a:lnTo>
                <a:lnTo>
                  <a:pt x="676" y="596"/>
                </a:lnTo>
                <a:lnTo>
                  <a:pt x="672" y="583"/>
                </a:lnTo>
                <a:lnTo>
                  <a:pt x="671" y="573"/>
                </a:lnTo>
                <a:lnTo>
                  <a:pt x="671" y="568"/>
                </a:lnTo>
                <a:lnTo>
                  <a:pt x="673" y="564"/>
                </a:lnTo>
                <a:lnTo>
                  <a:pt x="676" y="559"/>
                </a:lnTo>
                <a:lnTo>
                  <a:pt x="678" y="555"/>
                </a:lnTo>
                <a:lnTo>
                  <a:pt x="680" y="550"/>
                </a:lnTo>
                <a:lnTo>
                  <a:pt x="682" y="546"/>
                </a:lnTo>
                <a:lnTo>
                  <a:pt x="683" y="541"/>
                </a:lnTo>
                <a:lnTo>
                  <a:pt x="684" y="537"/>
                </a:lnTo>
                <a:lnTo>
                  <a:pt x="680" y="519"/>
                </a:lnTo>
                <a:lnTo>
                  <a:pt x="671" y="491"/>
                </a:lnTo>
                <a:lnTo>
                  <a:pt x="666" y="475"/>
                </a:lnTo>
                <a:lnTo>
                  <a:pt x="662" y="459"/>
                </a:lnTo>
                <a:lnTo>
                  <a:pt x="659" y="444"/>
                </a:lnTo>
                <a:lnTo>
                  <a:pt x="658" y="432"/>
                </a:lnTo>
                <a:lnTo>
                  <a:pt x="659" y="423"/>
                </a:lnTo>
                <a:lnTo>
                  <a:pt x="661" y="415"/>
                </a:lnTo>
                <a:lnTo>
                  <a:pt x="665" y="409"/>
                </a:lnTo>
                <a:lnTo>
                  <a:pt x="669" y="403"/>
                </a:lnTo>
                <a:lnTo>
                  <a:pt x="673" y="396"/>
                </a:lnTo>
                <a:lnTo>
                  <a:pt x="678" y="389"/>
                </a:lnTo>
                <a:lnTo>
                  <a:pt x="681" y="381"/>
                </a:lnTo>
                <a:lnTo>
                  <a:pt x="684" y="370"/>
                </a:lnTo>
                <a:lnTo>
                  <a:pt x="571" y="370"/>
                </a:lnTo>
                <a:lnTo>
                  <a:pt x="564" y="366"/>
                </a:lnTo>
                <a:lnTo>
                  <a:pt x="557" y="361"/>
                </a:lnTo>
                <a:lnTo>
                  <a:pt x="550" y="355"/>
                </a:lnTo>
                <a:lnTo>
                  <a:pt x="544" y="347"/>
                </a:lnTo>
                <a:lnTo>
                  <a:pt x="539" y="340"/>
                </a:lnTo>
                <a:lnTo>
                  <a:pt x="535" y="333"/>
                </a:lnTo>
                <a:lnTo>
                  <a:pt x="533" y="326"/>
                </a:lnTo>
                <a:lnTo>
                  <a:pt x="532" y="321"/>
                </a:lnTo>
                <a:lnTo>
                  <a:pt x="512" y="320"/>
                </a:lnTo>
                <a:lnTo>
                  <a:pt x="494" y="318"/>
                </a:lnTo>
                <a:lnTo>
                  <a:pt x="477" y="315"/>
                </a:lnTo>
                <a:lnTo>
                  <a:pt x="462" y="310"/>
                </a:lnTo>
                <a:lnTo>
                  <a:pt x="447" y="304"/>
                </a:lnTo>
                <a:lnTo>
                  <a:pt x="434" y="298"/>
                </a:lnTo>
                <a:lnTo>
                  <a:pt x="423" y="290"/>
                </a:lnTo>
                <a:lnTo>
                  <a:pt x="412" y="281"/>
                </a:lnTo>
                <a:lnTo>
                  <a:pt x="402" y="270"/>
                </a:lnTo>
                <a:lnTo>
                  <a:pt x="395" y="259"/>
                </a:lnTo>
                <a:lnTo>
                  <a:pt x="388" y="246"/>
                </a:lnTo>
                <a:lnTo>
                  <a:pt x="382" y="232"/>
                </a:lnTo>
                <a:lnTo>
                  <a:pt x="378" y="218"/>
                </a:lnTo>
                <a:lnTo>
                  <a:pt x="375" y="201"/>
                </a:lnTo>
                <a:lnTo>
                  <a:pt x="373" y="184"/>
                </a:lnTo>
                <a:lnTo>
                  <a:pt x="373" y="167"/>
                </a:lnTo>
                <a:lnTo>
                  <a:pt x="373" y="155"/>
                </a:lnTo>
                <a:lnTo>
                  <a:pt x="374" y="144"/>
                </a:lnTo>
                <a:lnTo>
                  <a:pt x="375" y="133"/>
                </a:lnTo>
                <a:lnTo>
                  <a:pt x="377" y="123"/>
                </a:lnTo>
                <a:lnTo>
                  <a:pt x="380" y="113"/>
                </a:lnTo>
                <a:lnTo>
                  <a:pt x="385" y="103"/>
                </a:lnTo>
                <a:lnTo>
                  <a:pt x="389" y="94"/>
                </a:lnTo>
                <a:lnTo>
                  <a:pt x="395" y="84"/>
                </a:lnTo>
                <a:lnTo>
                  <a:pt x="401" y="76"/>
                </a:lnTo>
                <a:lnTo>
                  <a:pt x="408" y="68"/>
                </a:lnTo>
                <a:lnTo>
                  <a:pt x="416" y="61"/>
                </a:lnTo>
                <a:lnTo>
                  <a:pt x="425" y="54"/>
                </a:lnTo>
                <a:lnTo>
                  <a:pt x="435" y="48"/>
                </a:lnTo>
                <a:lnTo>
                  <a:pt x="446" y="42"/>
                </a:lnTo>
                <a:lnTo>
                  <a:pt x="458" y="36"/>
                </a:lnTo>
                <a:lnTo>
                  <a:pt x="471" y="31"/>
                </a:lnTo>
                <a:lnTo>
                  <a:pt x="471" y="18"/>
                </a:lnTo>
                <a:lnTo>
                  <a:pt x="463" y="11"/>
                </a:lnTo>
                <a:lnTo>
                  <a:pt x="455" y="7"/>
                </a:lnTo>
                <a:lnTo>
                  <a:pt x="447" y="4"/>
                </a:lnTo>
                <a:lnTo>
                  <a:pt x="438" y="0"/>
                </a:lnTo>
                <a:lnTo>
                  <a:pt x="414" y="19"/>
                </a:lnTo>
                <a:lnTo>
                  <a:pt x="389" y="39"/>
                </a:lnTo>
                <a:lnTo>
                  <a:pt x="378" y="48"/>
                </a:lnTo>
                <a:lnTo>
                  <a:pt x="367" y="56"/>
                </a:lnTo>
                <a:lnTo>
                  <a:pt x="356" y="63"/>
                </a:lnTo>
                <a:lnTo>
                  <a:pt x="345" y="68"/>
                </a:lnTo>
                <a:lnTo>
                  <a:pt x="335" y="68"/>
                </a:lnTo>
                <a:lnTo>
                  <a:pt x="326" y="68"/>
                </a:lnTo>
                <a:lnTo>
                  <a:pt x="319" y="68"/>
                </a:lnTo>
                <a:lnTo>
                  <a:pt x="312" y="68"/>
                </a:lnTo>
                <a:lnTo>
                  <a:pt x="309" y="74"/>
                </a:lnTo>
                <a:lnTo>
                  <a:pt x="304" y="78"/>
                </a:lnTo>
                <a:lnTo>
                  <a:pt x="299" y="81"/>
                </a:lnTo>
                <a:lnTo>
                  <a:pt x="295" y="83"/>
                </a:lnTo>
                <a:lnTo>
                  <a:pt x="289" y="85"/>
                </a:lnTo>
                <a:lnTo>
                  <a:pt x="284" y="85"/>
                </a:lnTo>
                <a:lnTo>
                  <a:pt x="278" y="84"/>
                </a:lnTo>
                <a:lnTo>
                  <a:pt x="273" y="84"/>
                </a:lnTo>
                <a:lnTo>
                  <a:pt x="262" y="82"/>
                </a:lnTo>
                <a:lnTo>
                  <a:pt x="251" y="81"/>
                </a:lnTo>
                <a:lnTo>
                  <a:pt x="245" y="81"/>
                </a:lnTo>
                <a:lnTo>
                  <a:pt x="241" y="81"/>
                </a:lnTo>
                <a:lnTo>
                  <a:pt x="236" y="83"/>
                </a:lnTo>
                <a:lnTo>
                  <a:pt x="233" y="86"/>
                </a:lnTo>
                <a:lnTo>
                  <a:pt x="225" y="94"/>
                </a:lnTo>
                <a:lnTo>
                  <a:pt x="221" y="101"/>
                </a:lnTo>
                <a:lnTo>
                  <a:pt x="217" y="108"/>
                </a:lnTo>
                <a:lnTo>
                  <a:pt x="213" y="114"/>
                </a:lnTo>
                <a:lnTo>
                  <a:pt x="209" y="128"/>
                </a:lnTo>
                <a:lnTo>
                  <a:pt x="206" y="143"/>
                </a:lnTo>
                <a:lnTo>
                  <a:pt x="201" y="159"/>
                </a:lnTo>
                <a:lnTo>
                  <a:pt x="196" y="175"/>
                </a:lnTo>
                <a:lnTo>
                  <a:pt x="192" y="183"/>
                </a:lnTo>
                <a:lnTo>
                  <a:pt x="187" y="191"/>
                </a:lnTo>
                <a:lnTo>
                  <a:pt x="180" y="200"/>
                </a:lnTo>
                <a:lnTo>
                  <a:pt x="173" y="210"/>
                </a:lnTo>
                <a:lnTo>
                  <a:pt x="157" y="227"/>
                </a:lnTo>
                <a:lnTo>
                  <a:pt x="140" y="244"/>
                </a:lnTo>
                <a:lnTo>
                  <a:pt x="131" y="253"/>
                </a:lnTo>
                <a:lnTo>
                  <a:pt x="122" y="263"/>
                </a:lnTo>
                <a:lnTo>
                  <a:pt x="115" y="273"/>
                </a:lnTo>
                <a:lnTo>
                  <a:pt x="107" y="284"/>
                </a:lnTo>
                <a:lnTo>
                  <a:pt x="102" y="288"/>
                </a:lnTo>
                <a:lnTo>
                  <a:pt x="98" y="294"/>
                </a:lnTo>
                <a:lnTo>
                  <a:pt x="96" y="299"/>
                </a:lnTo>
                <a:lnTo>
                  <a:pt x="94" y="305"/>
                </a:lnTo>
                <a:lnTo>
                  <a:pt x="90" y="317"/>
                </a:lnTo>
                <a:lnTo>
                  <a:pt x="86" y="327"/>
                </a:lnTo>
                <a:lnTo>
                  <a:pt x="85" y="331"/>
                </a:lnTo>
                <a:lnTo>
                  <a:pt x="84" y="338"/>
                </a:lnTo>
                <a:lnTo>
                  <a:pt x="84" y="347"/>
                </a:lnTo>
                <a:lnTo>
                  <a:pt x="86" y="356"/>
                </a:lnTo>
                <a:lnTo>
                  <a:pt x="88" y="366"/>
                </a:lnTo>
                <a:lnTo>
                  <a:pt x="91" y="375"/>
                </a:lnTo>
                <a:lnTo>
                  <a:pt x="93" y="378"/>
                </a:lnTo>
                <a:lnTo>
                  <a:pt x="95" y="380"/>
                </a:lnTo>
                <a:lnTo>
                  <a:pt x="97" y="382"/>
                </a:lnTo>
                <a:lnTo>
                  <a:pt x="100" y="382"/>
                </a:lnTo>
                <a:lnTo>
                  <a:pt x="98" y="397"/>
                </a:lnTo>
                <a:lnTo>
                  <a:pt x="97" y="414"/>
                </a:lnTo>
                <a:lnTo>
                  <a:pt x="97" y="433"/>
                </a:lnTo>
                <a:lnTo>
                  <a:pt x="97" y="451"/>
                </a:lnTo>
                <a:lnTo>
                  <a:pt x="99" y="484"/>
                </a:lnTo>
                <a:lnTo>
                  <a:pt x="100" y="505"/>
                </a:lnTo>
                <a:lnTo>
                  <a:pt x="99" y="511"/>
                </a:lnTo>
                <a:lnTo>
                  <a:pt x="98" y="518"/>
                </a:lnTo>
                <a:lnTo>
                  <a:pt x="95" y="525"/>
                </a:lnTo>
                <a:lnTo>
                  <a:pt x="91" y="532"/>
                </a:lnTo>
                <a:lnTo>
                  <a:pt x="88" y="541"/>
                </a:lnTo>
                <a:lnTo>
                  <a:pt x="83" y="548"/>
                </a:lnTo>
                <a:lnTo>
                  <a:pt x="77" y="556"/>
                </a:lnTo>
                <a:lnTo>
                  <a:pt x="72" y="563"/>
                </a:lnTo>
                <a:lnTo>
                  <a:pt x="65" y="570"/>
                </a:lnTo>
                <a:lnTo>
                  <a:pt x="59" y="576"/>
                </a:lnTo>
                <a:lnTo>
                  <a:pt x="51" y="582"/>
                </a:lnTo>
                <a:lnTo>
                  <a:pt x="43" y="587"/>
                </a:lnTo>
                <a:lnTo>
                  <a:pt x="37" y="592"/>
                </a:lnTo>
                <a:lnTo>
                  <a:pt x="29" y="596"/>
                </a:lnTo>
                <a:lnTo>
                  <a:pt x="21" y="598"/>
                </a:lnTo>
                <a:lnTo>
                  <a:pt x="14" y="598"/>
                </a:lnTo>
                <a:lnTo>
                  <a:pt x="12" y="605"/>
                </a:lnTo>
                <a:lnTo>
                  <a:pt x="11" y="612"/>
                </a:lnTo>
                <a:lnTo>
                  <a:pt x="9" y="618"/>
                </a:lnTo>
                <a:lnTo>
                  <a:pt x="7" y="625"/>
                </a:lnTo>
                <a:lnTo>
                  <a:pt x="3" y="637"/>
                </a:lnTo>
                <a:lnTo>
                  <a:pt x="0" y="648"/>
                </a:lnTo>
                <a:lnTo>
                  <a:pt x="30" y="668"/>
                </a:lnTo>
                <a:lnTo>
                  <a:pt x="67" y="694"/>
                </a:lnTo>
                <a:lnTo>
                  <a:pt x="87" y="707"/>
                </a:lnTo>
                <a:lnTo>
                  <a:pt x="106" y="718"/>
                </a:lnTo>
                <a:lnTo>
                  <a:pt x="115" y="722"/>
                </a:lnTo>
                <a:lnTo>
                  <a:pt x="123" y="725"/>
                </a:lnTo>
                <a:lnTo>
                  <a:pt x="132" y="727"/>
                </a:lnTo>
                <a:lnTo>
                  <a:pt x="140" y="727"/>
                </a:lnTo>
                <a:lnTo>
                  <a:pt x="153" y="727"/>
                </a:lnTo>
                <a:lnTo>
                  <a:pt x="166" y="727"/>
                </a:lnTo>
                <a:lnTo>
                  <a:pt x="175" y="728"/>
                </a:lnTo>
                <a:lnTo>
                  <a:pt x="184" y="729"/>
                </a:lnTo>
                <a:lnTo>
                  <a:pt x="192" y="730"/>
                </a:lnTo>
                <a:lnTo>
                  <a:pt x="201" y="732"/>
                </a:lnTo>
                <a:lnTo>
                  <a:pt x="218" y="738"/>
                </a:lnTo>
                <a:lnTo>
                  <a:pt x="234" y="746"/>
                </a:lnTo>
                <a:lnTo>
                  <a:pt x="250" y="755"/>
                </a:lnTo>
                <a:lnTo>
                  <a:pt x="265" y="767"/>
                </a:lnTo>
                <a:lnTo>
                  <a:pt x="279" y="778"/>
                </a:lnTo>
                <a:lnTo>
                  <a:pt x="292" y="789"/>
                </a:lnTo>
                <a:lnTo>
                  <a:pt x="299" y="795"/>
                </a:lnTo>
                <a:lnTo>
                  <a:pt x="306" y="802"/>
                </a:lnTo>
                <a:lnTo>
                  <a:pt x="312" y="809"/>
                </a:lnTo>
                <a:lnTo>
                  <a:pt x="318" y="818"/>
                </a:lnTo>
                <a:lnTo>
                  <a:pt x="328" y="834"/>
                </a:lnTo>
                <a:lnTo>
                  <a:pt x="337" y="850"/>
                </a:lnTo>
                <a:lnTo>
                  <a:pt x="342" y="857"/>
                </a:lnTo>
                <a:lnTo>
                  <a:pt x="347" y="864"/>
                </a:lnTo>
                <a:lnTo>
                  <a:pt x="354" y="871"/>
                </a:lnTo>
                <a:lnTo>
                  <a:pt x="359" y="877"/>
                </a:lnTo>
                <a:lnTo>
                  <a:pt x="367" y="881"/>
                </a:lnTo>
                <a:lnTo>
                  <a:pt x="374" y="885"/>
                </a:lnTo>
                <a:lnTo>
                  <a:pt x="382" y="887"/>
                </a:lnTo>
                <a:lnTo>
                  <a:pt x="392" y="888"/>
                </a:lnTo>
                <a:lnTo>
                  <a:pt x="402" y="887"/>
                </a:lnTo>
                <a:lnTo>
                  <a:pt x="412" y="886"/>
                </a:lnTo>
                <a:lnTo>
                  <a:pt x="422" y="884"/>
                </a:lnTo>
                <a:lnTo>
                  <a:pt x="432" y="882"/>
                </a:lnTo>
                <a:lnTo>
                  <a:pt x="442" y="879"/>
                </a:lnTo>
                <a:lnTo>
                  <a:pt x="452" y="877"/>
                </a:lnTo>
                <a:lnTo>
                  <a:pt x="462" y="876"/>
                </a:lnTo>
                <a:lnTo>
                  <a:pt x="471" y="875"/>
                </a:lnTo>
                <a:lnTo>
                  <a:pt x="478" y="876"/>
                </a:lnTo>
                <a:lnTo>
                  <a:pt x="485" y="878"/>
                </a:lnTo>
                <a:lnTo>
                  <a:pt x="489" y="878"/>
                </a:lnTo>
                <a:lnTo>
                  <a:pt x="492" y="878"/>
                </a:lnTo>
                <a:lnTo>
                  <a:pt x="496" y="877"/>
                </a:lnTo>
                <a:lnTo>
                  <a:pt x="499" y="875"/>
                </a:lnTo>
                <a:lnTo>
                  <a:pt x="501" y="883"/>
                </a:lnTo>
                <a:lnTo>
                  <a:pt x="509" y="894"/>
                </a:lnTo>
                <a:lnTo>
                  <a:pt x="515" y="904"/>
                </a:lnTo>
                <a:lnTo>
                  <a:pt x="519" y="912"/>
                </a:lnTo>
                <a:lnTo>
                  <a:pt x="518" y="915"/>
                </a:lnTo>
                <a:lnTo>
                  <a:pt x="516" y="918"/>
                </a:lnTo>
                <a:lnTo>
                  <a:pt x="515" y="920"/>
                </a:lnTo>
                <a:lnTo>
                  <a:pt x="513" y="922"/>
                </a:lnTo>
                <a:lnTo>
                  <a:pt x="508" y="927"/>
                </a:lnTo>
                <a:lnTo>
                  <a:pt x="502" y="930"/>
                </a:lnTo>
                <a:lnTo>
                  <a:pt x="496" y="933"/>
                </a:lnTo>
                <a:lnTo>
                  <a:pt x="490" y="936"/>
                </a:lnTo>
                <a:lnTo>
                  <a:pt x="488" y="937"/>
                </a:lnTo>
                <a:lnTo>
                  <a:pt x="487" y="939"/>
                </a:lnTo>
                <a:lnTo>
                  <a:pt x="486" y="941"/>
                </a:lnTo>
                <a:lnTo>
                  <a:pt x="485" y="943"/>
                </a:lnTo>
                <a:lnTo>
                  <a:pt x="486" y="954"/>
                </a:lnTo>
                <a:lnTo>
                  <a:pt x="488" y="963"/>
                </a:lnTo>
                <a:lnTo>
                  <a:pt x="490" y="970"/>
                </a:lnTo>
                <a:lnTo>
                  <a:pt x="494" y="977"/>
                </a:lnTo>
                <a:lnTo>
                  <a:pt x="499" y="984"/>
                </a:lnTo>
                <a:lnTo>
                  <a:pt x="504" y="989"/>
                </a:lnTo>
                <a:lnTo>
                  <a:pt x="511" y="994"/>
                </a:lnTo>
                <a:lnTo>
                  <a:pt x="519" y="998"/>
                </a:lnTo>
                <a:lnTo>
                  <a:pt x="538" y="998"/>
                </a:lnTo>
                <a:lnTo>
                  <a:pt x="538" y="986"/>
                </a:lnTo>
                <a:lnTo>
                  <a:pt x="539" y="973"/>
                </a:lnTo>
                <a:lnTo>
                  <a:pt x="542" y="962"/>
                </a:lnTo>
                <a:lnTo>
                  <a:pt x="544" y="950"/>
                </a:lnTo>
                <a:lnTo>
                  <a:pt x="548" y="928"/>
                </a:lnTo>
                <a:lnTo>
                  <a:pt x="555" y="906"/>
                </a:lnTo>
                <a:lnTo>
                  <a:pt x="561" y="884"/>
                </a:lnTo>
                <a:lnTo>
                  <a:pt x="566" y="861"/>
                </a:lnTo>
                <a:lnTo>
                  <a:pt x="568" y="850"/>
                </a:lnTo>
                <a:lnTo>
                  <a:pt x="570" y="838"/>
                </a:lnTo>
                <a:lnTo>
                  <a:pt x="571" y="826"/>
                </a:lnTo>
                <a:lnTo>
                  <a:pt x="571" y="813"/>
                </a:lnTo>
                <a:lnTo>
                  <a:pt x="571" y="803"/>
                </a:lnTo>
                <a:lnTo>
                  <a:pt x="569" y="794"/>
                </a:lnTo>
                <a:lnTo>
                  <a:pt x="567" y="786"/>
                </a:lnTo>
                <a:lnTo>
                  <a:pt x="564" y="780"/>
                </a:lnTo>
                <a:lnTo>
                  <a:pt x="559" y="775"/>
                </a:lnTo>
                <a:lnTo>
                  <a:pt x="555" y="771"/>
                </a:lnTo>
                <a:lnTo>
                  <a:pt x="549" y="768"/>
                </a:lnTo>
                <a:lnTo>
                  <a:pt x="545" y="765"/>
                </a:lnTo>
                <a:lnTo>
                  <a:pt x="535" y="759"/>
                </a:lnTo>
                <a:lnTo>
                  <a:pt x="526" y="752"/>
                </a:lnTo>
                <a:lnTo>
                  <a:pt x="523" y="749"/>
                </a:lnTo>
                <a:lnTo>
                  <a:pt x="521" y="745"/>
                </a:lnTo>
                <a:lnTo>
                  <a:pt x="519" y="740"/>
                </a:lnTo>
                <a:lnTo>
                  <a:pt x="519" y="733"/>
                </a:lnTo>
                <a:lnTo>
                  <a:pt x="519" y="728"/>
                </a:lnTo>
                <a:lnTo>
                  <a:pt x="521" y="723"/>
                </a:lnTo>
                <a:lnTo>
                  <a:pt x="523" y="719"/>
                </a:lnTo>
                <a:lnTo>
                  <a:pt x="526" y="716"/>
                </a:lnTo>
                <a:lnTo>
                  <a:pt x="535" y="710"/>
                </a:lnTo>
                <a:lnTo>
                  <a:pt x="546" y="706"/>
                </a:lnTo>
                <a:lnTo>
                  <a:pt x="566" y="700"/>
                </a:lnTo>
                <a:lnTo>
                  <a:pt x="578" y="696"/>
                </a:lnTo>
                <a:lnTo>
                  <a:pt x="578" y="678"/>
                </a:lnTo>
                <a:lnTo>
                  <a:pt x="568" y="673"/>
                </a:lnTo>
                <a:lnTo>
                  <a:pt x="560" y="668"/>
                </a:lnTo>
                <a:lnTo>
                  <a:pt x="556" y="665"/>
                </a:lnTo>
                <a:lnTo>
                  <a:pt x="554" y="662"/>
                </a:lnTo>
                <a:lnTo>
                  <a:pt x="552" y="658"/>
                </a:lnTo>
                <a:lnTo>
                  <a:pt x="552" y="654"/>
                </a:lnTo>
                <a:lnTo>
                  <a:pt x="553" y="651"/>
                </a:lnTo>
                <a:lnTo>
                  <a:pt x="556" y="649"/>
                </a:lnTo>
                <a:lnTo>
                  <a:pt x="563" y="646"/>
                </a:lnTo>
                <a:lnTo>
                  <a:pt x="569" y="644"/>
                </a:lnTo>
                <a:lnTo>
                  <a:pt x="588" y="639"/>
                </a:lnTo>
                <a:lnTo>
                  <a:pt x="611" y="635"/>
                </a:lnTo>
                <a:lnTo>
                  <a:pt x="655" y="628"/>
                </a:lnTo>
                <a:lnTo>
                  <a:pt x="684" y="622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53" name="Freeform 451"/>
          <p:cNvSpPr>
            <a:spLocks/>
          </p:cNvSpPr>
          <p:nvPr userDrawn="1">
            <p:custDataLst>
              <p:tags r:id="rId288"/>
            </p:custDataLst>
          </p:nvPr>
        </p:nvSpPr>
        <p:spPr bwMode="auto">
          <a:xfrm>
            <a:off x="4356110" y="2850361"/>
            <a:ext cx="187325" cy="205979"/>
          </a:xfrm>
          <a:custGeom>
            <a:avLst/>
            <a:gdLst>
              <a:gd name="T0" fmla="*/ 81796404 w 429"/>
              <a:gd name="T1" fmla="*/ 6043608 h 524"/>
              <a:gd name="T2" fmla="*/ 81605586 w 429"/>
              <a:gd name="T3" fmla="*/ 11812053 h 524"/>
              <a:gd name="T4" fmla="*/ 80843186 w 429"/>
              <a:gd name="T5" fmla="*/ 14833594 h 524"/>
              <a:gd name="T6" fmla="*/ 79127133 w 429"/>
              <a:gd name="T7" fmla="*/ 18404939 h 524"/>
              <a:gd name="T8" fmla="*/ 78745933 w 429"/>
              <a:gd name="T9" fmla="*/ 22250917 h 524"/>
              <a:gd name="T10" fmla="*/ 78936315 w 429"/>
              <a:gd name="T11" fmla="*/ 43952034 h 524"/>
              <a:gd name="T12" fmla="*/ 77792279 w 429"/>
              <a:gd name="T13" fmla="*/ 56862635 h 524"/>
              <a:gd name="T14" fmla="*/ 75504207 w 429"/>
              <a:gd name="T15" fmla="*/ 66202419 h 524"/>
              <a:gd name="T16" fmla="*/ 70928501 w 429"/>
              <a:gd name="T17" fmla="*/ 76366657 h 524"/>
              <a:gd name="T18" fmla="*/ 64445485 w 429"/>
              <a:gd name="T19" fmla="*/ 84882528 h 524"/>
              <a:gd name="T20" fmla="*/ 60822997 w 429"/>
              <a:gd name="T21" fmla="*/ 91474885 h 524"/>
              <a:gd name="T22" fmla="*/ 59488143 w 429"/>
              <a:gd name="T23" fmla="*/ 113176518 h 524"/>
              <a:gd name="T24" fmla="*/ 57962907 w 429"/>
              <a:gd name="T25" fmla="*/ 120593313 h 524"/>
              <a:gd name="T26" fmla="*/ 55293622 w 429"/>
              <a:gd name="T27" fmla="*/ 123065578 h 524"/>
              <a:gd name="T28" fmla="*/ 51289497 w 429"/>
              <a:gd name="T29" fmla="*/ 124988567 h 524"/>
              <a:gd name="T30" fmla="*/ 48239026 w 429"/>
              <a:gd name="T31" fmla="*/ 129658459 h 524"/>
              <a:gd name="T32" fmla="*/ 44616100 w 429"/>
              <a:gd name="T33" fmla="*/ 137349892 h 524"/>
              <a:gd name="T34" fmla="*/ 42518847 w 429"/>
              <a:gd name="T35" fmla="*/ 138723638 h 524"/>
              <a:gd name="T36" fmla="*/ 38324340 w 429"/>
              <a:gd name="T37" fmla="*/ 138449000 h 524"/>
              <a:gd name="T38" fmla="*/ 36036268 w 429"/>
              <a:gd name="T39" fmla="*/ 136800616 h 524"/>
              <a:gd name="T40" fmla="*/ 27646811 w 429"/>
              <a:gd name="T41" fmla="*/ 137349892 h 524"/>
              <a:gd name="T42" fmla="*/ 23452304 w 429"/>
              <a:gd name="T43" fmla="*/ 137349892 h 524"/>
              <a:gd name="T44" fmla="*/ 21545432 w 429"/>
              <a:gd name="T45" fmla="*/ 135701540 h 524"/>
              <a:gd name="T46" fmla="*/ 18113325 w 429"/>
              <a:gd name="T47" fmla="*/ 135426903 h 524"/>
              <a:gd name="T48" fmla="*/ 14872036 w 429"/>
              <a:gd name="T49" fmla="*/ 137899200 h 524"/>
              <a:gd name="T50" fmla="*/ 11821561 w 429"/>
              <a:gd name="T51" fmla="*/ 142569092 h 524"/>
              <a:gd name="T52" fmla="*/ 5148163 w 429"/>
              <a:gd name="T53" fmla="*/ 134877627 h 524"/>
              <a:gd name="T54" fmla="*/ 1144036 w 429"/>
              <a:gd name="T55" fmla="*/ 122790940 h 524"/>
              <a:gd name="T56" fmla="*/ 4766526 w 429"/>
              <a:gd name="T57" fmla="*/ 118121048 h 524"/>
              <a:gd name="T58" fmla="*/ 8008254 w 429"/>
              <a:gd name="T59" fmla="*/ 116472696 h 524"/>
              <a:gd name="T60" fmla="*/ 11630743 w 429"/>
              <a:gd name="T61" fmla="*/ 117571772 h 524"/>
              <a:gd name="T62" fmla="*/ 11058725 w 429"/>
              <a:gd name="T63" fmla="*/ 114824345 h 524"/>
              <a:gd name="T64" fmla="*/ 8579835 w 429"/>
              <a:gd name="T65" fmla="*/ 106034361 h 524"/>
              <a:gd name="T66" fmla="*/ 8961472 w 429"/>
              <a:gd name="T67" fmla="*/ 100540031 h 524"/>
              <a:gd name="T68" fmla="*/ 10867907 w 429"/>
              <a:gd name="T69" fmla="*/ 97793128 h 524"/>
              <a:gd name="T70" fmla="*/ 13537615 w 429"/>
              <a:gd name="T71" fmla="*/ 96694577 h 524"/>
              <a:gd name="T72" fmla="*/ 16969289 w 429"/>
              <a:gd name="T73" fmla="*/ 92573960 h 524"/>
              <a:gd name="T74" fmla="*/ 19829379 w 429"/>
              <a:gd name="T75" fmla="*/ 91474885 h 524"/>
              <a:gd name="T76" fmla="*/ 21926632 w 429"/>
              <a:gd name="T77" fmla="*/ 93947150 h 524"/>
              <a:gd name="T78" fmla="*/ 25739939 w 429"/>
              <a:gd name="T79" fmla="*/ 98617042 h 524"/>
              <a:gd name="T80" fmla="*/ 29362872 w 429"/>
              <a:gd name="T81" fmla="*/ 96419939 h 524"/>
              <a:gd name="T82" fmla="*/ 34511033 w 429"/>
              <a:gd name="T83" fmla="*/ 96969215 h 524"/>
              <a:gd name="T84" fmla="*/ 37942703 w 429"/>
              <a:gd name="T85" fmla="*/ 93397874 h 524"/>
              <a:gd name="T86" fmla="*/ 40040394 w 429"/>
              <a:gd name="T87" fmla="*/ 86530355 h 524"/>
              <a:gd name="T88" fmla="*/ 40612411 w 429"/>
              <a:gd name="T89" fmla="*/ 79662836 h 524"/>
              <a:gd name="T90" fmla="*/ 40993611 w 429"/>
              <a:gd name="T91" fmla="*/ 73894392 h 524"/>
              <a:gd name="T92" fmla="*/ 38324340 w 429"/>
              <a:gd name="T93" fmla="*/ 64829229 h 524"/>
              <a:gd name="T94" fmla="*/ 35845450 w 429"/>
              <a:gd name="T95" fmla="*/ 55764083 h 524"/>
              <a:gd name="T96" fmla="*/ 39468376 w 429"/>
              <a:gd name="T97" fmla="*/ 48621926 h 524"/>
              <a:gd name="T98" fmla="*/ 40040394 w 429"/>
              <a:gd name="T99" fmla="*/ 45050586 h 524"/>
              <a:gd name="T100" fmla="*/ 38133522 w 429"/>
              <a:gd name="T101" fmla="*/ 42578321 h 524"/>
              <a:gd name="T102" fmla="*/ 37561504 w 429"/>
              <a:gd name="T103" fmla="*/ 37633791 h 524"/>
              <a:gd name="T104" fmla="*/ 35845450 w 429"/>
              <a:gd name="T105" fmla="*/ 35436164 h 524"/>
              <a:gd name="T106" fmla="*/ 30697289 w 429"/>
              <a:gd name="T107" fmla="*/ 36260601 h 524"/>
              <a:gd name="T108" fmla="*/ 26121575 w 429"/>
              <a:gd name="T109" fmla="*/ 35985964 h 524"/>
              <a:gd name="T110" fmla="*/ 23833504 w 429"/>
              <a:gd name="T111" fmla="*/ 32689253 h 524"/>
              <a:gd name="T112" fmla="*/ 23452304 w 429"/>
              <a:gd name="T113" fmla="*/ 28293998 h 524"/>
              <a:gd name="T114" fmla="*/ 25167921 w 429"/>
              <a:gd name="T115" fmla="*/ 20877204 h 524"/>
              <a:gd name="T116" fmla="*/ 58344107 w 429"/>
              <a:gd name="T117" fmla="*/ 10438340 h 524"/>
              <a:gd name="T118" fmla="*/ 61585833 w 429"/>
              <a:gd name="T119" fmla="*/ 4669894 h 524"/>
              <a:gd name="T120" fmla="*/ 65399140 w 429"/>
              <a:gd name="T121" fmla="*/ 1922990 h 524"/>
              <a:gd name="T122" fmla="*/ 71309700 w 429"/>
              <a:gd name="T123" fmla="*/ 1373714 h 524"/>
              <a:gd name="T124" fmla="*/ 77792279 w 429"/>
              <a:gd name="T125" fmla="*/ 1098552 h 524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429"/>
              <a:gd name="T190" fmla="*/ 0 h 524"/>
              <a:gd name="T191" fmla="*/ 429 w 429"/>
              <a:gd name="T192" fmla="*/ 524 h 524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429" h="524">
                <a:moveTo>
                  <a:pt x="426" y="0"/>
                </a:moveTo>
                <a:lnTo>
                  <a:pt x="427" y="12"/>
                </a:lnTo>
                <a:lnTo>
                  <a:pt x="429" y="22"/>
                </a:lnTo>
                <a:lnTo>
                  <a:pt x="429" y="31"/>
                </a:lnTo>
                <a:lnTo>
                  <a:pt x="429" y="38"/>
                </a:lnTo>
                <a:lnTo>
                  <a:pt x="428" y="43"/>
                </a:lnTo>
                <a:lnTo>
                  <a:pt x="427" y="48"/>
                </a:lnTo>
                <a:lnTo>
                  <a:pt x="426" y="51"/>
                </a:lnTo>
                <a:lnTo>
                  <a:pt x="424" y="54"/>
                </a:lnTo>
                <a:lnTo>
                  <a:pt x="419" y="60"/>
                </a:lnTo>
                <a:lnTo>
                  <a:pt x="416" y="64"/>
                </a:lnTo>
                <a:lnTo>
                  <a:pt x="415" y="67"/>
                </a:lnTo>
                <a:lnTo>
                  <a:pt x="413" y="71"/>
                </a:lnTo>
                <a:lnTo>
                  <a:pt x="413" y="75"/>
                </a:lnTo>
                <a:lnTo>
                  <a:pt x="413" y="81"/>
                </a:lnTo>
                <a:lnTo>
                  <a:pt x="413" y="109"/>
                </a:lnTo>
                <a:lnTo>
                  <a:pt x="414" y="135"/>
                </a:lnTo>
                <a:lnTo>
                  <a:pt x="414" y="160"/>
                </a:lnTo>
                <a:lnTo>
                  <a:pt x="413" y="183"/>
                </a:lnTo>
                <a:lnTo>
                  <a:pt x="410" y="196"/>
                </a:lnTo>
                <a:lnTo>
                  <a:pt x="408" y="207"/>
                </a:lnTo>
                <a:lnTo>
                  <a:pt x="405" y="218"/>
                </a:lnTo>
                <a:lnTo>
                  <a:pt x="401" y="229"/>
                </a:lnTo>
                <a:lnTo>
                  <a:pt x="396" y="241"/>
                </a:lnTo>
                <a:lnTo>
                  <a:pt x="390" y="254"/>
                </a:lnTo>
                <a:lnTo>
                  <a:pt x="382" y="266"/>
                </a:lnTo>
                <a:lnTo>
                  <a:pt x="372" y="278"/>
                </a:lnTo>
                <a:lnTo>
                  <a:pt x="360" y="288"/>
                </a:lnTo>
                <a:lnTo>
                  <a:pt x="346" y="300"/>
                </a:lnTo>
                <a:lnTo>
                  <a:pt x="338" y="309"/>
                </a:lnTo>
                <a:lnTo>
                  <a:pt x="331" y="316"/>
                </a:lnTo>
                <a:lnTo>
                  <a:pt x="325" y="324"/>
                </a:lnTo>
                <a:lnTo>
                  <a:pt x="319" y="333"/>
                </a:lnTo>
                <a:lnTo>
                  <a:pt x="318" y="361"/>
                </a:lnTo>
                <a:lnTo>
                  <a:pt x="314" y="395"/>
                </a:lnTo>
                <a:lnTo>
                  <a:pt x="312" y="412"/>
                </a:lnTo>
                <a:lnTo>
                  <a:pt x="308" y="428"/>
                </a:lnTo>
                <a:lnTo>
                  <a:pt x="306" y="434"/>
                </a:lnTo>
                <a:lnTo>
                  <a:pt x="304" y="439"/>
                </a:lnTo>
                <a:lnTo>
                  <a:pt x="302" y="442"/>
                </a:lnTo>
                <a:lnTo>
                  <a:pt x="300" y="444"/>
                </a:lnTo>
                <a:lnTo>
                  <a:pt x="290" y="448"/>
                </a:lnTo>
                <a:lnTo>
                  <a:pt x="280" y="451"/>
                </a:lnTo>
                <a:lnTo>
                  <a:pt x="274" y="453"/>
                </a:lnTo>
                <a:lnTo>
                  <a:pt x="269" y="455"/>
                </a:lnTo>
                <a:lnTo>
                  <a:pt x="264" y="458"/>
                </a:lnTo>
                <a:lnTo>
                  <a:pt x="259" y="462"/>
                </a:lnTo>
                <a:lnTo>
                  <a:pt x="253" y="472"/>
                </a:lnTo>
                <a:lnTo>
                  <a:pt x="245" y="487"/>
                </a:lnTo>
                <a:lnTo>
                  <a:pt x="239" y="494"/>
                </a:lnTo>
                <a:lnTo>
                  <a:pt x="234" y="500"/>
                </a:lnTo>
                <a:lnTo>
                  <a:pt x="230" y="502"/>
                </a:lnTo>
                <a:lnTo>
                  <a:pt x="227" y="504"/>
                </a:lnTo>
                <a:lnTo>
                  <a:pt x="223" y="505"/>
                </a:lnTo>
                <a:lnTo>
                  <a:pt x="219" y="506"/>
                </a:lnTo>
                <a:lnTo>
                  <a:pt x="210" y="505"/>
                </a:lnTo>
                <a:lnTo>
                  <a:pt x="201" y="504"/>
                </a:lnTo>
                <a:lnTo>
                  <a:pt x="196" y="503"/>
                </a:lnTo>
                <a:lnTo>
                  <a:pt x="192" y="501"/>
                </a:lnTo>
                <a:lnTo>
                  <a:pt x="189" y="498"/>
                </a:lnTo>
                <a:lnTo>
                  <a:pt x="186" y="494"/>
                </a:lnTo>
                <a:lnTo>
                  <a:pt x="166" y="496"/>
                </a:lnTo>
                <a:lnTo>
                  <a:pt x="145" y="500"/>
                </a:lnTo>
                <a:lnTo>
                  <a:pt x="135" y="502"/>
                </a:lnTo>
                <a:lnTo>
                  <a:pt x="126" y="501"/>
                </a:lnTo>
                <a:lnTo>
                  <a:pt x="123" y="500"/>
                </a:lnTo>
                <a:lnTo>
                  <a:pt x="119" y="499"/>
                </a:lnTo>
                <a:lnTo>
                  <a:pt x="116" y="497"/>
                </a:lnTo>
                <a:lnTo>
                  <a:pt x="113" y="494"/>
                </a:lnTo>
                <a:lnTo>
                  <a:pt x="106" y="493"/>
                </a:lnTo>
                <a:lnTo>
                  <a:pt x="100" y="493"/>
                </a:lnTo>
                <a:lnTo>
                  <a:pt x="95" y="493"/>
                </a:lnTo>
                <a:lnTo>
                  <a:pt x="91" y="494"/>
                </a:lnTo>
                <a:lnTo>
                  <a:pt x="83" y="497"/>
                </a:lnTo>
                <a:lnTo>
                  <a:pt x="78" y="502"/>
                </a:lnTo>
                <a:lnTo>
                  <a:pt x="73" y="507"/>
                </a:lnTo>
                <a:lnTo>
                  <a:pt x="68" y="513"/>
                </a:lnTo>
                <a:lnTo>
                  <a:pt x="62" y="519"/>
                </a:lnTo>
                <a:lnTo>
                  <a:pt x="54" y="524"/>
                </a:lnTo>
                <a:lnTo>
                  <a:pt x="39" y="507"/>
                </a:lnTo>
                <a:lnTo>
                  <a:pt x="27" y="491"/>
                </a:lnTo>
                <a:lnTo>
                  <a:pt x="14" y="474"/>
                </a:lnTo>
                <a:lnTo>
                  <a:pt x="0" y="456"/>
                </a:lnTo>
                <a:lnTo>
                  <a:pt x="6" y="447"/>
                </a:lnTo>
                <a:lnTo>
                  <a:pt x="13" y="440"/>
                </a:lnTo>
                <a:lnTo>
                  <a:pt x="18" y="434"/>
                </a:lnTo>
                <a:lnTo>
                  <a:pt x="25" y="430"/>
                </a:lnTo>
                <a:lnTo>
                  <a:pt x="31" y="427"/>
                </a:lnTo>
                <a:lnTo>
                  <a:pt x="36" y="425"/>
                </a:lnTo>
                <a:lnTo>
                  <a:pt x="42" y="424"/>
                </a:lnTo>
                <a:lnTo>
                  <a:pt x="46" y="424"/>
                </a:lnTo>
                <a:lnTo>
                  <a:pt x="55" y="425"/>
                </a:lnTo>
                <a:lnTo>
                  <a:pt x="61" y="428"/>
                </a:lnTo>
                <a:lnTo>
                  <a:pt x="65" y="431"/>
                </a:lnTo>
                <a:lnTo>
                  <a:pt x="67" y="432"/>
                </a:lnTo>
                <a:lnTo>
                  <a:pt x="58" y="418"/>
                </a:lnTo>
                <a:lnTo>
                  <a:pt x="51" y="405"/>
                </a:lnTo>
                <a:lnTo>
                  <a:pt x="47" y="395"/>
                </a:lnTo>
                <a:lnTo>
                  <a:pt x="45" y="386"/>
                </a:lnTo>
                <a:lnTo>
                  <a:pt x="45" y="378"/>
                </a:lnTo>
                <a:lnTo>
                  <a:pt x="45" y="372"/>
                </a:lnTo>
                <a:lnTo>
                  <a:pt x="47" y="366"/>
                </a:lnTo>
                <a:lnTo>
                  <a:pt x="50" y="362"/>
                </a:lnTo>
                <a:lnTo>
                  <a:pt x="54" y="359"/>
                </a:lnTo>
                <a:lnTo>
                  <a:pt x="57" y="356"/>
                </a:lnTo>
                <a:lnTo>
                  <a:pt x="61" y="354"/>
                </a:lnTo>
                <a:lnTo>
                  <a:pt x="65" y="353"/>
                </a:lnTo>
                <a:lnTo>
                  <a:pt x="71" y="352"/>
                </a:lnTo>
                <a:lnTo>
                  <a:pt x="73" y="351"/>
                </a:lnTo>
                <a:lnTo>
                  <a:pt x="81" y="343"/>
                </a:lnTo>
                <a:lnTo>
                  <a:pt x="89" y="337"/>
                </a:lnTo>
                <a:lnTo>
                  <a:pt x="94" y="334"/>
                </a:lnTo>
                <a:lnTo>
                  <a:pt x="100" y="333"/>
                </a:lnTo>
                <a:lnTo>
                  <a:pt x="104" y="333"/>
                </a:lnTo>
                <a:lnTo>
                  <a:pt x="109" y="335"/>
                </a:lnTo>
                <a:lnTo>
                  <a:pt x="112" y="339"/>
                </a:lnTo>
                <a:lnTo>
                  <a:pt x="115" y="342"/>
                </a:lnTo>
                <a:lnTo>
                  <a:pt x="123" y="350"/>
                </a:lnTo>
                <a:lnTo>
                  <a:pt x="130" y="356"/>
                </a:lnTo>
                <a:lnTo>
                  <a:pt x="135" y="359"/>
                </a:lnTo>
                <a:lnTo>
                  <a:pt x="140" y="359"/>
                </a:lnTo>
                <a:lnTo>
                  <a:pt x="146" y="356"/>
                </a:lnTo>
                <a:lnTo>
                  <a:pt x="154" y="351"/>
                </a:lnTo>
                <a:lnTo>
                  <a:pt x="163" y="354"/>
                </a:lnTo>
                <a:lnTo>
                  <a:pt x="172" y="354"/>
                </a:lnTo>
                <a:lnTo>
                  <a:pt x="181" y="353"/>
                </a:lnTo>
                <a:lnTo>
                  <a:pt x="188" y="350"/>
                </a:lnTo>
                <a:lnTo>
                  <a:pt x="193" y="345"/>
                </a:lnTo>
                <a:lnTo>
                  <a:pt x="199" y="340"/>
                </a:lnTo>
                <a:lnTo>
                  <a:pt x="202" y="334"/>
                </a:lnTo>
                <a:lnTo>
                  <a:pt x="205" y="328"/>
                </a:lnTo>
                <a:lnTo>
                  <a:pt x="210" y="315"/>
                </a:lnTo>
                <a:lnTo>
                  <a:pt x="212" y="302"/>
                </a:lnTo>
                <a:lnTo>
                  <a:pt x="213" y="293"/>
                </a:lnTo>
                <a:lnTo>
                  <a:pt x="213" y="290"/>
                </a:lnTo>
                <a:lnTo>
                  <a:pt x="215" y="283"/>
                </a:lnTo>
                <a:lnTo>
                  <a:pt x="215" y="276"/>
                </a:lnTo>
                <a:lnTo>
                  <a:pt x="215" y="269"/>
                </a:lnTo>
                <a:lnTo>
                  <a:pt x="213" y="262"/>
                </a:lnTo>
                <a:lnTo>
                  <a:pt x="208" y="249"/>
                </a:lnTo>
                <a:lnTo>
                  <a:pt x="201" y="236"/>
                </a:lnTo>
                <a:lnTo>
                  <a:pt x="186" y="217"/>
                </a:lnTo>
                <a:lnTo>
                  <a:pt x="180" y="210"/>
                </a:lnTo>
                <a:lnTo>
                  <a:pt x="188" y="203"/>
                </a:lnTo>
                <a:lnTo>
                  <a:pt x="202" y="187"/>
                </a:lnTo>
                <a:lnTo>
                  <a:pt x="205" y="182"/>
                </a:lnTo>
                <a:lnTo>
                  <a:pt x="207" y="177"/>
                </a:lnTo>
                <a:lnTo>
                  <a:pt x="210" y="173"/>
                </a:lnTo>
                <a:lnTo>
                  <a:pt x="211" y="168"/>
                </a:lnTo>
                <a:lnTo>
                  <a:pt x="210" y="164"/>
                </a:lnTo>
                <a:lnTo>
                  <a:pt x="208" y="161"/>
                </a:lnTo>
                <a:lnTo>
                  <a:pt x="205" y="157"/>
                </a:lnTo>
                <a:lnTo>
                  <a:pt x="200" y="155"/>
                </a:lnTo>
                <a:lnTo>
                  <a:pt x="200" y="148"/>
                </a:lnTo>
                <a:lnTo>
                  <a:pt x="200" y="142"/>
                </a:lnTo>
                <a:lnTo>
                  <a:pt x="197" y="137"/>
                </a:lnTo>
                <a:lnTo>
                  <a:pt x="195" y="133"/>
                </a:lnTo>
                <a:lnTo>
                  <a:pt x="192" y="131"/>
                </a:lnTo>
                <a:lnTo>
                  <a:pt x="188" y="129"/>
                </a:lnTo>
                <a:lnTo>
                  <a:pt x="183" y="129"/>
                </a:lnTo>
                <a:lnTo>
                  <a:pt x="179" y="129"/>
                </a:lnTo>
                <a:lnTo>
                  <a:pt x="161" y="132"/>
                </a:lnTo>
                <a:lnTo>
                  <a:pt x="154" y="137"/>
                </a:lnTo>
                <a:lnTo>
                  <a:pt x="144" y="134"/>
                </a:lnTo>
                <a:lnTo>
                  <a:pt x="137" y="131"/>
                </a:lnTo>
                <a:lnTo>
                  <a:pt x="132" y="128"/>
                </a:lnTo>
                <a:lnTo>
                  <a:pt x="127" y="124"/>
                </a:lnTo>
                <a:lnTo>
                  <a:pt x="125" y="119"/>
                </a:lnTo>
                <a:lnTo>
                  <a:pt x="123" y="114"/>
                </a:lnTo>
                <a:lnTo>
                  <a:pt x="123" y="109"/>
                </a:lnTo>
                <a:lnTo>
                  <a:pt x="123" y="103"/>
                </a:lnTo>
                <a:lnTo>
                  <a:pt x="125" y="93"/>
                </a:lnTo>
                <a:lnTo>
                  <a:pt x="128" y="84"/>
                </a:lnTo>
                <a:lnTo>
                  <a:pt x="132" y="76"/>
                </a:lnTo>
                <a:lnTo>
                  <a:pt x="133" y="74"/>
                </a:lnTo>
                <a:lnTo>
                  <a:pt x="293" y="105"/>
                </a:lnTo>
                <a:lnTo>
                  <a:pt x="306" y="38"/>
                </a:lnTo>
                <a:lnTo>
                  <a:pt x="311" y="30"/>
                </a:lnTo>
                <a:lnTo>
                  <a:pt x="317" y="22"/>
                </a:lnTo>
                <a:lnTo>
                  <a:pt x="323" y="17"/>
                </a:lnTo>
                <a:lnTo>
                  <a:pt x="329" y="12"/>
                </a:lnTo>
                <a:lnTo>
                  <a:pt x="336" y="9"/>
                </a:lnTo>
                <a:lnTo>
                  <a:pt x="343" y="7"/>
                </a:lnTo>
                <a:lnTo>
                  <a:pt x="350" y="6"/>
                </a:lnTo>
                <a:lnTo>
                  <a:pt x="358" y="5"/>
                </a:lnTo>
                <a:lnTo>
                  <a:pt x="374" y="5"/>
                </a:lnTo>
                <a:lnTo>
                  <a:pt x="391" y="4"/>
                </a:lnTo>
                <a:lnTo>
                  <a:pt x="399" y="4"/>
                </a:lnTo>
                <a:lnTo>
                  <a:pt x="408" y="4"/>
                </a:lnTo>
                <a:lnTo>
                  <a:pt x="417" y="2"/>
                </a:lnTo>
                <a:lnTo>
                  <a:pt x="426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54" name="Freeform 452"/>
          <p:cNvSpPr>
            <a:spLocks/>
          </p:cNvSpPr>
          <p:nvPr userDrawn="1">
            <p:custDataLst>
              <p:tags r:id="rId289"/>
            </p:custDataLst>
          </p:nvPr>
        </p:nvSpPr>
        <p:spPr bwMode="auto">
          <a:xfrm>
            <a:off x="4349751" y="1832372"/>
            <a:ext cx="127000" cy="85725"/>
          </a:xfrm>
          <a:custGeom>
            <a:avLst/>
            <a:gdLst>
              <a:gd name="T0" fmla="*/ 48993723 w 292"/>
              <a:gd name="T1" fmla="*/ 24432523 h 223"/>
              <a:gd name="T2" fmla="*/ 31401620 w 292"/>
              <a:gd name="T3" fmla="*/ 20229052 h 223"/>
              <a:gd name="T4" fmla="*/ 28753323 w 292"/>
              <a:gd name="T5" fmla="*/ 20754422 h 223"/>
              <a:gd name="T6" fmla="*/ 26293780 w 292"/>
              <a:gd name="T7" fmla="*/ 20754422 h 223"/>
              <a:gd name="T8" fmla="*/ 23834678 w 292"/>
              <a:gd name="T9" fmla="*/ 20229052 h 223"/>
              <a:gd name="T10" fmla="*/ 22510747 w 292"/>
              <a:gd name="T11" fmla="*/ 24432523 h 223"/>
              <a:gd name="T12" fmla="*/ 27239756 w 292"/>
              <a:gd name="T13" fmla="*/ 34415583 h 223"/>
              <a:gd name="T14" fmla="*/ 31779576 w 292"/>
              <a:gd name="T15" fmla="*/ 41245903 h 223"/>
              <a:gd name="T16" fmla="*/ 35752238 w 292"/>
              <a:gd name="T17" fmla="*/ 48602105 h 223"/>
              <a:gd name="T18" fmla="*/ 37265364 w 292"/>
              <a:gd name="T19" fmla="*/ 53068005 h 223"/>
              <a:gd name="T20" fmla="*/ 38778925 w 292"/>
              <a:gd name="T21" fmla="*/ 58322216 h 223"/>
              <a:gd name="T22" fmla="*/ 33103942 w 292"/>
              <a:gd name="T23" fmla="*/ 58585157 h 223"/>
              <a:gd name="T24" fmla="*/ 30455645 w 292"/>
              <a:gd name="T25" fmla="*/ 58322216 h 223"/>
              <a:gd name="T26" fmla="*/ 27618146 w 292"/>
              <a:gd name="T27" fmla="*/ 56746106 h 223"/>
              <a:gd name="T28" fmla="*/ 25348239 w 292"/>
              <a:gd name="T29" fmla="*/ 54907056 h 223"/>
              <a:gd name="T30" fmla="*/ 24023873 w 292"/>
              <a:gd name="T31" fmla="*/ 52017265 h 223"/>
              <a:gd name="T32" fmla="*/ 22889138 w 292"/>
              <a:gd name="T33" fmla="*/ 49127475 h 223"/>
              <a:gd name="T34" fmla="*/ 21375577 w 292"/>
              <a:gd name="T35" fmla="*/ 47288425 h 223"/>
              <a:gd name="T36" fmla="*/ 17214154 w 292"/>
              <a:gd name="T37" fmla="*/ 38093684 h 223"/>
              <a:gd name="T38" fmla="*/ 12863097 w 292"/>
              <a:gd name="T39" fmla="*/ 29686734 h 223"/>
              <a:gd name="T40" fmla="*/ 10403996 w 292"/>
              <a:gd name="T41" fmla="*/ 26008633 h 223"/>
              <a:gd name="T42" fmla="*/ 7944894 w 292"/>
              <a:gd name="T43" fmla="*/ 22855901 h 223"/>
              <a:gd name="T44" fmla="*/ 5107400 w 292"/>
              <a:gd name="T45" fmla="*/ 20754422 h 223"/>
              <a:gd name="T46" fmla="*/ 2459103 w 292"/>
              <a:gd name="T47" fmla="*/ 19703682 h 223"/>
              <a:gd name="T48" fmla="*/ 756781 w 292"/>
              <a:gd name="T49" fmla="*/ 17076321 h 223"/>
              <a:gd name="T50" fmla="*/ 189195 w 292"/>
              <a:gd name="T51" fmla="*/ 15237266 h 223"/>
              <a:gd name="T52" fmla="*/ 0 w 292"/>
              <a:gd name="T53" fmla="*/ 12872846 h 223"/>
              <a:gd name="T54" fmla="*/ 7566504 w 292"/>
              <a:gd name="T55" fmla="*/ 14449468 h 223"/>
              <a:gd name="T56" fmla="*/ 13241488 w 292"/>
              <a:gd name="T57" fmla="*/ 14449468 h 223"/>
              <a:gd name="T58" fmla="*/ 17214154 w 292"/>
              <a:gd name="T59" fmla="*/ 13135787 h 223"/>
              <a:gd name="T60" fmla="*/ 20051646 w 292"/>
              <a:gd name="T61" fmla="*/ 10771367 h 223"/>
              <a:gd name="T62" fmla="*/ 24023873 w 292"/>
              <a:gd name="T63" fmla="*/ 5254213 h 223"/>
              <a:gd name="T64" fmla="*/ 26105020 w 292"/>
              <a:gd name="T65" fmla="*/ 2364421 h 223"/>
              <a:gd name="T66" fmla="*/ 28753323 w 292"/>
              <a:gd name="T67" fmla="*/ 0 h 223"/>
              <a:gd name="T68" fmla="*/ 32536356 w 292"/>
              <a:gd name="T69" fmla="*/ 3678102 h 223"/>
              <a:gd name="T70" fmla="*/ 36698214 w 292"/>
              <a:gd name="T71" fmla="*/ 6830322 h 223"/>
              <a:gd name="T72" fmla="*/ 41238027 w 292"/>
              <a:gd name="T73" fmla="*/ 8932316 h 223"/>
              <a:gd name="T74" fmla="*/ 46534621 w 292"/>
              <a:gd name="T75" fmla="*/ 9720627 h 223"/>
              <a:gd name="T76" fmla="*/ 49561308 w 292"/>
              <a:gd name="T77" fmla="*/ 8932316 h 223"/>
              <a:gd name="T78" fmla="*/ 52777190 w 292"/>
              <a:gd name="T79" fmla="*/ 8144003 h 223"/>
              <a:gd name="T80" fmla="*/ 53911926 w 292"/>
              <a:gd name="T81" fmla="*/ 12347476 h 223"/>
              <a:gd name="T82" fmla="*/ 54290316 w 292"/>
              <a:gd name="T83" fmla="*/ 12872846 h 223"/>
              <a:gd name="T84" fmla="*/ 55236292 w 292"/>
              <a:gd name="T85" fmla="*/ 18127060 h 22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92"/>
              <a:gd name="T130" fmla="*/ 0 h 223"/>
              <a:gd name="T131" fmla="*/ 292 w 292"/>
              <a:gd name="T132" fmla="*/ 223 h 223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92" h="223">
                <a:moveTo>
                  <a:pt x="292" y="69"/>
                </a:moveTo>
                <a:lnTo>
                  <a:pt x="259" y="93"/>
                </a:lnTo>
                <a:lnTo>
                  <a:pt x="172" y="75"/>
                </a:lnTo>
                <a:lnTo>
                  <a:pt x="166" y="77"/>
                </a:lnTo>
                <a:lnTo>
                  <a:pt x="159" y="78"/>
                </a:lnTo>
                <a:lnTo>
                  <a:pt x="152" y="79"/>
                </a:lnTo>
                <a:lnTo>
                  <a:pt x="146" y="79"/>
                </a:lnTo>
                <a:lnTo>
                  <a:pt x="139" y="79"/>
                </a:lnTo>
                <a:lnTo>
                  <a:pt x="133" y="78"/>
                </a:lnTo>
                <a:lnTo>
                  <a:pt x="126" y="77"/>
                </a:lnTo>
                <a:lnTo>
                  <a:pt x="119" y="75"/>
                </a:lnTo>
                <a:lnTo>
                  <a:pt x="119" y="93"/>
                </a:lnTo>
                <a:lnTo>
                  <a:pt x="132" y="113"/>
                </a:lnTo>
                <a:lnTo>
                  <a:pt x="144" y="131"/>
                </a:lnTo>
                <a:lnTo>
                  <a:pt x="156" y="145"/>
                </a:lnTo>
                <a:lnTo>
                  <a:pt x="168" y="157"/>
                </a:lnTo>
                <a:lnTo>
                  <a:pt x="179" y="170"/>
                </a:lnTo>
                <a:lnTo>
                  <a:pt x="189" y="185"/>
                </a:lnTo>
                <a:lnTo>
                  <a:pt x="193" y="193"/>
                </a:lnTo>
                <a:lnTo>
                  <a:pt x="197" y="202"/>
                </a:lnTo>
                <a:lnTo>
                  <a:pt x="202" y="211"/>
                </a:lnTo>
                <a:lnTo>
                  <a:pt x="205" y="222"/>
                </a:lnTo>
                <a:lnTo>
                  <a:pt x="191" y="223"/>
                </a:lnTo>
                <a:lnTo>
                  <a:pt x="175" y="223"/>
                </a:lnTo>
                <a:lnTo>
                  <a:pt x="168" y="223"/>
                </a:lnTo>
                <a:lnTo>
                  <a:pt x="161" y="222"/>
                </a:lnTo>
                <a:lnTo>
                  <a:pt x="154" y="220"/>
                </a:lnTo>
                <a:lnTo>
                  <a:pt x="146" y="216"/>
                </a:lnTo>
                <a:lnTo>
                  <a:pt x="139" y="213"/>
                </a:lnTo>
                <a:lnTo>
                  <a:pt x="134" y="209"/>
                </a:lnTo>
                <a:lnTo>
                  <a:pt x="130" y="203"/>
                </a:lnTo>
                <a:lnTo>
                  <a:pt x="127" y="198"/>
                </a:lnTo>
                <a:lnTo>
                  <a:pt x="124" y="192"/>
                </a:lnTo>
                <a:lnTo>
                  <a:pt x="121" y="187"/>
                </a:lnTo>
                <a:lnTo>
                  <a:pt x="117" y="183"/>
                </a:lnTo>
                <a:lnTo>
                  <a:pt x="113" y="180"/>
                </a:lnTo>
                <a:lnTo>
                  <a:pt x="102" y="162"/>
                </a:lnTo>
                <a:lnTo>
                  <a:pt x="91" y="145"/>
                </a:lnTo>
                <a:lnTo>
                  <a:pt x="80" y="129"/>
                </a:lnTo>
                <a:lnTo>
                  <a:pt x="68" y="113"/>
                </a:lnTo>
                <a:lnTo>
                  <a:pt x="61" y="105"/>
                </a:lnTo>
                <a:lnTo>
                  <a:pt x="55" y="99"/>
                </a:lnTo>
                <a:lnTo>
                  <a:pt x="48" y="93"/>
                </a:lnTo>
                <a:lnTo>
                  <a:pt x="42" y="87"/>
                </a:lnTo>
                <a:lnTo>
                  <a:pt x="35" y="83"/>
                </a:lnTo>
                <a:lnTo>
                  <a:pt x="27" y="79"/>
                </a:lnTo>
                <a:lnTo>
                  <a:pt x="21" y="76"/>
                </a:lnTo>
                <a:lnTo>
                  <a:pt x="13" y="75"/>
                </a:lnTo>
                <a:lnTo>
                  <a:pt x="9" y="70"/>
                </a:lnTo>
                <a:lnTo>
                  <a:pt x="4" y="65"/>
                </a:lnTo>
                <a:lnTo>
                  <a:pt x="2" y="62"/>
                </a:lnTo>
                <a:lnTo>
                  <a:pt x="1" y="58"/>
                </a:lnTo>
                <a:lnTo>
                  <a:pt x="0" y="54"/>
                </a:lnTo>
                <a:lnTo>
                  <a:pt x="0" y="49"/>
                </a:lnTo>
                <a:lnTo>
                  <a:pt x="22" y="53"/>
                </a:lnTo>
                <a:lnTo>
                  <a:pt x="40" y="55"/>
                </a:lnTo>
                <a:lnTo>
                  <a:pt x="57" y="56"/>
                </a:lnTo>
                <a:lnTo>
                  <a:pt x="70" y="55"/>
                </a:lnTo>
                <a:lnTo>
                  <a:pt x="82" y="53"/>
                </a:lnTo>
                <a:lnTo>
                  <a:pt x="91" y="50"/>
                </a:lnTo>
                <a:lnTo>
                  <a:pt x="99" y="46"/>
                </a:lnTo>
                <a:lnTo>
                  <a:pt x="106" y="41"/>
                </a:lnTo>
                <a:lnTo>
                  <a:pt x="117" y="31"/>
                </a:lnTo>
                <a:lnTo>
                  <a:pt x="127" y="20"/>
                </a:lnTo>
                <a:lnTo>
                  <a:pt x="132" y="14"/>
                </a:lnTo>
                <a:lnTo>
                  <a:pt x="138" y="9"/>
                </a:lnTo>
                <a:lnTo>
                  <a:pt x="145" y="4"/>
                </a:lnTo>
                <a:lnTo>
                  <a:pt x="152" y="0"/>
                </a:lnTo>
                <a:lnTo>
                  <a:pt x="162" y="8"/>
                </a:lnTo>
                <a:lnTo>
                  <a:pt x="172" y="14"/>
                </a:lnTo>
                <a:lnTo>
                  <a:pt x="183" y="21"/>
                </a:lnTo>
                <a:lnTo>
                  <a:pt x="194" y="26"/>
                </a:lnTo>
                <a:lnTo>
                  <a:pt x="205" y="31"/>
                </a:lnTo>
                <a:lnTo>
                  <a:pt x="218" y="34"/>
                </a:lnTo>
                <a:lnTo>
                  <a:pt x="231" y="37"/>
                </a:lnTo>
                <a:lnTo>
                  <a:pt x="246" y="37"/>
                </a:lnTo>
                <a:lnTo>
                  <a:pt x="255" y="36"/>
                </a:lnTo>
                <a:lnTo>
                  <a:pt x="262" y="34"/>
                </a:lnTo>
                <a:lnTo>
                  <a:pt x="270" y="32"/>
                </a:lnTo>
                <a:lnTo>
                  <a:pt x="279" y="31"/>
                </a:lnTo>
                <a:lnTo>
                  <a:pt x="283" y="42"/>
                </a:lnTo>
                <a:lnTo>
                  <a:pt x="285" y="47"/>
                </a:lnTo>
                <a:lnTo>
                  <a:pt x="287" y="49"/>
                </a:lnTo>
                <a:lnTo>
                  <a:pt x="289" y="52"/>
                </a:lnTo>
                <a:lnTo>
                  <a:pt x="292" y="69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55" name="Freeform 453"/>
          <p:cNvSpPr>
            <a:spLocks/>
          </p:cNvSpPr>
          <p:nvPr userDrawn="1">
            <p:custDataLst>
              <p:tags r:id="rId290"/>
            </p:custDataLst>
          </p:nvPr>
        </p:nvSpPr>
        <p:spPr bwMode="auto">
          <a:xfrm>
            <a:off x="4300547" y="1726406"/>
            <a:ext cx="168275" cy="58341"/>
          </a:xfrm>
          <a:custGeom>
            <a:avLst/>
            <a:gdLst>
              <a:gd name="T0" fmla="*/ 73925121 w 379"/>
              <a:gd name="T1" fmla="*/ 26321975 h 147"/>
              <a:gd name="T2" fmla="*/ 70968099 w 379"/>
              <a:gd name="T3" fmla="*/ 28282020 h 147"/>
              <a:gd name="T4" fmla="*/ 69785291 w 379"/>
              <a:gd name="T5" fmla="*/ 30242065 h 147"/>
              <a:gd name="T6" fmla="*/ 68405347 w 379"/>
              <a:gd name="T7" fmla="*/ 32762501 h 147"/>
              <a:gd name="T8" fmla="*/ 65645460 w 379"/>
              <a:gd name="T9" fmla="*/ 35562876 h 147"/>
              <a:gd name="T10" fmla="*/ 63082709 w 379"/>
              <a:gd name="T11" fmla="*/ 36682600 h 147"/>
              <a:gd name="T12" fmla="*/ 61308496 w 379"/>
              <a:gd name="T13" fmla="*/ 36962530 h 147"/>
              <a:gd name="T14" fmla="*/ 59337148 w 379"/>
              <a:gd name="T15" fmla="*/ 36402669 h 147"/>
              <a:gd name="T16" fmla="*/ 57365786 w 379"/>
              <a:gd name="T17" fmla="*/ 35282416 h 147"/>
              <a:gd name="T18" fmla="*/ 55394439 w 379"/>
              <a:gd name="T19" fmla="*/ 33322363 h 147"/>
              <a:gd name="T20" fmla="*/ 54211630 w 379"/>
              <a:gd name="T21" fmla="*/ 32482570 h 147"/>
              <a:gd name="T22" fmla="*/ 53028822 w 379"/>
              <a:gd name="T23" fmla="*/ 33042432 h 147"/>
              <a:gd name="T24" fmla="*/ 52634552 w 379"/>
              <a:gd name="T25" fmla="*/ 34442615 h 147"/>
              <a:gd name="T26" fmla="*/ 52437417 w 379"/>
              <a:gd name="T27" fmla="*/ 39203036 h 147"/>
              <a:gd name="T28" fmla="*/ 50663204 w 379"/>
              <a:gd name="T29" fmla="*/ 40603219 h 147"/>
              <a:gd name="T30" fmla="*/ 48100453 w 379"/>
              <a:gd name="T31" fmla="*/ 39203036 h 147"/>
              <a:gd name="T32" fmla="*/ 45143431 w 379"/>
              <a:gd name="T33" fmla="*/ 36682600 h 147"/>
              <a:gd name="T34" fmla="*/ 22276235 w 379"/>
              <a:gd name="T35" fmla="*/ 39482966 h 147"/>
              <a:gd name="T36" fmla="*/ 15770788 w 379"/>
              <a:gd name="T37" fmla="*/ 34722554 h 147"/>
              <a:gd name="T38" fmla="*/ 11433820 w 379"/>
              <a:gd name="T39" fmla="*/ 30522525 h 147"/>
              <a:gd name="T40" fmla="*/ 8871068 w 379"/>
              <a:gd name="T41" fmla="*/ 26321975 h 147"/>
              <a:gd name="T42" fmla="*/ 7293990 w 379"/>
              <a:gd name="T43" fmla="*/ 22961746 h 147"/>
              <a:gd name="T44" fmla="*/ 5125506 w 379"/>
              <a:gd name="T45" fmla="*/ 16521216 h 147"/>
              <a:gd name="T46" fmla="*/ 3154157 w 379"/>
              <a:gd name="T47" fmla="*/ 13440918 h 147"/>
              <a:gd name="T48" fmla="*/ 0 w 379"/>
              <a:gd name="T49" fmla="*/ 10080690 h 147"/>
              <a:gd name="T50" fmla="*/ 5716910 w 379"/>
              <a:gd name="T51" fmla="*/ 11200942 h 147"/>
              <a:gd name="T52" fmla="*/ 10251011 w 379"/>
              <a:gd name="T53" fmla="*/ 10640551 h 147"/>
              <a:gd name="T54" fmla="*/ 14193707 w 379"/>
              <a:gd name="T55" fmla="*/ 9240897 h 147"/>
              <a:gd name="T56" fmla="*/ 17150731 w 379"/>
              <a:gd name="T57" fmla="*/ 7000390 h 147"/>
              <a:gd name="T58" fmla="*/ 23459044 w 379"/>
              <a:gd name="T59" fmla="*/ 2239977 h 147"/>
              <a:gd name="T60" fmla="*/ 27204605 w 379"/>
              <a:gd name="T61" fmla="*/ 559862 h 147"/>
              <a:gd name="T62" fmla="*/ 31344442 w 379"/>
              <a:gd name="T63" fmla="*/ 0 h 147"/>
              <a:gd name="T64" fmla="*/ 39426523 w 379"/>
              <a:gd name="T65" fmla="*/ 6440528 h 147"/>
              <a:gd name="T66" fmla="*/ 48100453 w 379"/>
              <a:gd name="T67" fmla="*/ 12601126 h 147"/>
              <a:gd name="T68" fmla="*/ 57562921 w 379"/>
              <a:gd name="T69" fmla="*/ 18761196 h 147"/>
              <a:gd name="T70" fmla="*/ 65645460 w 379"/>
              <a:gd name="T71" fmla="*/ 22401885 h 147"/>
              <a:gd name="T72" fmla="*/ 69785291 w 379"/>
              <a:gd name="T73" fmla="*/ 24081999 h 147"/>
              <a:gd name="T74" fmla="*/ 74713660 w 379"/>
              <a:gd name="T75" fmla="*/ 25762113 h 14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379"/>
              <a:gd name="T115" fmla="*/ 0 h 147"/>
              <a:gd name="T116" fmla="*/ 379 w 379"/>
              <a:gd name="T117" fmla="*/ 147 h 147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379" h="147">
                <a:moveTo>
                  <a:pt x="379" y="92"/>
                </a:moveTo>
                <a:lnTo>
                  <a:pt x="375" y="94"/>
                </a:lnTo>
                <a:lnTo>
                  <a:pt x="366" y="98"/>
                </a:lnTo>
                <a:lnTo>
                  <a:pt x="360" y="101"/>
                </a:lnTo>
                <a:lnTo>
                  <a:pt x="357" y="105"/>
                </a:lnTo>
                <a:lnTo>
                  <a:pt x="354" y="108"/>
                </a:lnTo>
                <a:lnTo>
                  <a:pt x="353" y="111"/>
                </a:lnTo>
                <a:lnTo>
                  <a:pt x="347" y="117"/>
                </a:lnTo>
                <a:lnTo>
                  <a:pt x="341" y="123"/>
                </a:lnTo>
                <a:lnTo>
                  <a:pt x="333" y="127"/>
                </a:lnTo>
                <a:lnTo>
                  <a:pt x="324" y="130"/>
                </a:lnTo>
                <a:lnTo>
                  <a:pt x="320" y="131"/>
                </a:lnTo>
                <a:lnTo>
                  <a:pt x="315" y="132"/>
                </a:lnTo>
                <a:lnTo>
                  <a:pt x="311" y="132"/>
                </a:lnTo>
                <a:lnTo>
                  <a:pt x="306" y="131"/>
                </a:lnTo>
                <a:lnTo>
                  <a:pt x="301" y="130"/>
                </a:lnTo>
                <a:lnTo>
                  <a:pt x="296" y="128"/>
                </a:lnTo>
                <a:lnTo>
                  <a:pt x="291" y="126"/>
                </a:lnTo>
                <a:lnTo>
                  <a:pt x="286" y="123"/>
                </a:lnTo>
                <a:lnTo>
                  <a:pt x="281" y="119"/>
                </a:lnTo>
                <a:lnTo>
                  <a:pt x="277" y="117"/>
                </a:lnTo>
                <a:lnTo>
                  <a:pt x="275" y="116"/>
                </a:lnTo>
                <a:lnTo>
                  <a:pt x="271" y="116"/>
                </a:lnTo>
                <a:lnTo>
                  <a:pt x="269" y="118"/>
                </a:lnTo>
                <a:lnTo>
                  <a:pt x="268" y="120"/>
                </a:lnTo>
                <a:lnTo>
                  <a:pt x="267" y="123"/>
                </a:lnTo>
                <a:lnTo>
                  <a:pt x="266" y="126"/>
                </a:lnTo>
                <a:lnTo>
                  <a:pt x="266" y="140"/>
                </a:lnTo>
                <a:lnTo>
                  <a:pt x="266" y="147"/>
                </a:lnTo>
                <a:lnTo>
                  <a:pt x="257" y="145"/>
                </a:lnTo>
                <a:lnTo>
                  <a:pt x="251" y="143"/>
                </a:lnTo>
                <a:lnTo>
                  <a:pt x="244" y="140"/>
                </a:lnTo>
                <a:lnTo>
                  <a:pt x="240" y="137"/>
                </a:lnTo>
                <a:lnTo>
                  <a:pt x="229" y="131"/>
                </a:lnTo>
                <a:lnTo>
                  <a:pt x="213" y="123"/>
                </a:lnTo>
                <a:lnTo>
                  <a:pt x="113" y="141"/>
                </a:lnTo>
                <a:lnTo>
                  <a:pt x="95" y="132"/>
                </a:lnTo>
                <a:lnTo>
                  <a:pt x="80" y="124"/>
                </a:lnTo>
                <a:lnTo>
                  <a:pt x="68" y="116"/>
                </a:lnTo>
                <a:lnTo>
                  <a:pt x="58" y="109"/>
                </a:lnTo>
                <a:lnTo>
                  <a:pt x="51" y="101"/>
                </a:lnTo>
                <a:lnTo>
                  <a:pt x="45" y="94"/>
                </a:lnTo>
                <a:lnTo>
                  <a:pt x="40" y="88"/>
                </a:lnTo>
                <a:lnTo>
                  <a:pt x="37" y="82"/>
                </a:lnTo>
                <a:lnTo>
                  <a:pt x="31" y="70"/>
                </a:lnTo>
                <a:lnTo>
                  <a:pt x="26" y="59"/>
                </a:lnTo>
                <a:lnTo>
                  <a:pt x="21" y="54"/>
                </a:lnTo>
                <a:lnTo>
                  <a:pt x="16" y="48"/>
                </a:lnTo>
                <a:lnTo>
                  <a:pt x="9" y="42"/>
                </a:lnTo>
                <a:lnTo>
                  <a:pt x="0" y="36"/>
                </a:lnTo>
                <a:lnTo>
                  <a:pt x="16" y="39"/>
                </a:lnTo>
                <a:lnTo>
                  <a:pt x="29" y="40"/>
                </a:lnTo>
                <a:lnTo>
                  <a:pt x="41" y="40"/>
                </a:lnTo>
                <a:lnTo>
                  <a:pt x="52" y="38"/>
                </a:lnTo>
                <a:lnTo>
                  <a:pt x="62" y="36"/>
                </a:lnTo>
                <a:lnTo>
                  <a:pt x="72" y="33"/>
                </a:lnTo>
                <a:lnTo>
                  <a:pt x="79" y="29"/>
                </a:lnTo>
                <a:lnTo>
                  <a:pt x="87" y="25"/>
                </a:lnTo>
                <a:lnTo>
                  <a:pt x="102" y="16"/>
                </a:lnTo>
                <a:lnTo>
                  <a:pt x="119" y="8"/>
                </a:lnTo>
                <a:lnTo>
                  <a:pt x="128" y="5"/>
                </a:lnTo>
                <a:lnTo>
                  <a:pt x="138" y="2"/>
                </a:lnTo>
                <a:lnTo>
                  <a:pt x="149" y="1"/>
                </a:lnTo>
                <a:lnTo>
                  <a:pt x="159" y="0"/>
                </a:lnTo>
                <a:lnTo>
                  <a:pt x="179" y="11"/>
                </a:lnTo>
                <a:lnTo>
                  <a:pt x="200" y="23"/>
                </a:lnTo>
                <a:lnTo>
                  <a:pt x="222" y="34"/>
                </a:lnTo>
                <a:lnTo>
                  <a:pt x="244" y="45"/>
                </a:lnTo>
                <a:lnTo>
                  <a:pt x="278" y="61"/>
                </a:lnTo>
                <a:lnTo>
                  <a:pt x="292" y="67"/>
                </a:lnTo>
                <a:lnTo>
                  <a:pt x="314" y="73"/>
                </a:lnTo>
                <a:lnTo>
                  <a:pt x="333" y="80"/>
                </a:lnTo>
                <a:lnTo>
                  <a:pt x="343" y="83"/>
                </a:lnTo>
                <a:lnTo>
                  <a:pt x="354" y="86"/>
                </a:lnTo>
                <a:lnTo>
                  <a:pt x="365" y="89"/>
                </a:lnTo>
                <a:lnTo>
                  <a:pt x="379" y="92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56" name="Freeform 454"/>
          <p:cNvSpPr>
            <a:spLocks/>
          </p:cNvSpPr>
          <p:nvPr userDrawn="1">
            <p:custDataLst>
              <p:tags r:id="rId291"/>
            </p:custDataLst>
          </p:nvPr>
        </p:nvSpPr>
        <p:spPr bwMode="auto">
          <a:xfrm>
            <a:off x="4264026" y="1618071"/>
            <a:ext cx="30162" cy="45244"/>
          </a:xfrm>
          <a:custGeom>
            <a:avLst/>
            <a:gdLst>
              <a:gd name="T0" fmla="*/ 0 w 61"/>
              <a:gd name="T1" fmla="*/ 0 h 67"/>
              <a:gd name="T2" fmla="*/ 0 w 61"/>
              <a:gd name="T3" fmla="*/ 7295722 h 67"/>
              <a:gd name="T4" fmla="*/ 0 w 61"/>
              <a:gd name="T5" fmla="*/ 14592344 h 67"/>
              <a:gd name="T6" fmla="*/ 244263 w 61"/>
              <a:gd name="T7" fmla="*/ 19456161 h 67"/>
              <a:gd name="T8" fmla="*/ 489020 w 61"/>
              <a:gd name="T9" fmla="*/ 24319975 h 67"/>
              <a:gd name="T10" fmla="*/ 733283 w 61"/>
              <a:gd name="T11" fmla="*/ 29183788 h 67"/>
              <a:gd name="T12" fmla="*/ 1467060 w 61"/>
              <a:gd name="T13" fmla="*/ 34048509 h 67"/>
              <a:gd name="T14" fmla="*/ 2934120 w 61"/>
              <a:gd name="T15" fmla="*/ 44587372 h 67"/>
              <a:gd name="T16" fmla="*/ 5134463 w 61"/>
              <a:gd name="T17" fmla="*/ 54314999 h 67"/>
              <a:gd name="T18" fmla="*/ 6845785 w 61"/>
              <a:gd name="T19" fmla="*/ 52693427 h 67"/>
              <a:gd name="T20" fmla="*/ 8557109 w 61"/>
              <a:gd name="T21" fmla="*/ 49451185 h 67"/>
              <a:gd name="T22" fmla="*/ 10268432 w 61"/>
              <a:gd name="T23" fmla="*/ 47019278 h 67"/>
              <a:gd name="T24" fmla="*/ 11735491 w 61"/>
              <a:gd name="T25" fmla="*/ 42965800 h 67"/>
              <a:gd name="T26" fmla="*/ 12957794 w 61"/>
              <a:gd name="T27" fmla="*/ 38101987 h 67"/>
              <a:gd name="T28" fmla="*/ 13935833 w 61"/>
              <a:gd name="T29" fmla="*/ 32426938 h 67"/>
              <a:gd name="T30" fmla="*/ 14424853 w 61"/>
              <a:gd name="T31" fmla="*/ 25941546 h 67"/>
              <a:gd name="T32" fmla="*/ 14913873 w 61"/>
              <a:gd name="T33" fmla="*/ 19456161 h 67"/>
              <a:gd name="T34" fmla="*/ 12957794 w 61"/>
              <a:gd name="T35" fmla="*/ 11349202 h 67"/>
              <a:gd name="T36" fmla="*/ 10024169 w 61"/>
              <a:gd name="T37" fmla="*/ 0 h 67"/>
              <a:gd name="T38" fmla="*/ 6845785 w 61"/>
              <a:gd name="T39" fmla="*/ 2431908 h 67"/>
              <a:gd name="T40" fmla="*/ 4400686 w 61"/>
              <a:gd name="T41" fmla="*/ 3242243 h 67"/>
              <a:gd name="T42" fmla="*/ 3178383 w 61"/>
              <a:gd name="T43" fmla="*/ 3242243 h 67"/>
              <a:gd name="T44" fmla="*/ 2445100 w 61"/>
              <a:gd name="T45" fmla="*/ 2431908 h 67"/>
              <a:gd name="T46" fmla="*/ 1467060 w 61"/>
              <a:gd name="T47" fmla="*/ 1621572 h 67"/>
              <a:gd name="T48" fmla="*/ 0 w 61"/>
              <a:gd name="T49" fmla="*/ 0 h 67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61"/>
              <a:gd name="T76" fmla="*/ 0 h 67"/>
              <a:gd name="T77" fmla="*/ 61 w 61"/>
              <a:gd name="T78" fmla="*/ 67 h 67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61" h="67">
                <a:moveTo>
                  <a:pt x="0" y="0"/>
                </a:moveTo>
                <a:lnTo>
                  <a:pt x="0" y="9"/>
                </a:lnTo>
                <a:lnTo>
                  <a:pt x="0" y="18"/>
                </a:lnTo>
                <a:lnTo>
                  <a:pt x="1" y="24"/>
                </a:lnTo>
                <a:lnTo>
                  <a:pt x="2" y="30"/>
                </a:lnTo>
                <a:lnTo>
                  <a:pt x="3" y="36"/>
                </a:lnTo>
                <a:lnTo>
                  <a:pt x="6" y="42"/>
                </a:lnTo>
                <a:lnTo>
                  <a:pt x="12" y="55"/>
                </a:lnTo>
                <a:lnTo>
                  <a:pt x="21" y="67"/>
                </a:lnTo>
                <a:lnTo>
                  <a:pt x="28" y="65"/>
                </a:lnTo>
                <a:lnTo>
                  <a:pt x="35" y="61"/>
                </a:lnTo>
                <a:lnTo>
                  <a:pt x="42" y="58"/>
                </a:lnTo>
                <a:lnTo>
                  <a:pt x="48" y="53"/>
                </a:lnTo>
                <a:lnTo>
                  <a:pt x="53" y="47"/>
                </a:lnTo>
                <a:lnTo>
                  <a:pt x="57" y="40"/>
                </a:lnTo>
                <a:lnTo>
                  <a:pt x="59" y="32"/>
                </a:lnTo>
                <a:lnTo>
                  <a:pt x="61" y="24"/>
                </a:lnTo>
                <a:lnTo>
                  <a:pt x="53" y="14"/>
                </a:lnTo>
                <a:lnTo>
                  <a:pt x="41" y="0"/>
                </a:lnTo>
                <a:lnTo>
                  <a:pt x="28" y="3"/>
                </a:lnTo>
                <a:lnTo>
                  <a:pt x="18" y="4"/>
                </a:lnTo>
                <a:lnTo>
                  <a:pt x="13" y="4"/>
                </a:lnTo>
                <a:lnTo>
                  <a:pt x="10" y="3"/>
                </a:lnTo>
                <a:lnTo>
                  <a:pt x="6" y="2"/>
                </a:lnTo>
                <a:lnTo>
                  <a:pt x="0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57" name="Freeform 455"/>
          <p:cNvSpPr>
            <a:spLocks/>
          </p:cNvSpPr>
          <p:nvPr userDrawn="1">
            <p:custDataLst>
              <p:tags r:id="rId292"/>
            </p:custDataLst>
          </p:nvPr>
        </p:nvSpPr>
        <p:spPr bwMode="auto">
          <a:xfrm>
            <a:off x="4235452" y="1621642"/>
            <a:ext cx="25400" cy="44054"/>
          </a:xfrm>
          <a:custGeom>
            <a:avLst/>
            <a:gdLst>
              <a:gd name="T0" fmla="*/ 0 w 60"/>
              <a:gd name="T1" fmla="*/ 6843511 h 55"/>
              <a:gd name="T2" fmla="*/ 0 w 60"/>
              <a:gd name="T3" fmla="*/ 27372977 h 55"/>
              <a:gd name="T4" fmla="*/ 896197 w 60"/>
              <a:gd name="T5" fmla="*/ 36497664 h 55"/>
              <a:gd name="T6" fmla="*/ 1791970 w 60"/>
              <a:gd name="T7" fmla="*/ 45622343 h 55"/>
              <a:gd name="T8" fmla="*/ 2867237 w 60"/>
              <a:gd name="T9" fmla="*/ 51324199 h 55"/>
              <a:gd name="T10" fmla="*/ 3763434 w 60"/>
              <a:gd name="T11" fmla="*/ 55886538 h 55"/>
              <a:gd name="T12" fmla="*/ 4838700 w 60"/>
              <a:gd name="T13" fmla="*/ 59308293 h 55"/>
              <a:gd name="T14" fmla="*/ 5913967 w 60"/>
              <a:gd name="T15" fmla="*/ 61589463 h 55"/>
              <a:gd name="T16" fmla="*/ 7168305 w 60"/>
              <a:gd name="T17" fmla="*/ 62730047 h 55"/>
              <a:gd name="T18" fmla="*/ 8243571 w 60"/>
              <a:gd name="T19" fmla="*/ 62730047 h 55"/>
              <a:gd name="T20" fmla="*/ 9498331 w 60"/>
              <a:gd name="T21" fmla="*/ 59308293 h 55"/>
              <a:gd name="T22" fmla="*/ 10752667 w 60"/>
              <a:gd name="T23" fmla="*/ 55886538 h 55"/>
              <a:gd name="T24" fmla="*/ 8960698 w 60"/>
              <a:gd name="T25" fmla="*/ 38778834 h 55"/>
              <a:gd name="T26" fmla="*/ 7526868 w 60"/>
              <a:gd name="T27" fmla="*/ 25091807 h 55"/>
              <a:gd name="T28" fmla="*/ 6989235 w 60"/>
              <a:gd name="T29" fmla="*/ 19388883 h 55"/>
              <a:gd name="T30" fmla="*/ 6272530 w 60"/>
              <a:gd name="T31" fmla="*/ 13687022 h 55"/>
              <a:gd name="T32" fmla="*/ 6093037 w 60"/>
              <a:gd name="T33" fmla="*/ 6843511 h 55"/>
              <a:gd name="T34" fmla="*/ 5913967 w 60"/>
              <a:gd name="T35" fmla="*/ 0 h 55"/>
              <a:gd name="T36" fmla="*/ 4121997 w 60"/>
              <a:gd name="T37" fmla="*/ 1140585 h 55"/>
              <a:gd name="T38" fmla="*/ 2688167 w 60"/>
              <a:gd name="T39" fmla="*/ 3421756 h 55"/>
              <a:gd name="T40" fmla="*/ 1254337 w 60"/>
              <a:gd name="T41" fmla="*/ 5702926 h 55"/>
              <a:gd name="T42" fmla="*/ 0 w 60"/>
              <a:gd name="T43" fmla="*/ 6843511 h 55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60"/>
              <a:gd name="T67" fmla="*/ 0 h 55"/>
              <a:gd name="T68" fmla="*/ 60 w 60"/>
              <a:gd name="T69" fmla="*/ 55 h 55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60" h="55">
                <a:moveTo>
                  <a:pt x="0" y="6"/>
                </a:moveTo>
                <a:lnTo>
                  <a:pt x="0" y="24"/>
                </a:lnTo>
                <a:lnTo>
                  <a:pt x="5" y="32"/>
                </a:lnTo>
                <a:lnTo>
                  <a:pt x="10" y="40"/>
                </a:lnTo>
                <a:lnTo>
                  <a:pt x="16" y="45"/>
                </a:lnTo>
                <a:lnTo>
                  <a:pt x="21" y="49"/>
                </a:lnTo>
                <a:lnTo>
                  <a:pt x="27" y="52"/>
                </a:lnTo>
                <a:lnTo>
                  <a:pt x="33" y="54"/>
                </a:lnTo>
                <a:lnTo>
                  <a:pt x="40" y="55"/>
                </a:lnTo>
                <a:lnTo>
                  <a:pt x="46" y="55"/>
                </a:lnTo>
                <a:lnTo>
                  <a:pt x="53" y="52"/>
                </a:lnTo>
                <a:lnTo>
                  <a:pt x="60" y="49"/>
                </a:lnTo>
                <a:lnTo>
                  <a:pt x="50" y="34"/>
                </a:lnTo>
                <a:lnTo>
                  <a:pt x="42" y="22"/>
                </a:lnTo>
                <a:lnTo>
                  <a:pt x="39" y="17"/>
                </a:lnTo>
                <a:lnTo>
                  <a:pt x="35" y="12"/>
                </a:lnTo>
                <a:lnTo>
                  <a:pt x="34" y="6"/>
                </a:lnTo>
                <a:lnTo>
                  <a:pt x="33" y="0"/>
                </a:lnTo>
                <a:lnTo>
                  <a:pt x="23" y="1"/>
                </a:lnTo>
                <a:lnTo>
                  <a:pt x="15" y="3"/>
                </a:lnTo>
                <a:lnTo>
                  <a:pt x="7" y="5"/>
                </a:lnTo>
                <a:lnTo>
                  <a:pt x="0" y="6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58" name="Freeform 456"/>
          <p:cNvSpPr>
            <a:spLocks/>
          </p:cNvSpPr>
          <p:nvPr userDrawn="1">
            <p:custDataLst>
              <p:tags r:id="rId293"/>
            </p:custDataLst>
          </p:nvPr>
        </p:nvSpPr>
        <p:spPr bwMode="auto">
          <a:xfrm>
            <a:off x="4205287" y="1581152"/>
            <a:ext cx="52388" cy="58341"/>
          </a:xfrm>
          <a:custGeom>
            <a:avLst/>
            <a:gdLst>
              <a:gd name="T0" fmla="*/ 14103723 w 120"/>
              <a:gd name="T1" fmla="*/ 35636366 h 148"/>
              <a:gd name="T2" fmla="*/ 13341477 w 120"/>
              <a:gd name="T3" fmla="*/ 36188766 h 148"/>
              <a:gd name="T4" fmla="*/ 12769575 w 120"/>
              <a:gd name="T5" fmla="*/ 36464703 h 148"/>
              <a:gd name="T6" fmla="*/ 12197673 w 120"/>
              <a:gd name="T7" fmla="*/ 36741166 h 148"/>
              <a:gd name="T8" fmla="*/ 11435428 w 120"/>
              <a:gd name="T9" fmla="*/ 36741166 h 148"/>
              <a:gd name="T10" fmla="*/ 10673183 w 120"/>
              <a:gd name="T11" fmla="*/ 36741166 h 148"/>
              <a:gd name="T12" fmla="*/ 10101280 w 120"/>
              <a:gd name="T13" fmla="*/ 36464703 h 148"/>
              <a:gd name="T14" fmla="*/ 9529378 w 120"/>
              <a:gd name="T15" fmla="*/ 36188766 h 148"/>
              <a:gd name="T16" fmla="*/ 8957913 w 120"/>
              <a:gd name="T17" fmla="*/ 35636366 h 148"/>
              <a:gd name="T18" fmla="*/ 7814108 w 120"/>
              <a:gd name="T19" fmla="*/ 35359904 h 148"/>
              <a:gd name="T20" fmla="*/ 6479959 w 120"/>
              <a:gd name="T21" fmla="*/ 34531041 h 148"/>
              <a:gd name="T22" fmla="*/ 4955469 w 120"/>
              <a:gd name="T23" fmla="*/ 33149771 h 148"/>
              <a:gd name="T24" fmla="*/ 3621321 w 120"/>
              <a:gd name="T25" fmla="*/ 31768509 h 148"/>
              <a:gd name="T26" fmla="*/ 2096393 w 120"/>
              <a:gd name="T27" fmla="*/ 29834847 h 148"/>
              <a:gd name="T28" fmla="*/ 1143368 w 120"/>
              <a:gd name="T29" fmla="*/ 27901186 h 148"/>
              <a:gd name="T30" fmla="*/ 571902 w 120"/>
              <a:gd name="T31" fmla="*/ 26796386 h 148"/>
              <a:gd name="T32" fmla="*/ 381123 w 120"/>
              <a:gd name="T33" fmla="*/ 25967524 h 148"/>
              <a:gd name="T34" fmla="*/ 190780 w 120"/>
              <a:gd name="T35" fmla="*/ 24862725 h 148"/>
              <a:gd name="T36" fmla="*/ 0 w 120"/>
              <a:gd name="T37" fmla="*/ 24033862 h 148"/>
              <a:gd name="T38" fmla="*/ 381123 w 120"/>
              <a:gd name="T39" fmla="*/ 20166013 h 148"/>
              <a:gd name="T40" fmla="*/ 1524927 w 120"/>
              <a:gd name="T41" fmla="*/ 15193886 h 148"/>
              <a:gd name="T42" fmla="*/ 2668296 w 120"/>
              <a:gd name="T43" fmla="*/ 9668838 h 148"/>
              <a:gd name="T44" fmla="*/ 3811664 w 120"/>
              <a:gd name="T45" fmla="*/ 4972650 h 148"/>
              <a:gd name="T46" fmla="*/ 6098836 w 120"/>
              <a:gd name="T47" fmla="*/ 4696188 h 148"/>
              <a:gd name="T48" fmla="*/ 8004888 w 120"/>
              <a:gd name="T49" fmla="*/ 4420251 h 148"/>
              <a:gd name="T50" fmla="*/ 9720158 w 120"/>
              <a:gd name="T51" fmla="*/ 3867324 h 148"/>
              <a:gd name="T52" fmla="*/ 11054305 w 120"/>
              <a:gd name="T53" fmla="*/ 3038988 h 148"/>
              <a:gd name="T54" fmla="*/ 13341477 w 120"/>
              <a:gd name="T55" fmla="*/ 1381263 h 148"/>
              <a:gd name="T56" fmla="*/ 15247094 w 120"/>
              <a:gd name="T57" fmla="*/ 0 h 148"/>
              <a:gd name="T58" fmla="*/ 16200119 w 120"/>
              <a:gd name="T59" fmla="*/ 552400 h 148"/>
              <a:gd name="T60" fmla="*/ 17725046 w 120"/>
              <a:gd name="T61" fmla="*/ 1933662 h 148"/>
              <a:gd name="T62" fmla="*/ 18678070 w 120"/>
              <a:gd name="T63" fmla="*/ 2762525 h 148"/>
              <a:gd name="T64" fmla="*/ 19440316 w 120"/>
              <a:gd name="T65" fmla="*/ 3591387 h 148"/>
              <a:gd name="T66" fmla="*/ 20202561 w 120"/>
              <a:gd name="T67" fmla="*/ 4420251 h 148"/>
              <a:gd name="T68" fmla="*/ 20393340 w 120"/>
              <a:gd name="T69" fmla="*/ 4972650 h 148"/>
              <a:gd name="T70" fmla="*/ 19059193 w 120"/>
              <a:gd name="T71" fmla="*/ 7735175 h 148"/>
              <a:gd name="T72" fmla="*/ 17725046 w 120"/>
              <a:gd name="T73" fmla="*/ 10221238 h 148"/>
              <a:gd name="T74" fmla="*/ 18106168 w 120"/>
              <a:gd name="T75" fmla="*/ 11602500 h 148"/>
              <a:gd name="T76" fmla="*/ 18678070 w 120"/>
              <a:gd name="T77" fmla="*/ 13536162 h 148"/>
              <a:gd name="T78" fmla="*/ 19440316 w 120"/>
              <a:gd name="T79" fmla="*/ 15469823 h 148"/>
              <a:gd name="T80" fmla="*/ 20393340 w 120"/>
              <a:gd name="T81" fmla="*/ 17403489 h 148"/>
              <a:gd name="T82" fmla="*/ 21917831 w 120"/>
              <a:gd name="T83" fmla="*/ 20718939 h 148"/>
              <a:gd name="T84" fmla="*/ 22870856 w 120"/>
              <a:gd name="T85" fmla="*/ 21823738 h 148"/>
              <a:gd name="T86" fmla="*/ 21536708 w 120"/>
              <a:gd name="T87" fmla="*/ 22376138 h 148"/>
              <a:gd name="T88" fmla="*/ 20393340 w 120"/>
              <a:gd name="T89" fmla="*/ 23205000 h 148"/>
              <a:gd name="T90" fmla="*/ 19059193 w 120"/>
              <a:gd name="T91" fmla="*/ 24033862 h 148"/>
              <a:gd name="T92" fmla="*/ 18296511 w 120"/>
              <a:gd name="T93" fmla="*/ 25138662 h 148"/>
              <a:gd name="T94" fmla="*/ 17153143 w 120"/>
              <a:gd name="T95" fmla="*/ 26243461 h 148"/>
              <a:gd name="T96" fmla="*/ 16581241 w 120"/>
              <a:gd name="T97" fmla="*/ 27348786 h 148"/>
              <a:gd name="T98" fmla="*/ 15628216 w 120"/>
              <a:gd name="T99" fmla="*/ 28730048 h 148"/>
              <a:gd name="T100" fmla="*/ 15247094 w 120"/>
              <a:gd name="T101" fmla="*/ 30111310 h 148"/>
              <a:gd name="T102" fmla="*/ 14865971 w 120"/>
              <a:gd name="T103" fmla="*/ 31492572 h 148"/>
              <a:gd name="T104" fmla="*/ 14675628 w 120"/>
              <a:gd name="T105" fmla="*/ 33149771 h 148"/>
              <a:gd name="T106" fmla="*/ 14484849 w 120"/>
              <a:gd name="T107" fmla="*/ 34531041 h 148"/>
              <a:gd name="T108" fmla="*/ 14294502 w 120"/>
              <a:gd name="T109" fmla="*/ 35912303 h 148"/>
              <a:gd name="T110" fmla="*/ 14484849 w 120"/>
              <a:gd name="T111" fmla="*/ 37293566 h 148"/>
              <a:gd name="T112" fmla="*/ 14675628 w 120"/>
              <a:gd name="T113" fmla="*/ 38674828 h 148"/>
              <a:gd name="T114" fmla="*/ 14865971 w 120"/>
              <a:gd name="T115" fmla="*/ 39780153 h 148"/>
              <a:gd name="T116" fmla="*/ 15247094 w 120"/>
              <a:gd name="T117" fmla="*/ 40884952 h 148"/>
              <a:gd name="T118" fmla="*/ 14103723 w 120"/>
              <a:gd name="T119" fmla="*/ 35636366 h 14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20"/>
              <a:gd name="T181" fmla="*/ 0 h 148"/>
              <a:gd name="T182" fmla="*/ 120 w 120"/>
              <a:gd name="T183" fmla="*/ 148 h 148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20" h="148">
                <a:moveTo>
                  <a:pt x="74" y="129"/>
                </a:moveTo>
                <a:lnTo>
                  <a:pt x="70" y="131"/>
                </a:lnTo>
                <a:lnTo>
                  <a:pt x="67" y="132"/>
                </a:lnTo>
                <a:lnTo>
                  <a:pt x="64" y="133"/>
                </a:lnTo>
                <a:lnTo>
                  <a:pt x="60" y="133"/>
                </a:lnTo>
                <a:lnTo>
                  <a:pt x="56" y="133"/>
                </a:lnTo>
                <a:lnTo>
                  <a:pt x="53" y="132"/>
                </a:lnTo>
                <a:lnTo>
                  <a:pt x="50" y="131"/>
                </a:lnTo>
                <a:lnTo>
                  <a:pt x="47" y="129"/>
                </a:lnTo>
                <a:lnTo>
                  <a:pt x="41" y="128"/>
                </a:lnTo>
                <a:lnTo>
                  <a:pt x="34" y="125"/>
                </a:lnTo>
                <a:lnTo>
                  <a:pt x="26" y="120"/>
                </a:lnTo>
                <a:lnTo>
                  <a:pt x="19" y="115"/>
                </a:lnTo>
                <a:lnTo>
                  <a:pt x="11" y="108"/>
                </a:lnTo>
                <a:lnTo>
                  <a:pt x="6" y="101"/>
                </a:lnTo>
                <a:lnTo>
                  <a:pt x="3" y="97"/>
                </a:lnTo>
                <a:lnTo>
                  <a:pt x="2" y="94"/>
                </a:lnTo>
                <a:lnTo>
                  <a:pt x="1" y="90"/>
                </a:lnTo>
                <a:lnTo>
                  <a:pt x="0" y="87"/>
                </a:lnTo>
                <a:lnTo>
                  <a:pt x="2" y="73"/>
                </a:lnTo>
                <a:lnTo>
                  <a:pt x="8" y="55"/>
                </a:lnTo>
                <a:lnTo>
                  <a:pt x="14" y="35"/>
                </a:lnTo>
                <a:lnTo>
                  <a:pt x="20" y="18"/>
                </a:lnTo>
                <a:lnTo>
                  <a:pt x="32" y="17"/>
                </a:lnTo>
                <a:lnTo>
                  <a:pt x="42" y="16"/>
                </a:lnTo>
                <a:lnTo>
                  <a:pt x="51" y="14"/>
                </a:lnTo>
                <a:lnTo>
                  <a:pt x="58" y="11"/>
                </a:lnTo>
                <a:lnTo>
                  <a:pt x="70" y="5"/>
                </a:lnTo>
                <a:lnTo>
                  <a:pt x="80" y="0"/>
                </a:lnTo>
                <a:lnTo>
                  <a:pt x="85" y="2"/>
                </a:lnTo>
                <a:lnTo>
                  <a:pt x="93" y="7"/>
                </a:lnTo>
                <a:lnTo>
                  <a:pt x="98" y="10"/>
                </a:lnTo>
                <a:lnTo>
                  <a:pt x="102" y="13"/>
                </a:lnTo>
                <a:lnTo>
                  <a:pt x="106" y="16"/>
                </a:lnTo>
                <a:lnTo>
                  <a:pt x="107" y="18"/>
                </a:lnTo>
                <a:lnTo>
                  <a:pt x="100" y="28"/>
                </a:lnTo>
                <a:lnTo>
                  <a:pt x="93" y="37"/>
                </a:lnTo>
                <a:lnTo>
                  <a:pt x="95" y="42"/>
                </a:lnTo>
                <a:lnTo>
                  <a:pt x="98" y="49"/>
                </a:lnTo>
                <a:lnTo>
                  <a:pt x="102" y="56"/>
                </a:lnTo>
                <a:lnTo>
                  <a:pt x="107" y="63"/>
                </a:lnTo>
                <a:lnTo>
                  <a:pt x="115" y="75"/>
                </a:lnTo>
                <a:lnTo>
                  <a:pt x="120" y="79"/>
                </a:lnTo>
                <a:lnTo>
                  <a:pt x="113" y="81"/>
                </a:lnTo>
                <a:lnTo>
                  <a:pt x="107" y="84"/>
                </a:lnTo>
                <a:lnTo>
                  <a:pt x="100" y="87"/>
                </a:lnTo>
                <a:lnTo>
                  <a:pt x="96" y="91"/>
                </a:lnTo>
                <a:lnTo>
                  <a:pt x="90" y="95"/>
                </a:lnTo>
                <a:lnTo>
                  <a:pt x="87" y="99"/>
                </a:lnTo>
                <a:lnTo>
                  <a:pt x="82" y="104"/>
                </a:lnTo>
                <a:lnTo>
                  <a:pt x="80" y="109"/>
                </a:lnTo>
                <a:lnTo>
                  <a:pt x="78" y="114"/>
                </a:lnTo>
                <a:lnTo>
                  <a:pt x="77" y="120"/>
                </a:lnTo>
                <a:lnTo>
                  <a:pt x="76" y="125"/>
                </a:lnTo>
                <a:lnTo>
                  <a:pt x="75" y="130"/>
                </a:lnTo>
                <a:lnTo>
                  <a:pt x="76" y="135"/>
                </a:lnTo>
                <a:lnTo>
                  <a:pt x="77" y="140"/>
                </a:lnTo>
                <a:lnTo>
                  <a:pt x="78" y="144"/>
                </a:lnTo>
                <a:lnTo>
                  <a:pt x="80" y="148"/>
                </a:lnTo>
                <a:lnTo>
                  <a:pt x="74" y="129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59" name="Freeform 457"/>
          <p:cNvSpPr>
            <a:spLocks/>
          </p:cNvSpPr>
          <p:nvPr userDrawn="1">
            <p:custDataLst>
              <p:tags r:id="rId294"/>
            </p:custDataLst>
          </p:nvPr>
        </p:nvSpPr>
        <p:spPr bwMode="auto">
          <a:xfrm>
            <a:off x="4675189" y="2184810"/>
            <a:ext cx="273050" cy="230981"/>
          </a:xfrm>
          <a:custGeom>
            <a:avLst/>
            <a:gdLst>
              <a:gd name="T0" fmla="*/ 3932180 w 631"/>
              <a:gd name="T1" fmla="*/ 541037 h 592"/>
              <a:gd name="T2" fmla="*/ 5991954 w 631"/>
              <a:gd name="T3" fmla="*/ 1082595 h 592"/>
              <a:gd name="T4" fmla="*/ 10111504 w 631"/>
              <a:gd name="T5" fmla="*/ 2165189 h 592"/>
              <a:gd name="T6" fmla="*/ 14605796 w 631"/>
              <a:gd name="T7" fmla="*/ 2977265 h 592"/>
              <a:gd name="T8" fmla="*/ 19473960 w 631"/>
              <a:gd name="T9" fmla="*/ 5141934 h 592"/>
              <a:gd name="T10" fmla="*/ 24342556 w 631"/>
              <a:gd name="T11" fmla="*/ 8660237 h 592"/>
              <a:gd name="T12" fmla="*/ 27338749 w 631"/>
              <a:gd name="T13" fmla="*/ 10825425 h 592"/>
              <a:gd name="T14" fmla="*/ 29772837 w 631"/>
              <a:gd name="T15" fmla="*/ 11637501 h 592"/>
              <a:gd name="T16" fmla="*/ 35390482 w 631"/>
              <a:gd name="T17" fmla="*/ 11637501 h 592"/>
              <a:gd name="T18" fmla="*/ 42506223 w 631"/>
              <a:gd name="T19" fmla="*/ 10013349 h 592"/>
              <a:gd name="T20" fmla="*/ 51868675 w 631"/>
              <a:gd name="T21" fmla="*/ 6224528 h 592"/>
              <a:gd name="T22" fmla="*/ 74713575 w 631"/>
              <a:gd name="T23" fmla="*/ 10284388 h 592"/>
              <a:gd name="T24" fmla="*/ 75462190 w 631"/>
              <a:gd name="T25" fmla="*/ 18674106 h 592"/>
              <a:gd name="T26" fmla="*/ 76773349 w 631"/>
              <a:gd name="T27" fmla="*/ 25710708 h 592"/>
              <a:gd name="T28" fmla="*/ 78084075 w 631"/>
              <a:gd name="T29" fmla="*/ 32205752 h 592"/>
              <a:gd name="T30" fmla="*/ 79956479 w 631"/>
              <a:gd name="T31" fmla="*/ 37889249 h 592"/>
              <a:gd name="T32" fmla="*/ 84263398 w 631"/>
              <a:gd name="T33" fmla="*/ 47361558 h 592"/>
              <a:gd name="T34" fmla="*/ 88382946 w 631"/>
              <a:gd name="T35" fmla="*/ 55210235 h 592"/>
              <a:gd name="T36" fmla="*/ 90255350 w 631"/>
              <a:gd name="T37" fmla="*/ 60081648 h 592"/>
              <a:gd name="T38" fmla="*/ 90817028 w 631"/>
              <a:gd name="T39" fmla="*/ 64953061 h 592"/>
              <a:gd name="T40" fmla="*/ 91940384 w 631"/>
              <a:gd name="T41" fmla="*/ 69012415 h 592"/>
              <a:gd name="T42" fmla="*/ 92876802 w 631"/>
              <a:gd name="T43" fmla="*/ 70636567 h 592"/>
              <a:gd name="T44" fmla="*/ 94562268 w 631"/>
              <a:gd name="T45" fmla="*/ 71989679 h 592"/>
              <a:gd name="T46" fmla="*/ 96059932 w 631"/>
              <a:gd name="T47" fmla="*/ 73072273 h 592"/>
              <a:gd name="T48" fmla="*/ 97183720 w 631"/>
              <a:gd name="T49" fmla="*/ 75236941 h 592"/>
              <a:gd name="T50" fmla="*/ 99805173 w 631"/>
              <a:gd name="T51" fmla="*/ 82003024 h 592"/>
              <a:gd name="T52" fmla="*/ 101303269 w 631"/>
              <a:gd name="T53" fmla="*/ 89580663 h 592"/>
              <a:gd name="T54" fmla="*/ 102052317 w 631"/>
              <a:gd name="T55" fmla="*/ 96888303 h 592"/>
              <a:gd name="T56" fmla="*/ 102613995 w 631"/>
              <a:gd name="T57" fmla="*/ 99594528 h 592"/>
              <a:gd name="T58" fmla="*/ 104299029 w 631"/>
              <a:gd name="T59" fmla="*/ 103112829 h 592"/>
              <a:gd name="T60" fmla="*/ 109167625 w 631"/>
              <a:gd name="T61" fmla="*/ 112314619 h 592"/>
              <a:gd name="T62" fmla="*/ 114597926 w 631"/>
              <a:gd name="T63" fmla="*/ 120974852 h 592"/>
              <a:gd name="T64" fmla="*/ 118155797 w 631"/>
              <a:gd name="T65" fmla="*/ 125305228 h 592"/>
              <a:gd name="T66" fmla="*/ 114597926 w 631"/>
              <a:gd name="T67" fmla="*/ 130176641 h 592"/>
              <a:gd name="T68" fmla="*/ 116845071 w 631"/>
              <a:gd name="T69" fmla="*/ 134235979 h 592"/>
              <a:gd name="T70" fmla="*/ 117219378 w 631"/>
              <a:gd name="T71" fmla="*/ 137213276 h 592"/>
              <a:gd name="T72" fmla="*/ 117219378 w 631"/>
              <a:gd name="T73" fmla="*/ 139648982 h 592"/>
              <a:gd name="T74" fmla="*/ 118155797 w 631"/>
              <a:gd name="T75" fmla="*/ 143708320 h 592"/>
              <a:gd name="T76" fmla="*/ 117219378 w 631"/>
              <a:gd name="T77" fmla="*/ 145873508 h 592"/>
              <a:gd name="T78" fmla="*/ 115534345 w 631"/>
              <a:gd name="T79" fmla="*/ 148309215 h 592"/>
              <a:gd name="T80" fmla="*/ 110853091 w 631"/>
              <a:gd name="T81" fmla="*/ 153992704 h 592"/>
              <a:gd name="T82" fmla="*/ 104486399 w 631"/>
              <a:gd name="T83" fmla="*/ 160217230 h 592"/>
              <a:gd name="T84" fmla="*/ 8613408 w 631"/>
              <a:gd name="T85" fmla="*/ 47091039 h 592"/>
              <a:gd name="T86" fmla="*/ 4681228 w 631"/>
              <a:gd name="T87" fmla="*/ 42490144 h 592"/>
              <a:gd name="T88" fmla="*/ 2059775 w 631"/>
              <a:gd name="T89" fmla="*/ 37347692 h 592"/>
              <a:gd name="T90" fmla="*/ 374308 w 631"/>
              <a:gd name="T91" fmla="*/ 31664715 h 592"/>
              <a:gd name="T92" fmla="*/ 0 w 631"/>
              <a:gd name="T93" fmla="*/ 25169151 h 592"/>
              <a:gd name="T94" fmla="*/ 561678 w 631"/>
              <a:gd name="T95" fmla="*/ 24086556 h 592"/>
              <a:gd name="T96" fmla="*/ 1872405 w 631"/>
              <a:gd name="T97" fmla="*/ 22462925 h 592"/>
              <a:gd name="T98" fmla="*/ 3183131 w 631"/>
              <a:gd name="T99" fmla="*/ 20839294 h 592"/>
              <a:gd name="T100" fmla="*/ 3745242 w 631"/>
              <a:gd name="T101" fmla="*/ 18674106 h 592"/>
              <a:gd name="T102" fmla="*/ 3370501 w 631"/>
              <a:gd name="T103" fmla="*/ 14343726 h 592"/>
              <a:gd name="T104" fmla="*/ 2434083 w 631"/>
              <a:gd name="T105" fmla="*/ 11366982 h 592"/>
              <a:gd name="T106" fmla="*/ 1685467 w 631"/>
              <a:gd name="T107" fmla="*/ 9201794 h 592"/>
              <a:gd name="T108" fmla="*/ 1310726 w 631"/>
              <a:gd name="T109" fmla="*/ 7036604 h 592"/>
              <a:gd name="T110" fmla="*/ 2434083 w 631"/>
              <a:gd name="T111" fmla="*/ 0 h 592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631"/>
              <a:gd name="T169" fmla="*/ 0 h 592"/>
              <a:gd name="T170" fmla="*/ 631 w 631"/>
              <a:gd name="T171" fmla="*/ 592 h 592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631" h="592">
                <a:moveTo>
                  <a:pt x="13" y="0"/>
                </a:moveTo>
                <a:lnTo>
                  <a:pt x="21" y="2"/>
                </a:lnTo>
                <a:lnTo>
                  <a:pt x="26" y="2"/>
                </a:lnTo>
                <a:lnTo>
                  <a:pt x="32" y="4"/>
                </a:lnTo>
                <a:lnTo>
                  <a:pt x="40" y="7"/>
                </a:lnTo>
                <a:lnTo>
                  <a:pt x="54" y="8"/>
                </a:lnTo>
                <a:lnTo>
                  <a:pt x="67" y="9"/>
                </a:lnTo>
                <a:lnTo>
                  <a:pt x="78" y="11"/>
                </a:lnTo>
                <a:lnTo>
                  <a:pt x="88" y="13"/>
                </a:lnTo>
                <a:lnTo>
                  <a:pt x="104" y="19"/>
                </a:lnTo>
                <a:lnTo>
                  <a:pt x="118" y="26"/>
                </a:lnTo>
                <a:lnTo>
                  <a:pt x="130" y="32"/>
                </a:lnTo>
                <a:lnTo>
                  <a:pt x="141" y="38"/>
                </a:lnTo>
                <a:lnTo>
                  <a:pt x="146" y="40"/>
                </a:lnTo>
                <a:lnTo>
                  <a:pt x="153" y="42"/>
                </a:lnTo>
                <a:lnTo>
                  <a:pt x="159" y="43"/>
                </a:lnTo>
                <a:lnTo>
                  <a:pt x="166" y="44"/>
                </a:lnTo>
                <a:lnTo>
                  <a:pt x="189" y="43"/>
                </a:lnTo>
                <a:lnTo>
                  <a:pt x="210" y="41"/>
                </a:lnTo>
                <a:lnTo>
                  <a:pt x="227" y="37"/>
                </a:lnTo>
                <a:lnTo>
                  <a:pt x="244" y="33"/>
                </a:lnTo>
                <a:lnTo>
                  <a:pt x="277" y="23"/>
                </a:lnTo>
                <a:lnTo>
                  <a:pt x="312" y="14"/>
                </a:lnTo>
                <a:lnTo>
                  <a:pt x="399" y="38"/>
                </a:lnTo>
                <a:lnTo>
                  <a:pt x="400" y="53"/>
                </a:lnTo>
                <a:lnTo>
                  <a:pt x="403" y="69"/>
                </a:lnTo>
                <a:lnTo>
                  <a:pt x="405" y="82"/>
                </a:lnTo>
                <a:lnTo>
                  <a:pt x="410" y="95"/>
                </a:lnTo>
                <a:lnTo>
                  <a:pt x="413" y="107"/>
                </a:lnTo>
                <a:lnTo>
                  <a:pt x="417" y="119"/>
                </a:lnTo>
                <a:lnTo>
                  <a:pt x="423" y="130"/>
                </a:lnTo>
                <a:lnTo>
                  <a:pt x="427" y="140"/>
                </a:lnTo>
                <a:lnTo>
                  <a:pt x="438" y="158"/>
                </a:lnTo>
                <a:lnTo>
                  <a:pt x="450" y="175"/>
                </a:lnTo>
                <a:lnTo>
                  <a:pt x="461" y="190"/>
                </a:lnTo>
                <a:lnTo>
                  <a:pt x="472" y="204"/>
                </a:lnTo>
                <a:lnTo>
                  <a:pt x="478" y="213"/>
                </a:lnTo>
                <a:lnTo>
                  <a:pt x="482" y="222"/>
                </a:lnTo>
                <a:lnTo>
                  <a:pt x="484" y="232"/>
                </a:lnTo>
                <a:lnTo>
                  <a:pt x="485" y="240"/>
                </a:lnTo>
                <a:lnTo>
                  <a:pt x="488" y="248"/>
                </a:lnTo>
                <a:lnTo>
                  <a:pt x="491" y="255"/>
                </a:lnTo>
                <a:lnTo>
                  <a:pt x="494" y="258"/>
                </a:lnTo>
                <a:lnTo>
                  <a:pt x="496" y="261"/>
                </a:lnTo>
                <a:lnTo>
                  <a:pt x="501" y="263"/>
                </a:lnTo>
                <a:lnTo>
                  <a:pt x="505" y="266"/>
                </a:lnTo>
                <a:lnTo>
                  <a:pt x="508" y="267"/>
                </a:lnTo>
                <a:lnTo>
                  <a:pt x="513" y="270"/>
                </a:lnTo>
                <a:lnTo>
                  <a:pt x="516" y="274"/>
                </a:lnTo>
                <a:lnTo>
                  <a:pt x="519" y="278"/>
                </a:lnTo>
                <a:lnTo>
                  <a:pt x="526" y="290"/>
                </a:lnTo>
                <a:lnTo>
                  <a:pt x="533" y="303"/>
                </a:lnTo>
                <a:lnTo>
                  <a:pt x="537" y="317"/>
                </a:lnTo>
                <a:lnTo>
                  <a:pt x="541" y="331"/>
                </a:lnTo>
                <a:lnTo>
                  <a:pt x="544" y="346"/>
                </a:lnTo>
                <a:lnTo>
                  <a:pt x="545" y="358"/>
                </a:lnTo>
                <a:lnTo>
                  <a:pt x="546" y="363"/>
                </a:lnTo>
                <a:lnTo>
                  <a:pt x="548" y="368"/>
                </a:lnTo>
                <a:lnTo>
                  <a:pt x="551" y="374"/>
                </a:lnTo>
                <a:lnTo>
                  <a:pt x="557" y="381"/>
                </a:lnTo>
                <a:lnTo>
                  <a:pt x="569" y="398"/>
                </a:lnTo>
                <a:lnTo>
                  <a:pt x="583" y="415"/>
                </a:lnTo>
                <a:lnTo>
                  <a:pt x="598" y="432"/>
                </a:lnTo>
                <a:lnTo>
                  <a:pt x="612" y="447"/>
                </a:lnTo>
                <a:lnTo>
                  <a:pt x="624" y="458"/>
                </a:lnTo>
                <a:lnTo>
                  <a:pt x="631" y="463"/>
                </a:lnTo>
                <a:lnTo>
                  <a:pt x="622" y="472"/>
                </a:lnTo>
                <a:lnTo>
                  <a:pt x="612" y="481"/>
                </a:lnTo>
                <a:lnTo>
                  <a:pt x="619" y="489"/>
                </a:lnTo>
                <a:lnTo>
                  <a:pt x="624" y="496"/>
                </a:lnTo>
                <a:lnTo>
                  <a:pt x="626" y="501"/>
                </a:lnTo>
                <a:lnTo>
                  <a:pt x="626" y="507"/>
                </a:lnTo>
                <a:lnTo>
                  <a:pt x="626" y="511"/>
                </a:lnTo>
                <a:lnTo>
                  <a:pt x="626" y="516"/>
                </a:lnTo>
                <a:lnTo>
                  <a:pt x="627" y="523"/>
                </a:lnTo>
                <a:lnTo>
                  <a:pt x="631" y="531"/>
                </a:lnTo>
                <a:lnTo>
                  <a:pt x="629" y="535"/>
                </a:lnTo>
                <a:lnTo>
                  <a:pt x="626" y="539"/>
                </a:lnTo>
                <a:lnTo>
                  <a:pt x="622" y="543"/>
                </a:lnTo>
                <a:lnTo>
                  <a:pt x="617" y="548"/>
                </a:lnTo>
                <a:lnTo>
                  <a:pt x="605" y="559"/>
                </a:lnTo>
                <a:lnTo>
                  <a:pt x="592" y="569"/>
                </a:lnTo>
                <a:lnTo>
                  <a:pt x="569" y="585"/>
                </a:lnTo>
                <a:lnTo>
                  <a:pt x="558" y="592"/>
                </a:lnTo>
                <a:lnTo>
                  <a:pt x="53" y="592"/>
                </a:lnTo>
                <a:lnTo>
                  <a:pt x="46" y="174"/>
                </a:lnTo>
                <a:lnTo>
                  <a:pt x="35" y="166"/>
                </a:lnTo>
                <a:lnTo>
                  <a:pt x="25" y="157"/>
                </a:lnTo>
                <a:lnTo>
                  <a:pt x="18" y="148"/>
                </a:lnTo>
                <a:lnTo>
                  <a:pt x="11" y="138"/>
                </a:lnTo>
                <a:lnTo>
                  <a:pt x="6" y="128"/>
                </a:lnTo>
                <a:lnTo>
                  <a:pt x="2" y="117"/>
                </a:lnTo>
                <a:lnTo>
                  <a:pt x="1" y="105"/>
                </a:lnTo>
                <a:lnTo>
                  <a:pt x="0" y="93"/>
                </a:lnTo>
                <a:lnTo>
                  <a:pt x="1" y="91"/>
                </a:lnTo>
                <a:lnTo>
                  <a:pt x="3" y="89"/>
                </a:lnTo>
                <a:lnTo>
                  <a:pt x="7" y="86"/>
                </a:lnTo>
                <a:lnTo>
                  <a:pt x="10" y="83"/>
                </a:lnTo>
                <a:lnTo>
                  <a:pt x="13" y="80"/>
                </a:lnTo>
                <a:lnTo>
                  <a:pt x="17" y="77"/>
                </a:lnTo>
                <a:lnTo>
                  <a:pt x="19" y="73"/>
                </a:lnTo>
                <a:lnTo>
                  <a:pt x="20" y="69"/>
                </a:lnTo>
                <a:lnTo>
                  <a:pt x="20" y="61"/>
                </a:lnTo>
                <a:lnTo>
                  <a:pt x="18" y="53"/>
                </a:lnTo>
                <a:lnTo>
                  <a:pt x="15" y="47"/>
                </a:lnTo>
                <a:lnTo>
                  <a:pt x="13" y="42"/>
                </a:lnTo>
                <a:lnTo>
                  <a:pt x="11" y="38"/>
                </a:lnTo>
                <a:lnTo>
                  <a:pt x="9" y="34"/>
                </a:lnTo>
                <a:lnTo>
                  <a:pt x="7" y="30"/>
                </a:lnTo>
                <a:lnTo>
                  <a:pt x="7" y="26"/>
                </a:lnTo>
                <a:lnTo>
                  <a:pt x="10" y="11"/>
                </a:lnTo>
                <a:lnTo>
                  <a:pt x="13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60" name="Freeform 458"/>
          <p:cNvSpPr>
            <a:spLocks/>
          </p:cNvSpPr>
          <p:nvPr userDrawn="1">
            <p:custDataLst>
              <p:tags r:id="rId295"/>
            </p:custDataLst>
          </p:nvPr>
        </p:nvSpPr>
        <p:spPr bwMode="auto">
          <a:xfrm>
            <a:off x="4232278" y="1910965"/>
            <a:ext cx="17462" cy="42863"/>
          </a:xfrm>
          <a:custGeom>
            <a:avLst/>
            <a:gdLst>
              <a:gd name="T0" fmla="*/ 1334097 w 40"/>
              <a:gd name="T1" fmla="*/ 11706533 h 93"/>
              <a:gd name="T2" fmla="*/ 1905977 w 40"/>
              <a:gd name="T3" fmla="*/ 11328606 h 93"/>
              <a:gd name="T4" fmla="*/ 2668193 w 40"/>
              <a:gd name="T5" fmla="*/ 9818123 h 93"/>
              <a:gd name="T6" fmla="*/ 3811518 w 40"/>
              <a:gd name="T7" fmla="*/ 7552403 h 93"/>
              <a:gd name="T8" fmla="*/ 4764507 w 40"/>
              <a:gd name="T9" fmla="*/ 5664610 h 93"/>
              <a:gd name="T10" fmla="*/ 6670047 w 40"/>
              <a:gd name="T11" fmla="*/ 1510481 h 93"/>
              <a:gd name="T12" fmla="*/ 7623037 w 40"/>
              <a:gd name="T13" fmla="*/ 0 h 93"/>
              <a:gd name="T14" fmla="*/ 7051155 w 40"/>
              <a:gd name="T15" fmla="*/ 9818123 h 93"/>
              <a:gd name="T16" fmla="*/ 6670047 w 40"/>
              <a:gd name="T17" fmla="*/ 20014174 h 93"/>
              <a:gd name="T18" fmla="*/ 6479711 w 40"/>
              <a:gd name="T19" fmla="*/ 24546234 h 93"/>
              <a:gd name="T20" fmla="*/ 6479711 w 40"/>
              <a:gd name="T21" fmla="*/ 29077674 h 93"/>
              <a:gd name="T22" fmla="*/ 6670047 w 40"/>
              <a:gd name="T23" fmla="*/ 30965467 h 93"/>
              <a:gd name="T24" fmla="*/ 6860819 w 40"/>
              <a:gd name="T25" fmla="*/ 32475947 h 93"/>
              <a:gd name="T26" fmla="*/ 7051155 w 40"/>
              <a:gd name="T27" fmla="*/ 33986427 h 93"/>
              <a:gd name="T28" fmla="*/ 7623037 w 40"/>
              <a:gd name="T29" fmla="*/ 35119595 h 93"/>
              <a:gd name="T30" fmla="*/ 4954842 w 40"/>
              <a:gd name="T31" fmla="*/ 35119595 h 93"/>
              <a:gd name="T32" fmla="*/ 2477421 w 40"/>
              <a:gd name="T33" fmla="*/ 35119595 h 93"/>
              <a:gd name="T34" fmla="*/ 2096313 w 40"/>
              <a:gd name="T35" fmla="*/ 34741668 h 93"/>
              <a:gd name="T36" fmla="*/ 1524432 w 40"/>
              <a:gd name="T37" fmla="*/ 34364355 h 93"/>
              <a:gd name="T38" fmla="*/ 1143324 w 40"/>
              <a:gd name="T39" fmla="*/ 33231187 h 93"/>
              <a:gd name="T40" fmla="*/ 762216 w 40"/>
              <a:gd name="T41" fmla="*/ 32475947 h 93"/>
              <a:gd name="T42" fmla="*/ 190772 w 40"/>
              <a:gd name="T43" fmla="*/ 30210227 h 93"/>
              <a:gd name="T44" fmla="*/ 0 w 40"/>
              <a:gd name="T45" fmla="*/ 27567194 h 93"/>
              <a:gd name="T46" fmla="*/ 190772 w 40"/>
              <a:gd name="T47" fmla="*/ 24168307 h 93"/>
              <a:gd name="T48" fmla="*/ 571880 w 40"/>
              <a:gd name="T49" fmla="*/ 18881621 h 93"/>
              <a:gd name="T50" fmla="*/ 1143324 w 40"/>
              <a:gd name="T51" fmla="*/ 13972253 h 93"/>
              <a:gd name="T52" fmla="*/ 1334097 w 40"/>
              <a:gd name="T53" fmla="*/ 11706533 h 9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40"/>
              <a:gd name="T82" fmla="*/ 0 h 93"/>
              <a:gd name="T83" fmla="*/ 40 w 40"/>
              <a:gd name="T84" fmla="*/ 93 h 93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40" h="93">
                <a:moveTo>
                  <a:pt x="7" y="31"/>
                </a:moveTo>
                <a:lnTo>
                  <a:pt x="10" y="30"/>
                </a:lnTo>
                <a:lnTo>
                  <a:pt x="14" y="26"/>
                </a:lnTo>
                <a:lnTo>
                  <a:pt x="20" y="20"/>
                </a:lnTo>
                <a:lnTo>
                  <a:pt x="25" y="15"/>
                </a:lnTo>
                <a:lnTo>
                  <a:pt x="35" y="4"/>
                </a:lnTo>
                <a:lnTo>
                  <a:pt x="40" y="0"/>
                </a:lnTo>
                <a:lnTo>
                  <a:pt x="37" y="26"/>
                </a:lnTo>
                <a:lnTo>
                  <a:pt x="35" y="53"/>
                </a:lnTo>
                <a:lnTo>
                  <a:pt x="34" y="65"/>
                </a:lnTo>
                <a:lnTo>
                  <a:pt x="34" y="77"/>
                </a:lnTo>
                <a:lnTo>
                  <a:pt x="35" y="82"/>
                </a:lnTo>
                <a:lnTo>
                  <a:pt x="36" y="86"/>
                </a:lnTo>
                <a:lnTo>
                  <a:pt x="37" y="90"/>
                </a:lnTo>
                <a:lnTo>
                  <a:pt x="40" y="93"/>
                </a:lnTo>
                <a:lnTo>
                  <a:pt x="26" y="93"/>
                </a:lnTo>
                <a:lnTo>
                  <a:pt x="13" y="93"/>
                </a:lnTo>
                <a:lnTo>
                  <a:pt x="11" y="92"/>
                </a:lnTo>
                <a:lnTo>
                  <a:pt x="8" y="91"/>
                </a:lnTo>
                <a:lnTo>
                  <a:pt x="6" y="88"/>
                </a:lnTo>
                <a:lnTo>
                  <a:pt x="4" y="86"/>
                </a:lnTo>
                <a:lnTo>
                  <a:pt x="1" y="80"/>
                </a:lnTo>
                <a:lnTo>
                  <a:pt x="0" y="73"/>
                </a:lnTo>
                <a:lnTo>
                  <a:pt x="1" y="64"/>
                </a:lnTo>
                <a:lnTo>
                  <a:pt x="3" y="50"/>
                </a:lnTo>
                <a:lnTo>
                  <a:pt x="6" y="37"/>
                </a:lnTo>
                <a:lnTo>
                  <a:pt x="7" y="31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61" name="Freeform 459"/>
          <p:cNvSpPr>
            <a:spLocks/>
          </p:cNvSpPr>
          <p:nvPr userDrawn="1">
            <p:custDataLst>
              <p:tags r:id="rId296"/>
            </p:custDataLst>
          </p:nvPr>
        </p:nvSpPr>
        <p:spPr bwMode="auto">
          <a:xfrm>
            <a:off x="3871917" y="1724036"/>
            <a:ext cx="295275" cy="204788"/>
          </a:xfrm>
          <a:custGeom>
            <a:avLst/>
            <a:gdLst>
              <a:gd name="T0" fmla="*/ 29464802 w 664"/>
              <a:gd name="T1" fmla="*/ 123647346 h 518"/>
              <a:gd name="T2" fmla="*/ 29860132 w 664"/>
              <a:gd name="T3" fmla="*/ 119757176 h 518"/>
              <a:gd name="T4" fmla="*/ 28871577 w 664"/>
              <a:gd name="T5" fmla="*/ 111143454 h 518"/>
              <a:gd name="T6" fmla="*/ 29860132 w 664"/>
              <a:gd name="T7" fmla="*/ 98084502 h 518"/>
              <a:gd name="T8" fmla="*/ 28871577 w 664"/>
              <a:gd name="T9" fmla="*/ 82802143 h 518"/>
              <a:gd name="T10" fmla="*/ 26498705 w 664"/>
              <a:gd name="T11" fmla="*/ 69742663 h 518"/>
              <a:gd name="T12" fmla="*/ 21554629 w 664"/>
              <a:gd name="T13" fmla="*/ 66964180 h 518"/>
              <a:gd name="T14" fmla="*/ 3955084 w 664"/>
              <a:gd name="T15" fmla="*/ 53349112 h 518"/>
              <a:gd name="T16" fmla="*/ 4746190 w 664"/>
              <a:gd name="T17" fmla="*/ 47513857 h 518"/>
              <a:gd name="T18" fmla="*/ 7119062 w 664"/>
              <a:gd name="T19" fmla="*/ 44179802 h 518"/>
              <a:gd name="T20" fmla="*/ 9491935 w 664"/>
              <a:gd name="T21" fmla="*/ 41123014 h 518"/>
              <a:gd name="T22" fmla="*/ 19774976 w 664"/>
              <a:gd name="T23" fmla="*/ 43068099 h 518"/>
              <a:gd name="T24" fmla="*/ 24718607 w 664"/>
              <a:gd name="T25" fmla="*/ 42234717 h 518"/>
              <a:gd name="T26" fmla="*/ 29069464 w 664"/>
              <a:gd name="T27" fmla="*/ 43623687 h 518"/>
              <a:gd name="T28" fmla="*/ 32628779 w 664"/>
              <a:gd name="T29" fmla="*/ 26118968 h 518"/>
              <a:gd name="T30" fmla="*/ 36583861 w 664"/>
              <a:gd name="T31" fmla="*/ 30286405 h 518"/>
              <a:gd name="T32" fmla="*/ 40934274 w 664"/>
              <a:gd name="T33" fmla="*/ 30564726 h 518"/>
              <a:gd name="T34" fmla="*/ 46669011 w 664"/>
              <a:gd name="T35" fmla="*/ 27507938 h 518"/>
              <a:gd name="T36" fmla="*/ 52206305 w 664"/>
              <a:gd name="T37" fmla="*/ 22228798 h 518"/>
              <a:gd name="T38" fmla="*/ 57149936 w 664"/>
              <a:gd name="T39" fmla="*/ 15837951 h 518"/>
              <a:gd name="T40" fmla="*/ 60907145 w 664"/>
              <a:gd name="T41" fmla="*/ 8891520 h 518"/>
              <a:gd name="T42" fmla="*/ 62884686 w 664"/>
              <a:gd name="T43" fmla="*/ 3334056 h 518"/>
              <a:gd name="T44" fmla="*/ 73167723 w 664"/>
              <a:gd name="T45" fmla="*/ 1111176 h 518"/>
              <a:gd name="T46" fmla="*/ 79891008 w 664"/>
              <a:gd name="T47" fmla="*/ 8891520 h 518"/>
              <a:gd name="T48" fmla="*/ 90371932 w 664"/>
              <a:gd name="T49" fmla="*/ 16949654 h 518"/>
              <a:gd name="T50" fmla="*/ 101050300 w 664"/>
              <a:gd name="T51" fmla="*/ 25007265 h 518"/>
              <a:gd name="T52" fmla="*/ 109158352 w 664"/>
              <a:gd name="T53" fmla="*/ 29730817 h 518"/>
              <a:gd name="T54" fmla="*/ 114299871 w 664"/>
              <a:gd name="T55" fmla="*/ 32231490 h 518"/>
              <a:gd name="T56" fmla="*/ 123198612 w 664"/>
              <a:gd name="T57" fmla="*/ 33620987 h 518"/>
              <a:gd name="T58" fmla="*/ 130119785 w 664"/>
              <a:gd name="T59" fmla="*/ 37788959 h 518"/>
              <a:gd name="T60" fmla="*/ 127549025 w 664"/>
              <a:gd name="T61" fmla="*/ 46124887 h 518"/>
              <a:gd name="T62" fmla="*/ 122605395 w 664"/>
              <a:gd name="T63" fmla="*/ 65574683 h 518"/>
              <a:gd name="T64" fmla="*/ 118254537 w 664"/>
              <a:gd name="T65" fmla="*/ 75577918 h 518"/>
              <a:gd name="T66" fmla="*/ 115683750 w 664"/>
              <a:gd name="T67" fmla="*/ 79467561 h 518"/>
              <a:gd name="T68" fmla="*/ 118452424 w 664"/>
              <a:gd name="T69" fmla="*/ 82802143 h 518"/>
              <a:gd name="T70" fmla="*/ 122209619 w 664"/>
              <a:gd name="T71" fmla="*/ 85302816 h 518"/>
              <a:gd name="T72" fmla="*/ 123198612 w 664"/>
              <a:gd name="T73" fmla="*/ 92804835 h 518"/>
              <a:gd name="T74" fmla="*/ 122605395 w 664"/>
              <a:gd name="T75" fmla="*/ 96417211 h 518"/>
              <a:gd name="T76" fmla="*/ 122209619 w 664"/>
              <a:gd name="T77" fmla="*/ 103363642 h 518"/>
              <a:gd name="T78" fmla="*/ 123000725 w 664"/>
              <a:gd name="T79" fmla="*/ 110865660 h 518"/>
              <a:gd name="T80" fmla="*/ 124978266 w 664"/>
              <a:gd name="T81" fmla="*/ 117534297 h 518"/>
              <a:gd name="T82" fmla="*/ 120232078 w 664"/>
              <a:gd name="T83" fmla="*/ 126981401 h 518"/>
              <a:gd name="T84" fmla="*/ 112519773 w 664"/>
              <a:gd name="T85" fmla="*/ 134483947 h 518"/>
              <a:gd name="T86" fmla="*/ 107180811 w 664"/>
              <a:gd name="T87" fmla="*/ 135872917 h 518"/>
              <a:gd name="T88" fmla="*/ 100654969 w 664"/>
              <a:gd name="T89" fmla="*/ 133650038 h 518"/>
              <a:gd name="T90" fmla="*/ 94327015 w 664"/>
              <a:gd name="T91" fmla="*/ 127815310 h 518"/>
              <a:gd name="T92" fmla="*/ 91558368 w 664"/>
              <a:gd name="T93" fmla="*/ 126703607 h 518"/>
              <a:gd name="T94" fmla="*/ 87603285 w 664"/>
              <a:gd name="T95" fmla="*/ 126981401 h 518"/>
              <a:gd name="T96" fmla="*/ 83648203 w 664"/>
              <a:gd name="T97" fmla="*/ 129204280 h 518"/>
              <a:gd name="T98" fmla="*/ 80286783 w 664"/>
              <a:gd name="T99" fmla="*/ 132538862 h 518"/>
              <a:gd name="T100" fmla="*/ 76727030 w 664"/>
              <a:gd name="T101" fmla="*/ 139763120 h 518"/>
              <a:gd name="T102" fmla="*/ 76133813 w 664"/>
              <a:gd name="T103" fmla="*/ 143653290 h 518"/>
              <a:gd name="T104" fmla="*/ 65850775 w 664"/>
              <a:gd name="T105" fmla="*/ 143097702 h 518"/>
              <a:gd name="T106" fmla="*/ 62686798 w 664"/>
              <a:gd name="T107" fmla="*/ 140874823 h 518"/>
              <a:gd name="T108" fmla="*/ 60709257 w 664"/>
              <a:gd name="T109" fmla="*/ 138929738 h 518"/>
              <a:gd name="T110" fmla="*/ 58534273 w 664"/>
              <a:gd name="T111" fmla="*/ 141152617 h 518"/>
              <a:gd name="T112" fmla="*/ 56754160 w 664"/>
              <a:gd name="T113" fmla="*/ 143375496 h 518"/>
              <a:gd name="T114" fmla="*/ 52996965 w 664"/>
              <a:gd name="T115" fmla="*/ 143375496 h 518"/>
              <a:gd name="T116" fmla="*/ 44889357 w 664"/>
              <a:gd name="T117" fmla="*/ 140596502 h 518"/>
              <a:gd name="T118" fmla="*/ 36583861 w 664"/>
              <a:gd name="T119" fmla="*/ 135317329 h 518"/>
              <a:gd name="T120" fmla="*/ 31640230 w 664"/>
              <a:gd name="T121" fmla="*/ 130315983 h 518"/>
              <a:gd name="T122" fmla="*/ 28871577 w 664"/>
              <a:gd name="T123" fmla="*/ 125036843 h 51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664"/>
              <a:gd name="T187" fmla="*/ 0 h 518"/>
              <a:gd name="T188" fmla="*/ 664 w 664"/>
              <a:gd name="T189" fmla="*/ 518 h 518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664" h="518">
                <a:moveTo>
                  <a:pt x="146" y="450"/>
                </a:moveTo>
                <a:lnTo>
                  <a:pt x="148" y="447"/>
                </a:lnTo>
                <a:lnTo>
                  <a:pt x="149" y="445"/>
                </a:lnTo>
                <a:lnTo>
                  <a:pt x="150" y="441"/>
                </a:lnTo>
                <a:lnTo>
                  <a:pt x="151" y="438"/>
                </a:lnTo>
                <a:lnTo>
                  <a:pt x="151" y="431"/>
                </a:lnTo>
                <a:lnTo>
                  <a:pt x="150" y="424"/>
                </a:lnTo>
                <a:lnTo>
                  <a:pt x="147" y="411"/>
                </a:lnTo>
                <a:lnTo>
                  <a:pt x="146" y="400"/>
                </a:lnTo>
                <a:lnTo>
                  <a:pt x="147" y="378"/>
                </a:lnTo>
                <a:lnTo>
                  <a:pt x="149" y="364"/>
                </a:lnTo>
                <a:lnTo>
                  <a:pt x="151" y="353"/>
                </a:lnTo>
                <a:lnTo>
                  <a:pt x="152" y="339"/>
                </a:lnTo>
                <a:lnTo>
                  <a:pt x="150" y="320"/>
                </a:lnTo>
                <a:lnTo>
                  <a:pt x="146" y="298"/>
                </a:lnTo>
                <a:lnTo>
                  <a:pt x="141" y="273"/>
                </a:lnTo>
                <a:lnTo>
                  <a:pt x="139" y="252"/>
                </a:lnTo>
                <a:lnTo>
                  <a:pt x="134" y="251"/>
                </a:lnTo>
                <a:lnTo>
                  <a:pt x="127" y="249"/>
                </a:lnTo>
                <a:lnTo>
                  <a:pt x="119" y="246"/>
                </a:lnTo>
                <a:lnTo>
                  <a:pt x="109" y="241"/>
                </a:lnTo>
                <a:lnTo>
                  <a:pt x="87" y="231"/>
                </a:lnTo>
                <a:lnTo>
                  <a:pt x="64" y="217"/>
                </a:lnTo>
                <a:lnTo>
                  <a:pt x="20" y="192"/>
                </a:lnTo>
                <a:lnTo>
                  <a:pt x="0" y="178"/>
                </a:lnTo>
                <a:lnTo>
                  <a:pt x="19" y="172"/>
                </a:lnTo>
                <a:lnTo>
                  <a:pt x="24" y="171"/>
                </a:lnTo>
                <a:lnTo>
                  <a:pt x="28" y="168"/>
                </a:lnTo>
                <a:lnTo>
                  <a:pt x="31" y="165"/>
                </a:lnTo>
                <a:lnTo>
                  <a:pt x="36" y="159"/>
                </a:lnTo>
                <a:lnTo>
                  <a:pt x="39" y="155"/>
                </a:lnTo>
                <a:lnTo>
                  <a:pt x="44" y="151"/>
                </a:lnTo>
                <a:lnTo>
                  <a:pt x="48" y="148"/>
                </a:lnTo>
                <a:lnTo>
                  <a:pt x="52" y="147"/>
                </a:lnTo>
                <a:lnTo>
                  <a:pt x="92" y="159"/>
                </a:lnTo>
                <a:lnTo>
                  <a:pt x="100" y="155"/>
                </a:lnTo>
                <a:lnTo>
                  <a:pt x="108" y="153"/>
                </a:lnTo>
                <a:lnTo>
                  <a:pt x="116" y="152"/>
                </a:lnTo>
                <a:lnTo>
                  <a:pt x="125" y="152"/>
                </a:lnTo>
                <a:lnTo>
                  <a:pt x="132" y="153"/>
                </a:lnTo>
                <a:lnTo>
                  <a:pt x="140" y="155"/>
                </a:lnTo>
                <a:lnTo>
                  <a:pt x="147" y="157"/>
                </a:lnTo>
                <a:lnTo>
                  <a:pt x="152" y="159"/>
                </a:lnTo>
                <a:lnTo>
                  <a:pt x="152" y="86"/>
                </a:lnTo>
                <a:lnTo>
                  <a:pt x="165" y="94"/>
                </a:lnTo>
                <a:lnTo>
                  <a:pt x="175" y="102"/>
                </a:lnTo>
                <a:lnTo>
                  <a:pt x="181" y="105"/>
                </a:lnTo>
                <a:lnTo>
                  <a:pt x="185" y="109"/>
                </a:lnTo>
                <a:lnTo>
                  <a:pt x="192" y="110"/>
                </a:lnTo>
                <a:lnTo>
                  <a:pt x="198" y="111"/>
                </a:lnTo>
                <a:lnTo>
                  <a:pt x="207" y="110"/>
                </a:lnTo>
                <a:lnTo>
                  <a:pt x="217" y="107"/>
                </a:lnTo>
                <a:lnTo>
                  <a:pt x="226" y="103"/>
                </a:lnTo>
                <a:lnTo>
                  <a:pt x="236" y="99"/>
                </a:lnTo>
                <a:lnTo>
                  <a:pt x="246" y="93"/>
                </a:lnTo>
                <a:lnTo>
                  <a:pt x="255" y="87"/>
                </a:lnTo>
                <a:lnTo>
                  <a:pt x="264" y="80"/>
                </a:lnTo>
                <a:lnTo>
                  <a:pt x="273" y="73"/>
                </a:lnTo>
                <a:lnTo>
                  <a:pt x="282" y="65"/>
                </a:lnTo>
                <a:lnTo>
                  <a:pt x="289" y="57"/>
                </a:lnTo>
                <a:lnTo>
                  <a:pt x="297" y="48"/>
                </a:lnTo>
                <a:lnTo>
                  <a:pt x="303" y="40"/>
                </a:lnTo>
                <a:lnTo>
                  <a:pt x="308" y="32"/>
                </a:lnTo>
                <a:lnTo>
                  <a:pt x="313" y="25"/>
                </a:lnTo>
                <a:lnTo>
                  <a:pt x="316" y="18"/>
                </a:lnTo>
                <a:lnTo>
                  <a:pt x="318" y="12"/>
                </a:lnTo>
                <a:lnTo>
                  <a:pt x="337" y="11"/>
                </a:lnTo>
                <a:lnTo>
                  <a:pt x="354" y="8"/>
                </a:lnTo>
                <a:lnTo>
                  <a:pt x="370" y="4"/>
                </a:lnTo>
                <a:lnTo>
                  <a:pt x="385" y="0"/>
                </a:lnTo>
                <a:lnTo>
                  <a:pt x="385" y="24"/>
                </a:lnTo>
                <a:lnTo>
                  <a:pt x="404" y="32"/>
                </a:lnTo>
                <a:lnTo>
                  <a:pt x="422" y="40"/>
                </a:lnTo>
                <a:lnTo>
                  <a:pt x="440" y="50"/>
                </a:lnTo>
                <a:lnTo>
                  <a:pt x="457" y="61"/>
                </a:lnTo>
                <a:lnTo>
                  <a:pt x="475" y="72"/>
                </a:lnTo>
                <a:lnTo>
                  <a:pt x="493" y="81"/>
                </a:lnTo>
                <a:lnTo>
                  <a:pt x="511" y="90"/>
                </a:lnTo>
                <a:lnTo>
                  <a:pt x="531" y="98"/>
                </a:lnTo>
                <a:lnTo>
                  <a:pt x="538" y="101"/>
                </a:lnTo>
                <a:lnTo>
                  <a:pt x="552" y="107"/>
                </a:lnTo>
                <a:lnTo>
                  <a:pt x="561" y="111"/>
                </a:lnTo>
                <a:lnTo>
                  <a:pt x="569" y="114"/>
                </a:lnTo>
                <a:lnTo>
                  <a:pt x="578" y="116"/>
                </a:lnTo>
                <a:lnTo>
                  <a:pt x="584" y="117"/>
                </a:lnTo>
                <a:lnTo>
                  <a:pt x="604" y="118"/>
                </a:lnTo>
                <a:lnTo>
                  <a:pt x="623" y="121"/>
                </a:lnTo>
                <a:lnTo>
                  <a:pt x="644" y="124"/>
                </a:lnTo>
                <a:lnTo>
                  <a:pt x="664" y="129"/>
                </a:lnTo>
                <a:lnTo>
                  <a:pt x="658" y="136"/>
                </a:lnTo>
                <a:lnTo>
                  <a:pt x="654" y="145"/>
                </a:lnTo>
                <a:lnTo>
                  <a:pt x="650" y="155"/>
                </a:lnTo>
                <a:lnTo>
                  <a:pt x="645" y="166"/>
                </a:lnTo>
                <a:lnTo>
                  <a:pt x="638" y="189"/>
                </a:lnTo>
                <a:lnTo>
                  <a:pt x="629" y="212"/>
                </a:lnTo>
                <a:lnTo>
                  <a:pt x="620" y="236"/>
                </a:lnTo>
                <a:lnTo>
                  <a:pt x="609" y="256"/>
                </a:lnTo>
                <a:lnTo>
                  <a:pt x="604" y="265"/>
                </a:lnTo>
                <a:lnTo>
                  <a:pt x="598" y="272"/>
                </a:lnTo>
                <a:lnTo>
                  <a:pt x="591" y="279"/>
                </a:lnTo>
                <a:lnTo>
                  <a:pt x="584" y="283"/>
                </a:lnTo>
                <a:lnTo>
                  <a:pt x="585" y="286"/>
                </a:lnTo>
                <a:lnTo>
                  <a:pt x="588" y="290"/>
                </a:lnTo>
                <a:lnTo>
                  <a:pt x="593" y="294"/>
                </a:lnTo>
                <a:lnTo>
                  <a:pt x="599" y="298"/>
                </a:lnTo>
                <a:lnTo>
                  <a:pt x="606" y="301"/>
                </a:lnTo>
                <a:lnTo>
                  <a:pt x="612" y="304"/>
                </a:lnTo>
                <a:lnTo>
                  <a:pt x="618" y="307"/>
                </a:lnTo>
                <a:lnTo>
                  <a:pt x="623" y="307"/>
                </a:lnTo>
                <a:lnTo>
                  <a:pt x="623" y="326"/>
                </a:lnTo>
                <a:lnTo>
                  <a:pt x="623" y="334"/>
                </a:lnTo>
                <a:lnTo>
                  <a:pt x="622" y="340"/>
                </a:lnTo>
                <a:lnTo>
                  <a:pt x="622" y="344"/>
                </a:lnTo>
                <a:lnTo>
                  <a:pt x="620" y="347"/>
                </a:lnTo>
                <a:lnTo>
                  <a:pt x="618" y="353"/>
                </a:lnTo>
                <a:lnTo>
                  <a:pt x="617" y="363"/>
                </a:lnTo>
                <a:lnTo>
                  <a:pt x="618" y="372"/>
                </a:lnTo>
                <a:lnTo>
                  <a:pt x="618" y="381"/>
                </a:lnTo>
                <a:lnTo>
                  <a:pt x="620" y="391"/>
                </a:lnTo>
                <a:lnTo>
                  <a:pt x="622" y="399"/>
                </a:lnTo>
                <a:lnTo>
                  <a:pt x="624" y="408"/>
                </a:lnTo>
                <a:lnTo>
                  <a:pt x="629" y="416"/>
                </a:lnTo>
                <a:lnTo>
                  <a:pt x="632" y="423"/>
                </a:lnTo>
                <a:lnTo>
                  <a:pt x="638" y="430"/>
                </a:lnTo>
                <a:lnTo>
                  <a:pt x="622" y="444"/>
                </a:lnTo>
                <a:lnTo>
                  <a:pt x="608" y="457"/>
                </a:lnTo>
                <a:lnTo>
                  <a:pt x="593" y="469"/>
                </a:lnTo>
                <a:lnTo>
                  <a:pt x="577" y="480"/>
                </a:lnTo>
                <a:lnTo>
                  <a:pt x="569" y="484"/>
                </a:lnTo>
                <a:lnTo>
                  <a:pt x="561" y="487"/>
                </a:lnTo>
                <a:lnTo>
                  <a:pt x="551" y="489"/>
                </a:lnTo>
                <a:lnTo>
                  <a:pt x="542" y="489"/>
                </a:lnTo>
                <a:lnTo>
                  <a:pt x="532" y="488"/>
                </a:lnTo>
                <a:lnTo>
                  <a:pt x="521" y="485"/>
                </a:lnTo>
                <a:lnTo>
                  <a:pt x="509" y="481"/>
                </a:lnTo>
                <a:lnTo>
                  <a:pt x="497" y="474"/>
                </a:lnTo>
                <a:lnTo>
                  <a:pt x="487" y="466"/>
                </a:lnTo>
                <a:lnTo>
                  <a:pt x="477" y="460"/>
                </a:lnTo>
                <a:lnTo>
                  <a:pt x="473" y="458"/>
                </a:lnTo>
                <a:lnTo>
                  <a:pt x="467" y="457"/>
                </a:lnTo>
                <a:lnTo>
                  <a:pt x="463" y="456"/>
                </a:lnTo>
                <a:lnTo>
                  <a:pt x="457" y="456"/>
                </a:lnTo>
                <a:lnTo>
                  <a:pt x="450" y="456"/>
                </a:lnTo>
                <a:lnTo>
                  <a:pt x="443" y="457"/>
                </a:lnTo>
                <a:lnTo>
                  <a:pt x="436" y="459"/>
                </a:lnTo>
                <a:lnTo>
                  <a:pt x="429" y="462"/>
                </a:lnTo>
                <a:lnTo>
                  <a:pt x="423" y="465"/>
                </a:lnTo>
                <a:lnTo>
                  <a:pt x="417" y="468"/>
                </a:lnTo>
                <a:lnTo>
                  <a:pt x="411" y="472"/>
                </a:lnTo>
                <a:lnTo>
                  <a:pt x="406" y="477"/>
                </a:lnTo>
                <a:lnTo>
                  <a:pt x="397" y="486"/>
                </a:lnTo>
                <a:lnTo>
                  <a:pt x="390" y="496"/>
                </a:lnTo>
                <a:lnTo>
                  <a:pt x="388" y="503"/>
                </a:lnTo>
                <a:lnTo>
                  <a:pt x="386" y="508"/>
                </a:lnTo>
                <a:lnTo>
                  <a:pt x="385" y="512"/>
                </a:lnTo>
                <a:lnTo>
                  <a:pt x="385" y="517"/>
                </a:lnTo>
                <a:lnTo>
                  <a:pt x="364" y="518"/>
                </a:lnTo>
                <a:lnTo>
                  <a:pt x="343" y="517"/>
                </a:lnTo>
                <a:lnTo>
                  <a:pt x="333" y="515"/>
                </a:lnTo>
                <a:lnTo>
                  <a:pt x="325" y="512"/>
                </a:lnTo>
                <a:lnTo>
                  <a:pt x="321" y="510"/>
                </a:lnTo>
                <a:lnTo>
                  <a:pt x="317" y="507"/>
                </a:lnTo>
                <a:lnTo>
                  <a:pt x="314" y="503"/>
                </a:lnTo>
                <a:lnTo>
                  <a:pt x="311" y="499"/>
                </a:lnTo>
                <a:lnTo>
                  <a:pt x="307" y="500"/>
                </a:lnTo>
                <a:lnTo>
                  <a:pt x="303" y="502"/>
                </a:lnTo>
                <a:lnTo>
                  <a:pt x="299" y="505"/>
                </a:lnTo>
                <a:lnTo>
                  <a:pt x="296" y="508"/>
                </a:lnTo>
                <a:lnTo>
                  <a:pt x="293" y="511"/>
                </a:lnTo>
                <a:lnTo>
                  <a:pt x="289" y="514"/>
                </a:lnTo>
                <a:lnTo>
                  <a:pt x="287" y="516"/>
                </a:lnTo>
                <a:lnTo>
                  <a:pt x="285" y="517"/>
                </a:lnTo>
                <a:lnTo>
                  <a:pt x="277" y="517"/>
                </a:lnTo>
                <a:lnTo>
                  <a:pt x="268" y="516"/>
                </a:lnTo>
                <a:lnTo>
                  <a:pt x="259" y="514"/>
                </a:lnTo>
                <a:lnTo>
                  <a:pt x="248" y="512"/>
                </a:lnTo>
                <a:lnTo>
                  <a:pt x="227" y="506"/>
                </a:lnTo>
                <a:lnTo>
                  <a:pt x="205" y="496"/>
                </a:lnTo>
                <a:lnTo>
                  <a:pt x="195" y="492"/>
                </a:lnTo>
                <a:lnTo>
                  <a:pt x="185" y="487"/>
                </a:lnTo>
                <a:lnTo>
                  <a:pt x="175" y="481"/>
                </a:lnTo>
                <a:lnTo>
                  <a:pt x="168" y="475"/>
                </a:lnTo>
                <a:lnTo>
                  <a:pt x="160" y="469"/>
                </a:lnTo>
                <a:lnTo>
                  <a:pt x="153" y="463"/>
                </a:lnTo>
                <a:lnTo>
                  <a:pt x="149" y="456"/>
                </a:lnTo>
                <a:lnTo>
                  <a:pt x="146" y="45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62" name="Freeform 460"/>
          <p:cNvSpPr>
            <a:spLocks/>
          </p:cNvSpPr>
          <p:nvPr userDrawn="1">
            <p:custDataLst>
              <p:tags r:id="rId297"/>
            </p:custDataLst>
          </p:nvPr>
        </p:nvSpPr>
        <p:spPr bwMode="auto">
          <a:xfrm>
            <a:off x="4953001" y="1900248"/>
            <a:ext cx="150812" cy="61913"/>
          </a:xfrm>
          <a:custGeom>
            <a:avLst/>
            <a:gdLst>
              <a:gd name="T0" fmla="*/ 60943049 w 352"/>
              <a:gd name="T1" fmla="*/ 26490455 h 153"/>
              <a:gd name="T2" fmla="*/ 64614378 w 352"/>
              <a:gd name="T3" fmla="*/ 44539231 h 153"/>
              <a:gd name="T4" fmla="*/ 59841522 w 352"/>
              <a:gd name="T5" fmla="*/ 41045695 h 153"/>
              <a:gd name="T6" fmla="*/ 54885708 w 352"/>
              <a:gd name="T7" fmla="*/ 37552698 h 153"/>
              <a:gd name="T8" fmla="*/ 48827952 w 352"/>
              <a:gd name="T9" fmla="*/ 41045695 h 153"/>
              <a:gd name="T10" fmla="*/ 42586822 w 352"/>
              <a:gd name="T11" fmla="*/ 41045695 h 153"/>
              <a:gd name="T12" fmla="*/ 41669097 w 352"/>
              <a:gd name="T13" fmla="*/ 39299197 h 153"/>
              <a:gd name="T14" fmla="*/ 41485295 w 352"/>
              <a:gd name="T15" fmla="*/ 39299197 h 153"/>
              <a:gd name="T16" fmla="*/ 40200395 w 352"/>
              <a:gd name="T17" fmla="*/ 37552698 h 153"/>
              <a:gd name="T18" fmla="*/ 39098868 w 352"/>
              <a:gd name="T19" fmla="*/ 36388366 h 153"/>
              <a:gd name="T20" fmla="*/ 37630593 w 352"/>
              <a:gd name="T21" fmla="*/ 35224025 h 153"/>
              <a:gd name="T22" fmla="*/ 36161891 w 352"/>
              <a:gd name="T23" fmla="*/ 34350506 h 153"/>
              <a:gd name="T24" fmla="*/ 33224914 w 352"/>
              <a:gd name="T25" fmla="*/ 32894821 h 153"/>
              <a:gd name="T26" fmla="*/ 29920761 w 352"/>
              <a:gd name="T27" fmla="*/ 32021842 h 153"/>
              <a:gd name="T28" fmla="*/ 23129075 w 352"/>
              <a:gd name="T29" fmla="*/ 31148323 h 153"/>
              <a:gd name="T30" fmla="*/ 15786419 w 352"/>
              <a:gd name="T31" fmla="*/ 30274804 h 153"/>
              <a:gd name="T32" fmla="*/ 15603045 w 352"/>
              <a:gd name="T33" fmla="*/ 27363974 h 153"/>
              <a:gd name="T34" fmla="*/ 15052067 w 352"/>
              <a:gd name="T35" fmla="*/ 24453143 h 153"/>
              <a:gd name="T36" fmla="*/ 14684892 w 352"/>
              <a:gd name="T37" fmla="*/ 21833126 h 153"/>
              <a:gd name="T38" fmla="*/ 13767163 w 352"/>
              <a:gd name="T39" fmla="*/ 19503922 h 153"/>
              <a:gd name="T40" fmla="*/ 13032812 w 352"/>
              <a:gd name="T41" fmla="*/ 17175253 h 153"/>
              <a:gd name="T42" fmla="*/ 12298889 w 352"/>
              <a:gd name="T43" fmla="*/ 15137402 h 153"/>
              <a:gd name="T44" fmla="*/ 11197362 w 352"/>
              <a:gd name="T45" fmla="*/ 12808738 h 153"/>
              <a:gd name="T46" fmla="*/ 10279637 w 352"/>
              <a:gd name="T47" fmla="*/ 10770887 h 153"/>
              <a:gd name="T48" fmla="*/ 8077011 w 352"/>
              <a:gd name="T49" fmla="*/ 7568701 h 153"/>
              <a:gd name="T50" fmla="*/ 5323406 w 352"/>
              <a:gd name="T51" fmla="*/ 4657871 h 153"/>
              <a:gd name="T52" fmla="*/ 2753604 w 352"/>
              <a:gd name="T53" fmla="*/ 2037852 h 153"/>
              <a:gd name="T54" fmla="*/ 0 w 352"/>
              <a:gd name="T55" fmla="*/ 0 h 153"/>
              <a:gd name="T56" fmla="*/ 1284901 w 352"/>
              <a:gd name="T57" fmla="*/ 0 h 153"/>
              <a:gd name="T58" fmla="*/ 11013988 w 352"/>
              <a:gd name="T59" fmla="*/ 5240037 h 153"/>
              <a:gd name="T60" fmla="*/ 19457747 w 352"/>
              <a:gd name="T61" fmla="*/ 8733033 h 153"/>
              <a:gd name="T62" fmla="*/ 24597350 w 352"/>
              <a:gd name="T63" fmla="*/ 5240037 h 153"/>
              <a:gd name="T64" fmla="*/ 33041540 w 352"/>
              <a:gd name="T65" fmla="*/ 10480073 h 153"/>
              <a:gd name="T66" fmla="*/ 37813967 w 352"/>
              <a:gd name="T67" fmla="*/ 16010921 h 153"/>
              <a:gd name="T68" fmla="*/ 45156624 w 352"/>
              <a:gd name="T69" fmla="*/ 14264423 h 153"/>
              <a:gd name="T70" fmla="*/ 52499280 w 352"/>
              <a:gd name="T71" fmla="*/ 17757424 h 153"/>
              <a:gd name="T72" fmla="*/ 57455523 w 352"/>
              <a:gd name="T73" fmla="*/ 22997458 h 153"/>
              <a:gd name="T74" fmla="*/ 60943049 w 352"/>
              <a:gd name="T75" fmla="*/ 26490455 h 15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352"/>
              <a:gd name="T115" fmla="*/ 0 h 153"/>
              <a:gd name="T116" fmla="*/ 352 w 352"/>
              <a:gd name="T117" fmla="*/ 153 h 153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352" h="153">
                <a:moveTo>
                  <a:pt x="332" y="91"/>
                </a:moveTo>
                <a:lnTo>
                  <a:pt x="352" y="153"/>
                </a:lnTo>
                <a:lnTo>
                  <a:pt x="326" y="141"/>
                </a:lnTo>
                <a:lnTo>
                  <a:pt x="299" y="129"/>
                </a:lnTo>
                <a:lnTo>
                  <a:pt x="266" y="141"/>
                </a:lnTo>
                <a:lnTo>
                  <a:pt x="232" y="141"/>
                </a:lnTo>
                <a:lnTo>
                  <a:pt x="227" y="135"/>
                </a:lnTo>
                <a:lnTo>
                  <a:pt x="226" y="135"/>
                </a:lnTo>
                <a:lnTo>
                  <a:pt x="219" y="129"/>
                </a:lnTo>
                <a:lnTo>
                  <a:pt x="213" y="125"/>
                </a:lnTo>
                <a:lnTo>
                  <a:pt x="205" y="121"/>
                </a:lnTo>
                <a:lnTo>
                  <a:pt x="197" y="118"/>
                </a:lnTo>
                <a:lnTo>
                  <a:pt x="181" y="113"/>
                </a:lnTo>
                <a:lnTo>
                  <a:pt x="163" y="110"/>
                </a:lnTo>
                <a:lnTo>
                  <a:pt x="126" y="107"/>
                </a:lnTo>
                <a:lnTo>
                  <a:pt x="86" y="104"/>
                </a:lnTo>
                <a:lnTo>
                  <a:pt x="85" y="94"/>
                </a:lnTo>
                <a:lnTo>
                  <a:pt x="82" y="84"/>
                </a:lnTo>
                <a:lnTo>
                  <a:pt x="80" y="75"/>
                </a:lnTo>
                <a:lnTo>
                  <a:pt x="75" y="67"/>
                </a:lnTo>
                <a:lnTo>
                  <a:pt x="71" y="59"/>
                </a:lnTo>
                <a:lnTo>
                  <a:pt x="67" y="52"/>
                </a:lnTo>
                <a:lnTo>
                  <a:pt x="61" y="44"/>
                </a:lnTo>
                <a:lnTo>
                  <a:pt x="56" y="37"/>
                </a:lnTo>
                <a:lnTo>
                  <a:pt x="44" y="26"/>
                </a:lnTo>
                <a:lnTo>
                  <a:pt x="29" y="16"/>
                </a:lnTo>
                <a:lnTo>
                  <a:pt x="15" y="7"/>
                </a:lnTo>
                <a:lnTo>
                  <a:pt x="0" y="0"/>
                </a:lnTo>
                <a:lnTo>
                  <a:pt x="7" y="0"/>
                </a:lnTo>
                <a:lnTo>
                  <a:pt x="60" y="18"/>
                </a:lnTo>
                <a:lnTo>
                  <a:pt x="106" y="30"/>
                </a:lnTo>
                <a:lnTo>
                  <a:pt x="134" y="18"/>
                </a:lnTo>
                <a:lnTo>
                  <a:pt x="180" y="36"/>
                </a:lnTo>
                <a:lnTo>
                  <a:pt x="206" y="55"/>
                </a:lnTo>
                <a:lnTo>
                  <a:pt x="246" y="49"/>
                </a:lnTo>
                <a:lnTo>
                  <a:pt x="286" y="61"/>
                </a:lnTo>
                <a:lnTo>
                  <a:pt x="313" y="79"/>
                </a:lnTo>
                <a:lnTo>
                  <a:pt x="332" y="91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63" name="Freeform 461"/>
          <p:cNvSpPr>
            <a:spLocks/>
          </p:cNvSpPr>
          <p:nvPr userDrawn="1">
            <p:custDataLst>
              <p:tags r:id="rId298"/>
            </p:custDataLst>
          </p:nvPr>
        </p:nvSpPr>
        <p:spPr bwMode="auto">
          <a:xfrm>
            <a:off x="4540259" y="1945493"/>
            <a:ext cx="147637" cy="129779"/>
          </a:xfrm>
          <a:custGeom>
            <a:avLst/>
            <a:gdLst>
              <a:gd name="T0" fmla="*/ 45757654 w 331"/>
              <a:gd name="T1" fmla="*/ 11200903 h 327"/>
              <a:gd name="T2" fmla="*/ 38396325 w 331"/>
              <a:gd name="T3" fmla="*/ 15680839 h 327"/>
              <a:gd name="T4" fmla="*/ 36208086 w 331"/>
              <a:gd name="T5" fmla="*/ 18761130 h 327"/>
              <a:gd name="T6" fmla="*/ 36009156 w 331"/>
              <a:gd name="T7" fmla="*/ 22681736 h 327"/>
              <a:gd name="T8" fmla="*/ 36605948 w 331"/>
              <a:gd name="T9" fmla="*/ 26321883 h 327"/>
              <a:gd name="T10" fmla="*/ 35213433 w 331"/>
              <a:gd name="T11" fmla="*/ 28561851 h 327"/>
              <a:gd name="T12" fmla="*/ 33423056 w 331"/>
              <a:gd name="T13" fmla="*/ 29402170 h 327"/>
              <a:gd name="T14" fmla="*/ 31831164 w 331"/>
              <a:gd name="T15" fmla="*/ 27441602 h 327"/>
              <a:gd name="T16" fmla="*/ 29642926 w 331"/>
              <a:gd name="T17" fmla="*/ 23801456 h 327"/>
              <a:gd name="T18" fmla="*/ 25067065 w 331"/>
              <a:gd name="T19" fmla="*/ 20721169 h 327"/>
              <a:gd name="T20" fmla="*/ 25265996 w 331"/>
              <a:gd name="T21" fmla="*/ 26881743 h 327"/>
              <a:gd name="T22" fmla="*/ 27653611 w 331"/>
              <a:gd name="T23" fmla="*/ 32482457 h 327"/>
              <a:gd name="T24" fmla="*/ 30637579 w 331"/>
              <a:gd name="T25" fmla="*/ 36122612 h 327"/>
              <a:gd name="T26" fmla="*/ 31632233 w 331"/>
              <a:gd name="T27" fmla="*/ 36402541 h 327"/>
              <a:gd name="T28" fmla="*/ 31632233 w 331"/>
              <a:gd name="T29" fmla="*/ 49563479 h 327"/>
              <a:gd name="T30" fmla="*/ 31632233 w 331"/>
              <a:gd name="T31" fmla="*/ 66364563 h 327"/>
              <a:gd name="T32" fmla="*/ 31035441 w 331"/>
              <a:gd name="T33" fmla="*/ 70284656 h 327"/>
              <a:gd name="T34" fmla="*/ 29245064 w 331"/>
              <a:gd name="T35" fmla="*/ 72525153 h 327"/>
              <a:gd name="T36" fmla="*/ 28847196 w 331"/>
              <a:gd name="T37" fmla="*/ 73924802 h 327"/>
              <a:gd name="T38" fmla="*/ 32229025 w 331"/>
              <a:gd name="T39" fmla="*/ 77285019 h 327"/>
              <a:gd name="T40" fmla="*/ 33224125 w 331"/>
              <a:gd name="T41" fmla="*/ 80085376 h 327"/>
              <a:gd name="T42" fmla="*/ 30836510 w 331"/>
              <a:gd name="T43" fmla="*/ 82605803 h 327"/>
              <a:gd name="T44" fmla="*/ 27852542 w 331"/>
              <a:gd name="T45" fmla="*/ 83165663 h 327"/>
              <a:gd name="T46" fmla="*/ 25862788 w 331"/>
              <a:gd name="T47" fmla="*/ 85966020 h 327"/>
              <a:gd name="T48" fmla="*/ 25067065 w 331"/>
              <a:gd name="T49" fmla="*/ 89886097 h 327"/>
              <a:gd name="T50" fmla="*/ 24072412 w 331"/>
              <a:gd name="T51" fmla="*/ 84005453 h 327"/>
              <a:gd name="T52" fmla="*/ 24669204 w 331"/>
              <a:gd name="T53" fmla="*/ 80645236 h 327"/>
              <a:gd name="T54" fmla="*/ 21685243 w 331"/>
              <a:gd name="T55" fmla="*/ 80085376 h 327"/>
              <a:gd name="T56" fmla="*/ 18501905 w 331"/>
              <a:gd name="T57" fmla="*/ 81765485 h 327"/>
              <a:gd name="T58" fmla="*/ 15716874 w 331"/>
              <a:gd name="T59" fmla="*/ 82885733 h 327"/>
              <a:gd name="T60" fmla="*/ 14522840 w 331"/>
              <a:gd name="T61" fmla="*/ 67764741 h 327"/>
              <a:gd name="T62" fmla="*/ 15716874 w 331"/>
              <a:gd name="T63" fmla="*/ 60483919 h 327"/>
              <a:gd name="T64" fmla="*/ 9549571 w 331"/>
              <a:gd name="T65" fmla="*/ 59083740 h 327"/>
              <a:gd name="T66" fmla="*/ 5570509 w 331"/>
              <a:gd name="T67" fmla="*/ 55443594 h 327"/>
              <a:gd name="T68" fmla="*/ 2586101 w 331"/>
              <a:gd name="T69" fmla="*/ 48443230 h 327"/>
              <a:gd name="T70" fmla="*/ 0 w 331"/>
              <a:gd name="T71" fmla="*/ 36402541 h 327"/>
              <a:gd name="T72" fmla="*/ 5570509 w 331"/>
              <a:gd name="T73" fmla="*/ 31082278 h 327"/>
              <a:gd name="T74" fmla="*/ 9947433 w 331"/>
              <a:gd name="T75" fmla="*/ 22681736 h 327"/>
              <a:gd name="T76" fmla="*/ 14522840 w 331"/>
              <a:gd name="T77" fmla="*/ 15400910 h 327"/>
              <a:gd name="T78" fmla="*/ 22878827 w 331"/>
              <a:gd name="T79" fmla="*/ 11480833 h 327"/>
              <a:gd name="T80" fmla="*/ 35810225 w 331"/>
              <a:gd name="T81" fmla="*/ 3920078 h 327"/>
              <a:gd name="T82" fmla="*/ 43370039 w 331"/>
              <a:gd name="T83" fmla="*/ 1960039 h 327"/>
              <a:gd name="T84" fmla="*/ 49537339 w 331"/>
              <a:gd name="T85" fmla="*/ 3920078 h 327"/>
              <a:gd name="T86" fmla="*/ 53914261 w 331"/>
              <a:gd name="T87" fmla="*/ 7560754 h 327"/>
              <a:gd name="T88" fmla="*/ 58092253 w 331"/>
              <a:gd name="T89" fmla="*/ 8400544 h 327"/>
              <a:gd name="T90" fmla="*/ 61076228 w 331"/>
              <a:gd name="T91" fmla="*/ 5600187 h 327"/>
              <a:gd name="T92" fmla="*/ 65055289 w 331"/>
              <a:gd name="T93" fmla="*/ 1680109 h 327"/>
              <a:gd name="T94" fmla="*/ 65652081 w 331"/>
              <a:gd name="T95" fmla="*/ 8960406 h 327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331"/>
              <a:gd name="T145" fmla="*/ 0 h 327"/>
              <a:gd name="T146" fmla="*/ 331 w 331"/>
              <a:gd name="T147" fmla="*/ 327 h 327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331" h="327">
                <a:moveTo>
                  <a:pt x="331" y="56"/>
                </a:moveTo>
                <a:lnTo>
                  <a:pt x="245" y="37"/>
                </a:lnTo>
                <a:lnTo>
                  <a:pt x="230" y="40"/>
                </a:lnTo>
                <a:lnTo>
                  <a:pt x="216" y="44"/>
                </a:lnTo>
                <a:lnTo>
                  <a:pt x="204" y="50"/>
                </a:lnTo>
                <a:lnTo>
                  <a:pt x="193" y="56"/>
                </a:lnTo>
                <a:lnTo>
                  <a:pt x="189" y="59"/>
                </a:lnTo>
                <a:lnTo>
                  <a:pt x="185" y="63"/>
                </a:lnTo>
                <a:lnTo>
                  <a:pt x="182" y="67"/>
                </a:lnTo>
                <a:lnTo>
                  <a:pt x="181" y="72"/>
                </a:lnTo>
                <a:lnTo>
                  <a:pt x="180" y="77"/>
                </a:lnTo>
                <a:lnTo>
                  <a:pt x="181" y="81"/>
                </a:lnTo>
                <a:lnTo>
                  <a:pt x="182" y="87"/>
                </a:lnTo>
                <a:lnTo>
                  <a:pt x="185" y="92"/>
                </a:lnTo>
                <a:lnTo>
                  <a:pt x="184" y="94"/>
                </a:lnTo>
                <a:lnTo>
                  <a:pt x="181" y="98"/>
                </a:lnTo>
                <a:lnTo>
                  <a:pt x="179" y="101"/>
                </a:lnTo>
                <a:lnTo>
                  <a:pt x="177" y="102"/>
                </a:lnTo>
                <a:lnTo>
                  <a:pt x="174" y="105"/>
                </a:lnTo>
                <a:lnTo>
                  <a:pt x="172" y="105"/>
                </a:lnTo>
                <a:lnTo>
                  <a:pt x="168" y="105"/>
                </a:lnTo>
                <a:lnTo>
                  <a:pt x="165" y="102"/>
                </a:lnTo>
                <a:lnTo>
                  <a:pt x="162" y="100"/>
                </a:lnTo>
                <a:lnTo>
                  <a:pt x="160" y="98"/>
                </a:lnTo>
                <a:lnTo>
                  <a:pt x="159" y="92"/>
                </a:lnTo>
                <a:lnTo>
                  <a:pt x="159" y="86"/>
                </a:lnTo>
                <a:lnTo>
                  <a:pt x="149" y="85"/>
                </a:lnTo>
                <a:lnTo>
                  <a:pt x="139" y="82"/>
                </a:lnTo>
                <a:lnTo>
                  <a:pt x="132" y="79"/>
                </a:lnTo>
                <a:lnTo>
                  <a:pt x="126" y="74"/>
                </a:lnTo>
                <a:lnTo>
                  <a:pt x="126" y="83"/>
                </a:lnTo>
                <a:lnTo>
                  <a:pt x="126" y="92"/>
                </a:lnTo>
                <a:lnTo>
                  <a:pt x="127" y="96"/>
                </a:lnTo>
                <a:lnTo>
                  <a:pt x="129" y="101"/>
                </a:lnTo>
                <a:lnTo>
                  <a:pt x="135" y="109"/>
                </a:lnTo>
                <a:lnTo>
                  <a:pt x="139" y="116"/>
                </a:lnTo>
                <a:lnTo>
                  <a:pt x="146" y="122"/>
                </a:lnTo>
                <a:lnTo>
                  <a:pt x="151" y="127"/>
                </a:lnTo>
                <a:lnTo>
                  <a:pt x="154" y="129"/>
                </a:lnTo>
                <a:lnTo>
                  <a:pt x="156" y="130"/>
                </a:lnTo>
                <a:lnTo>
                  <a:pt x="157" y="130"/>
                </a:lnTo>
                <a:lnTo>
                  <a:pt x="159" y="130"/>
                </a:lnTo>
                <a:lnTo>
                  <a:pt x="159" y="147"/>
                </a:lnTo>
                <a:lnTo>
                  <a:pt x="159" y="163"/>
                </a:lnTo>
                <a:lnTo>
                  <a:pt x="159" y="177"/>
                </a:lnTo>
                <a:lnTo>
                  <a:pt x="159" y="191"/>
                </a:lnTo>
                <a:lnTo>
                  <a:pt x="159" y="213"/>
                </a:lnTo>
                <a:lnTo>
                  <a:pt x="159" y="237"/>
                </a:lnTo>
                <a:lnTo>
                  <a:pt x="158" y="242"/>
                </a:lnTo>
                <a:lnTo>
                  <a:pt x="157" y="247"/>
                </a:lnTo>
                <a:lnTo>
                  <a:pt x="156" y="251"/>
                </a:lnTo>
                <a:lnTo>
                  <a:pt x="154" y="254"/>
                </a:lnTo>
                <a:lnTo>
                  <a:pt x="150" y="257"/>
                </a:lnTo>
                <a:lnTo>
                  <a:pt x="147" y="259"/>
                </a:lnTo>
                <a:lnTo>
                  <a:pt x="144" y="259"/>
                </a:lnTo>
                <a:lnTo>
                  <a:pt x="139" y="259"/>
                </a:lnTo>
                <a:lnTo>
                  <a:pt x="145" y="264"/>
                </a:lnTo>
                <a:lnTo>
                  <a:pt x="154" y="270"/>
                </a:lnTo>
                <a:lnTo>
                  <a:pt x="158" y="274"/>
                </a:lnTo>
                <a:lnTo>
                  <a:pt x="162" y="276"/>
                </a:lnTo>
                <a:lnTo>
                  <a:pt x="167" y="277"/>
                </a:lnTo>
                <a:lnTo>
                  <a:pt x="172" y="278"/>
                </a:lnTo>
                <a:lnTo>
                  <a:pt x="167" y="286"/>
                </a:lnTo>
                <a:lnTo>
                  <a:pt x="161" y="291"/>
                </a:lnTo>
                <a:lnTo>
                  <a:pt x="158" y="293"/>
                </a:lnTo>
                <a:lnTo>
                  <a:pt x="155" y="295"/>
                </a:lnTo>
                <a:lnTo>
                  <a:pt x="150" y="296"/>
                </a:lnTo>
                <a:lnTo>
                  <a:pt x="146" y="296"/>
                </a:lnTo>
                <a:lnTo>
                  <a:pt x="140" y="297"/>
                </a:lnTo>
                <a:lnTo>
                  <a:pt x="137" y="299"/>
                </a:lnTo>
                <a:lnTo>
                  <a:pt x="134" y="302"/>
                </a:lnTo>
                <a:lnTo>
                  <a:pt x="130" y="307"/>
                </a:lnTo>
                <a:lnTo>
                  <a:pt x="128" y="311"/>
                </a:lnTo>
                <a:lnTo>
                  <a:pt x="127" y="316"/>
                </a:lnTo>
                <a:lnTo>
                  <a:pt x="126" y="321"/>
                </a:lnTo>
                <a:lnTo>
                  <a:pt x="126" y="327"/>
                </a:lnTo>
                <a:lnTo>
                  <a:pt x="122" y="311"/>
                </a:lnTo>
                <a:lnTo>
                  <a:pt x="121" y="300"/>
                </a:lnTo>
                <a:lnTo>
                  <a:pt x="121" y="296"/>
                </a:lnTo>
                <a:lnTo>
                  <a:pt x="122" y="292"/>
                </a:lnTo>
                <a:lnTo>
                  <a:pt x="124" y="288"/>
                </a:lnTo>
                <a:lnTo>
                  <a:pt x="126" y="284"/>
                </a:lnTo>
                <a:lnTo>
                  <a:pt x="116" y="284"/>
                </a:lnTo>
                <a:lnTo>
                  <a:pt x="109" y="286"/>
                </a:lnTo>
                <a:lnTo>
                  <a:pt x="103" y="288"/>
                </a:lnTo>
                <a:lnTo>
                  <a:pt x="98" y="290"/>
                </a:lnTo>
                <a:lnTo>
                  <a:pt x="93" y="292"/>
                </a:lnTo>
                <a:lnTo>
                  <a:pt x="89" y="294"/>
                </a:lnTo>
                <a:lnTo>
                  <a:pt x="83" y="295"/>
                </a:lnTo>
                <a:lnTo>
                  <a:pt x="79" y="296"/>
                </a:lnTo>
                <a:lnTo>
                  <a:pt x="78" y="272"/>
                </a:lnTo>
                <a:lnTo>
                  <a:pt x="74" y="251"/>
                </a:lnTo>
                <a:lnTo>
                  <a:pt x="73" y="242"/>
                </a:lnTo>
                <a:lnTo>
                  <a:pt x="73" y="234"/>
                </a:lnTo>
                <a:lnTo>
                  <a:pt x="76" y="225"/>
                </a:lnTo>
                <a:lnTo>
                  <a:pt x="79" y="216"/>
                </a:lnTo>
                <a:lnTo>
                  <a:pt x="68" y="216"/>
                </a:lnTo>
                <a:lnTo>
                  <a:pt x="57" y="213"/>
                </a:lnTo>
                <a:lnTo>
                  <a:pt x="48" y="211"/>
                </a:lnTo>
                <a:lnTo>
                  <a:pt x="40" y="207"/>
                </a:lnTo>
                <a:lnTo>
                  <a:pt x="34" y="203"/>
                </a:lnTo>
                <a:lnTo>
                  <a:pt x="28" y="198"/>
                </a:lnTo>
                <a:lnTo>
                  <a:pt x="23" y="193"/>
                </a:lnTo>
                <a:lnTo>
                  <a:pt x="20" y="187"/>
                </a:lnTo>
                <a:lnTo>
                  <a:pt x="13" y="173"/>
                </a:lnTo>
                <a:lnTo>
                  <a:pt x="9" y="158"/>
                </a:lnTo>
                <a:lnTo>
                  <a:pt x="4" y="144"/>
                </a:lnTo>
                <a:lnTo>
                  <a:pt x="0" y="130"/>
                </a:lnTo>
                <a:lnTo>
                  <a:pt x="10" y="124"/>
                </a:lnTo>
                <a:lnTo>
                  <a:pt x="19" y="118"/>
                </a:lnTo>
                <a:lnTo>
                  <a:pt x="28" y="111"/>
                </a:lnTo>
                <a:lnTo>
                  <a:pt x="37" y="101"/>
                </a:lnTo>
                <a:lnTo>
                  <a:pt x="45" y="92"/>
                </a:lnTo>
                <a:lnTo>
                  <a:pt x="50" y="81"/>
                </a:lnTo>
                <a:lnTo>
                  <a:pt x="56" y="69"/>
                </a:lnTo>
                <a:lnTo>
                  <a:pt x="59" y="56"/>
                </a:lnTo>
                <a:lnTo>
                  <a:pt x="73" y="55"/>
                </a:lnTo>
                <a:lnTo>
                  <a:pt x="88" y="52"/>
                </a:lnTo>
                <a:lnTo>
                  <a:pt x="102" y="47"/>
                </a:lnTo>
                <a:lnTo>
                  <a:pt x="115" y="41"/>
                </a:lnTo>
                <a:lnTo>
                  <a:pt x="140" y="29"/>
                </a:lnTo>
                <a:lnTo>
                  <a:pt x="166" y="19"/>
                </a:lnTo>
                <a:lnTo>
                  <a:pt x="180" y="14"/>
                </a:lnTo>
                <a:lnTo>
                  <a:pt x="192" y="10"/>
                </a:lnTo>
                <a:lnTo>
                  <a:pt x="205" y="8"/>
                </a:lnTo>
                <a:lnTo>
                  <a:pt x="218" y="7"/>
                </a:lnTo>
                <a:lnTo>
                  <a:pt x="230" y="8"/>
                </a:lnTo>
                <a:lnTo>
                  <a:pt x="240" y="10"/>
                </a:lnTo>
                <a:lnTo>
                  <a:pt x="249" y="14"/>
                </a:lnTo>
                <a:lnTo>
                  <a:pt x="257" y="19"/>
                </a:lnTo>
                <a:lnTo>
                  <a:pt x="264" y="23"/>
                </a:lnTo>
                <a:lnTo>
                  <a:pt x="271" y="27"/>
                </a:lnTo>
                <a:lnTo>
                  <a:pt x="278" y="30"/>
                </a:lnTo>
                <a:lnTo>
                  <a:pt x="285" y="31"/>
                </a:lnTo>
                <a:lnTo>
                  <a:pt x="292" y="30"/>
                </a:lnTo>
                <a:lnTo>
                  <a:pt x="297" y="28"/>
                </a:lnTo>
                <a:lnTo>
                  <a:pt x="303" y="24"/>
                </a:lnTo>
                <a:lnTo>
                  <a:pt x="307" y="20"/>
                </a:lnTo>
                <a:lnTo>
                  <a:pt x="316" y="10"/>
                </a:lnTo>
                <a:lnTo>
                  <a:pt x="325" y="0"/>
                </a:lnTo>
                <a:lnTo>
                  <a:pt x="327" y="6"/>
                </a:lnTo>
                <a:lnTo>
                  <a:pt x="329" y="14"/>
                </a:lnTo>
                <a:lnTo>
                  <a:pt x="330" y="23"/>
                </a:lnTo>
                <a:lnTo>
                  <a:pt x="330" y="32"/>
                </a:lnTo>
                <a:lnTo>
                  <a:pt x="331" y="49"/>
                </a:lnTo>
                <a:lnTo>
                  <a:pt x="331" y="56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64" name="Freeform 462"/>
          <p:cNvSpPr>
            <a:spLocks/>
          </p:cNvSpPr>
          <p:nvPr userDrawn="1">
            <p:custDataLst>
              <p:tags r:id="rId299"/>
            </p:custDataLst>
          </p:nvPr>
        </p:nvSpPr>
        <p:spPr bwMode="auto">
          <a:xfrm>
            <a:off x="4624389" y="2089559"/>
            <a:ext cx="69850" cy="42863"/>
          </a:xfrm>
          <a:custGeom>
            <a:avLst/>
            <a:gdLst>
              <a:gd name="T0" fmla="*/ 0 w 153"/>
              <a:gd name="T1" fmla="*/ 0 h 49"/>
              <a:gd name="T2" fmla="*/ 9170894 w 153"/>
              <a:gd name="T3" fmla="*/ 2721040 h 49"/>
              <a:gd name="T4" fmla="*/ 17299060 w 153"/>
              <a:gd name="T5" fmla="*/ 8161953 h 49"/>
              <a:gd name="T6" fmla="*/ 21467688 w 153"/>
              <a:gd name="T7" fmla="*/ 10882994 h 49"/>
              <a:gd name="T8" fmla="*/ 25219499 w 153"/>
              <a:gd name="T9" fmla="*/ 9521889 h 49"/>
              <a:gd name="T10" fmla="*/ 27095405 w 153"/>
              <a:gd name="T11" fmla="*/ 8161953 h 49"/>
              <a:gd name="T12" fmla="*/ 28554037 w 153"/>
              <a:gd name="T13" fmla="*/ 6802016 h 49"/>
              <a:gd name="T14" fmla="*/ 30221769 w 153"/>
              <a:gd name="T15" fmla="*/ 4080976 h 49"/>
              <a:gd name="T16" fmla="*/ 31889037 w 153"/>
              <a:gd name="T17" fmla="*/ 0 h 49"/>
              <a:gd name="T18" fmla="*/ 31889037 w 153"/>
              <a:gd name="T19" fmla="*/ 12242930 h 49"/>
              <a:gd name="T20" fmla="*/ 31889037 w 153"/>
              <a:gd name="T21" fmla="*/ 34007748 h 49"/>
              <a:gd name="T22" fmla="*/ 29804945 w 153"/>
              <a:gd name="T23" fmla="*/ 42169707 h 49"/>
              <a:gd name="T24" fmla="*/ 27720402 w 153"/>
              <a:gd name="T25" fmla="*/ 48971721 h 49"/>
              <a:gd name="T26" fmla="*/ 25844497 w 153"/>
              <a:gd name="T27" fmla="*/ 54412633 h 49"/>
              <a:gd name="T28" fmla="*/ 23760411 w 153"/>
              <a:gd name="T29" fmla="*/ 59853544 h 49"/>
              <a:gd name="T30" fmla="*/ 22093142 w 153"/>
              <a:gd name="T31" fmla="*/ 62574583 h 49"/>
              <a:gd name="T32" fmla="*/ 20634054 w 153"/>
              <a:gd name="T33" fmla="*/ 65295622 h 49"/>
              <a:gd name="T34" fmla="*/ 19174966 w 153"/>
              <a:gd name="T35" fmla="*/ 66655559 h 49"/>
              <a:gd name="T36" fmla="*/ 18133151 w 153"/>
              <a:gd name="T37" fmla="*/ 66655559 h 49"/>
              <a:gd name="T38" fmla="*/ 15006794 w 153"/>
              <a:gd name="T39" fmla="*/ 65295622 h 49"/>
              <a:gd name="T40" fmla="*/ 12505431 w 153"/>
              <a:gd name="T41" fmla="*/ 62574583 h 49"/>
              <a:gd name="T42" fmla="*/ 10421345 w 153"/>
              <a:gd name="T43" fmla="*/ 58493608 h 49"/>
              <a:gd name="T44" fmla="*/ 8545440 w 153"/>
              <a:gd name="T45" fmla="*/ 51691594 h 49"/>
              <a:gd name="T46" fmla="*/ 4585447 w 153"/>
              <a:gd name="T47" fmla="*/ 39448668 h 49"/>
              <a:gd name="T48" fmla="*/ 0 w 153"/>
              <a:gd name="T49" fmla="*/ 25845797 h 49"/>
              <a:gd name="T50" fmla="*/ 0 w 153"/>
              <a:gd name="T51" fmla="*/ 0 h 49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53"/>
              <a:gd name="T79" fmla="*/ 0 h 49"/>
              <a:gd name="T80" fmla="*/ 153 w 153"/>
              <a:gd name="T81" fmla="*/ 49 h 49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53" h="49">
                <a:moveTo>
                  <a:pt x="0" y="0"/>
                </a:moveTo>
                <a:lnTo>
                  <a:pt x="44" y="2"/>
                </a:lnTo>
                <a:lnTo>
                  <a:pt x="83" y="6"/>
                </a:lnTo>
                <a:lnTo>
                  <a:pt x="103" y="8"/>
                </a:lnTo>
                <a:lnTo>
                  <a:pt x="121" y="7"/>
                </a:lnTo>
                <a:lnTo>
                  <a:pt x="130" y="6"/>
                </a:lnTo>
                <a:lnTo>
                  <a:pt x="137" y="5"/>
                </a:lnTo>
                <a:lnTo>
                  <a:pt x="145" y="3"/>
                </a:lnTo>
                <a:lnTo>
                  <a:pt x="153" y="0"/>
                </a:lnTo>
                <a:lnTo>
                  <a:pt x="153" y="9"/>
                </a:lnTo>
                <a:lnTo>
                  <a:pt x="153" y="25"/>
                </a:lnTo>
                <a:lnTo>
                  <a:pt x="143" y="31"/>
                </a:lnTo>
                <a:lnTo>
                  <a:pt x="133" y="36"/>
                </a:lnTo>
                <a:lnTo>
                  <a:pt x="124" y="40"/>
                </a:lnTo>
                <a:lnTo>
                  <a:pt x="114" y="44"/>
                </a:lnTo>
                <a:lnTo>
                  <a:pt x="106" y="46"/>
                </a:lnTo>
                <a:lnTo>
                  <a:pt x="99" y="48"/>
                </a:lnTo>
                <a:lnTo>
                  <a:pt x="92" y="49"/>
                </a:lnTo>
                <a:lnTo>
                  <a:pt x="87" y="49"/>
                </a:lnTo>
                <a:lnTo>
                  <a:pt x="72" y="48"/>
                </a:lnTo>
                <a:lnTo>
                  <a:pt x="60" y="46"/>
                </a:lnTo>
                <a:lnTo>
                  <a:pt x="50" y="43"/>
                </a:lnTo>
                <a:lnTo>
                  <a:pt x="41" y="38"/>
                </a:lnTo>
                <a:lnTo>
                  <a:pt x="22" y="29"/>
                </a:lnTo>
                <a:lnTo>
                  <a:pt x="0" y="19"/>
                </a:lnTo>
                <a:lnTo>
                  <a:pt x="0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65" name="Freeform 463"/>
          <p:cNvSpPr>
            <a:spLocks/>
          </p:cNvSpPr>
          <p:nvPr userDrawn="1">
            <p:custDataLst>
              <p:tags r:id="rId300"/>
            </p:custDataLst>
          </p:nvPr>
        </p:nvSpPr>
        <p:spPr bwMode="auto">
          <a:xfrm>
            <a:off x="3703647" y="2638427"/>
            <a:ext cx="187325" cy="119063"/>
          </a:xfrm>
          <a:custGeom>
            <a:avLst/>
            <a:gdLst>
              <a:gd name="T0" fmla="*/ 37512494 w 426"/>
              <a:gd name="T1" fmla="*/ 4510305 h 299"/>
              <a:gd name="T2" fmla="*/ 41766441 w 426"/>
              <a:gd name="T3" fmla="*/ 6201868 h 299"/>
              <a:gd name="T4" fmla="*/ 44473418 w 426"/>
              <a:gd name="T5" fmla="*/ 8174827 h 299"/>
              <a:gd name="T6" fmla="*/ 48920847 w 426"/>
              <a:gd name="T7" fmla="*/ 9866392 h 299"/>
              <a:gd name="T8" fmla="*/ 53948279 w 426"/>
              <a:gd name="T9" fmla="*/ 10430247 h 299"/>
              <a:gd name="T10" fmla="*/ 58008759 w 426"/>
              <a:gd name="T11" fmla="*/ 10430247 h 299"/>
              <a:gd name="T12" fmla="*/ 61682702 w 426"/>
              <a:gd name="T13" fmla="*/ 9584465 h 299"/>
              <a:gd name="T14" fmla="*/ 63616195 w 426"/>
              <a:gd name="T15" fmla="*/ 8174827 h 299"/>
              <a:gd name="T16" fmla="*/ 70577120 w 426"/>
              <a:gd name="T17" fmla="*/ 7047119 h 299"/>
              <a:gd name="T18" fmla="*/ 71931048 w 426"/>
              <a:gd name="T19" fmla="*/ 13812841 h 299"/>
              <a:gd name="T20" fmla="*/ 74058022 w 426"/>
              <a:gd name="T21" fmla="*/ 20859962 h 299"/>
              <a:gd name="T22" fmla="*/ 75604552 w 426"/>
              <a:gd name="T23" fmla="*/ 23679234 h 299"/>
              <a:gd name="T24" fmla="*/ 77345003 w 426"/>
              <a:gd name="T25" fmla="*/ 25934120 h 299"/>
              <a:gd name="T26" fmla="*/ 79665458 w 426"/>
              <a:gd name="T27" fmla="*/ 27343755 h 299"/>
              <a:gd name="T28" fmla="*/ 82178954 w 426"/>
              <a:gd name="T29" fmla="*/ 27907610 h 299"/>
              <a:gd name="T30" fmla="*/ 82178954 w 426"/>
              <a:gd name="T31" fmla="*/ 33827018 h 299"/>
              <a:gd name="T32" fmla="*/ 82178954 w 426"/>
              <a:gd name="T33" fmla="*/ 40028892 h 299"/>
              <a:gd name="T34" fmla="*/ 80438942 w 426"/>
              <a:gd name="T35" fmla="*/ 44539196 h 299"/>
              <a:gd name="T36" fmla="*/ 79665458 w 426"/>
              <a:gd name="T37" fmla="*/ 47921791 h 299"/>
              <a:gd name="T38" fmla="*/ 79665458 w 426"/>
              <a:gd name="T39" fmla="*/ 51022458 h 299"/>
              <a:gd name="T40" fmla="*/ 80245461 w 426"/>
              <a:gd name="T41" fmla="*/ 53559802 h 299"/>
              <a:gd name="T42" fmla="*/ 81792431 w 426"/>
              <a:gd name="T43" fmla="*/ 59479741 h 299"/>
              <a:gd name="T44" fmla="*/ 82372435 w 426"/>
              <a:gd name="T45" fmla="*/ 63708118 h 299"/>
              <a:gd name="T46" fmla="*/ 82178954 w 426"/>
              <a:gd name="T47" fmla="*/ 69627542 h 299"/>
              <a:gd name="T48" fmla="*/ 82372435 w 426"/>
              <a:gd name="T49" fmla="*/ 77239044 h 299"/>
              <a:gd name="T50" fmla="*/ 81792431 w 426"/>
              <a:gd name="T51" fmla="*/ 80339712 h 299"/>
              <a:gd name="T52" fmla="*/ 79665458 w 426"/>
              <a:gd name="T53" fmla="*/ 83440380 h 299"/>
              <a:gd name="T54" fmla="*/ 73477578 w 426"/>
              <a:gd name="T55" fmla="*/ 84004234 h 299"/>
              <a:gd name="T56" fmla="*/ 71544086 w 426"/>
              <a:gd name="T57" fmla="*/ 84286161 h 299"/>
              <a:gd name="T58" fmla="*/ 69610593 w 426"/>
              <a:gd name="T59" fmla="*/ 83440380 h 299"/>
              <a:gd name="T60" fmla="*/ 67870142 w 426"/>
              <a:gd name="T61" fmla="*/ 81749348 h 299"/>
              <a:gd name="T62" fmla="*/ 65356646 w 426"/>
              <a:gd name="T63" fmla="*/ 78366222 h 299"/>
              <a:gd name="T64" fmla="*/ 62649669 w 426"/>
              <a:gd name="T65" fmla="*/ 73573991 h 299"/>
              <a:gd name="T66" fmla="*/ 60135733 w 426"/>
              <a:gd name="T67" fmla="*/ 71319105 h 299"/>
              <a:gd name="T68" fmla="*/ 56848738 w 426"/>
              <a:gd name="T69" fmla="*/ 70755251 h 299"/>
              <a:gd name="T70" fmla="*/ 53754798 w 426"/>
              <a:gd name="T71" fmla="*/ 65399150 h 299"/>
              <a:gd name="T72" fmla="*/ 52981313 w 426"/>
              <a:gd name="T73" fmla="*/ 59197814 h 299"/>
              <a:gd name="T74" fmla="*/ 52014347 w 426"/>
              <a:gd name="T75" fmla="*/ 55532761 h 299"/>
              <a:gd name="T76" fmla="*/ 50467817 w 426"/>
              <a:gd name="T77" fmla="*/ 51868240 h 299"/>
              <a:gd name="T78" fmla="*/ 48533885 w 426"/>
              <a:gd name="T79" fmla="*/ 48767572 h 299"/>
              <a:gd name="T80" fmla="*/ 46020388 w 426"/>
              <a:gd name="T81" fmla="*/ 46512686 h 299"/>
              <a:gd name="T82" fmla="*/ 42926449 w 426"/>
              <a:gd name="T83" fmla="*/ 45384977 h 299"/>
              <a:gd name="T84" fmla="*/ 39445986 w 426"/>
              <a:gd name="T85" fmla="*/ 45384977 h 299"/>
              <a:gd name="T86" fmla="*/ 36352047 w 426"/>
              <a:gd name="T87" fmla="*/ 45948831 h 299"/>
              <a:gd name="T88" fmla="*/ 33451588 w 426"/>
              <a:gd name="T89" fmla="*/ 47357936 h 299"/>
              <a:gd name="T90" fmla="*/ 30938092 w 426"/>
              <a:gd name="T91" fmla="*/ 49613353 h 299"/>
              <a:gd name="T92" fmla="*/ 27264141 w 426"/>
              <a:gd name="T93" fmla="*/ 53841730 h 299"/>
              <a:gd name="T94" fmla="*/ 22816713 w 426"/>
              <a:gd name="T95" fmla="*/ 60606919 h 299"/>
              <a:gd name="T96" fmla="*/ 20303217 w 426"/>
              <a:gd name="T97" fmla="*/ 61452701 h 299"/>
              <a:gd name="T98" fmla="*/ 19336251 w 426"/>
              <a:gd name="T99" fmla="*/ 56660470 h 299"/>
              <a:gd name="T100" fmla="*/ 17402758 w 426"/>
              <a:gd name="T101" fmla="*/ 52432094 h 299"/>
              <a:gd name="T102" fmla="*/ 14695341 w 426"/>
              <a:gd name="T103" fmla="*/ 48203718 h 299"/>
              <a:gd name="T104" fmla="*/ 9668345 w 426"/>
              <a:gd name="T105" fmla="*/ 43129560 h 299"/>
              <a:gd name="T106" fmla="*/ 4640911 w 426"/>
              <a:gd name="T107" fmla="*/ 37773475 h 299"/>
              <a:gd name="T108" fmla="*/ 1546970 w 426"/>
              <a:gd name="T109" fmla="*/ 33545091 h 299"/>
              <a:gd name="T110" fmla="*/ 2900459 w 426"/>
              <a:gd name="T111" fmla="*/ 28471464 h 299"/>
              <a:gd name="T112" fmla="*/ 8894860 w 426"/>
              <a:gd name="T113" fmla="*/ 21705744 h 299"/>
              <a:gd name="T114" fmla="*/ 14502300 w 426"/>
              <a:gd name="T115" fmla="*/ 13530914 h 299"/>
              <a:gd name="T116" fmla="*/ 18949728 w 426"/>
              <a:gd name="T117" fmla="*/ 4792233 h 299"/>
              <a:gd name="T118" fmla="*/ 34612035 w 426"/>
              <a:gd name="T119" fmla="*/ 3664523 h 29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426"/>
              <a:gd name="T181" fmla="*/ 0 h 299"/>
              <a:gd name="T182" fmla="*/ 426 w 426"/>
              <a:gd name="T183" fmla="*/ 299 h 299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426" h="299">
                <a:moveTo>
                  <a:pt x="179" y="13"/>
                </a:moveTo>
                <a:lnTo>
                  <a:pt x="194" y="16"/>
                </a:lnTo>
                <a:lnTo>
                  <a:pt x="207" y="19"/>
                </a:lnTo>
                <a:lnTo>
                  <a:pt x="216" y="22"/>
                </a:lnTo>
                <a:lnTo>
                  <a:pt x="223" y="24"/>
                </a:lnTo>
                <a:lnTo>
                  <a:pt x="230" y="29"/>
                </a:lnTo>
                <a:lnTo>
                  <a:pt x="233" y="31"/>
                </a:lnTo>
                <a:lnTo>
                  <a:pt x="253" y="35"/>
                </a:lnTo>
                <a:lnTo>
                  <a:pt x="269" y="37"/>
                </a:lnTo>
                <a:lnTo>
                  <a:pt x="279" y="37"/>
                </a:lnTo>
                <a:lnTo>
                  <a:pt x="285" y="37"/>
                </a:lnTo>
                <a:lnTo>
                  <a:pt x="300" y="37"/>
                </a:lnTo>
                <a:lnTo>
                  <a:pt x="314" y="36"/>
                </a:lnTo>
                <a:lnTo>
                  <a:pt x="319" y="34"/>
                </a:lnTo>
                <a:lnTo>
                  <a:pt x="325" y="32"/>
                </a:lnTo>
                <a:lnTo>
                  <a:pt x="329" y="29"/>
                </a:lnTo>
                <a:lnTo>
                  <a:pt x="331" y="25"/>
                </a:lnTo>
                <a:lnTo>
                  <a:pt x="365" y="25"/>
                </a:lnTo>
                <a:lnTo>
                  <a:pt x="368" y="37"/>
                </a:lnTo>
                <a:lnTo>
                  <a:pt x="372" y="49"/>
                </a:lnTo>
                <a:lnTo>
                  <a:pt x="376" y="62"/>
                </a:lnTo>
                <a:lnTo>
                  <a:pt x="383" y="74"/>
                </a:lnTo>
                <a:lnTo>
                  <a:pt x="386" y="79"/>
                </a:lnTo>
                <a:lnTo>
                  <a:pt x="391" y="84"/>
                </a:lnTo>
                <a:lnTo>
                  <a:pt x="395" y="88"/>
                </a:lnTo>
                <a:lnTo>
                  <a:pt x="400" y="92"/>
                </a:lnTo>
                <a:lnTo>
                  <a:pt x="405" y="95"/>
                </a:lnTo>
                <a:lnTo>
                  <a:pt x="412" y="97"/>
                </a:lnTo>
                <a:lnTo>
                  <a:pt x="418" y="98"/>
                </a:lnTo>
                <a:lnTo>
                  <a:pt x="425" y="99"/>
                </a:lnTo>
                <a:lnTo>
                  <a:pt x="425" y="111"/>
                </a:lnTo>
                <a:lnTo>
                  <a:pt x="425" y="120"/>
                </a:lnTo>
                <a:lnTo>
                  <a:pt x="425" y="130"/>
                </a:lnTo>
                <a:lnTo>
                  <a:pt x="425" y="142"/>
                </a:lnTo>
                <a:lnTo>
                  <a:pt x="419" y="151"/>
                </a:lnTo>
                <a:lnTo>
                  <a:pt x="416" y="158"/>
                </a:lnTo>
                <a:lnTo>
                  <a:pt x="413" y="164"/>
                </a:lnTo>
                <a:lnTo>
                  <a:pt x="412" y="170"/>
                </a:lnTo>
                <a:lnTo>
                  <a:pt x="412" y="175"/>
                </a:lnTo>
                <a:lnTo>
                  <a:pt x="412" y="181"/>
                </a:lnTo>
                <a:lnTo>
                  <a:pt x="414" y="186"/>
                </a:lnTo>
                <a:lnTo>
                  <a:pt x="415" y="190"/>
                </a:lnTo>
                <a:lnTo>
                  <a:pt x="419" y="200"/>
                </a:lnTo>
                <a:lnTo>
                  <a:pt x="423" y="211"/>
                </a:lnTo>
                <a:lnTo>
                  <a:pt x="425" y="218"/>
                </a:lnTo>
                <a:lnTo>
                  <a:pt x="426" y="226"/>
                </a:lnTo>
                <a:lnTo>
                  <a:pt x="426" y="236"/>
                </a:lnTo>
                <a:lnTo>
                  <a:pt x="425" y="247"/>
                </a:lnTo>
                <a:lnTo>
                  <a:pt x="426" y="261"/>
                </a:lnTo>
                <a:lnTo>
                  <a:pt x="426" y="274"/>
                </a:lnTo>
                <a:lnTo>
                  <a:pt x="425" y="280"/>
                </a:lnTo>
                <a:lnTo>
                  <a:pt x="423" y="285"/>
                </a:lnTo>
                <a:lnTo>
                  <a:pt x="418" y="292"/>
                </a:lnTo>
                <a:lnTo>
                  <a:pt x="412" y="296"/>
                </a:lnTo>
                <a:lnTo>
                  <a:pt x="385" y="296"/>
                </a:lnTo>
                <a:lnTo>
                  <a:pt x="380" y="298"/>
                </a:lnTo>
                <a:lnTo>
                  <a:pt x="375" y="299"/>
                </a:lnTo>
                <a:lnTo>
                  <a:pt x="370" y="299"/>
                </a:lnTo>
                <a:lnTo>
                  <a:pt x="365" y="297"/>
                </a:lnTo>
                <a:lnTo>
                  <a:pt x="360" y="296"/>
                </a:lnTo>
                <a:lnTo>
                  <a:pt x="356" y="293"/>
                </a:lnTo>
                <a:lnTo>
                  <a:pt x="351" y="290"/>
                </a:lnTo>
                <a:lnTo>
                  <a:pt x="347" y="286"/>
                </a:lnTo>
                <a:lnTo>
                  <a:pt x="338" y="278"/>
                </a:lnTo>
                <a:lnTo>
                  <a:pt x="330" y="269"/>
                </a:lnTo>
                <a:lnTo>
                  <a:pt x="324" y="261"/>
                </a:lnTo>
                <a:lnTo>
                  <a:pt x="318" y="253"/>
                </a:lnTo>
                <a:lnTo>
                  <a:pt x="311" y="253"/>
                </a:lnTo>
                <a:lnTo>
                  <a:pt x="304" y="252"/>
                </a:lnTo>
                <a:lnTo>
                  <a:pt x="294" y="251"/>
                </a:lnTo>
                <a:lnTo>
                  <a:pt x="279" y="247"/>
                </a:lnTo>
                <a:lnTo>
                  <a:pt x="278" y="232"/>
                </a:lnTo>
                <a:lnTo>
                  <a:pt x="275" y="217"/>
                </a:lnTo>
                <a:lnTo>
                  <a:pt x="274" y="210"/>
                </a:lnTo>
                <a:lnTo>
                  <a:pt x="272" y="203"/>
                </a:lnTo>
                <a:lnTo>
                  <a:pt x="269" y="197"/>
                </a:lnTo>
                <a:lnTo>
                  <a:pt x="266" y="190"/>
                </a:lnTo>
                <a:lnTo>
                  <a:pt x="261" y="184"/>
                </a:lnTo>
                <a:lnTo>
                  <a:pt x="257" y="179"/>
                </a:lnTo>
                <a:lnTo>
                  <a:pt x="251" y="173"/>
                </a:lnTo>
                <a:lnTo>
                  <a:pt x="245" y="168"/>
                </a:lnTo>
                <a:lnTo>
                  <a:pt x="238" y="165"/>
                </a:lnTo>
                <a:lnTo>
                  <a:pt x="230" y="162"/>
                </a:lnTo>
                <a:lnTo>
                  <a:pt x="222" y="161"/>
                </a:lnTo>
                <a:lnTo>
                  <a:pt x="213" y="160"/>
                </a:lnTo>
                <a:lnTo>
                  <a:pt x="204" y="161"/>
                </a:lnTo>
                <a:lnTo>
                  <a:pt x="195" y="162"/>
                </a:lnTo>
                <a:lnTo>
                  <a:pt x="188" y="163"/>
                </a:lnTo>
                <a:lnTo>
                  <a:pt x="181" y="166"/>
                </a:lnTo>
                <a:lnTo>
                  <a:pt x="173" y="168"/>
                </a:lnTo>
                <a:lnTo>
                  <a:pt x="167" y="172"/>
                </a:lnTo>
                <a:lnTo>
                  <a:pt x="160" y="176"/>
                </a:lnTo>
                <a:lnTo>
                  <a:pt x="155" y="181"/>
                </a:lnTo>
                <a:lnTo>
                  <a:pt x="141" y="191"/>
                </a:lnTo>
                <a:lnTo>
                  <a:pt x="131" y="202"/>
                </a:lnTo>
                <a:lnTo>
                  <a:pt x="118" y="215"/>
                </a:lnTo>
                <a:lnTo>
                  <a:pt x="106" y="228"/>
                </a:lnTo>
                <a:lnTo>
                  <a:pt x="105" y="218"/>
                </a:lnTo>
                <a:lnTo>
                  <a:pt x="103" y="209"/>
                </a:lnTo>
                <a:lnTo>
                  <a:pt x="100" y="201"/>
                </a:lnTo>
                <a:lnTo>
                  <a:pt x="95" y="193"/>
                </a:lnTo>
                <a:lnTo>
                  <a:pt x="90" y="186"/>
                </a:lnTo>
                <a:lnTo>
                  <a:pt x="83" y="179"/>
                </a:lnTo>
                <a:lnTo>
                  <a:pt x="76" y="171"/>
                </a:lnTo>
                <a:lnTo>
                  <a:pt x="68" y="165"/>
                </a:lnTo>
                <a:lnTo>
                  <a:pt x="50" y="153"/>
                </a:lnTo>
                <a:lnTo>
                  <a:pt x="33" y="140"/>
                </a:lnTo>
                <a:lnTo>
                  <a:pt x="24" y="134"/>
                </a:lnTo>
                <a:lnTo>
                  <a:pt x="15" y="127"/>
                </a:lnTo>
                <a:lnTo>
                  <a:pt x="8" y="119"/>
                </a:lnTo>
                <a:lnTo>
                  <a:pt x="0" y="111"/>
                </a:lnTo>
                <a:lnTo>
                  <a:pt x="15" y="101"/>
                </a:lnTo>
                <a:lnTo>
                  <a:pt x="31" y="90"/>
                </a:lnTo>
                <a:lnTo>
                  <a:pt x="46" y="77"/>
                </a:lnTo>
                <a:lnTo>
                  <a:pt x="60" y="62"/>
                </a:lnTo>
                <a:lnTo>
                  <a:pt x="75" y="48"/>
                </a:lnTo>
                <a:lnTo>
                  <a:pt x="87" y="33"/>
                </a:lnTo>
                <a:lnTo>
                  <a:pt x="98" y="17"/>
                </a:lnTo>
                <a:lnTo>
                  <a:pt x="106" y="0"/>
                </a:lnTo>
                <a:lnTo>
                  <a:pt x="179" y="13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66" name="Freeform 464"/>
          <p:cNvSpPr>
            <a:spLocks/>
          </p:cNvSpPr>
          <p:nvPr userDrawn="1">
            <p:custDataLst>
              <p:tags r:id="rId301"/>
            </p:custDataLst>
          </p:nvPr>
        </p:nvSpPr>
        <p:spPr bwMode="auto">
          <a:xfrm>
            <a:off x="5748337" y="2085987"/>
            <a:ext cx="692150" cy="656035"/>
          </a:xfrm>
          <a:custGeom>
            <a:avLst/>
            <a:gdLst>
              <a:gd name="T0" fmla="*/ 89937814 w 1594"/>
              <a:gd name="T1" fmla="*/ 29354739 h 1670"/>
              <a:gd name="T2" fmla="*/ 91446301 w 1594"/>
              <a:gd name="T3" fmla="*/ 50753783 h 1670"/>
              <a:gd name="T4" fmla="*/ 108981052 w 1594"/>
              <a:gd name="T5" fmla="*/ 78737274 h 1670"/>
              <a:gd name="T6" fmla="*/ 132172874 w 1594"/>
              <a:gd name="T7" fmla="*/ 125924622 h 1670"/>
              <a:gd name="T8" fmla="*/ 149896511 w 1594"/>
              <a:gd name="T9" fmla="*/ 136898339 h 1670"/>
              <a:gd name="T10" fmla="*/ 165357418 w 1594"/>
              <a:gd name="T11" fmla="*/ 135252622 h 1670"/>
              <a:gd name="T12" fmla="*/ 175350602 w 1594"/>
              <a:gd name="T13" fmla="*/ 147323690 h 1670"/>
              <a:gd name="T14" fmla="*/ 207780902 w 1594"/>
              <a:gd name="T15" fmla="*/ 155553847 h 1670"/>
              <a:gd name="T16" fmla="*/ 211363233 w 1594"/>
              <a:gd name="T17" fmla="*/ 126473544 h 1670"/>
              <a:gd name="T18" fmla="*/ 222299113 w 1594"/>
              <a:gd name="T19" fmla="*/ 147872612 h 1670"/>
              <a:gd name="T20" fmla="*/ 234366195 w 1594"/>
              <a:gd name="T21" fmla="*/ 153908130 h 1670"/>
              <a:gd name="T22" fmla="*/ 244925170 w 1594"/>
              <a:gd name="T23" fmla="*/ 136624402 h 1670"/>
              <a:gd name="T24" fmla="*/ 264722652 w 1594"/>
              <a:gd name="T25" fmla="*/ 112207346 h 1670"/>
              <a:gd name="T26" fmla="*/ 292062134 w 1594"/>
              <a:gd name="T27" fmla="*/ 117420005 h 1670"/>
              <a:gd name="T28" fmla="*/ 297718744 w 1594"/>
              <a:gd name="T29" fmla="*/ 136624402 h 1670"/>
              <a:gd name="T30" fmla="*/ 283577437 w 1594"/>
              <a:gd name="T31" fmla="*/ 148695470 h 1670"/>
              <a:gd name="T32" fmla="*/ 279995106 w 1594"/>
              <a:gd name="T33" fmla="*/ 186280882 h 1670"/>
              <a:gd name="T34" fmla="*/ 269436131 w 1594"/>
              <a:gd name="T35" fmla="*/ 193139258 h 1670"/>
              <a:gd name="T36" fmla="*/ 265476895 w 1594"/>
              <a:gd name="T37" fmla="*/ 223317372 h 1670"/>
              <a:gd name="T38" fmla="*/ 249072859 w 1594"/>
              <a:gd name="T39" fmla="*/ 206856535 h 1670"/>
              <a:gd name="T40" fmla="*/ 249450197 w 1594"/>
              <a:gd name="T41" fmla="*/ 191493541 h 1670"/>
              <a:gd name="T42" fmla="*/ 230972317 w 1594"/>
              <a:gd name="T43" fmla="*/ 175032704 h 1670"/>
              <a:gd name="T44" fmla="*/ 223807600 w 1594"/>
              <a:gd name="T45" fmla="*/ 161315428 h 1670"/>
              <a:gd name="T46" fmla="*/ 213248625 w 1594"/>
              <a:gd name="T47" fmla="*/ 157749009 h 1670"/>
              <a:gd name="T48" fmla="*/ 212494381 w 1594"/>
              <a:gd name="T49" fmla="*/ 171466286 h 1670"/>
              <a:gd name="T50" fmla="*/ 210608990 w 1594"/>
              <a:gd name="T51" fmla="*/ 187378201 h 1670"/>
              <a:gd name="T52" fmla="*/ 218716782 w 1594"/>
              <a:gd name="T53" fmla="*/ 201643876 h 1670"/>
              <a:gd name="T54" fmla="*/ 216642504 w 1594"/>
              <a:gd name="T55" fmla="*/ 231273591 h 1670"/>
              <a:gd name="T56" fmla="*/ 202690084 w 1594"/>
              <a:gd name="T57" fmla="*/ 237034648 h 1670"/>
              <a:gd name="T58" fmla="*/ 197787718 w 1594"/>
              <a:gd name="T59" fmla="*/ 257061904 h 1670"/>
              <a:gd name="T60" fmla="*/ 179875629 w 1594"/>
              <a:gd name="T61" fmla="*/ 274620125 h 1670"/>
              <a:gd name="T62" fmla="*/ 171956723 w 1594"/>
              <a:gd name="T63" fmla="*/ 288062941 h 1670"/>
              <a:gd name="T64" fmla="*/ 147067989 w 1594"/>
              <a:gd name="T65" fmla="*/ 325922813 h 1670"/>
              <a:gd name="T66" fmla="*/ 136320996 w 1594"/>
              <a:gd name="T67" fmla="*/ 338268310 h 1670"/>
              <a:gd name="T68" fmla="*/ 140280232 w 1594"/>
              <a:gd name="T69" fmla="*/ 368720884 h 1670"/>
              <a:gd name="T70" fmla="*/ 134246718 w 1594"/>
              <a:gd name="T71" fmla="*/ 396429375 h 1670"/>
              <a:gd name="T72" fmla="*/ 136132109 w 1594"/>
              <a:gd name="T73" fmla="*/ 418102871 h 1670"/>
              <a:gd name="T74" fmla="*/ 130664387 w 1594"/>
              <a:gd name="T75" fmla="*/ 432369069 h 1670"/>
              <a:gd name="T76" fmla="*/ 112186479 w 1594"/>
              <a:gd name="T77" fmla="*/ 456237204 h 1670"/>
              <a:gd name="T78" fmla="*/ 97291363 w 1594"/>
              <a:gd name="T79" fmla="*/ 419474651 h 1670"/>
              <a:gd name="T80" fmla="*/ 79001934 w 1594"/>
              <a:gd name="T81" fmla="*/ 365977324 h 1670"/>
              <a:gd name="T82" fmla="*/ 56753257 w 1594"/>
              <a:gd name="T83" fmla="*/ 305621097 h 1670"/>
              <a:gd name="T84" fmla="*/ 48834351 w 1594"/>
              <a:gd name="T85" fmla="*/ 236211790 h 1670"/>
              <a:gd name="T86" fmla="*/ 43366194 w 1594"/>
              <a:gd name="T87" fmla="*/ 223317372 h 1670"/>
              <a:gd name="T88" fmla="*/ 30921827 w 1594"/>
              <a:gd name="T89" fmla="*/ 246911046 h 1670"/>
              <a:gd name="T90" fmla="*/ 16969401 w 1594"/>
              <a:gd name="T91" fmla="*/ 240326606 h 1670"/>
              <a:gd name="T92" fmla="*/ 9615848 w 1594"/>
              <a:gd name="T93" fmla="*/ 218928095 h 1670"/>
              <a:gd name="T94" fmla="*/ 5656611 w 1594"/>
              <a:gd name="T95" fmla="*/ 211520797 h 1670"/>
              <a:gd name="T96" fmla="*/ 6033516 w 1594"/>
              <a:gd name="T97" fmla="*/ 194236578 h 1670"/>
              <a:gd name="T98" fmla="*/ 29979131 w 1594"/>
              <a:gd name="T99" fmla="*/ 180793762 h 1670"/>
              <a:gd name="T100" fmla="*/ 17346305 w 1594"/>
              <a:gd name="T101" fmla="*/ 156102768 h 1670"/>
              <a:gd name="T102" fmla="*/ 11124336 w 1594"/>
              <a:gd name="T103" fmla="*/ 137172800 h 1670"/>
              <a:gd name="T104" fmla="*/ 30544922 w 1594"/>
              <a:gd name="T105" fmla="*/ 125924622 h 1670"/>
              <a:gd name="T106" fmla="*/ 50908195 w 1594"/>
              <a:gd name="T107" fmla="*/ 80657452 h 1670"/>
              <a:gd name="T108" fmla="*/ 51662438 w 1594"/>
              <a:gd name="T109" fmla="*/ 63099280 h 1670"/>
              <a:gd name="T110" fmla="*/ 42800403 w 1594"/>
              <a:gd name="T111" fmla="*/ 38957208 h 1670"/>
              <a:gd name="T112" fmla="*/ 60712940 w 1594"/>
              <a:gd name="T113" fmla="*/ 14814600 h 167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594"/>
              <a:gd name="T172" fmla="*/ 0 h 1670"/>
              <a:gd name="T173" fmla="*/ 1594 w 1594"/>
              <a:gd name="T174" fmla="*/ 1670 h 1670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594" h="1670">
                <a:moveTo>
                  <a:pt x="385" y="0"/>
                </a:moveTo>
                <a:lnTo>
                  <a:pt x="400" y="16"/>
                </a:lnTo>
                <a:lnTo>
                  <a:pt x="415" y="33"/>
                </a:lnTo>
                <a:lnTo>
                  <a:pt x="427" y="48"/>
                </a:lnTo>
                <a:lnTo>
                  <a:pt x="437" y="63"/>
                </a:lnTo>
                <a:lnTo>
                  <a:pt x="448" y="76"/>
                </a:lnTo>
                <a:lnTo>
                  <a:pt x="459" y="90"/>
                </a:lnTo>
                <a:lnTo>
                  <a:pt x="464" y="96"/>
                </a:lnTo>
                <a:lnTo>
                  <a:pt x="471" y="101"/>
                </a:lnTo>
                <a:lnTo>
                  <a:pt x="477" y="107"/>
                </a:lnTo>
                <a:lnTo>
                  <a:pt x="485" y="111"/>
                </a:lnTo>
                <a:lnTo>
                  <a:pt x="492" y="118"/>
                </a:lnTo>
                <a:lnTo>
                  <a:pt x="499" y="126"/>
                </a:lnTo>
                <a:lnTo>
                  <a:pt x="506" y="134"/>
                </a:lnTo>
                <a:lnTo>
                  <a:pt x="512" y="144"/>
                </a:lnTo>
                <a:lnTo>
                  <a:pt x="519" y="153"/>
                </a:lnTo>
                <a:lnTo>
                  <a:pt x="523" y="163"/>
                </a:lnTo>
                <a:lnTo>
                  <a:pt x="528" y="174"/>
                </a:lnTo>
                <a:lnTo>
                  <a:pt x="531" y="185"/>
                </a:lnTo>
                <a:lnTo>
                  <a:pt x="485" y="185"/>
                </a:lnTo>
                <a:lnTo>
                  <a:pt x="485" y="216"/>
                </a:lnTo>
                <a:lnTo>
                  <a:pt x="490" y="229"/>
                </a:lnTo>
                <a:lnTo>
                  <a:pt x="497" y="240"/>
                </a:lnTo>
                <a:lnTo>
                  <a:pt x="505" y="250"/>
                </a:lnTo>
                <a:lnTo>
                  <a:pt x="514" y="257"/>
                </a:lnTo>
                <a:lnTo>
                  <a:pt x="523" y="264"/>
                </a:lnTo>
                <a:lnTo>
                  <a:pt x="534" y="269"/>
                </a:lnTo>
                <a:lnTo>
                  <a:pt x="544" y="274"/>
                </a:lnTo>
                <a:lnTo>
                  <a:pt x="556" y="278"/>
                </a:lnTo>
                <a:lnTo>
                  <a:pt x="578" y="287"/>
                </a:lnTo>
                <a:lnTo>
                  <a:pt x="600" y="296"/>
                </a:lnTo>
                <a:lnTo>
                  <a:pt x="610" y="302"/>
                </a:lnTo>
                <a:lnTo>
                  <a:pt x="620" y="310"/>
                </a:lnTo>
                <a:lnTo>
                  <a:pt x="629" y="318"/>
                </a:lnTo>
                <a:lnTo>
                  <a:pt x="638" y="327"/>
                </a:lnTo>
                <a:lnTo>
                  <a:pt x="631" y="420"/>
                </a:lnTo>
                <a:lnTo>
                  <a:pt x="643" y="429"/>
                </a:lnTo>
                <a:lnTo>
                  <a:pt x="660" y="440"/>
                </a:lnTo>
                <a:lnTo>
                  <a:pt x="679" y="450"/>
                </a:lnTo>
                <a:lnTo>
                  <a:pt x="701" y="459"/>
                </a:lnTo>
                <a:lnTo>
                  <a:pt x="723" y="468"/>
                </a:lnTo>
                <a:lnTo>
                  <a:pt x="744" y="475"/>
                </a:lnTo>
                <a:lnTo>
                  <a:pt x="753" y="478"/>
                </a:lnTo>
                <a:lnTo>
                  <a:pt x="762" y="480"/>
                </a:lnTo>
                <a:lnTo>
                  <a:pt x="770" y="481"/>
                </a:lnTo>
                <a:lnTo>
                  <a:pt x="777" y="481"/>
                </a:lnTo>
                <a:lnTo>
                  <a:pt x="779" y="488"/>
                </a:lnTo>
                <a:lnTo>
                  <a:pt x="784" y="494"/>
                </a:lnTo>
                <a:lnTo>
                  <a:pt x="789" y="497"/>
                </a:lnTo>
                <a:lnTo>
                  <a:pt x="795" y="499"/>
                </a:lnTo>
                <a:lnTo>
                  <a:pt x="800" y="501"/>
                </a:lnTo>
                <a:lnTo>
                  <a:pt x="807" y="501"/>
                </a:lnTo>
                <a:lnTo>
                  <a:pt x="814" y="500"/>
                </a:lnTo>
                <a:lnTo>
                  <a:pt x="822" y="499"/>
                </a:lnTo>
                <a:lnTo>
                  <a:pt x="836" y="496"/>
                </a:lnTo>
                <a:lnTo>
                  <a:pt x="852" y="492"/>
                </a:lnTo>
                <a:lnTo>
                  <a:pt x="858" y="492"/>
                </a:lnTo>
                <a:lnTo>
                  <a:pt x="865" y="491"/>
                </a:lnTo>
                <a:lnTo>
                  <a:pt x="871" y="492"/>
                </a:lnTo>
                <a:lnTo>
                  <a:pt x="877" y="493"/>
                </a:lnTo>
                <a:lnTo>
                  <a:pt x="886" y="499"/>
                </a:lnTo>
                <a:lnTo>
                  <a:pt x="892" y="504"/>
                </a:lnTo>
                <a:lnTo>
                  <a:pt x="898" y="511"/>
                </a:lnTo>
                <a:lnTo>
                  <a:pt x="903" y="517"/>
                </a:lnTo>
                <a:lnTo>
                  <a:pt x="908" y="523"/>
                </a:lnTo>
                <a:lnTo>
                  <a:pt x="914" y="529"/>
                </a:lnTo>
                <a:lnTo>
                  <a:pt x="918" y="532"/>
                </a:lnTo>
                <a:lnTo>
                  <a:pt x="921" y="534"/>
                </a:lnTo>
                <a:lnTo>
                  <a:pt x="925" y="536"/>
                </a:lnTo>
                <a:lnTo>
                  <a:pt x="930" y="537"/>
                </a:lnTo>
                <a:lnTo>
                  <a:pt x="946" y="540"/>
                </a:lnTo>
                <a:lnTo>
                  <a:pt x="968" y="546"/>
                </a:lnTo>
                <a:lnTo>
                  <a:pt x="993" y="552"/>
                </a:lnTo>
                <a:lnTo>
                  <a:pt x="1021" y="559"/>
                </a:lnTo>
                <a:lnTo>
                  <a:pt x="1047" y="564"/>
                </a:lnTo>
                <a:lnTo>
                  <a:pt x="1071" y="568"/>
                </a:lnTo>
                <a:lnTo>
                  <a:pt x="1082" y="569"/>
                </a:lnTo>
                <a:lnTo>
                  <a:pt x="1090" y="570"/>
                </a:lnTo>
                <a:lnTo>
                  <a:pt x="1098" y="569"/>
                </a:lnTo>
                <a:lnTo>
                  <a:pt x="1102" y="567"/>
                </a:lnTo>
                <a:lnTo>
                  <a:pt x="1098" y="560"/>
                </a:lnTo>
                <a:lnTo>
                  <a:pt x="1093" y="552"/>
                </a:lnTo>
                <a:lnTo>
                  <a:pt x="1090" y="544"/>
                </a:lnTo>
                <a:lnTo>
                  <a:pt x="1088" y="535"/>
                </a:lnTo>
                <a:lnTo>
                  <a:pt x="1083" y="520"/>
                </a:lnTo>
                <a:lnTo>
                  <a:pt x="1082" y="512"/>
                </a:lnTo>
                <a:lnTo>
                  <a:pt x="1082" y="481"/>
                </a:lnTo>
                <a:lnTo>
                  <a:pt x="1082" y="450"/>
                </a:lnTo>
                <a:lnTo>
                  <a:pt x="1115" y="450"/>
                </a:lnTo>
                <a:lnTo>
                  <a:pt x="1121" y="461"/>
                </a:lnTo>
                <a:lnTo>
                  <a:pt x="1125" y="468"/>
                </a:lnTo>
                <a:lnTo>
                  <a:pt x="1131" y="474"/>
                </a:lnTo>
                <a:lnTo>
                  <a:pt x="1136" y="481"/>
                </a:lnTo>
                <a:lnTo>
                  <a:pt x="1135" y="497"/>
                </a:lnTo>
                <a:lnTo>
                  <a:pt x="1132" y="507"/>
                </a:lnTo>
                <a:lnTo>
                  <a:pt x="1130" y="515"/>
                </a:lnTo>
                <a:lnTo>
                  <a:pt x="1128" y="524"/>
                </a:lnTo>
                <a:lnTo>
                  <a:pt x="1149" y="530"/>
                </a:lnTo>
                <a:lnTo>
                  <a:pt x="1169" y="536"/>
                </a:lnTo>
                <a:lnTo>
                  <a:pt x="1179" y="539"/>
                </a:lnTo>
                <a:lnTo>
                  <a:pt x="1189" y="541"/>
                </a:lnTo>
                <a:lnTo>
                  <a:pt x="1199" y="542"/>
                </a:lnTo>
                <a:lnTo>
                  <a:pt x="1209" y="543"/>
                </a:lnTo>
                <a:lnTo>
                  <a:pt x="1210" y="547"/>
                </a:lnTo>
                <a:lnTo>
                  <a:pt x="1212" y="551"/>
                </a:lnTo>
                <a:lnTo>
                  <a:pt x="1215" y="554"/>
                </a:lnTo>
                <a:lnTo>
                  <a:pt x="1220" y="557"/>
                </a:lnTo>
                <a:lnTo>
                  <a:pt x="1228" y="560"/>
                </a:lnTo>
                <a:lnTo>
                  <a:pt x="1235" y="561"/>
                </a:lnTo>
                <a:lnTo>
                  <a:pt x="1243" y="561"/>
                </a:lnTo>
                <a:lnTo>
                  <a:pt x="1249" y="559"/>
                </a:lnTo>
                <a:lnTo>
                  <a:pt x="1256" y="556"/>
                </a:lnTo>
                <a:lnTo>
                  <a:pt x="1261" y="553"/>
                </a:lnTo>
                <a:lnTo>
                  <a:pt x="1267" y="549"/>
                </a:lnTo>
                <a:lnTo>
                  <a:pt x="1272" y="544"/>
                </a:lnTo>
                <a:lnTo>
                  <a:pt x="1277" y="539"/>
                </a:lnTo>
                <a:lnTo>
                  <a:pt x="1281" y="534"/>
                </a:lnTo>
                <a:lnTo>
                  <a:pt x="1289" y="521"/>
                </a:lnTo>
                <a:lnTo>
                  <a:pt x="1294" y="509"/>
                </a:lnTo>
                <a:lnTo>
                  <a:pt x="1299" y="498"/>
                </a:lnTo>
                <a:lnTo>
                  <a:pt x="1302" y="487"/>
                </a:lnTo>
                <a:lnTo>
                  <a:pt x="1312" y="476"/>
                </a:lnTo>
                <a:lnTo>
                  <a:pt x="1322" y="465"/>
                </a:lnTo>
                <a:lnTo>
                  <a:pt x="1333" y="456"/>
                </a:lnTo>
                <a:lnTo>
                  <a:pt x="1344" y="446"/>
                </a:lnTo>
                <a:lnTo>
                  <a:pt x="1356" y="438"/>
                </a:lnTo>
                <a:lnTo>
                  <a:pt x="1367" y="430"/>
                </a:lnTo>
                <a:lnTo>
                  <a:pt x="1379" y="423"/>
                </a:lnTo>
                <a:lnTo>
                  <a:pt x="1391" y="416"/>
                </a:lnTo>
                <a:lnTo>
                  <a:pt x="1404" y="409"/>
                </a:lnTo>
                <a:lnTo>
                  <a:pt x="1417" y="403"/>
                </a:lnTo>
                <a:lnTo>
                  <a:pt x="1430" y="398"/>
                </a:lnTo>
                <a:lnTo>
                  <a:pt x="1444" y="393"/>
                </a:lnTo>
                <a:lnTo>
                  <a:pt x="1472" y="384"/>
                </a:lnTo>
                <a:lnTo>
                  <a:pt x="1501" y="377"/>
                </a:lnTo>
                <a:lnTo>
                  <a:pt x="1507" y="385"/>
                </a:lnTo>
                <a:lnTo>
                  <a:pt x="1515" y="395"/>
                </a:lnTo>
                <a:lnTo>
                  <a:pt x="1526" y="406"/>
                </a:lnTo>
                <a:lnTo>
                  <a:pt x="1537" y="418"/>
                </a:lnTo>
                <a:lnTo>
                  <a:pt x="1549" y="428"/>
                </a:lnTo>
                <a:lnTo>
                  <a:pt x="1562" y="436"/>
                </a:lnTo>
                <a:lnTo>
                  <a:pt x="1568" y="440"/>
                </a:lnTo>
                <a:lnTo>
                  <a:pt x="1574" y="442"/>
                </a:lnTo>
                <a:lnTo>
                  <a:pt x="1581" y="444"/>
                </a:lnTo>
                <a:lnTo>
                  <a:pt x="1587" y="444"/>
                </a:lnTo>
                <a:lnTo>
                  <a:pt x="1594" y="432"/>
                </a:lnTo>
                <a:lnTo>
                  <a:pt x="1590" y="453"/>
                </a:lnTo>
                <a:lnTo>
                  <a:pt x="1585" y="477"/>
                </a:lnTo>
                <a:lnTo>
                  <a:pt x="1583" y="488"/>
                </a:lnTo>
                <a:lnTo>
                  <a:pt x="1579" y="498"/>
                </a:lnTo>
                <a:lnTo>
                  <a:pt x="1576" y="502"/>
                </a:lnTo>
                <a:lnTo>
                  <a:pt x="1574" y="506"/>
                </a:lnTo>
                <a:lnTo>
                  <a:pt x="1571" y="509"/>
                </a:lnTo>
                <a:lnTo>
                  <a:pt x="1568" y="512"/>
                </a:lnTo>
                <a:lnTo>
                  <a:pt x="1554" y="515"/>
                </a:lnTo>
                <a:lnTo>
                  <a:pt x="1531" y="523"/>
                </a:lnTo>
                <a:lnTo>
                  <a:pt x="1520" y="530"/>
                </a:lnTo>
                <a:lnTo>
                  <a:pt x="1511" y="536"/>
                </a:lnTo>
                <a:lnTo>
                  <a:pt x="1506" y="539"/>
                </a:lnTo>
                <a:lnTo>
                  <a:pt x="1504" y="542"/>
                </a:lnTo>
                <a:lnTo>
                  <a:pt x="1502" y="546"/>
                </a:lnTo>
                <a:lnTo>
                  <a:pt x="1501" y="549"/>
                </a:lnTo>
                <a:lnTo>
                  <a:pt x="1502" y="584"/>
                </a:lnTo>
                <a:lnTo>
                  <a:pt x="1501" y="624"/>
                </a:lnTo>
                <a:lnTo>
                  <a:pt x="1498" y="634"/>
                </a:lnTo>
                <a:lnTo>
                  <a:pt x="1497" y="645"/>
                </a:lnTo>
                <a:lnTo>
                  <a:pt x="1495" y="654"/>
                </a:lnTo>
                <a:lnTo>
                  <a:pt x="1493" y="663"/>
                </a:lnTo>
                <a:lnTo>
                  <a:pt x="1490" y="671"/>
                </a:lnTo>
                <a:lnTo>
                  <a:pt x="1485" y="679"/>
                </a:lnTo>
                <a:lnTo>
                  <a:pt x="1480" y="685"/>
                </a:lnTo>
                <a:lnTo>
                  <a:pt x="1474" y="690"/>
                </a:lnTo>
                <a:lnTo>
                  <a:pt x="1471" y="693"/>
                </a:lnTo>
                <a:lnTo>
                  <a:pt x="1464" y="694"/>
                </a:lnTo>
                <a:lnTo>
                  <a:pt x="1457" y="695"/>
                </a:lnTo>
                <a:lnTo>
                  <a:pt x="1449" y="696"/>
                </a:lnTo>
                <a:lnTo>
                  <a:pt x="1441" y="697"/>
                </a:lnTo>
                <a:lnTo>
                  <a:pt x="1434" y="700"/>
                </a:lnTo>
                <a:lnTo>
                  <a:pt x="1431" y="701"/>
                </a:lnTo>
                <a:lnTo>
                  <a:pt x="1429" y="704"/>
                </a:lnTo>
                <a:lnTo>
                  <a:pt x="1428" y="706"/>
                </a:lnTo>
                <a:lnTo>
                  <a:pt x="1428" y="709"/>
                </a:lnTo>
                <a:lnTo>
                  <a:pt x="1427" y="721"/>
                </a:lnTo>
                <a:lnTo>
                  <a:pt x="1427" y="735"/>
                </a:lnTo>
                <a:lnTo>
                  <a:pt x="1425" y="750"/>
                </a:lnTo>
                <a:lnTo>
                  <a:pt x="1423" y="764"/>
                </a:lnTo>
                <a:lnTo>
                  <a:pt x="1420" y="778"/>
                </a:lnTo>
                <a:lnTo>
                  <a:pt x="1417" y="791"/>
                </a:lnTo>
                <a:lnTo>
                  <a:pt x="1413" y="803"/>
                </a:lnTo>
                <a:lnTo>
                  <a:pt x="1408" y="814"/>
                </a:lnTo>
                <a:lnTo>
                  <a:pt x="1361" y="733"/>
                </a:lnTo>
                <a:lnTo>
                  <a:pt x="1359" y="737"/>
                </a:lnTo>
                <a:lnTo>
                  <a:pt x="1354" y="746"/>
                </a:lnTo>
                <a:lnTo>
                  <a:pt x="1349" y="751"/>
                </a:lnTo>
                <a:lnTo>
                  <a:pt x="1345" y="755"/>
                </a:lnTo>
                <a:lnTo>
                  <a:pt x="1340" y="758"/>
                </a:lnTo>
                <a:lnTo>
                  <a:pt x="1335" y="759"/>
                </a:lnTo>
                <a:lnTo>
                  <a:pt x="1329" y="758"/>
                </a:lnTo>
                <a:lnTo>
                  <a:pt x="1325" y="757"/>
                </a:lnTo>
                <a:lnTo>
                  <a:pt x="1321" y="754"/>
                </a:lnTo>
                <a:lnTo>
                  <a:pt x="1316" y="751"/>
                </a:lnTo>
                <a:lnTo>
                  <a:pt x="1313" y="746"/>
                </a:lnTo>
                <a:lnTo>
                  <a:pt x="1311" y="742"/>
                </a:lnTo>
                <a:lnTo>
                  <a:pt x="1308" y="738"/>
                </a:lnTo>
                <a:lnTo>
                  <a:pt x="1308" y="733"/>
                </a:lnTo>
                <a:lnTo>
                  <a:pt x="1308" y="727"/>
                </a:lnTo>
                <a:lnTo>
                  <a:pt x="1311" y="721"/>
                </a:lnTo>
                <a:lnTo>
                  <a:pt x="1313" y="715"/>
                </a:lnTo>
                <a:lnTo>
                  <a:pt x="1315" y="709"/>
                </a:lnTo>
                <a:lnTo>
                  <a:pt x="1323" y="698"/>
                </a:lnTo>
                <a:lnTo>
                  <a:pt x="1332" y="687"/>
                </a:lnTo>
                <a:lnTo>
                  <a:pt x="1340" y="677"/>
                </a:lnTo>
                <a:lnTo>
                  <a:pt x="1348" y="666"/>
                </a:lnTo>
                <a:lnTo>
                  <a:pt x="1350" y="660"/>
                </a:lnTo>
                <a:lnTo>
                  <a:pt x="1352" y="655"/>
                </a:lnTo>
                <a:lnTo>
                  <a:pt x="1355" y="648"/>
                </a:lnTo>
                <a:lnTo>
                  <a:pt x="1355" y="642"/>
                </a:lnTo>
                <a:lnTo>
                  <a:pt x="1235" y="642"/>
                </a:lnTo>
                <a:lnTo>
                  <a:pt x="1231" y="641"/>
                </a:lnTo>
                <a:lnTo>
                  <a:pt x="1225" y="638"/>
                </a:lnTo>
                <a:lnTo>
                  <a:pt x="1221" y="632"/>
                </a:lnTo>
                <a:lnTo>
                  <a:pt x="1217" y="626"/>
                </a:lnTo>
                <a:lnTo>
                  <a:pt x="1214" y="618"/>
                </a:lnTo>
                <a:lnTo>
                  <a:pt x="1211" y="610"/>
                </a:lnTo>
                <a:lnTo>
                  <a:pt x="1210" y="601"/>
                </a:lnTo>
                <a:lnTo>
                  <a:pt x="1209" y="592"/>
                </a:lnTo>
                <a:lnTo>
                  <a:pt x="1203" y="592"/>
                </a:lnTo>
                <a:lnTo>
                  <a:pt x="1198" y="591"/>
                </a:lnTo>
                <a:lnTo>
                  <a:pt x="1192" y="590"/>
                </a:lnTo>
                <a:lnTo>
                  <a:pt x="1187" y="588"/>
                </a:lnTo>
                <a:lnTo>
                  <a:pt x="1182" y="585"/>
                </a:lnTo>
                <a:lnTo>
                  <a:pt x="1179" y="582"/>
                </a:lnTo>
                <a:lnTo>
                  <a:pt x="1177" y="577"/>
                </a:lnTo>
                <a:lnTo>
                  <a:pt x="1176" y="573"/>
                </a:lnTo>
                <a:lnTo>
                  <a:pt x="1167" y="573"/>
                </a:lnTo>
                <a:lnTo>
                  <a:pt x="1159" y="573"/>
                </a:lnTo>
                <a:lnTo>
                  <a:pt x="1151" y="573"/>
                </a:lnTo>
                <a:lnTo>
                  <a:pt x="1143" y="573"/>
                </a:lnTo>
                <a:lnTo>
                  <a:pt x="1136" y="574"/>
                </a:lnTo>
                <a:lnTo>
                  <a:pt x="1131" y="575"/>
                </a:lnTo>
                <a:lnTo>
                  <a:pt x="1124" y="578"/>
                </a:lnTo>
                <a:lnTo>
                  <a:pt x="1117" y="582"/>
                </a:lnTo>
                <a:lnTo>
                  <a:pt x="1112" y="587"/>
                </a:lnTo>
                <a:lnTo>
                  <a:pt x="1106" y="592"/>
                </a:lnTo>
                <a:lnTo>
                  <a:pt x="1103" y="598"/>
                </a:lnTo>
                <a:lnTo>
                  <a:pt x="1102" y="604"/>
                </a:lnTo>
                <a:lnTo>
                  <a:pt x="1104" y="608"/>
                </a:lnTo>
                <a:lnTo>
                  <a:pt x="1110" y="613"/>
                </a:lnTo>
                <a:lnTo>
                  <a:pt x="1117" y="619"/>
                </a:lnTo>
                <a:lnTo>
                  <a:pt x="1127" y="625"/>
                </a:lnTo>
                <a:lnTo>
                  <a:pt x="1137" y="631"/>
                </a:lnTo>
                <a:lnTo>
                  <a:pt x="1147" y="636"/>
                </a:lnTo>
                <a:lnTo>
                  <a:pt x="1156" y="640"/>
                </a:lnTo>
                <a:lnTo>
                  <a:pt x="1162" y="642"/>
                </a:lnTo>
                <a:lnTo>
                  <a:pt x="1149" y="652"/>
                </a:lnTo>
                <a:lnTo>
                  <a:pt x="1134" y="664"/>
                </a:lnTo>
                <a:lnTo>
                  <a:pt x="1127" y="670"/>
                </a:lnTo>
                <a:lnTo>
                  <a:pt x="1121" y="677"/>
                </a:lnTo>
                <a:lnTo>
                  <a:pt x="1119" y="680"/>
                </a:lnTo>
                <a:lnTo>
                  <a:pt x="1117" y="683"/>
                </a:lnTo>
                <a:lnTo>
                  <a:pt x="1116" y="687"/>
                </a:lnTo>
                <a:lnTo>
                  <a:pt x="1115" y="690"/>
                </a:lnTo>
                <a:lnTo>
                  <a:pt x="1116" y="695"/>
                </a:lnTo>
                <a:lnTo>
                  <a:pt x="1117" y="698"/>
                </a:lnTo>
                <a:lnTo>
                  <a:pt x="1120" y="702"/>
                </a:lnTo>
                <a:lnTo>
                  <a:pt x="1122" y="706"/>
                </a:lnTo>
                <a:lnTo>
                  <a:pt x="1130" y="714"/>
                </a:lnTo>
                <a:lnTo>
                  <a:pt x="1139" y="722"/>
                </a:lnTo>
                <a:lnTo>
                  <a:pt x="1149" y="729"/>
                </a:lnTo>
                <a:lnTo>
                  <a:pt x="1160" y="735"/>
                </a:lnTo>
                <a:lnTo>
                  <a:pt x="1166" y="737"/>
                </a:lnTo>
                <a:lnTo>
                  <a:pt x="1171" y="738"/>
                </a:lnTo>
                <a:lnTo>
                  <a:pt x="1177" y="739"/>
                </a:lnTo>
                <a:lnTo>
                  <a:pt x="1182" y="740"/>
                </a:lnTo>
                <a:lnTo>
                  <a:pt x="1209" y="844"/>
                </a:lnTo>
                <a:lnTo>
                  <a:pt x="1194" y="844"/>
                </a:lnTo>
                <a:lnTo>
                  <a:pt x="1180" y="844"/>
                </a:lnTo>
                <a:lnTo>
                  <a:pt x="1167" y="844"/>
                </a:lnTo>
                <a:lnTo>
                  <a:pt x="1156" y="844"/>
                </a:lnTo>
                <a:lnTo>
                  <a:pt x="1149" y="843"/>
                </a:lnTo>
                <a:lnTo>
                  <a:pt x="1142" y="838"/>
                </a:lnTo>
                <a:lnTo>
                  <a:pt x="1137" y="836"/>
                </a:lnTo>
                <a:lnTo>
                  <a:pt x="1132" y="834"/>
                </a:lnTo>
                <a:lnTo>
                  <a:pt x="1127" y="833"/>
                </a:lnTo>
                <a:lnTo>
                  <a:pt x="1122" y="832"/>
                </a:lnTo>
                <a:lnTo>
                  <a:pt x="1117" y="834"/>
                </a:lnTo>
                <a:lnTo>
                  <a:pt x="1109" y="839"/>
                </a:lnTo>
                <a:lnTo>
                  <a:pt x="1099" y="846"/>
                </a:lnTo>
                <a:lnTo>
                  <a:pt x="1087" y="854"/>
                </a:lnTo>
                <a:lnTo>
                  <a:pt x="1075" y="864"/>
                </a:lnTo>
                <a:lnTo>
                  <a:pt x="1065" y="872"/>
                </a:lnTo>
                <a:lnTo>
                  <a:pt x="1058" y="878"/>
                </a:lnTo>
                <a:lnTo>
                  <a:pt x="1056" y="882"/>
                </a:lnTo>
                <a:lnTo>
                  <a:pt x="1076" y="894"/>
                </a:lnTo>
                <a:lnTo>
                  <a:pt x="1075" y="900"/>
                </a:lnTo>
                <a:lnTo>
                  <a:pt x="1072" y="907"/>
                </a:lnTo>
                <a:lnTo>
                  <a:pt x="1069" y="912"/>
                </a:lnTo>
                <a:lnTo>
                  <a:pt x="1066" y="919"/>
                </a:lnTo>
                <a:lnTo>
                  <a:pt x="1058" y="928"/>
                </a:lnTo>
                <a:lnTo>
                  <a:pt x="1049" y="937"/>
                </a:lnTo>
                <a:lnTo>
                  <a:pt x="1039" y="945"/>
                </a:lnTo>
                <a:lnTo>
                  <a:pt x="1027" y="952"/>
                </a:lnTo>
                <a:lnTo>
                  <a:pt x="1016" y="958"/>
                </a:lnTo>
                <a:lnTo>
                  <a:pt x="1004" y="964"/>
                </a:lnTo>
                <a:lnTo>
                  <a:pt x="992" y="972"/>
                </a:lnTo>
                <a:lnTo>
                  <a:pt x="981" y="978"/>
                </a:lnTo>
                <a:lnTo>
                  <a:pt x="971" y="985"/>
                </a:lnTo>
                <a:lnTo>
                  <a:pt x="962" y="993"/>
                </a:lnTo>
                <a:lnTo>
                  <a:pt x="957" y="997"/>
                </a:lnTo>
                <a:lnTo>
                  <a:pt x="954" y="1001"/>
                </a:lnTo>
                <a:lnTo>
                  <a:pt x="951" y="1006"/>
                </a:lnTo>
                <a:lnTo>
                  <a:pt x="948" y="1011"/>
                </a:lnTo>
                <a:lnTo>
                  <a:pt x="946" y="1017"/>
                </a:lnTo>
                <a:lnTo>
                  <a:pt x="944" y="1022"/>
                </a:lnTo>
                <a:lnTo>
                  <a:pt x="943" y="1029"/>
                </a:lnTo>
                <a:lnTo>
                  <a:pt x="943" y="1036"/>
                </a:lnTo>
                <a:lnTo>
                  <a:pt x="934" y="1039"/>
                </a:lnTo>
                <a:lnTo>
                  <a:pt x="926" y="1042"/>
                </a:lnTo>
                <a:lnTo>
                  <a:pt x="919" y="1046"/>
                </a:lnTo>
                <a:lnTo>
                  <a:pt x="912" y="1050"/>
                </a:lnTo>
                <a:lnTo>
                  <a:pt x="898" y="1060"/>
                </a:lnTo>
                <a:lnTo>
                  <a:pt x="886" y="1072"/>
                </a:lnTo>
                <a:lnTo>
                  <a:pt x="864" y="1099"/>
                </a:lnTo>
                <a:lnTo>
                  <a:pt x="843" y="1128"/>
                </a:lnTo>
                <a:lnTo>
                  <a:pt x="832" y="1143"/>
                </a:lnTo>
                <a:lnTo>
                  <a:pt x="821" y="1156"/>
                </a:lnTo>
                <a:lnTo>
                  <a:pt x="809" y="1168"/>
                </a:lnTo>
                <a:lnTo>
                  <a:pt x="796" y="1179"/>
                </a:lnTo>
                <a:lnTo>
                  <a:pt x="788" y="1184"/>
                </a:lnTo>
                <a:lnTo>
                  <a:pt x="780" y="1188"/>
                </a:lnTo>
                <a:lnTo>
                  <a:pt x="773" y="1192"/>
                </a:lnTo>
                <a:lnTo>
                  <a:pt x="764" y="1196"/>
                </a:lnTo>
                <a:lnTo>
                  <a:pt x="754" y="1199"/>
                </a:lnTo>
                <a:lnTo>
                  <a:pt x="745" y="1201"/>
                </a:lnTo>
                <a:lnTo>
                  <a:pt x="734" y="1202"/>
                </a:lnTo>
                <a:lnTo>
                  <a:pt x="723" y="1202"/>
                </a:lnTo>
                <a:lnTo>
                  <a:pt x="723" y="1211"/>
                </a:lnTo>
                <a:lnTo>
                  <a:pt x="723" y="1220"/>
                </a:lnTo>
                <a:lnTo>
                  <a:pt x="723" y="1227"/>
                </a:lnTo>
                <a:lnTo>
                  <a:pt x="723" y="1233"/>
                </a:lnTo>
                <a:lnTo>
                  <a:pt x="723" y="1244"/>
                </a:lnTo>
                <a:lnTo>
                  <a:pt x="723" y="1261"/>
                </a:lnTo>
                <a:lnTo>
                  <a:pt x="723" y="1279"/>
                </a:lnTo>
                <a:lnTo>
                  <a:pt x="725" y="1298"/>
                </a:lnTo>
                <a:lnTo>
                  <a:pt x="727" y="1308"/>
                </a:lnTo>
                <a:lnTo>
                  <a:pt x="729" y="1317"/>
                </a:lnTo>
                <a:lnTo>
                  <a:pt x="731" y="1325"/>
                </a:lnTo>
                <a:lnTo>
                  <a:pt x="735" y="1332"/>
                </a:lnTo>
                <a:lnTo>
                  <a:pt x="739" y="1339"/>
                </a:lnTo>
                <a:lnTo>
                  <a:pt x="744" y="1344"/>
                </a:lnTo>
                <a:lnTo>
                  <a:pt x="750" y="1348"/>
                </a:lnTo>
                <a:lnTo>
                  <a:pt x="757" y="1350"/>
                </a:lnTo>
                <a:lnTo>
                  <a:pt x="751" y="1366"/>
                </a:lnTo>
                <a:lnTo>
                  <a:pt x="744" y="1380"/>
                </a:lnTo>
                <a:lnTo>
                  <a:pt x="736" y="1393"/>
                </a:lnTo>
                <a:lnTo>
                  <a:pt x="729" y="1405"/>
                </a:lnTo>
                <a:lnTo>
                  <a:pt x="721" y="1419"/>
                </a:lnTo>
                <a:lnTo>
                  <a:pt x="716" y="1432"/>
                </a:lnTo>
                <a:lnTo>
                  <a:pt x="713" y="1438"/>
                </a:lnTo>
                <a:lnTo>
                  <a:pt x="712" y="1445"/>
                </a:lnTo>
                <a:lnTo>
                  <a:pt x="711" y="1453"/>
                </a:lnTo>
                <a:lnTo>
                  <a:pt x="710" y="1460"/>
                </a:lnTo>
                <a:lnTo>
                  <a:pt x="711" y="1463"/>
                </a:lnTo>
                <a:lnTo>
                  <a:pt x="712" y="1465"/>
                </a:lnTo>
                <a:lnTo>
                  <a:pt x="714" y="1467"/>
                </a:lnTo>
                <a:lnTo>
                  <a:pt x="718" y="1469"/>
                </a:lnTo>
                <a:lnTo>
                  <a:pt x="724" y="1473"/>
                </a:lnTo>
                <a:lnTo>
                  <a:pt x="730" y="1474"/>
                </a:lnTo>
                <a:lnTo>
                  <a:pt x="730" y="1510"/>
                </a:lnTo>
                <a:lnTo>
                  <a:pt x="722" y="1524"/>
                </a:lnTo>
                <a:lnTo>
                  <a:pt x="716" y="1539"/>
                </a:lnTo>
                <a:lnTo>
                  <a:pt x="711" y="1545"/>
                </a:lnTo>
                <a:lnTo>
                  <a:pt x="706" y="1549"/>
                </a:lnTo>
                <a:lnTo>
                  <a:pt x="702" y="1551"/>
                </a:lnTo>
                <a:lnTo>
                  <a:pt x="699" y="1552"/>
                </a:lnTo>
                <a:lnTo>
                  <a:pt x="695" y="1553"/>
                </a:lnTo>
                <a:lnTo>
                  <a:pt x="690" y="1553"/>
                </a:lnTo>
                <a:lnTo>
                  <a:pt x="690" y="1561"/>
                </a:lnTo>
                <a:lnTo>
                  <a:pt x="691" y="1571"/>
                </a:lnTo>
                <a:lnTo>
                  <a:pt x="693" y="1576"/>
                </a:lnTo>
                <a:lnTo>
                  <a:pt x="694" y="1580"/>
                </a:lnTo>
                <a:lnTo>
                  <a:pt x="695" y="1583"/>
                </a:lnTo>
                <a:lnTo>
                  <a:pt x="697" y="1584"/>
                </a:lnTo>
                <a:lnTo>
                  <a:pt x="671" y="1605"/>
                </a:lnTo>
                <a:lnTo>
                  <a:pt x="649" y="1622"/>
                </a:lnTo>
                <a:lnTo>
                  <a:pt x="639" y="1632"/>
                </a:lnTo>
                <a:lnTo>
                  <a:pt x="630" y="1643"/>
                </a:lnTo>
                <a:lnTo>
                  <a:pt x="620" y="1656"/>
                </a:lnTo>
                <a:lnTo>
                  <a:pt x="611" y="1670"/>
                </a:lnTo>
                <a:lnTo>
                  <a:pt x="595" y="1663"/>
                </a:lnTo>
                <a:lnTo>
                  <a:pt x="584" y="1656"/>
                </a:lnTo>
                <a:lnTo>
                  <a:pt x="575" y="1649"/>
                </a:lnTo>
                <a:lnTo>
                  <a:pt x="568" y="1641"/>
                </a:lnTo>
                <a:lnTo>
                  <a:pt x="563" y="1631"/>
                </a:lnTo>
                <a:lnTo>
                  <a:pt x="560" y="1621"/>
                </a:lnTo>
                <a:lnTo>
                  <a:pt x="555" y="1609"/>
                </a:lnTo>
                <a:lnTo>
                  <a:pt x="551" y="1597"/>
                </a:lnTo>
                <a:lnTo>
                  <a:pt x="542" y="1574"/>
                </a:lnTo>
                <a:lnTo>
                  <a:pt x="530" y="1552"/>
                </a:lnTo>
                <a:lnTo>
                  <a:pt x="516" y="1529"/>
                </a:lnTo>
                <a:lnTo>
                  <a:pt x="501" y="1505"/>
                </a:lnTo>
                <a:lnTo>
                  <a:pt x="486" y="1483"/>
                </a:lnTo>
                <a:lnTo>
                  <a:pt x="473" y="1461"/>
                </a:lnTo>
                <a:lnTo>
                  <a:pt x="461" y="1441"/>
                </a:lnTo>
                <a:lnTo>
                  <a:pt x="451" y="1424"/>
                </a:lnTo>
                <a:lnTo>
                  <a:pt x="442" y="1405"/>
                </a:lnTo>
                <a:lnTo>
                  <a:pt x="436" y="1388"/>
                </a:lnTo>
                <a:lnTo>
                  <a:pt x="430" y="1370"/>
                </a:lnTo>
                <a:lnTo>
                  <a:pt x="425" y="1352"/>
                </a:lnTo>
                <a:lnTo>
                  <a:pt x="419" y="1334"/>
                </a:lnTo>
                <a:lnTo>
                  <a:pt x="414" y="1316"/>
                </a:lnTo>
                <a:lnTo>
                  <a:pt x="407" y="1296"/>
                </a:lnTo>
                <a:lnTo>
                  <a:pt x="398" y="1276"/>
                </a:lnTo>
                <a:lnTo>
                  <a:pt x="376" y="1244"/>
                </a:lnTo>
                <a:lnTo>
                  <a:pt x="352" y="1214"/>
                </a:lnTo>
                <a:lnTo>
                  <a:pt x="341" y="1200"/>
                </a:lnTo>
                <a:lnTo>
                  <a:pt x="330" y="1184"/>
                </a:lnTo>
                <a:lnTo>
                  <a:pt x="320" y="1169"/>
                </a:lnTo>
                <a:lnTo>
                  <a:pt x="312" y="1153"/>
                </a:lnTo>
                <a:lnTo>
                  <a:pt x="301" y="1114"/>
                </a:lnTo>
                <a:lnTo>
                  <a:pt x="292" y="1078"/>
                </a:lnTo>
                <a:lnTo>
                  <a:pt x="284" y="1043"/>
                </a:lnTo>
                <a:lnTo>
                  <a:pt x="280" y="1008"/>
                </a:lnTo>
                <a:lnTo>
                  <a:pt x="275" y="974"/>
                </a:lnTo>
                <a:lnTo>
                  <a:pt x="273" y="938"/>
                </a:lnTo>
                <a:lnTo>
                  <a:pt x="272" y="901"/>
                </a:lnTo>
                <a:lnTo>
                  <a:pt x="272" y="864"/>
                </a:lnTo>
                <a:lnTo>
                  <a:pt x="268" y="863"/>
                </a:lnTo>
                <a:lnTo>
                  <a:pt x="263" y="862"/>
                </a:lnTo>
                <a:lnTo>
                  <a:pt x="259" y="861"/>
                </a:lnTo>
                <a:lnTo>
                  <a:pt x="256" y="857"/>
                </a:lnTo>
                <a:lnTo>
                  <a:pt x="252" y="855"/>
                </a:lnTo>
                <a:lnTo>
                  <a:pt x="250" y="852"/>
                </a:lnTo>
                <a:lnTo>
                  <a:pt x="247" y="848"/>
                </a:lnTo>
                <a:lnTo>
                  <a:pt x="246" y="844"/>
                </a:lnTo>
                <a:lnTo>
                  <a:pt x="242" y="836"/>
                </a:lnTo>
                <a:lnTo>
                  <a:pt x="240" y="827"/>
                </a:lnTo>
                <a:lnTo>
                  <a:pt x="239" y="817"/>
                </a:lnTo>
                <a:lnTo>
                  <a:pt x="239" y="808"/>
                </a:lnTo>
                <a:lnTo>
                  <a:pt x="230" y="814"/>
                </a:lnTo>
                <a:lnTo>
                  <a:pt x="224" y="821"/>
                </a:lnTo>
                <a:lnTo>
                  <a:pt x="217" y="828"/>
                </a:lnTo>
                <a:lnTo>
                  <a:pt x="210" y="836"/>
                </a:lnTo>
                <a:lnTo>
                  <a:pt x="201" y="852"/>
                </a:lnTo>
                <a:lnTo>
                  <a:pt x="192" y="869"/>
                </a:lnTo>
                <a:lnTo>
                  <a:pt x="186" y="876"/>
                </a:lnTo>
                <a:lnTo>
                  <a:pt x="182" y="883"/>
                </a:lnTo>
                <a:lnTo>
                  <a:pt x="176" y="890"/>
                </a:lnTo>
                <a:lnTo>
                  <a:pt x="171" y="895"/>
                </a:lnTo>
                <a:lnTo>
                  <a:pt x="164" y="900"/>
                </a:lnTo>
                <a:lnTo>
                  <a:pt x="157" y="903"/>
                </a:lnTo>
                <a:lnTo>
                  <a:pt x="148" y="905"/>
                </a:lnTo>
                <a:lnTo>
                  <a:pt x="139" y="906"/>
                </a:lnTo>
                <a:lnTo>
                  <a:pt x="134" y="905"/>
                </a:lnTo>
                <a:lnTo>
                  <a:pt x="127" y="903"/>
                </a:lnTo>
                <a:lnTo>
                  <a:pt x="120" y="900"/>
                </a:lnTo>
                <a:lnTo>
                  <a:pt x="113" y="895"/>
                </a:lnTo>
                <a:lnTo>
                  <a:pt x="105" y="889"/>
                </a:lnTo>
                <a:lnTo>
                  <a:pt x="97" y="883"/>
                </a:lnTo>
                <a:lnTo>
                  <a:pt x="90" y="876"/>
                </a:lnTo>
                <a:lnTo>
                  <a:pt x="82" y="868"/>
                </a:lnTo>
                <a:lnTo>
                  <a:pt x="75" y="860"/>
                </a:lnTo>
                <a:lnTo>
                  <a:pt x="69" y="851"/>
                </a:lnTo>
                <a:lnTo>
                  <a:pt x="62" y="842"/>
                </a:lnTo>
                <a:lnTo>
                  <a:pt x="57" y="833"/>
                </a:lnTo>
                <a:lnTo>
                  <a:pt x="52" y="825"/>
                </a:lnTo>
                <a:lnTo>
                  <a:pt x="49" y="817"/>
                </a:lnTo>
                <a:lnTo>
                  <a:pt x="47" y="809"/>
                </a:lnTo>
                <a:lnTo>
                  <a:pt x="46" y="801"/>
                </a:lnTo>
                <a:lnTo>
                  <a:pt x="51" y="798"/>
                </a:lnTo>
                <a:lnTo>
                  <a:pt x="63" y="792"/>
                </a:lnTo>
                <a:lnTo>
                  <a:pt x="77" y="786"/>
                </a:lnTo>
                <a:lnTo>
                  <a:pt x="85" y="783"/>
                </a:lnTo>
                <a:lnTo>
                  <a:pt x="77" y="783"/>
                </a:lnTo>
                <a:lnTo>
                  <a:pt x="67" y="782"/>
                </a:lnTo>
                <a:lnTo>
                  <a:pt x="59" y="780"/>
                </a:lnTo>
                <a:lnTo>
                  <a:pt x="51" y="779"/>
                </a:lnTo>
                <a:lnTo>
                  <a:pt x="44" y="776"/>
                </a:lnTo>
                <a:lnTo>
                  <a:pt x="37" y="774"/>
                </a:lnTo>
                <a:lnTo>
                  <a:pt x="30" y="771"/>
                </a:lnTo>
                <a:lnTo>
                  <a:pt x="25" y="767"/>
                </a:lnTo>
                <a:lnTo>
                  <a:pt x="21" y="763"/>
                </a:lnTo>
                <a:lnTo>
                  <a:pt x="16" y="759"/>
                </a:lnTo>
                <a:lnTo>
                  <a:pt x="12" y="754"/>
                </a:lnTo>
                <a:lnTo>
                  <a:pt x="8" y="750"/>
                </a:lnTo>
                <a:lnTo>
                  <a:pt x="3" y="738"/>
                </a:lnTo>
                <a:lnTo>
                  <a:pt x="0" y="727"/>
                </a:lnTo>
                <a:lnTo>
                  <a:pt x="10" y="719"/>
                </a:lnTo>
                <a:lnTo>
                  <a:pt x="21" y="713"/>
                </a:lnTo>
                <a:lnTo>
                  <a:pt x="32" y="708"/>
                </a:lnTo>
                <a:lnTo>
                  <a:pt x="44" y="704"/>
                </a:lnTo>
                <a:lnTo>
                  <a:pt x="67" y="699"/>
                </a:lnTo>
                <a:lnTo>
                  <a:pt x="90" y="695"/>
                </a:lnTo>
                <a:lnTo>
                  <a:pt x="102" y="693"/>
                </a:lnTo>
                <a:lnTo>
                  <a:pt x="113" y="689"/>
                </a:lnTo>
                <a:lnTo>
                  <a:pt x="123" y="686"/>
                </a:lnTo>
                <a:lnTo>
                  <a:pt x="133" y="681"/>
                </a:lnTo>
                <a:lnTo>
                  <a:pt x="142" y="676"/>
                </a:lnTo>
                <a:lnTo>
                  <a:pt x="151" y="668"/>
                </a:lnTo>
                <a:lnTo>
                  <a:pt x="159" y="659"/>
                </a:lnTo>
                <a:lnTo>
                  <a:pt x="165" y="648"/>
                </a:lnTo>
                <a:lnTo>
                  <a:pt x="161" y="646"/>
                </a:lnTo>
                <a:lnTo>
                  <a:pt x="157" y="643"/>
                </a:lnTo>
                <a:lnTo>
                  <a:pt x="151" y="639"/>
                </a:lnTo>
                <a:lnTo>
                  <a:pt x="145" y="633"/>
                </a:lnTo>
                <a:lnTo>
                  <a:pt x="131" y="621"/>
                </a:lnTo>
                <a:lnTo>
                  <a:pt x="118" y="607"/>
                </a:lnTo>
                <a:lnTo>
                  <a:pt x="106" y="592"/>
                </a:lnTo>
                <a:lnTo>
                  <a:pt x="95" y="576"/>
                </a:lnTo>
                <a:lnTo>
                  <a:pt x="92" y="569"/>
                </a:lnTo>
                <a:lnTo>
                  <a:pt x="89" y="562"/>
                </a:lnTo>
                <a:lnTo>
                  <a:pt x="86" y="555"/>
                </a:lnTo>
                <a:lnTo>
                  <a:pt x="85" y="549"/>
                </a:lnTo>
                <a:lnTo>
                  <a:pt x="81" y="548"/>
                </a:lnTo>
                <a:lnTo>
                  <a:pt x="77" y="547"/>
                </a:lnTo>
                <a:lnTo>
                  <a:pt x="73" y="545"/>
                </a:lnTo>
                <a:lnTo>
                  <a:pt x="70" y="541"/>
                </a:lnTo>
                <a:lnTo>
                  <a:pt x="64" y="534"/>
                </a:lnTo>
                <a:lnTo>
                  <a:pt x="59" y="524"/>
                </a:lnTo>
                <a:lnTo>
                  <a:pt x="59" y="500"/>
                </a:lnTo>
                <a:lnTo>
                  <a:pt x="73" y="499"/>
                </a:lnTo>
                <a:lnTo>
                  <a:pt x="86" y="498"/>
                </a:lnTo>
                <a:lnTo>
                  <a:pt x="98" y="496"/>
                </a:lnTo>
                <a:lnTo>
                  <a:pt x="109" y="492"/>
                </a:lnTo>
                <a:lnTo>
                  <a:pt x="119" y="489"/>
                </a:lnTo>
                <a:lnTo>
                  <a:pt x="129" y="484"/>
                </a:lnTo>
                <a:lnTo>
                  <a:pt x="138" y="479"/>
                </a:lnTo>
                <a:lnTo>
                  <a:pt x="147" y="473"/>
                </a:lnTo>
                <a:lnTo>
                  <a:pt x="154" y="466"/>
                </a:lnTo>
                <a:lnTo>
                  <a:pt x="162" y="459"/>
                </a:lnTo>
                <a:lnTo>
                  <a:pt x="169" y="452"/>
                </a:lnTo>
                <a:lnTo>
                  <a:pt x="175" y="444"/>
                </a:lnTo>
                <a:lnTo>
                  <a:pt x="186" y="428"/>
                </a:lnTo>
                <a:lnTo>
                  <a:pt x="197" y="410"/>
                </a:lnTo>
                <a:lnTo>
                  <a:pt x="216" y="374"/>
                </a:lnTo>
                <a:lnTo>
                  <a:pt x="235" y="338"/>
                </a:lnTo>
                <a:lnTo>
                  <a:pt x="246" y="322"/>
                </a:lnTo>
                <a:lnTo>
                  <a:pt x="257" y="308"/>
                </a:lnTo>
                <a:lnTo>
                  <a:pt x="263" y="300"/>
                </a:lnTo>
                <a:lnTo>
                  <a:pt x="270" y="294"/>
                </a:lnTo>
                <a:lnTo>
                  <a:pt x="277" y="289"/>
                </a:lnTo>
                <a:lnTo>
                  <a:pt x="285" y="284"/>
                </a:lnTo>
                <a:lnTo>
                  <a:pt x="279" y="272"/>
                </a:lnTo>
                <a:lnTo>
                  <a:pt x="274" y="261"/>
                </a:lnTo>
                <a:lnTo>
                  <a:pt x="273" y="256"/>
                </a:lnTo>
                <a:lnTo>
                  <a:pt x="272" y="251"/>
                </a:lnTo>
                <a:lnTo>
                  <a:pt x="272" y="245"/>
                </a:lnTo>
                <a:lnTo>
                  <a:pt x="272" y="240"/>
                </a:lnTo>
                <a:lnTo>
                  <a:pt x="273" y="235"/>
                </a:lnTo>
                <a:lnTo>
                  <a:pt x="274" y="230"/>
                </a:lnTo>
                <a:lnTo>
                  <a:pt x="276" y="226"/>
                </a:lnTo>
                <a:lnTo>
                  <a:pt x="280" y="222"/>
                </a:lnTo>
                <a:lnTo>
                  <a:pt x="283" y="219"/>
                </a:lnTo>
                <a:lnTo>
                  <a:pt x="287" y="216"/>
                </a:lnTo>
                <a:lnTo>
                  <a:pt x="293" y="213"/>
                </a:lnTo>
                <a:lnTo>
                  <a:pt x="298" y="210"/>
                </a:lnTo>
                <a:lnTo>
                  <a:pt x="269" y="183"/>
                </a:lnTo>
                <a:lnTo>
                  <a:pt x="247" y="163"/>
                </a:lnTo>
                <a:lnTo>
                  <a:pt x="237" y="153"/>
                </a:lnTo>
                <a:lnTo>
                  <a:pt x="227" y="142"/>
                </a:lnTo>
                <a:lnTo>
                  <a:pt x="217" y="128"/>
                </a:lnTo>
                <a:lnTo>
                  <a:pt x="205" y="111"/>
                </a:lnTo>
                <a:lnTo>
                  <a:pt x="205" y="68"/>
                </a:lnTo>
                <a:lnTo>
                  <a:pt x="229" y="68"/>
                </a:lnTo>
                <a:lnTo>
                  <a:pt x="256" y="66"/>
                </a:lnTo>
                <a:lnTo>
                  <a:pt x="270" y="65"/>
                </a:lnTo>
                <a:lnTo>
                  <a:pt x="283" y="63"/>
                </a:lnTo>
                <a:lnTo>
                  <a:pt x="297" y="60"/>
                </a:lnTo>
                <a:lnTo>
                  <a:pt x="310" y="57"/>
                </a:lnTo>
                <a:lnTo>
                  <a:pt x="322" y="54"/>
                </a:lnTo>
                <a:lnTo>
                  <a:pt x="335" y="49"/>
                </a:lnTo>
                <a:lnTo>
                  <a:pt x="347" y="44"/>
                </a:lnTo>
                <a:lnTo>
                  <a:pt x="357" y="37"/>
                </a:lnTo>
                <a:lnTo>
                  <a:pt x="366" y="30"/>
                </a:lnTo>
                <a:lnTo>
                  <a:pt x="374" y="21"/>
                </a:lnTo>
                <a:lnTo>
                  <a:pt x="381" y="11"/>
                </a:lnTo>
                <a:lnTo>
                  <a:pt x="385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67" name="Freeform 465"/>
          <p:cNvSpPr>
            <a:spLocks/>
          </p:cNvSpPr>
          <p:nvPr userDrawn="1">
            <p:custDataLst>
              <p:tags r:id="rId302"/>
            </p:custDataLst>
          </p:nvPr>
        </p:nvSpPr>
        <p:spPr bwMode="auto">
          <a:xfrm>
            <a:off x="3870328" y="2682482"/>
            <a:ext cx="158750" cy="154781"/>
          </a:xfrm>
          <a:custGeom>
            <a:avLst/>
            <a:gdLst>
              <a:gd name="T0" fmla="*/ 10363854 w 359"/>
              <a:gd name="T1" fmla="*/ 104805501 h 394"/>
              <a:gd name="T2" fmla="*/ 10363854 w 359"/>
              <a:gd name="T3" fmla="*/ 98220884 h 394"/>
              <a:gd name="T4" fmla="*/ 10363854 w 359"/>
              <a:gd name="T5" fmla="*/ 91362322 h 394"/>
              <a:gd name="T6" fmla="*/ 9777054 w 359"/>
              <a:gd name="T7" fmla="*/ 85600585 h 394"/>
              <a:gd name="T8" fmla="*/ 8408444 w 359"/>
              <a:gd name="T9" fmla="*/ 80387784 h 394"/>
              <a:gd name="T10" fmla="*/ 6843937 w 359"/>
              <a:gd name="T11" fmla="*/ 75997865 h 394"/>
              <a:gd name="T12" fmla="*/ 2542211 w 359"/>
              <a:gd name="T13" fmla="*/ 67218533 h 394"/>
              <a:gd name="T14" fmla="*/ 0 w 359"/>
              <a:gd name="T15" fmla="*/ 50756727 h 394"/>
              <a:gd name="T16" fmla="*/ 6453032 w 359"/>
              <a:gd name="T17" fmla="*/ 49659378 h 394"/>
              <a:gd name="T18" fmla="*/ 7821644 w 359"/>
              <a:gd name="T19" fmla="*/ 46366808 h 394"/>
              <a:gd name="T20" fmla="*/ 8017097 w 359"/>
              <a:gd name="T21" fmla="*/ 41154007 h 394"/>
              <a:gd name="T22" fmla="*/ 7430739 w 359"/>
              <a:gd name="T23" fmla="*/ 29356581 h 394"/>
              <a:gd name="T24" fmla="*/ 6061685 w 359"/>
              <a:gd name="T25" fmla="*/ 17833631 h 394"/>
              <a:gd name="T26" fmla="*/ 6257137 w 359"/>
              <a:gd name="T27" fmla="*/ 12894771 h 394"/>
              <a:gd name="T28" fmla="*/ 7039390 w 359"/>
              <a:gd name="T29" fmla="*/ 9877192 h 394"/>
              <a:gd name="T30" fmla="*/ 23464929 w 359"/>
              <a:gd name="T31" fmla="*/ 8505373 h 394"/>
              <a:gd name="T32" fmla="*/ 23855834 w 359"/>
              <a:gd name="T33" fmla="*/ 6035683 h 394"/>
              <a:gd name="T34" fmla="*/ 25029434 w 359"/>
              <a:gd name="T35" fmla="*/ 3840984 h 394"/>
              <a:gd name="T36" fmla="*/ 27375750 w 359"/>
              <a:gd name="T37" fmla="*/ 0 h 394"/>
              <a:gd name="T38" fmla="*/ 27766655 w 359"/>
              <a:gd name="T39" fmla="*/ 4938334 h 394"/>
              <a:gd name="T40" fmla="*/ 27766655 w 359"/>
              <a:gd name="T41" fmla="*/ 7133556 h 394"/>
              <a:gd name="T42" fmla="*/ 27375750 w 359"/>
              <a:gd name="T43" fmla="*/ 8505373 h 394"/>
              <a:gd name="T44" fmla="*/ 32851082 w 359"/>
              <a:gd name="T45" fmla="*/ 8505373 h 394"/>
              <a:gd name="T46" fmla="*/ 36370555 w 359"/>
              <a:gd name="T47" fmla="*/ 8505373 h 394"/>
              <a:gd name="T48" fmla="*/ 41845881 w 359"/>
              <a:gd name="T49" fmla="*/ 10425605 h 394"/>
              <a:gd name="T50" fmla="*/ 45561248 w 359"/>
              <a:gd name="T51" fmla="*/ 13443707 h 394"/>
              <a:gd name="T52" fmla="*/ 48103016 w 359"/>
              <a:gd name="T53" fmla="*/ 15912874 h 394"/>
              <a:gd name="T54" fmla="*/ 50645226 w 359"/>
              <a:gd name="T55" fmla="*/ 16735754 h 394"/>
              <a:gd name="T56" fmla="*/ 52405184 w 359"/>
              <a:gd name="T57" fmla="*/ 16187342 h 394"/>
              <a:gd name="T58" fmla="*/ 53773794 w 359"/>
              <a:gd name="T59" fmla="*/ 14815525 h 394"/>
              <a:gd name="T60" fmla="*/ 55924657 w 359"/>
              <a:gd name="T61" fmla="*/ 10151137 h 394"/>
              <a:gd name="T62" fmla="*/ 61009091 w 359"/>
              <a:gd name="T63" fmla="*/ 14266588 h 394"/>
              <a:gd name="T64" fmla="*/ 63550859 w 359"/>
              <a:gd name="T65" fmla="*/ 16187342 h 394"/>
              <a:gd name="T66" fmla="*/ 66093069 w 359"/>
              <a:gd name="T67" fmla="*/ 16735754 h 394"/>
              <a:gd name="T68" fmla="*/ 69026185 w 359"/>
              <a:gd name="T69" fmla="*/ 44172110 h 394"/>
              <a:gd name="T70" fmla="*/ 66093069 w 359"/>
              <a:gd name="T71" fmla="*/ 50756727 h 394"/>
              <a:gd name="T72" fmla="*/ 63159954 w 359"/>
              <a:gd name="T73" fmla="*/ 56518464 h 394"/>
              <a:gd name="T74" fmla="*/ 61595449 w 359"/>
              <a:gd name="T75" fmla="*/ 61456796 h 394"/>
              <a:gd name="T76" fmla="*/ 61204544 w 359"/>
              <a:gd name="T77" fmla="*/ 65572248 h 394"/>
              <a:gd name="T78" fmla="*/ 61204544 w 359"/>
              <a:gd name="T79" fmla="*/ 69962184 h 394"/>
              <a:gd name="T80" fmla="*/ 62768607 w 359"/>
              <a:gd name="T81" fmla="*/ 74900516 h 394"/>
              <a:gd name="T82" fmla="*/ 64724017 w 359"/>
              <a:gd name="T83" fmla="*/ 80387784 h 394"/>
              <a:gd name="T84" fmla="*/ 65897617 w 359"/>
              <a:gd name="T85" fmla="*/ 84777180 h 394"/>
              <a:gd name="T86" fmla="*/ 65897617 w 359"/>
              <a:gd name="T87" fmla="*/ 88069751 h 394"/>
              <a:gd name="T88" fmla="*/ 64528564 w 359"/>
              <a:gd name="T89" fmla="*/ 92459671 h 394"/>
              <a:gd name="T90" fmla="*/ 63746312 w 359"/>
              <a:gd name="T91" fmla="*/ 96300654 h 394"/>
              <a:gd name="T92" fmla="*/ 62377701 w 359"/>
              <a:gd name="T93" fmla="*/ 98220884 h 394"/>
              <a:gd name="T94" fmla="*/ 60226839 w 359"/>
              <a:gd name="T95" fmla="*/ 97672471 h 394"/>
              <a:gd name="T96" fmla="*/ 58271428 w 359"/>
              <a:gd name="T97" fmla="*/ 96026186 h 394"/>
              <a:gd name="T98" fmla="*/ 56120552 w 359"/>
              <a:gd name="T99" fmla="*/ 93282551 h 394"/>
              <a:gd name="T100" fmla="*/ 54165142 w 359"/>
              <a:gd name="T101" fmla="*/ 91910734 h 394"/>
              <a:gd name="T102" fmla="*/ 52013837 w 359"/>
              <a:gd name="T103" fmla="*/ 91362322 h 394"/>
              <a:gd name="T104" fmla="*/ 48103016 w 359"/>
              <a:gd name="T105" fmla="*/ 91362322 h 394"/>
              <a:gd name="T106" fmla="*/ 43214491 w 359"/>
              <a:gd name="T107" fmla="*/ 92185202 h 394"/>
              <a:gd name="T108" fmla="*/ 35392850 w 359"/>
              <a:gd name="T109" fmla="*/ 94105432 h 394"/>
              <a:gd name="T110" fmla="*/ 25615792 w 359"/>
              <a:gd name="T111" fmla="*/ 98495352 h 394"/>
              <a:gd name="T112" fmla="*/ 16816446 w 359"/>
              <a:gd name="T113" fmla="*/ 102885271 h 394"/>
              <a:gd name="T114" fmla="*/ 10363854 w 359"/>
              <a:gd name="T115" fmla="*/ 108098072 h 394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359"/>
              <a:gd name="T175" fmla="*/ 0 h 394"/>
              <a:gd name="T176" fmla="*/ 359 w 359"/>
              <a:gd name="T177" fmla="*/ 394 h 394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359" h="394">
                <a:moveTo>
                  <a:pt x="53" y="394"/>
                </a:moveTo>
                <a:lnTo>
                  <a:pt x="53" y="382"/>
                </a:lnTo>
                <a:lnTo>
                  <a:pt x="53" y="370"/>
                </a:lnTo>
                <a:lnTo>
                  <a:pt x="53" y="358"/>
                </a:lnTo>
                <a:lnTo>
                  <a:pt x="53" y="346"/>
                </a:lnTo>
                <a:lnTo>
                  <a:pt x="53" y="333"/>
                </a:lnTo>
                <a:lnTo>
                  <a:pt x="52" y="322"/>
                </a:lnTo>
                <a:lnTo>
                  <a:pt x="50" y="312"/>
                </a:lnTo>
                <a:lnTo>
                  <a:pt x="46" y="302"/>
                </a:lnTo>
                <a:lnTo>
                  <a:pt x="43" y="293"/>
                </a:lnTo>
                <a:lnTo>
                  <a:pt x="40" y="284"/>
                </a:lnTo>
                <a:lnTo>
                  <a:pt x="35" y="277"/>
                </a:lnTo>
                <a:lnTo>
                  <a:pt x="32" y="270"/>
                </a:lnTo>
                <a:lnTo>
                  <a:pt x="13" y="245"/>
                </a:lnTo>
                <a:lnTo>
                  <a:pt x="0" y="222"/>
                </a:lnTo>
                <a:lnTo>
                  <a:pt x="0" y="185"/>
                </a:lnTo>
                <a:lnTo>
                  <a:pt x="27" y="185"/>
                </a:lnTo>
                <a:lnTo>
                  <a:pt x="33" y="181"/>
                </a:lnTo>
                <a:lnTo>
                  <a:pt x="38" y="174"/>
                </a:lnTo>
                <a:lnTo>
                  <a:pt x="40" y="169"/>
                </a:lnTo>
                <a:lnTo>
                  <a:pt x="41" y="163"/>
                </a:lnTo>
                <a:lnTo>
                  <a:pt x="41" y="150"/>
                </a:lnTo>
                <a:lnTo>
                  <a:pt x="40" y="136"/>
                </a:lnTo>
                <a:lnTo>
                  <a:pt x="38" y="107"/>
                </a:lnTo>
                <a:lnTo>
                  <a:pt x="32" y="79"/>
                </a:lnTo>
                <a:lnTo>
                  <a:pt x="31" y="65"/>
                </a:lnTo>
                <a:lnTo>
                  <a:pt x="31" y="52"/>
                </a:lnTo>
                <a:lnTo>
                  <a:pt x="32" y="47"/>
                </a:lnTo>
                <a:lnTo>
                  <a:pt x="34" y="41"/>
                </a:lnTo>
                <a:lnTo>
                  <a:pt x="36" y="36"/>
                </a:lnTo>
                <a:lnTo>
                  <a:pt x="40" y="31"/>
                </a:lnTo>
                <a:lnTo>
                  <a:pt x="120" y="31"/>
                </a:lnTo>
                <a:lnTo>
                  <a:pt x="120" y="27"/>
                </a:lnTo>
                <a:lnTo>
                  <a:pt x="122" y="22"/>
                </a:lnTo>
                <a:lnTo>
                  <a:pt x="124" y="18"/>
                </a:lnTo>
                <a:lnTo>
                  <a:pt x="128" y="14"/>
                </a:lnTo>
                <a:lnTo>
                  <a:pt x="133" y="6"/>
                </a:lnTo>
                <a:lnTo>
                  <a:pt x="140" y="0"/>
                </a:lnTo>
                <a:lnTo>
                  <a:pt x="141" y="9"/>
                </a:lnTo>
                <a:lnTo>
                  <a:pt x="142" y="18"/>
                </a:lnTo>
                <a:lnTo>
                  <a:pt x="143" y="22"/>
                </a:lnTo>
                <a:lnTo>
                  <a:pt x="142" y="26"/>
                </a:lnTo>
                <a:lnTo>
                  <a:pt x="142" y="29"/>
                </a:lnTo>
                <a:lnTo>
                  <a:pt x="140" y="31"/>
                </a:lnTo>
                <a:lnTo>
                  <a:pt x="153" y="31"/>
                </a:lnTo>
                <a:lnTo>
                  <a:pt x="168" y="31"/>
                </a:lnTo>
                <a:lnTo>
                  <a:pt x="180" y="31"/>
                </a:lnTo>
                <a:lnTo>
                  <a:pt x="186" y="31"/>
                </a:lnTo>
                <a:lnTo>
                  <a:pt x="202" y="34"/>
                </a:lnTo>
                <a:lnTo>
                  <a:pt x="214" y="38"/>
                </a:lnTo>
                <a:lnTo>
                  <a:pt x="224" y="43"/>
                </a:lnTo>
                <a:lnTo>
                  <a:pt x="233" y="49"/>
                </a:lnTo>
                <a:lnTo>
                  <a:pt x="240" y="53"/>
                </a:lnTo>
                <a:lnTo>
                  <a:pt x="246" y="58"/>
                </a:lnTo>
                <a:lnTo>
                  <a:pt x="252" y="60"/>
                </a:lnTo>
                <a:lnTo>
                  <a:pt x="259" y="61"/>
                </a:lnTo>
                <a:lnTo>
                  <a:pt x="264" y="61"/>
                </a:lnTo>
                <a:lnTo>
                  <a:pt x="268" y="59"/>
                </a:lnTo>
                <a:lnTo>
                  <a:pt x="271" y="57"/>
                </a:lnTo>
                <a:lnTo>
                  <a:pt x="275" y="54"/>
                </a:lnTo>
                <a:lnTo>
                  <a:pt x="280" y="46"/>
                </a:lnTo>
                <a:lnTo>
                  <a:pt x="286" y="37"/>
                </a:lnTo>
                <a:lnTo>
                  <a:pt x="300" y="44"/>
                </a:lnTo>
                <a:lnTo>
                  <a:pt x="312" y="52"/>
                </a:lnTo>
                <a:lnTo>
                  <a:pt x="319" y="55"/>
                </a:lnTo>
                <a:lnTo>
                  <a:pt x="325" y="59"/>
                </a:lnTo>
                <a:lnTo>
                  <a:pt x="332" y="61"/>
                </a:lnTo>
                <a:lnTo>
                  <a:pt x="338" y="61"/>
                </a:lnTo>
                <a:lnTo>
                  <a:pt x="359" y="148"/>
                </a:lnTo>
                <a:lnTo>
                  <a:pt x="353" y="161"/>
                </a:lnTo>
                <a:lnTo>
                  <a:pt x="346" y="173"/>
                </a:lnTo>
                <a:lnTo>
                  <a:pt x="338" y="185"/>
                </a:lnTo>
                <a:lnTo>
                  <a:pt x="331" y="195"/>
                </a:lnTo>
                <a:lnTo>
                  <a:pt x="323" y="206"/>
                </a:lnTo>
                <a:lnTo>
                  <a:pt x="318" y="218"/>
                </a:lnTo>
                <a:lnTo>
                  <a:pt x="315" y="224"/>
                </a:lnTo>
                <a:lnTo>
                  <a:pt x="314" y="231"/>
                </a:lnTo>
                <a:lnTo>
                  <a:pt x="313" y="239"/>
                </a:lnTo>
                <a:lnTo>
                  <a:pt x="312" y="247"/>
                </a:lnTo>
                <a:lnTo>
                  <a:pt x="313" y="255"/>
                </a:lnTo>
                <a:lnTo>
                  <a:pt x="316" y="263"/>
                </a:lnTo>
                <a:lnTo>
                  <a:pt x="321" y="273"/>
                </a:lnTo>
                <a:lnTo>
                  <a:pt x="325" y="283"/>
                </a:lnTo>
                <a:lnTo>
                  <a:pt x="331" y="293"/>
                </a:lnTo>
                <a:lnTo>
                  <a:pt x="335" y="302"/>
                </a:lnTo>
                <a:lnTo>
                  <a:pt x="337" y="309"/>
                </a:lnTo>
                <a:lnTo>
                  <a:pt x="338" y="315"/>
                </a:lnTo>
                <a:lnTo>
                  <a:pt x="337" y="321"/>
                </a:lnTo>
                <a:lnTo>
                  <a:pt x="332" y="331"/>
                </a:lnTo>
                <a:lnTo>
                  <a:pt x="330" y="337"/>
                </a:lnTo>
                <a:lnTo>
                  <a:pt x="327" y="343"/>
                </a:lnTo>
                <a:lnTo>
                  <a:pt x="326" y="351"/>
                </a:lnTo>
                <a:lnTo>
                  <a:pt x="325" y="358"/>
                </a:lnTo>
                <a:lnTo>
                  <a:pt x="319" y="358"/>
                </a:lnTo>
                <a:lnTo>
                  <a:pt x="313" y="357"/>
                </a:lnTo>
                <a:lnTo>
                  <a:pt x="308" y="356"/>
                </a:lnTo>
                <a:lnTo>
                  <a:pt x="304" y="354"/>
                </a:lnTo>
                <a:lnTo>
                  <a:pt x="298" y="350"/>
                </a:lnTo>
                <a:lnTo>
                  <a:pt x="292" y="346"/>
                </a:lnTo>
                <a:lnTo>
                  <a:pt x="287" y="340"/>
                </a:lnTo>
                <a:lnTo>
                  <a:pt x="280" y="336"/>
                </a:lnTo>
                <a:lnTo>
                  <a:pt x="277" y="335"/>
                </a:lnTo>
                <a:lnTo>
                  <a:pt x="271" y="334"/>
                </a:lnTo>
                <a:lnTo>
                  <a:pt x="266" y="333"/>
                </a:lnTo>
                <a:lnTo>
                  <a:pt x="259" y="333"/>
                </a:lnTo>
                <a:lnTo>
                  <a:pt x="246" y="333"/>
                </a:lnTo>
                <a:lnTo>
                  <a:pt x="234" y="334"/>
                </a:lnTo>
                <a:lnTo>
                  <a:pt x="221" y="336"/>
                </a:lnTo>
                <a:lnTo>
                  <a:pt x="208" y="338"/>
                </a:lnTo>
                <a:lnTo>
                  <a:pt x="181" y="343"/>
                </a:lnTo>
                <a:lnTo>
                  <a:pt x="155" y="351"/>
                </a:lnTo>
                <a:lnTo>
                  <a:pt x="131" y="359"/>
                </a:lnTo>
                <a:lnTo>
                  <a:pt x="107" y="367"/>
                </a:lnTo>
                <a:lnTo>
                  <a:pt x="86" y="375"/>
                </a:lnTo>
                <a:lnTo>
                  <a:pt x="66" y="382"/>
                </a:lnTo>
                <a:lnTo>
                  <a:pt x="53" y="394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68" name="Freeform 466"/>
          <p:cNvSpPr>
            <a:spLocks/>
          </p:cNvSpPr>
          <p:nvPr userDrawn="1">
            <p:custDataLst>
              <p:tags r:id="rId303"/>
            </p:custDataLst>
          </p:nvPr>
        </p:nvSpPr>
        <p:spPr bwMode="auto">
          <a:xfrm>
            <a:off x="4938714" y="2828933"/>
            <a:ext cx="192088" cy="203597"/>
          </a:xfrm>
          <a:custGeom>
            <a:avLst/>
            <a:gdLst>
              <a:gd name="T0" fmla="*/ 75039676 w 449"/>
              <a:gd name="T1" fmla="*/ 28288204 h 523"/>
              <a:gd name="T2" fmla="*/ 74124584 w 449"/>
              <a:gd name="T3" fmla="*/ 26402498 h 523"/>
              <a:gd name="T4" fmla="*/ 74673896 w 449"/>
              <a:gd name="T5" fmla="*/ 24786177 h 523"/>
              <a:gd name="T6" fmla="*/ 77236066 w 449"/>
              <a:gd name="T7" fmla="*/ 20744858 h 523"/>
              <a:gd name="T8" fmla="*/ 80713329 w 449"/>
              <a:gd name="T9" fmla="*/ 16164762 h 523"/>
              <a:gd name="T10" fmla="*/ 81811524 w 449"/>
              <a:gd name="T11" fmla="*/ 13470376 h 523"/>
              <a:gd name="T12" fmla="*/ 82177732 w 449"/>
              <a:gd name="T13" fmla="*/ 9968349 h 523"/>
              <a:gd name="T14" fmla="*/ 79066250 w 449"/>
              <a:gd name="T15" fmla="*/ 9160189 h 523"/>
              <a:gd name="T16" fmla="*/ 77236066 w 449"/>
              <a:gd name="T17" fmla="*/ 7273961 h 523"/>
              <a:gd name="T18" fmla="*/ 75222779 w 449"/>
              <a:gd name="T19" fmla="*/ 5657641 h 523"/>
              <a:gd name="T20" fmla="*/ 71379309 w 449"/>
              <a:gd name="T21" fmla="*/ 4849481 h 523"/>
              <a:gd name="T22" fmla="*/ 68999814 w 449"/>
              <a:gd name="T23" fmla="*/ 5388255 h 523"/>
              <a:gd name="T24" fmla="*/ 67352735 w 449"/>
              <a:gd name="T25" fmla="*/ 6465801 h 523"/>
              <a:gd name="T26" fmla="*/ 64973668 w 449"/>
              <a:gd name="T27" fmla="*/ 9968349 h 523"/>
              <a:gd name="T28" fmla="*/ 62227966 w 449"/>
              <a:gd name="T29" fmla="*/ 13470376 h 523"/>
              <a:gd name="T30" fmla="*/ 59665795 w 449"/>
              <a:gd name="T31" fmla="*/ 14548442 h 523"/>
              <a:gd name="T32" fmla="*/ 56737416 w 449"/>
              <a:gd name="T33" fmla="*/ 14817828 h 523"/>
              <a:gd name="T34" fmla="*/ 52527725 w 449"/>
              <a:gd name="T35" fmla="*/ 14548442 h 523"/>
              <a:gd name="T36" fmla="*/ 48867358 w 449"/>
              <a:gd name="T37" fmla="*/ 13470376 h 523"/>
              <a:gd name="T38" fmla="*/ 43010601 w 449"/>
              <a:gd name="T39" fmla="*/ 9698962 h 523"/>
              <a:gd name="T40" fmla="*/ 37702728 w 449"/>
              <a:gd name="T41" fmla="*/ 5118868 h 523"/>
              <a:gd name="T42" fmla="*/ 34591673 w 449"/>
              <a:gd name="T43" fmla="*/ 3233160 h 523"/>
              <a:gd name="T44" fmla="*/ 31113983 w 449"/>
              <a:gd name="T45" fmla="*/ 1616321 h 523"/>
              <a:gd name="T46" fmla="*/ 24525231 w 449"/>
              <a:gd name="T47" fmla="*/ 2155094 h 523"/>
              <a:gd name="T48" fmla="*/ 21779956 w 449"/>
              <a:gd name="T49" fmla="*/ 1616321 h 523"/>
              <a:gd name="T50" fmla="*/ 18851578 w 449"/>
              <a:gd name="T51" fmla="*/ 0 h 523"/>
              <a:gd name="T52" fmla="*/ 9517127 w 449"/>
              <a:gd name="T53" fmla="*/ 0 h 523"/>
              <a:gd name="T54" fmla="*/ 915092 w 449"/>
              <a:gd name="T55" fmla="*/ 0 h 523"/>
              <a:gd name="T56" fmla="*/ 915092 w 449"/>
              <a:gd name="T57" fmla="*/ 4849481 h 523"/>
              <a:gd name="T58" fmla="*/ 915092 w 449"/>
              <a:gd name="T59" fmla="*/ 9968349 h 523"/>
              <a:gd name="T60" fmla="*/ 2745276 w 449"/>
              <a:gd name="T61" fmla="*/ 16164762 h 523"/>
              <a:gd name="T62" fmla="*/ 4209680 w 449"/>
              <a:gd name="T63" fmla="*/ 24516791 h 523"/>
              <a:gd name="T64" fmla="*/ 5673655 w 449"/>
              <a:gd name="T65" fmla="*/ 34484625 h 523"/>
              <a:gd name="T66" fmla="*/ 6954954 w 449"/>
              <a:gd name="T67" fmla="*/ 46339196 h 523"/>
              <a:gd name="T68" fmla="*/ 6771851 w 449"/>
              <a:gd name="T69" fmla="*/ 55498862 h 523"/>
              <a:gd name="T70" fmla="*/ 5307875 w 449"/>
              <a:gd name="T71" fmla="*/ 61964661 h 523"/>
              <a:gd name="T72" fmla="*/ 1281300 w 449"/>
              <a:gd name="T73" fmla="*/ 72471796 h 523"/>
              <a:gd name="T74" fmla="*/ 1830184 w 449"/>
              <a:gd name="T75" fmla="*/ 86481460 h 523"/>
              <a:gd name="T76" fmla="*/ 5124771 w 449"/>
              <a:gd name="T77" fmla="*/ 91330939 h 523"/>
              <a:gd name="T78" fmla="*/ 15373888 w 449"/>
              <a:gd name="T79" fmla="*/ 98874285 h 523"/>
              <a:gd name="T80" fmla="*/ 24891439 w 449"/>
              <a:gd name="T81" fmla="*/ 106687537 h 523"/>
              <a:gd name="T82" fmla="*/ 31113983 w 449"/>
              <a:gd name="T83" fmla="*/ 113153336 h 523"/>
              <a:gd name="T84" fmla="*/ 34591673 w 449"/>
              <a:gd name="T85" fmla="*/ 117464042 h 523"/>
              <a:gd name="T86" fmla="*/ 36238752 w 449"/>
              <a:gd name="T87" fmla="*/ 121504842 h 523"/>
              <a:gd name="T88" fmla="*/ 36787636 w 449"/>
              <a:gd name="T89" fmla="*/ 125007388 h 523"/>
              <a:gd name="T90" fmla="*/ 38252039 w 449"/>
              <a:gd name="T91" fmla="*/ 129048707 h 523"/>
              <a:gd name="T92" fmla="*/ 40265326 w 449"/>
              <a:gd name="T93" fmla="*/ 132550734 h 523"/>
              <a:gd name="T94" fmla="*/ 42644393 w 449"/>
              <a:gd name="T95" fmla="*/ 135514506 h 523"/>
              <a:gd name="T96" fmla="*/ 45206992 w 449"/>
              <a:gd name="T97" fmla="*/ 137939019 h 523"/>
              <a:gd name="T98" fmla="*/ 48318475 w 449"/>
              <a:gd name="T99" fmla="*/ 139825245 h 523"/>
              <a:gd name="T100" fmla="*/ 51429529 w 449"/>
              <a:gd name="T101" fmla="*/ 140902791 h 523"/>
              <a:gd name="T102" fmla="*/ 55639207 w 449"/>
              <a:gd name="T103" fmla="*/ 135245120 h 523"/>
              <a:gd name="T104" fmla="*/ 61312874 w 449"/>
              <a:gd name="T105" fmla="*/ 124468615 h 523"/>
              <a:gd name="T106" fmla="*/ 66803851 w 449"/>
              <a:gd name="T107" fmla="*/ 115039043 h 523"/>
              <a:gd name="T108" fmla="*/ 72111297 w 449"/>
              <a:gd name="T109" fmla="*/ 105070698 h 523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449"/>
              <a:gd name="T166" fmla="*/ 0 h 523"/>
              <a:gd name="T167" fmla="*/ 449 w 449"/>
              <a:gd name="T168" fmla="*/ 523 h 523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449" h="523">
                <a:moveTo>
                  <a:pt x="410" y="370"/>
                </a:moveTo>
                <a:lnTo>
                  <a:pt x="410" y="105"/>
                </a:lnTo>
                <a:lnTo>
                  <a:pt x="407" y="102"/>
                </a:lnTo>
                <a:lnTo>
                  <a:pt x="405" y="98"/>
                </a:lnTo>
                <a:lnTo>
                  <a:pt x="405" y="95"/>
                </a:lnTo>
                <a:lnTo>
                  <a:pt x="408" y="92"/>
                </a:lnTo>
                <a:lnTo>
                  <a:pt x="413" y="84"/>
                </a:lnTo>
                <a:lnTo>
                  <a:pt x="422" y="77"/>
                </a:lnTo>
                <a:lnTo>
                  <a:pt x="432" y="70"/>
                </a:lnTo>
                <a:lnTo>
                  <a:pt x="441" y="60"/>
                </a:lnTo>
                <a:lnTo>
                  <a:pt x="444" y="55"/>
                </a:lnTo>
                <a:lnTo>
                  <a:pt x="447" y="50"/>
                </a:lnTo>
                <a:lnTo>
                  <a:pt x="448" y="44"/>
                </a:lnTo>
                <a:lnTo>
                  <a:pt x="449" y="37"/>
                </a:lnTo>
                <a:lnTo>
                  <a:pt x="438" y="37"/>
                </a:lnTo>
                <a:lnTo>
                  <a:pt x="432" y="34"/>
                </a:lnTo>
                <a:lnTo>
                  <a:pt x="426" y="32"/>
                </a:lnTo>
                <a:lnTo>
                  <a:pt x="422" y="27"/>
                </a:lnTo>
                <a:lnTo>
                  <a:pt x="418" y="24"/>
                </a:lnTo>
                <a:lnTo>
                  <a:pt x="411" y="21"/>
                </a:lnTo>
                <a:lnTo>
                  <a:pt x="402" y="19"/>
                </a:lnTo>
                <a:lnTo>
                  <a:pt x="390" y="18"/>
                </a:lnTo>
                <a:lnTo>
                  <a:pt x="382" y="19"/>
                </a:lnTo>
                <a:lnTo>
                  <a:pt x="377" y="20"/>
                </a:lnTo>
                <a:lnTo>
                  <a:pt x="371" y="22"/>
                </a:lnTo>
                <a:lnTo>
                  <a:pt x="368" y="24"/>
                </a:lnTo>
                <a:lnTo>
                  <a:pt x="360" y="31"/>
                </a:lnTo>
                <a:lnTo>
                  <a:pt x="355" y="37"/>
                </a:lnTo>
                <a:lnTo>
                  <a:pt x="348" y="44"/>
                </a:lnTo>
                <a:lnTo>
                  <a:pt x="340" y="50"/>
                </a:lnTo>
                <a:lnTo>
                  <a:pt x="333" y="52"/>
                </a:lnTo>
                <a:lnTo>
                  <a:pt x="326" y="54"/>
                </a:lnTo>
                <a:lnTo>
                  <a:pt x="319" y="55"/>
                </a:lnTo>
                <a:lnTo>
                  <a:pt x="310" y="55"/>
                </a:lnTo>
                <a:lnTo>
                  <a:pt x="298" y="55"/>
                </a:lnTo>
                <a:lnTo>
                  <a:pt x="287" y="54"/>
                </a:lnTo>
                <a:lnTo>
                  <a:pt x="277" y="52"/>
                </a:lnTo>
                <a:lnTo>
                  <a:pt x="267" y="50"/>
                </a:lnTo>
                <a:lnTo>
                  <a:pt x="251" y="43"/>
                </a:lnTo>
                <a:lnTo>
                  <a:pt x="235" y="36"/>
                </a:lnTo>
                <a:lnTo>
                  <a:pt x="220" y="27"/>
                </a:lnTo>
                <a:lnTo>
                  <a:pt x="206" y="19"/>
                </a:lnTo>
                <a:lnTo>
                  <a:pt x="197" y="15"/>
                </a:lnTo>
                <a:lnTo>
                  <a:pt x="189" y="12"/>
                </a:lnTo>
                <a:lnTo>
                  <a:pt x="180" y="9"/>
                </a:lnTo>
                <a:lnTo>
                  <a:pt x="170" y="6"/>
                </a:lnTo>
                <a:lnTo>
                  <a:pt x="152" y="7"/>
                </a:lnTo>
                <a:lnTo>
                  <a:pt x="134" y="8"/>
                </a:lnTo>
                <a:lnTo>
                  <a:pt x="127" y="7"/>
                </a:lnTo>
                <a:lnTo>
                  <a:pt x="119" y="6"/>
                </a:lnTo>
                <a:lnTo>
                  <a:pt x="111" y="4"/>
                </a:lnTo>
                <a:lnTo>
                  <a:pt x="103" y="0"/>
                </a:lnTo>
                <a:lnTo>
                  <a:pt x="80" y="0"/>
                </a:lnTo>
                <a:lnTo>
                  <a:pt x="52" y="0"/>
                </a:lnTo>
                <a:lnTo>
                  <a:pt x="24" y="0"/>
                </a:lnTo>
                <a:lnTo>
                  <a:pt x="5" y="0"/>
                </a:lnTo>
                <a:lnTo>
                  <a:pt x="5" y="7"/>
                </a:lnTo>
                <a:lnTo>
                  <a:pt x="5" y="18"/>
                </a:lnTo>
                <a:lnTo>
                  <a:pt x="5" y="29"/>
                </a:lnTo>
                <a:lnTo>
                  <a:pt x="5" y="37"/>
                </a:lnTo>
                <a:lnTo>
                  <a:pt x="9" y="47"/>
                </a:lnTo>
                <a:lnTo>
                  <a:pt x="15" y="60"/>
                </a:lnTo>
                <a:lnTo>
                  <a:pt x="19" y="74"/>
                </a:lnTo>
                <a:lnTo>
                  <a:pt x="23" y="91"/>
                </a:lnTo>
                <a:lnTo>
                  <a:pt x="28" y="109"/>
                </a:lnTo>
                <a:lnTo>
                  <a:pt x="31" y="128"/>
                </a:lnTo>
                <a:lnTo>
                  <a:pt x="34" y="150"/>
                </a:lnTo>
                <a:lnTo>
                  <a:pt x="38" y="172"/>
                </a:lnTo>
                <a:lnTo>
                  <a:pt x="38" y="190"/>
                </a:lnTo>
                <a:lnTo>
                  <a:pt x="37" y="206"/>
                </a:lnTo>
                <a:lnTo>
                  <a:pt x="33" y="219"/>
                </a:lnTo>
                <a:lnTo>
                  <a:pt x="29" y="230"/>
                </a:lnTo>
                <a:lnTo>
                  <a:pt x="18" y="249"/>
                </a:lnTo>
                <a:lnTo>
                  <a:pt x="7" y="269"/>
                </a:lnTo>
                <a:lnTo>
                  <a:pt x="17" y="284"/>
                </a:lnTo>
                <a:lnTo>
                  <a:pt x="10" y="321"/>
                </a:lnTo>
                <a:lnTo>
                  <a:pt x="0" y="328"/>
                </a:lnTo>
                <a:lnTo>
                  <a:pt x="28" y="339"/>
                </a:lnTo>
                <a:lnTo>
                  <a:pt x="55" y="352"/>
                </a:lnTo>
                <a:lnTo>
                  <a:pt x="84" y="367"/>
                </a:lnTo>
                <a:lnTo>
                  <a:pt x="111" y="381"/>
                </a:lnTo>
                <a:lnTo>
                  <a:pt x="136" y="396"/>
                </a:lnTo>
                <a:lnTo>
                  <a:pt x="159" y="411"/>
                </a:lnTo>
                <a:lnTo>
                  <a:pt x="170" y="420"/>
                </a:lnTo>
                <a:lnTo>
                  <a:pt x="180" y="428"/>
                </a:lnTo>
                <a:lnTo>
                  <a:pt x="189" y="436"/>
                </a:lnTo>
                <a:lnTo>
                  <a:pt x="197" y="444"/>
                </a:lnTo>
                <a:lnTo>
                  <a:pt x="198" y="451"/>
                </a:lnTo>
                <a:lnTo>
                  <a:pt x="199" y="457"/>
                </a:lnTo>
                <a:lnTo>
                  <a:pt x="201" y="464"/>
                </a:lnTo>
                <a:lnTo>
                  <a:pt x="205" y="471"/>
                </a:lnTo>
                <a:lnTo>
                  <a:pt x="209" y="479"/>
                </a:lnTo>
                <a:lnTo>
                  <a:pt x="214" y="486"/>
                </a:lnTo>
                <a:lnTo>
                  <a:pt x="220" y="492"/>
                </a:lnTo>
                <a:lnTo>
                  <a:pt x="226" y="498"/>
                </a:lnTo>
                <a:lnTo>
                  <a:pt x="233" y="503"/>
                </a:lnTo>
                <a:lnTo>
                  <a:pt x="240" y="508"/>
                </a:lnTo>
                <a:lnTo>
                  <a:pt x="247" y="512"/>
                </a:lnTo>
                <a:lnTo>
                  <a:pt x="256" y="516"/>
                </a:lnTo>
                <a:lnTo>
                  <a:pt x="264" y="519"/>
                </a:lnTo>
                <a:lnTo>
                  <a:pt x="273" y="521"/>
                </a:lnTo>
                <a:lnTo>
                  <a:pt x="281" y="523"/>
                </a:lnTo>
                <a:lnTo>
                  <a:pt x="290" y="523"/>
                </a:lnTo>
                <a:lnTo>
                  <a:pt x="304" y="502"/>
                </a:lnTo>
                <a:lnTo>
                  <a:pt x="320" y="482"/>
                </a:lnTo>
                <a:lnTo>
                  <a:pt x="335" y="462"/>
                </a:lnTo>
                <a:lnTo>
                  <a:pt x="349" y="444"/>
                </a:lnTo>
                <a:lnTo>
                  <a:pt x="365" y="427"/>
                </a:lnTo>
                <a:lnTo>
                  <a:pt x="379" y="408"/>
                </a:lnTo>
                <a:lnTo>
                  <a:pt x="394" y="390"/>
                </a:lnTo>
                <a:lnTo>
                  <a:pt x="410" y="37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69" name="Freeform 467"/>
          <p:cNvSpPr>
            <a:spLocks/>
          </p:cNvSpPr>
          <p:nvPr userDrawn="1">
            <p:custDataLst>
              <p:tags r:id="rId304"/>
            </p:custDataLst>
          </p:nvPr>
        </p:nvSpPr>
        <p:spPr bwMode="auto">
          <a:xfrm>
            <a:off x="4921250" y="2143138"/>
            <a:ext cx="101600" cy="97631"/>
          </a:xfrm>
          <a:custGeom>
            <a:avLst/>
            <a:gdLst>
              <a:gd name="T0" fmla="*/ 2425363 w 226"/>
              <a:gd name="T1" fmla="*/ 63843959 h 246"/>
              <a:gd name="T2" fmla="*/ 7275639 w 226"/>
              <a:gd name="T3" fmla="*/ 67204167 h 246"/>
              <a:gd name="T4" fmla="*/ 10711608 w 226"/>
              <a:gd name="T5" fmla="*/ 68604341 h 246"/>
              <a:gd name="T6" fmla="*/ 13742973 w 226"/>
              <a:gd name="T7" fmla="*/ 68604341 h 246"/>
              <a:gd name="T8" fmla="*/ 17178494 w 226"/>
              <a:gd name="T9" fmla="*/ 67484096 h 246"/>
              <a:gd name="T10" fmla="*/ 22231070 w 226"/>
              <a:gd name="T11" fmla="*/ 63843959 h 246"/>
              <a:gd name="T12" fmla="*/ 28496552 w 226"/>
              <a:gd name="T13" fmla="*/ 57403473 h 246"/>
              <a:gd name="T14" fmla="*/ 32538529 w 226"/>
              <a:gd name="T15" fmla="*/ 51523375 h 246"/>
              <a:gd name="T16" fmla="*/ 32134377 w 226"/>
              <a:gd name="T17" fmla="*/ 48443096 h 246"/>
              <a:gd name="T18" fmla="*/ 30113167 w 226"/>
              <a:gd name="T19" fmla="*/ 44802960 h 246"/>
              <a:gd name="T20" fmla="*/ 28900704 w 226"/>
              <a:gd name="T21" fmla="*/ 40602436 h 246"/>
              <a:gd name="T22" fmla="*/ 28496552 w 226"/>
              <a:gd name="T23" fmla="*/ 36402441 h 246"/>
              <a:gd name="T24" fmla="*/ 28496552 w 226"/>
              <a:gd name="T25" fmla="*/ 32481838 h 246"/>
              <a:gd name="T26" fmla="*/ 29506714 w 226"/>
              <a:gd name="T27" fmla="*/ 29402088 h 246"/>
              <a:gd name="T28" fmla="*/ 31527924 w 226"/>
              <a:gd name="T29" fmla="*/ 26321810 h 246"/>
              <a:gd name="T30" fmla="*/ 33953286 w 226"/>
              <a:gd name="T31" fmla="*/ 24081319 h 246"/>
              <a:gd name="T32" fmla="*/ 41228923 w 226"/>
              <a:gd name="T33" fmla="*/ 19881324 h 246"/>
              <a:gd name="T34" fmla="*/ 45472745 w 226"/>
              <a:gd name="T35" fmla="*/ 13720763 h 246"/>
              <a:gd name="T36" fmla="*/ 44664441 w 226"/>
              <a:gd name="T37" fmla="*/ 8400521 h 246"/>
              <a:gd name="T38" fmla="*/ 43249684 w 226"/>
              <a:gd name="T39" fmla="*/ 4760384 h 246"/>
              <a:gd name="T40" fmla="*/ 42845532 w 226"/>
              <a:gd name="T41" fmla="*/ 1680104 h 246"/>
              <a:gd name="T42" fmla="*/ 40824771 w 226"/>
              <a:gd name="T43" fmla="*/ 279929 h 246"/>
              <a:gd name="T44" fmla="*/ 36580500 w 226"/>
              <a:gd name="T45" fmla="*/ 1960033 h 246"/>
              <a:gd name="T46" fmla="*/ 31123772 w 226"/>
              <a:gd name="T47" fmla="*/ 5600172 h 246"/>
              <a:gd name="T48" fmla="*/ 24454131 w 226"/>
              <a:gd name="T49" fmla="*/ 10640485 h 246"/>
              <a:gd name="T50" fmla="*/ 20210310 w 226"/>
              <a:gd name="T51" fmla="*/ 14281151 h 246"/>
              <a:gd name="T52" fmla="*/ 17583096 w 226"/>
              <a:gd name="T53" fmla="*/ 15400867 h 246"/>
              <a:gd name="T54" fmla="*/ 15157734 w 226"/>
              <a:gd name="T55" fmla="*/ 15120938 h 246"/>
              <a:gd name="T56" fmla="*/ 11924064 w 226"/>
              <a:gd name="T57" fmla="*/ 13160905 h 246"/>
              <a:gd name="T58" fmla="*/ 7275639 w 226"/>
              <a:gd name="T59" fmla="*/ 8680452 h 246"/>
              <a:gd name="T60" fmla="*/ 4850277 w 226"/>
              <a:gd name="T61" fmla="*/ 10920943 h 246"/>
              <a:gd name="T62" fmla="*/ 3637819 w 226"/>
              <a:gd name="T63" fmla="*/ 26601739 h 246"/>
              <a:gd name="T64" fmla="*/ 2021211 w 226"/>
              <a:gd name="T65" fmla="*/ 45642747 h 246"/>
              <a:gd name="T66" fmla="*/ 606453 w 226"/>
              <a:gd name="T67" fmla="*/ 59363506 h 24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226"/>
              <a:gd name="T103" fmla="*/ 0 h 246"/>
              <a:gd name="T104" fmla="*/ 226 w 226"/>
              <a:gd name="T105" fmla="*/ 246 h 24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226" h="246">
                <a:moveTo>
                  <a:pt x="0" y="221"/>
                </a:moveTo>
                <a:lnTo>
                  <a:pt x="12" y="228"/>
                </a:lnTo>
                <a:lnTo>
                  <a:pt x="27" y="236"/>
                </a:lnTo>
                <a:lnTo>
                  <a:pt x="36" y="240"/>
                </a:lnTo>
                <a:lnTo>
                  <a:pt x="44" y="243"/>
                </a:lnTo>
                <a:lnTo>
                  <a:pt x="53" y="245"/>
                </a:lnTo>
                <a:lnTo>
                  <a:pt x="60" y="246"/>
                </a:lnTo>
                <a:lnTo>
                  <a:pt x="68" y="245"/>
                </a:lnTo>
                <a:lnTo>
                  <a:pt x="76" y="243"/>
                </a:lnTo>
                <a:lnTo>
                  <a:pt x="85" y="241"/>
                </a:lnTo>
                <a:lnTo>
                  <a:pt x="92" y="237"/>
                </a:lnTo>
                <a:lnTo>
                  <a:pt x="110" y="228"/>
                </a:lnTo>
                <a:lnTo>
                  <a:pt x="126" y="217"/>
                </a:lnTo>
                <a:lnTo>
                  <a:pt x="141" y="205"/>
                </a:lnTo>
                <a:lnTo>
                  <a:pt x="153" y="194"/>
                </a:lnTo>
                <a:lnTo>
                  <a:pt x="161" y="184"/>
                </a:lnTo>
                <a:lnTo>
                  <a:pt x="167" y="178"/>
                </a:lnTo>
                <a:lnTo>
                  <a:pt x="159" y="173"/>
                </a:lnTo>
                <a:lnTo>
                  <a:pt x="154" y="167"/>
                </a:lnTo>
                <a:lnTo>
                  <a:pt x="149" y="160"/>
                </a:lnTo>
                <a:lnTo>
                  <a:pt x="146" y="152"/>
                </a:lnTo>
                <a:lnTo>
                  <a:pt x="143" y="145"/>
                </a:lnTo>
                <a:lnTo>
                  <a:pt x="142" y="137"/>
                </a:lnTo>
                <a:lnTo>
                  <a:pt x="141" y="130"/>
                </a:lnTo>
                <a:lnTo>
                  <a:pt x="139" y="123"/>
                </a:lnTo>
                <a:lnTo>
                  <a:pt x="141" y="116"/>
                </a:lnTo>
                <a:lnTo>
                  <a:pt x="143" y="110"/>
                </a:lnTo>
                <a:lnTo>
                  <a:pt x="146" y="105"/>
                </a:lnTo>
                <a:lnTo>
                  <a:pt x="150" y="100"/>
                </a:lnTo>
                <a:lnTo>
                  <a:pt x="156" y="94"/>
                </a:lnTo>
                <a:lnTo>
                  <a:pt x="161" y="90"/>
                </a:lnTo>
                <a:lnTo>
                  <a:pt x="168" y="86"/>
                </a:lnTo>
                <a:lnTo>
                  <a:pt x="176" y="82"/>
                </a:lnTo>
                <a:lnTo>
                  <a:pt x="204" y="71"/>
                </a:lnTo>
                <a:lnTo>
                  <a:pt x="226" y="61"/>
                </a:lnTo>
                <a:lnTo>
                  <a:pt x="225" y="49"/>
                </a:lnTo>
                <a:lnTo>
                  <a:pt x="223" y="38"/>
                </a:lnTo>
                <a:lnTo>
                  <a:pt x="221" y="30"/>
                </a:lnTo>
                <a:lnTo>
                  <a:pt x="217" y="23"/>
                </a:lnTo>
                <a:lnTo>
                  <a:pt x="214" y="17"/>
                </a:lnTo>
                <a:lnTo>
                  <a:pt x="212" y="12"/>
                </a:lnTo>
                <a:lnTo>
                  <a:pt x="212" y="6"/>
                </a:lnTo>
                <a:lnTo>
                  <a:pt x="213" y="0"/>
                </a:lnTo>
                <a:lnTo>
                  <a:pt x="202" y="1"/>
                </a:lnTo>
                <a:lnTo>
                  <a:pt x="191" y="4"/>
                </a:lnTo>
                <a:lnTo>
                  <a:pt x="181" y="7"/>
                </a:lnTo>
                <a:lnTo>
                  <a:pt x="171" y="11"/>
                </a:lnTo>
                <a:lnTo>
                  <a:pt x="154" y="20"/>
                </a:lnTo>
                <a:lnTo>
                  <a:pt x="136" y="29"/>
                </a:lnTo>
                <a:lnTo>
                  <a:pt x="121" y="38"/>
                </a:lnTo>
                <a:lnTo>
                  <a:pt x="107" y="47"/>
                </a:lnTo>
                <a:lnTo>
                  <a:pt x="100" y="51"/>
                </a:lnTo>
                <a:lnTo>
                  <a:pt x="93" y="53"/>
                </a:lnTo>
                <a:lnTo>
                  <a:pt x="87" y="55"/>
                </a:lnTo>
                <a:lnTo>
                  <a:pt x="80" y="55"/>
                </a:lnTo>
                <a:lnTo>
                  <a:pt x="75" y="54"/>
                </a:lnTo>
                <a:lnTo>
                  <a:pt x="67" y="51"/>
                </a:lnTo>
                <a:lnTo>
                  <a:pt x="59" y="47"/>
                </a:lnTo>
                <a:lnTo>
                  <a:pt x="51" y="41"/>
                </a:lnTo>
                <a:lnTo>
                  <a:pt x="36" y="31"/>
                </a:lnTo>
                <a:lnTo>
                  <a:pt x="27" y="24"/>
                </a:lnTo>
                <a:lnTo>
                  <a:pt x="24" y="39"/>
                </a:lnTo>
                <a:lnTo>
                  <a:pt x="21" y="64"/>
                </a:lnTo>
                <a:lnTo>
                  <a:pt x="18" y="95"/>
                </a:lnTo>
                <a:lnTo>
                  <a:pt x="13" y="129"/>
                </a:lnTo>
                <a:lnTo>
                  <a:pt x="10" y="163"/>
                </a:lnTo>
                <a:lnTo>
                  <a:pt x="7" y="191"/>
                </a:lnTo>
                <a:lnTo>
                  <a:pt x="3" y="212"/>
                </a:lnTo>
                <a:lnTo>
                  <a:pt x="0" y="221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70" name="Freeform 468"/>
          <p:cNvSpPr>
            <a:spLocks/>
          </p:cNvSpPr>
          <p:nvPr userDrawn="1">
            <p:custDataLst>
              <p:tags r:id="rId305"/>
            </p:custDataLst>
          </p:nvPr>
        </p:nvSpPr>
        <p:spPr bwMode="auto">
          <a:xfrm>
            <a:off x="5219710" y="2220527"/>
            <a:ext cx="22225" cy="41672"/>
          </a:xfrm>
          <a:custGeom>
            <a:avLst/>
            <a:gdLst>
              <a:gd name="T0" fmla="*/ 3704538 w 60"/>
              <a:gd name="T1" fmla="*/ 0 h 81"/>
              <a:gd name="T2" fmla="*/ 3979016 w 60"/>
              <a:gd name="T3" fmla="*/ 941124 h 81"/>
              <a:gd name="T4" fmla="*/ 4390549 w 60"/>
              <a:gd name="T5" fmla="*/ 1411687 h 81"/>
              <a:gd name="T6" fmla="*/ 4939506 w 60"/>
              <a:gd name="T7" fmla="*/ 1411687 h 81"/>
              <a:gd name="T8" fmla="*/ 5488464 w 60"/>
              <a:gd name="T9" fmla="*/ 941124 h 81"/>
              <a:gd name="T10" fmla="*/ 6448955 w 60"/>
              <a:gd name="T11" fmla="*/ 470562 h 81"/>
              <a:gd name="T12" fmla="*/ 7272021 w 60"/>
              <a:gd name="T13" fmla="*/ 0 h 81"/>
              <a:gd name="T14" fmla="*/ 7272021 w 60"/>
              <a:gd name="T15" fmla="*/ 12233930 h 81"/>
              <a:gd name="T16" fmla="*/ 7409446 w 60"/>
              <a:gd name="T17" fmla="*/ 22115045 h 81"/>
              <a:gd name="T18" fmla="*/ 7409446 w 60"/>
              <a:gd name="T19" fmla="*/ 26819984 h 81"/>
              <a:gd name="T20" fmla="*/ 7683554 w 60"/>
              <a:gd name="T21" fmla="*/ 30584479 h 81"/>
              <a:gd name="T22" fmla="*/ 7958033 w 60"/>
              <a:gd name="T23" fmla="*/ 34348289 h 81"/>
              <a:gd name="T24" fmla="*/ 8232511 w 60"/>
              <a:gd name="T25" fmla="*/ 38112785 h 81"/>
              <a:gd name="T26" fmla="*/ 2744047 w 60"/>
              <a:gd name="T27" fmla="*/ 38112785 h 81"/>
              <a:gd name="T28" fmla="*/ 1920981 w 60"/>
              <a:gd name="T29" fmla="*/ 37642223 h 81"/>
              <a:gd name="T30" fmla="*/ 960491 w 60"/>
              <a:gd name="T31" fmla="*/ 36230537 h 81"/>
              <a:gd name="T32" fmla="*/ 686012 w 60"/>
              <a:gd name="T33" fmla="*/ 34818851 h 81"/>
              <a:gd name="T34" fmla="*/ 274479 w 60"/>
              <a:gd name="T35" fmla="*/ 33877727 h 81"/>
              <a:gd name="T36" fmla="*/ 137054 w 60"/>
              <a:gd name="T37" fmla="*/ 32937289 h 81"/>
              <a:gd name="T38" fmla="*/ 0 w 60"/>
              <a:gd name="T39" fmla="*/ 31996165 h 81"/>
              <a:gd name="T40" fmla="*/ 960491 w 60"/>
              <a:gd name="T41" fmla="*/ 5646060 h 81"/>
              <a:gd name="T42" fmla="*/ 2744047 w 60"/>
              <a:gd name="T43" fmla="*/ 2823373 h 81"/>
              <a:gd name="T44" fmla="*/ 4665028 w 60"/>
              <a:gd name="T45" fmla="*/ 0 h 81"/>
              <a:gd name="T46" fmla="*/ 3704538 w 60"/>
              <a:gd name="T47" fmla="*/ 0 h 8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60"/>
              <a:gd name="T73" fmla="*/ 0 h 81"/>
              <a:gd name="T74" fmla="*/ 60 w 60"/>
              <a:gd name="T75" fmla="*/ 81 h 81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60" h="81">
                <a:moveTo>
                  <a:pt x="27" y="0"/>
                </a:moveTo>
                <a:lnTo>
                  <a:pt x="29" y="2"/>
                </a:lnTo>
                <a:lnTo>
                  <a:pt x="32" y="3"/>
                </a:lnTo>
                <a:lnTo>
                  <a:pt x="36" y="3"/>
                </a:lnTo>
                <a:lnTo>
                  <a:pt x="40" y="2"/>
                </a:lnTo>
                <a:lnTo>
                  <a:pt x="47" y="1"/>
                </a:lnTo>
                <a:lnTo>
                  <a:pt x="53" y="0"/>
                </a:lnTo>
                <a:lnTo>
                  <a:pt x="53" y="26"/>
                </a:lnTo>
                <a:lnTo>
                  <a:pt x="54" y="47"/>
                </a:lnTo>
                <a:lnTo>
                  <a:pt x="54" y="57"/>
                </a:lnTo>
                <a:lnTo>
                  <a:pt x="56" y="65"/>
                </a:lnTo>
                <a:lnTo>
                  <a:pt x="58" y="73"/>
                </a:lnTo>
                <a:lnTo>
                  <a:pt x="60" y="81"/>
                </a:lnTo>
                <a:lnTo>
                  <a:pt x="20" y="81"/>
                </a:lnTo>
                <a:lnTo>
                  <a:pt x="14" y="80"/>
                </a:lnTo>
                <a:lnTo>
                  <a:pt x="7" y="77"/>
                </a:lnTo>
                <a:lnTo>
                  <a:pt x="5" y="74"/>
                </a:lnTo>
                <a:lnTo>
                  <a:pt x="2" y="72"/>
                </a:lnTo>
                <a:lnTo>
                  <a:pt x="1" y="70"/>
                </a:lnTo>
                <a:lnTo>
                  <a:pt x="0" y="68"/>
                </a:lnTo>
                <a:lnTo>
                  <a:pt x="7" y="12"/>
                </a:lnTo>
                <a:lnTo>
                  <a:pt x="20" y="6"/>
                </a:lnTo>
                <a:lnTo>
                  <a:pt x="34" y="0"/>
                </a:lnTo>
                <a:lnTo>
                  <a:pt x="27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71" name="Freeform 469"/>
          <p:cNvSpPr>
            <a:spLocks/>
          </p:cNvSpPr>
          <p:nvPr userDrawn="1">
            <p:custDataLst>
              <p:tags r:id="rId306"/>
            </p:custDataLst>
          </p:nvPr>
        </p:nvSpPr>
        <p:spPr bwMode="auto">
          <a:xfrm>
            <a:off x="4468815" y="1571636"/>
            <a:ext cx="161925" cy="50006"/>
          </a:xfrm>
          <a:custGeom>
            <a:avLst/>
            <a:gdLst>
              <a:gd name="T0" fmla="*/ 47881220 w 370"/>
              <a:gd name="T1" fmla="*/ 31256096 h 129"/>
              <a:gd name="T2" fmla="*/ 49413380 w 370"/>
              <a:gd name="T3" fmla="*/ 31790013 h 129"/>
              <a:gd name="T4" fmla="*/ 53052315 w 370"/>
              <a:gd name="T5" fmla="*/ 32858880 h 129"/>
              <a:gd name="T6" fmla="*/ 56499566 w 370"/>
              <a:gd name="T7" fmla="*/ 33927238 h 129"/>
              <a:gd name="T8" fmla="*/ 58031740 w 370"/>
              <a:gd name="T9" fmla="*/ 34461671 h 129"/>
              <a:gd name="T10" fmla="*/ 70864073 w 370"/>
              <a:gd name="T11" fmla="*/ 25912795 h 129"/>
              <a:gd name="T12" fmla="*/ 68565614 w 370"/>
              <a:gd name="T13" fmla="*/ 20036095 h 129"/>
              <a:gd name="T14" fmla="*/ 66075909 w 370"/>
              <a:gd name="T15" fmla="*/ 12822789 h 129"/>
              <a:gd name="T16" fmla="*/ 64160818 w 370"/>
              <a:gd name="T17" fmla="*/ 7212786 h 129"/>
              <a:gd name="T18" fmla="*/ 63203273 w 370"/>
              <a:gd name="T19" fmla="*/ 4808353 h 129"/>
              <a:gd name="T20" fmla="*/ 57457563 w 370"/>
              <a:gd name="T21" fmla="*/ 4007218 h 129"/>
              <a:gd name="T22" fmla="*/ 49221696 w 370"/>
              <a:gd name="T23" fmla="*/ 2404435 h 129"/>
              <a:gd name="T24" fmla="*/ 40986281 w 370"/>
              <a:gd name="T25" fmla="*/ 534434 h 129"/>
              <a:gd name="T26" fmla="*/ 35048887 w 370"/>
              <a:gd name="T27" fmla="*/ 0 h 129"/>
              <a:gd name="T28" fmla="*/ 34283026 w 370"/>
              <a:gd name="T29" fmla="*/ 0 h 129"/>
              <a:gd name="T30" fmla="*/ 33708411 w 370"/>
              <a:gd name="T31" fmla="*/ 267217 h 129"/>
              <a:gd name="T32" fmla="*/ 32942112 w 370"/>
              <a:gd name="T33" fmla="*/ 534434 h 129"/>
              <a:gd name="T34" fmla="*/ 32559182 w 370"/>
              <a:gd name="T35" fmla="*/ 801650 h 129"/>
              <a:gd name="T36" fmla="*/ 31027022 w 370"/>
              <a:gd name="T37" fmla="*/ 1870001 h 129"/>
              <a:gd name="T38" fmla="*/ 28728563 w 370"/>
              <a:gd name="T39" fmla="*/ 3205568 h 129"/>
              <a:gd name="T40" fmla="*/ 28153941 w 370"/>
              <a:gd name="T41" fmla="*/ 5610003 h 129"/>
              <a:gd name="T42" fmla="*/ 26813465 w 370"/>
              <a:gd name="T43" fmla="*/ 9350005 h 129"/>
              <a:gd name="T44" fmla="*/ 25664236 w 370"/>
              <a:gd name="T45" fmla="*/ 12822789 h 129"/>
              <a:gd name="T46" fmla="*/ 25089621 w 370"/>
              <a:gd name="T47" fmla="*/ 14692790 h 129"/>
              <a:gd name="T48" fmla="*/ 23365777 w 370"/>
              <a:gd name="T49" fmla="*/ 14425573 h 129"/>
              <a:gd name="T50" fmla="*/ 21259002 w 370"/>
              <a:gd name="T51" fmla="*/ 13090006 h 129"/>
              <a:gd name="T52" fmla="*/ 18769296 w 370"/>
              <a:gd name="T53" fmla="*/ 11754439 h 129"/>
              <a:gd name="T54" fmla="*/ 16087907 w 370"/>
              <a:gd name="T55" fmla="*/ 10151656 h 129"/>
              <a:gd name="T56" fmla="*/ 11491423 w 370"/>
              <a:gd name="T57" fmla="*/ 6945570 h 129"/>
              <a:gd name="T58" fmla="*/ 8427103 w 370"/>
              <a:gd name="T59" fmla="*/ 4808353 h 129"/>
              <a:gd name="T60" fmla="*/ 6128642 w 370"/>
              <a:gd name="T61" fmla="*/ 6678870 h 129"/>
              <a:gd name="T62" fmla="*/ 4021867 w 370"/>
              <a:gd name="T63" fmla="*/ 8815572 h 129"/>
              <a:gd name="T64" fmla="*/ 3064321 w 370"/>
              <a:gd name="T65" fmla="*/ 9884439 h 129"/>
              <a:gd name="T66" fmla="*/ 2298460 w 370"/>
              <a:gd name="T67" fmla="*/ 10952789 h 129"/>
              <a:gd name="T68" fmla="*/ 1723845 w 370"/>
              <a:gd name="T69" fmla="*/ 12288873 h 129"/>
              <a:gd name="T70" fmla="*/ 957546 w 370"/>
              <a:gd name="T71" fmla="*/ 13891656 h 129"/>
              <a:gd name="T72" fmla="*/ 574615 w 370"/>
              <a:gd name="T73" fmla="*/ 15227223 h 129"/>
              <a:gd name="T74" fmla="*/ 191684 w 370"/>
              <a:gd name="T75" fmla="*/ 16830007 h 129"/>
              <a:gd name="T76" fmla="*/ 0 w 370"/>
              <a:gd name="T77" fmla="*/ 18432794 h 129"/>
              <a:gd name="T78" fmla="*/ 0 w 370"/>
              <a:gd name="T79" fmla="*/ 20036095 h 129"/>
              <a:gd name="T80" fmla="*/ 191684 w 370"/>
              <a:gd name="T81" fmla="*/ 21906095 h 129"/>
              <a:gd name="T82" fmla="*/ 574615 w 370"/>
              <a:gd name="T83" fmla="*/ 23508878 h 129"/>
              <a:gd name="T84" fmla="*/ 1149230 w 370"/>
              <a:gd name="T85" fmla="*/ 25646095 h 129"/>
              <a:gd name="T86" fmla="*/ 2106776 w 370"/>
              <a:gd name="T87" fmla="*/ 27516096 h 129"/>
              <a:gd name="T88" fmla="*/ 3830621 w 370"/>
              <a:gd name="T89" fmla="*/ 26981662 h 129"/>
              <a:gd name="T90" fmla="*/ 6320326 w 370"/>
              <a:gd name="T91" fmla="*/ 26447229 h 129"/>
              <a:gd name="T92" fmla="*/ 9576332 w 370"/>
              <a:gd name="T93" fmla="*/ 25912795 h 129"/>
              <a:gd name="T94" fmla="*/ 13215267 w 370"/>
              <a:gd name="T95" fmla="*/ 25378879 h 129"/>
              <a:gd name="T96" fmla="*/ 19535595 w 370"/>
              <a:gd name="T97" fmla="*/ 24577228 h 129"/>
              <a:gd name="T98" fmla="*/ 22408231 w 370"/>
              <a:gd name="T99" fmla="*/ 24310012 h 129"/>
              <a:gd name="T100" fmla="*/ 26238850 w 370"/>
              <a:gd name="T101" fmla="*/ 24577228 h 129"/>
              <a:gd name="T102" fmla="*/ 29111931 w 370"/>
              <a:gd name="T103" fmla="*/ 25111662 h 129"/>
              <a:gd name="T104" fmla="*/ 31792883 w 370"/>
              <a:gd name="T105" fmla="*/ 25912795 h 129"/>
              <a:gd name="T106" fmla="*/ 33899658 w 370"/>
              <a:gd name="T107" fmla="*/ 26714445 h 129"/>
              <a:gd name="T108" fmla="*/ 36198117 w 370"/>
              <a:gd name="T109" fmla="*/ 27782796 h 129"/>
              <a:gd name="T110" fmla="*/ 38496576 w 370"/>
              <a:gd name="T111" fmla="*/ 28851662 h 129"/>
              <a:gd name="T112" fmla="*/ 41560896 w 370"/>
              <a:gd name="T113" fmla="*/ 29386096 h 129"/>
              <a:gd name="T114" fmla="*/ 45391515 w 370"/>
              <a:gd name="T115" fmla="*/ 29653313 h 129"/>
              <a:gd name="T116" fmla="*/ 45391515 w 370"/>
              <a:gd name="T117" fmla="*/ 31256096 h 129"/>
              <a:gd name="T118" fmla="*/ 47881220 w 370"/>
              <a:gd name="T119" fmla="*/ 31256096 h 12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370"/>
              <a:gd name="T181" fmla="*/ 0 h 129"/>
              <a:gd name="T182" fmla="*/ 370 w 370"/>
              <a:gd name="T183" fmla="*/ 129 h 129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370" h="129">
                <a:moveTo>
                  <a:pt x="250" y="117"/>
                </a:moveTo>
                <a:lnTo>
                  <a:pt x="258" y="119"/>
                </a:lnTo>
                <a:lnTo>
                  <a:pt x="277" y="123"/>
                </a:lnTo>
                <a:lnTo>
                  <a:pt x="295" y="127"/>
                </a:lnTo>
                <a:lnTo>
                  <a:pt x="303" y="129"/>
                </a:lnTo>
                <a:lnTo>
                  <a:pt x="370" y="97"/>
                </a:lnTo>
                <a:lnTo>
                  <a:pt x="358" y="75"/>
                </a:lnTo>
                <a:lnTo>
                  <a:pt x="345" y="48"/>
                </a:lnTo>
                <a:lnTo>
                  <a:pt x="335" y="27"/>
                </a:lnTo>
                <a:lnTo>
                  <a:pt x="330" y="18"/>
                </a:lnTo>
                <a:lnTo>
                  <a:pt x="300" y="15"/>
                </a:lnTo>
                <a:lnTo>
                  <a:pt x="257" y="9"/>
                </a:lnTo>
                <a:lnTo>
                  <a:pt x="214" y="2"/>
                </a:lnTo>
                <a:lnTo>
                  <a:pt x="183" y="0"/>
                </a:lnTo>
                <a:lnTo>
                  <a:pt x="179" y="0"/>
                </a:lnTo>
                <a:lnTo>
                  <a:pt x="176" y="1"/>
                </a:lnTo>
                <a:lnTo>
                  <a:pt x="172" y="2"/>
                </a:lnTo>
                <a:lnTo>
                  <a:pt x="170" y="3"/>
                </a:lnTo>
                <a:lnTo>
                  <a:pt x="162" y="7"/>
                </a:lnTo>
                <a:lnTo>
                  <a:pt x="150" y="12"/>
                </a:lnTo>
                <a:lnTo>
                  <a:pt x="147" y="21"/>
                </a:lnTo>
                <a:lnTo>
                  <a:pt x="140" y="35"/>
                </a:lnTo>
                <a:lnTo>
                  <a:pt x="134" y="48"/>
                </a:lnTo>
                <a:lnTo>
                  <a:pt x="131" y="55"/>
                </a:lnTo>
                <a:lnTo>
                  <a:pt x="122" y="54"/>
                </a:lnTo>
                <a:lnTo>
                  <a:pt x="111" y="49"/>
                </a:lnTo>
                <a:lnTo>
                  <a:pt x="98" y="44"/>
                </a:lnTo>
                <a:lnTo>
                  <a:pt x="84" y="38"/>
                </a:lnTo>
                <a:lnTo>
                  <a:pt x="60" y="26"/>
                </a:lnTo>
                <a:lnTo>
                  <a:pt x="44" y="18"/>
                </a:lnTo>
                <a:lnTo>
                  <a:pt x="32" y="25"/>
                </a:lnTo>
                <a:lnTo>
                  <a:pt x="21" y="33"/>
                </a:lnTo>
                <a:lnTo>
                  <a:pt x="16" y="37"/>
                </a:lnTo>
                <a:lnTo>
                  <a:pt x="12" y="41"/>
                </a:lnTo>
                <a:lnTo>
                  <a:pt x="9" y="46"/>
                </a:lnTo>
                <a:lnTo>
                  <a:pt x="5" y="52"/>
                </a:lnTo>
                <a:lnTo>
                  <a:pt x="3" y="57"/>
                </a:lnTo>
                <a:lnTo>
                  <a:pt x="1" y="63"/>
                </a:lnTo>
                <a:lnTo>
                  <a:pt x="0" y="69"/>
                </a:lnTo>
                <a:lnTo>
                  <a:pt x="0" y="75"/>
                </a:lnTo>
                <a:lnTo>
                  <a:pt x="1" y="82"/>
                </a:lnTo>
                <a:lnTo>
                  <a:pt x="3" y="88"/>
                </a:lnTo>
                <a:lnTo>
                  <a:pt x="6" y="96"/>
                </a:lnTo>
                <a:lnTo>
                  <a:pt x="11" y="103"/>
                </a:lnTo>
                <a:lnTo>
                  <a:pt x="20" y="101"/>
                </a:lnTo>
                <a:lnTo>
                  <a:pt x="33" y="99"/>
                </a:lnTo>
                <a:lnTo>
                  <a:pt x="50" y="97"/>
                </a:lnTo>
                <a:lnTo>
                  <a:pt x="69" y="95"/>
                </a:lnTo>
                <a:lnTo>
                  <a:pt x="102" y="92"/>
                </a:lnTo>
                <a:lnTo>
                  <a:pt x="117" y="91"/>
                </a:lnTo>
                <a:lnTo>
                  <a:pt x="137" y="92"/>
                </a:lnTo>
                <a:lnTo>
                  <a:pt x="152" y="94"/>
                </a:lnTo>
                <a:lnTo>
                  <a:pt x="166" y="97"/>
                </a:lnTo>
                <a:lnTo>
                  <a:pt x="177" y="100"/>
                </a:lnTo>
                <a:lnTo>
                  <a:pt x="189" y="104"/>
                </a:lnTo>
                <a:lnTo>
                  <a:pt x="201" y="108"/>
                </a:lnTo>
                <a:lnTo>
                  <a:pt x="217" y="110"/>
                </a:lnTo>
                <a:lnTo>
                  <a:pt x="237" y="111"/>
                </a:lnTo>
                <a:lnTo>
                  <a:pt x="237" y="117"/>
                </a:lnTo>
                <a:lnTo>
                  <a:pt x="250" y="117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72" name="Freeform 470"/>
          <p:cNvSpPr>
            <a:spLocks/>
          </p:cNvSpPr>
          <p:nvPr userDrawn="1">
            <p:custDataLst>
              <p:tags r:id="rId307"/>
            </p:custDataLst>
          </p:nvPr>
        </p:nvSpPr>
        <p:spPr bwMode="auto">
          <a:xfrm>
            <a:off x="4918076" y="2112181"/>
            <a:ext cx="30162" cy="42863"/>
          </a:xfrm>
          <a:custGeom>
            <a:avLst/>
            <a:gdLst>
              <a:gd name="T0" fmla="*/ 3838115 w 80"/>
              <a:gd name="T1" fmla="*/ 369651 h 94"/>
              <a:gd name="T2" fmla="*/ 4833083 w 80"/>
              <a:gd name="T3" fmla="*/ 0 h 94"/>
              <a:gd name="T4" fmla="*/ 5828052 w 80"/>
              <a:gd name="T5" fmla="*/ 0 h 94"/>
              <a:gd name="T6" fmla="*/ 6680883 w 80"/>
              <a:gd name="T7" fmla="*/ 739302 h 94"/>
              <a:gd name="T8" fmla="*/ 7675852 w 80"/>
              <a:gd name="T9" fmla="*/ 1478604 h 94"/>
              <a:gd name="T10" fmla="*/ 8528682 w 80"/>
              <a:gd name="T11" fmla="*/ 2217906 h 94"/>
              <a:gd name="T12" fmla="*/ 9381889 w 80"/>
              <a:gd name="T13" fmla="*/ 2957209 h 94"/>
              <a:gd name="T14" fmla="*/ 10376858 w 80"/>
              <a:gd name="T15" fmla="*/ 2957209 h 94"/>
              <a:gd name="T16" fmla="*/ 11371827 w 80"/>
              <a:gd name="T17" fmla="*/ 2587558 h 94"/>
              <a:gd name="T18" fmla="*/ 11371827 w 80"/>
              <a:gd name="T19" fmla="*/ 14046133 h 94"/>
              <a:gd name="T20" fmla="*/ 10661135 w 80"/>
              <a:gd name="T21" fmla="*/ 16264038 h 94"/>
              <a:gd name="T22" fmla="*/ 9808305 w 80"/>
              <a:gd name="T23" fmla="*/ 18851595 h 94"/>
              <a:gd name="T24" fmla="*/ 9097613 w 80"/>
              <a:gd name="T25" fmla="*/ 21808807 h 94"/>
              <a:gd name="T26" fmla="*/ 8244405 w 80"/>
              <a:gd name="T27" fmla="*/ 25135666 h 94"/>
              <a:gd name="T28" fmla="*/ 7249437 w 80"/>
              <a:gd name="T29" fmla="*/ 31049473 h 94"/>
              <a:gd name="T30" fmla="*/ 6680883 w 80"/>
              <a:gd name="T31" fmla="*/ 34745982 h 94"/>
              <a:gd name="T32" fmla="*/ 6112328 w 80"/>
              <a:gd name="T33" fmla="*/ 34376331 h 94"/>
              <a:gd name="T34" fmla="*/ 5685913 w 80"/>
              <a:gd name="T35" fmla="*/ 34006680 h 94"/>
              <a:gd name="T36" fmla="*/ 5259498 w 80"/>
              <a:gd name="T37" fmla="*/ 33637029 h 94"/>
              <a:gd name="T38" fmla="*/ 4833083 w 80"/>
              <a:gd name="T39" fmla="*/ 32897728 h 94"/>
              <a:gd name="T40" fmla="*/ 4122391 w 80"/>
              <a:gd name="T41" fmla="*/ 31049473 h 94"/>
              <a:gd name="T42" fmla="*/ 3269561 w 80"/>
              <a:gd name="T43" fmla="*/ 28831567 h 94"/>
              <a:gd name="T44" fmla="*/ 2700630 w 80"/>
              <a:gd name="T45" fmla="*/ 26613661 h 94"/>
              <a:gd name="T46" fmla="*/ 1847800 w 80"/>
              <a:gd name="T47" fmla="*/ 24026713 h 94"/>
              <a:gd name="T48" fmla="*/ 994969 w 80"/>
              <a:gd name="T49" fmla="*/ 22178458 h 94"/>
              <a:gd name="T50" fmla="*/ 0 w 80"/>
              <a:gd name="T51" fmla="*/ 20699854 h 94"/>
              <a:gd name="T52" fmla="*/ 1137107 w 80"/>
              <a:gd name="T53" fmla="*/ 15155085 h 94"/>
              <a:gd name="T54" fmla="*/ 1847800 w 80"/>
              <a:gd name="T55" fmla="*/ 10719274 h 94"/>
              <a:gd name="T56" fmla="*/ 2700630 w 80"/>
              <a:gd name="T57" fmla="*/ 6284068 h 94"/>
              <a:gd name="T58" fmla="*/ 3838115 w 80"/>
              <a:gd name="T59" fmla="*/ 369651 h 94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80"/>
              <a:gd name="T91" fmla="*/ 0 h 94"/>
              <a:gd name="T92" fmla="*/ 80 w 80"/>
              <a:gd name="T93" fmla="*/ 94 h 94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80" h="94">
                <a:moveTo>
                  <a:pt x="27" y="1"/>
                </a:moveTo>
                <a:lnTo>
                  <a:pt x="34" y="0"/>
                </a:lnTo>
                <a:lnTo>
                  <a:pt x="41" y="0"/>
                </a:lnTo>
                <a:lnTo>
                  <a:pt x="47" y="2"/>
                </a:lnTo>
                <a:lnTo>
                  <a:pt x="54" y="4"/>
                </a:lnTo>
                <a:lnTo>
                  <a:pt x="60" y="6"/>
                </a:lnTo>
                <a:lnTo>
                  <a:pt x="66" y="8"/>
                </a:lnTo>
                <a:lnTo>
                  <a:pt x="73" y="8"/>
                </a:lnTo>
                <a:lnTo>
                  <a:pt x="80" y="7"/>
                </a:lnTo>
                <a:lnTo>
                  <a:pt x="80" y="38"/>
                </a:lnTo>
                <a:lnTo>
                  <a:pt x="75" y="44"/>
                </a:lnTo>
                <a:lnTo>
                  <a:pt x="69" y="51"/>
                </a:lnTo>
                <a:lnTo>
                  <a:pt x="64" y="59"/>
                </a:lnTo>
                <a:lnTo>
                  <a:pt x="58" y="68"/>
                </a:lnTo>
                <a:lnTo>
                  <a:pt x="51" y="84"/>
                </a:lnTo>
                <a:lnTo>
                  <a:pt x="47" y="94"/>
                </a:lnTo>
                <a:lnTo>
                  <a:pt x="43" y="93"/>
                </a:lnTo>
                <a:lnTo>
                  <a:pt x="40" y="92"/>
                </a:lnTo>
                <a:lnTo>
                  <a:pt x="37" y="91"/>
                </a:lnTo>
                <a:lnTo>
                  <a:pt x="34" y="89"/>
                </a:lnTo>
                <a:lnTo>
                  <a:pt x="29" y="84"/>
                </a:lnTo>
                <a:lnTo>
                  <a:pt x="23" y="78"/>
                </a:lnTo>
                <a:lnTo>
                  <a:pt x="19" y="72"/>
                </a:lnTo>
                <a:lnTo>
                  <a:pt x="13" y="65"/>
                </a:lnTo>
                <a:lnTo>
                  <a:pt x="7" y="60"/>
                </a:lnTo>
                <a:lnTo>
                  <a:pt x="0" y="56"/>
                </a:lnTo>
                <a:lnTo>
                  <a:pt x="8" y="41"/>
                </a:lnTo>
                <a:lnTo>
                  <a:pt x="13" y="29"/>
                </a:lnTo>
                <a:lnTo>
                  <a:pt x="19" y="17"/>
                </a:lnTo>
                <a:lnTo>
                  <a:pt x="27" y="1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73" name="Freeform 471"/>
          <p:cNvSpPr>
            <a:spLocks/>
          </p:cNvSpPr>
          <p:nvPr userDrawn="1">
            <p:custDataLst>
              <p:tags r:id="rId308"/>
            </p:custDataLst>
          </p:nvPr>
        </p:nvSpPr>
        <p:spPr bwMode="auto">
          <a:xfrm>
            <a:off x="4733928" y="3620703"/>
            <a:ext cx="61912" cy="42863"/>
          </a:xfrm>
          <a:custGeom>
            <a:avLst/>
            <a:gdLst>
              <a:gd name="T0" fmla="*/ 631044 w 135"/>
              <a:gd name="T1" fmla="*/ 18704377 h 98"/>
              <a:gd name="T2" fmla="*/ 2313674 w 135"/>
              <a:gd name="T3" fmla="*/ 18364393 h 98"/>
              <a:gd name="T4" fmla="*/ 3785804 w 135"/>
              <a:gd name="T5" fmla="*/ 18024409 h 98"/>
              <a:gd name="T6" fmla="*/ 5047891 w 135"/>
              <a:gd name="T7" fmla="*/ 17003874 h 98"/>
              <a:gd name="T8" fmla="*/ 6520020 w 135"/>
              <a:gd name="T9" fmla="*/ 15983922 h 98"/>
              <a:gd name="T10" fmla="*/ 8833695 w 135"/>
              <a:gd name="T11" fmla="*/ 12922898 h 98"/>
              <a:gd name="T12" fmla="*/ 10936868 w 135"/>
              <a:gd name="T13" fmla="*/ 9522472 h 98"/>
              <a:gd name="T14" fmla="*/ 12829540 w 135"/>
              <a:gd name="T15" fmla="*/ 6121465 h 98"/>
              <a:gd name="T16" fmla="*/ 14932713 w 135"/>
              <a:gd name="T17" fmla="*/ 2720457 h 98"/>
              <a:gd name="T18" fmla="*/ 15984303 w 135"/>
              <a:gd name="T19" fmla="*/ 1700504 h 98"/>
              <a:gd name="T20" fmla="*/ 17246390 w 135"/>
              <a:gd name="T21" fmla="*/ 679968 h 98"/>
              <a:gd name="T22" fmla="*/ 18508018 w 135"/>
              <a:gd name="T23" fmla="*/ 0 h 98"/>
              <a:gd name="T24" fmla="*/ 20190648 w 135"/>
              <a:gd name="T25" fmla="*/ 0 h 98"/>
              <a:gd name="T26" fmla="*/ 21452735 w 135"/>
              <a:gd name="T27" fmla="*/ 0 h 98"/>
              <a:gd name="T28" fmla="*/ 23135365 w 135"/>
              <a:gd name="T29" fmla="*/ 1019953 h 98"/>
              <a:gd name="T30" fmla="*/ 24607494 w 135"/>
              <a:gd name="T31" fmla="*/ 2040488 h 98"/>
              <a:gd name="T32" fmla="*/ 25869581 w 135"/>
              <a:gd name="T33" fmla="*/ 3740992 h 98"/>
              <a:gd name="T34" fmla="*/ 26921167 w 135"/>
              <a:gd name="T35" fmla="*/ 5441497 h 98"/>
              <a:gd name="T36" fmla="*/ 27762253 w 135"/>
              <a:gd name="T37" fmla="*/ 8161953 h 98"/>
              <a:gd name="T38" fmla="*/ 28182795 w 135"/>
              <a:gd name="T39" fmla="*/ 10202443 h 98"/>
              <a:gd name="T40" fmla="*/ 28393296 w 135"/>
              <a:gd name="T41" fmla="*/ 12582914 h 98"/>
              <a:gd name="T42" fmla="*/ 28182795 w 135"/>
              <a:gd name="T43" fmla="*/ 13603450 h 98"/>
              <a:gd name="T44" fmla="*/ 27762253 w 135"/>
              <a:gd name="T45" fmla="*/ 14623402 h 98"/>
              <a:gd name="T46" fmla="*/ 27131209 w 135"/>
              <a:gd name="T47" fmla="*/ 15983922 h 98"/>
              <a:gd name="T48" fmla="*/ 26079623 w 135"/>
              <a:gd name="T49" fmla="*/ 17343858 h 98"/>
              <a:gd name="T50" fmla="*/ 23766408 w 135"/>
              <a:gd name="T51" fmla="*/ 20744869 h 98"/>
              <a:gd name="T52" fmla="*/ 21032192 w 135"/>
              <a:gd name="T53" fmla="*/ 24485861 h 98"/>
              <a:gd name="T54" fmla="*/ 18297976 w 135"/>
              <a:gd name="T55" fmla="*/ 27886285 h 98"/>
              <a:gd name="T56" fmla="*/ 15563760 w 135"/>
              <a:gd name="T57" fmla="*/ 30947308 h 98"/>
              <a:gd name="T58" fmla="*/ 13250083 w 135"/>
              <a:gd name="T59" fmla="*/ 32647811 h 98"/>
              <a:gd name="T60" fmla="*/ 11567453 w 135"/>
              <a:gd name="T61" fmla="*/ 33327779 h 98"/>
              <a:gd name="T62" fmla="*/ 10726367 w 135"/>
              <a:gd name="T63" fmla="*/ 32987795 h 98"/>
              <a:gd name="T64" fmla="*/ 9043738 w 135"/>
              <a:gd name="T65" fmla="*/ 31287292 h 98"/>
              <a:gd name="T66" fmla="*/ 6730062 w 135"/>
              <a:gd name="T67" fmla="*/ 28906820 h 98"/>
              <a:gd name="T68" fmla="*/ 4416848 w 135"/>
              <a:gd name="T69" fmla="*/ 26186364 h 98"/>
              <a:gd name="T70" fmla="*/ 2313674 w 135"/>
              <a:gd name="T71" fmla="*/ 23125341 h 98"/>
              <a:gd name="T72" fmla="*/ 1051587 w 135"/>
              <a:gd name="T73" fmla="*/ 21084854 h 98"/>
              <a:gd name="T74" fmla="*/ 210501 w 135"/>
              <a:gd name="T75" fmla="*/ 20064901 h 98"/>
              <a:gd name="T76" fmla="*/ 0 w 135"/>
              <a:gd name="T77" fmla="*/ 19384350 h 98"/>
              <a:gd name="T78" fmla="*/ 0 w 135"/>
              <a:gd name="T79" fmla="*/ 19044361 h 98"/>
              <a:gd name="T80" fmla="*/ 631044 w 135"/>
              <a:gd name="T81" fmla="*/ 18704377 h 9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135"/>
              <a:gd name="T124" fmla="*/ 0 h 98"/>
              <a:gd name="T125" fmla="*/ 135 w 135"/>
              <a:gd name="T126" fmla="*/ 98 h 98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74" name="Freeform 472"/>
          <p:cNvSpPr>
            <a:spLocks/>
          </p:cNvSpPr>
          <p:nvPr userDrawn="1">
            <p:custDataLst>
              <p:tags r:id="rId309"/>
            </p:custDataLst>
          </p:nvPr>
        </p:nvSpPr>
        <p:spPr bwMode="auto">
          <a:xfrm>
            <a:off x="4467226" y="1607354"/>
            <a:ext cx="131762" cy="63104"/>
          </a:xfrm>
          <a:custGeom>
            <a:avLst/>
            <a:gdLst>
              <a:gd name="T0" fmla="*/ 34242916 w 312"/>
              <a:gd name="T1" fmla="*/ 45672277 h 155"/>
              <a:gd name="T2" fmla="*/ 34599772 w 312"/>
              <a:gd name="T3" fmla="*/ 44493802 h 155"/>
              <a:gd name="T4" fmla="*/ 35134844 w 312"/>
              <a:gd name="T5" fmla="*/ 43609539 h 155"/>
              <a:gd name="T6" fmla="*/ 35669915 w 312"/>
              <a:gd name="T7" fmla="*/ 42725819 h 155"/>
              <a:gd name="T8" fmla="*/ 36204987 w 312"/>
              <a:gd name="T9" fmla="*/ 41841556 h 155"/>
              <a:gd name="T10" fmla="*/ 37631564 w 312"/>
              <a:gd name="T11" fmla="*/ 40368328 h 155"/>
              <a:gd name="T12" fmla="*/ 39236779 w 312"/>
              <a:gd name="T13" fmla="*/ 38895099 h 155"/>
              <a:gd name="T14" fmla="*/ 42447209 w 312"/>
              <a:gd name="T15" fmla="*/ 36243396 h 155"/>
              <a:gd name="T16" fmla="*/ 45122146 w 312"/>
              <a:gd name="T17" fmla="*/ 34475405 h 155"/>
              <a:gd name="T18" fmla="*/ 45479001 w 312"/>
              <a:gd name="T19" fmla="*/ 32117913 h 155"/>
              <a:gd name="T20" fmla="*/ 46370928 w 312"/>
              <a:gd name="T21" fmla="*/ 28581947 h 155"/>
              <a:gd name="T22" fmla="*/ 47084216 w 312"/>
              <a:gd name="T23" fmla="*/ 26813964 h 155"/>
              <a:gd name="T24" fmla="*/ 47619288 w 312"/>
              <a:gd name="T25" fmla="*/ 25340736 h 155"/>
              <a:gd name="T26" fmla="*/ 47976143 w 312"/>
              <a:gd name="T27" fmla="*/ 24162261 h 155"/>
              <a:gd name="T28" fmla="*/ 48510793 w 312"/>
              <a:gd name="T29" fmla="*/ 23867507 h 155"/>
              <a:gd name="T30" fmla="*/ 55644955 w 312"/>
              <a:gd name="T31" fmla="*/ 12964851 h 155"/>
              <a:gd name="T32" fmla="*/ 55644955 w 312"/>
              <a:gd name="T33" fmla="*/ 11491622 h 155"/>
              <a:gd name="T34" fmla="*/ 55288087 w 312"/>
              <a:gd name="T35" fmla="*/ 10313148 h 155"/>
              <a:gd name="T36" fmla="*/ 54574799 w 312"/>
              <a:gd name="T37" fmla="*/ 9428885 h 155"/>
              <a:gd name="T38" fmla="*/ 53861510 w 312"/>
              <a:gd name="T39" fmla="*/ 8839917 h 155"/>
              <a:gd name="T40" fmla="*/ 51899440 w 312"/>
              <a:gd name="T41" fmla="*/ 8250408 h 155"/>
              <a:gd name="T42" fmla="*/ 49937792 w 312"/>
              <a:gd name="T43" fmla="*/ 7955654 h 155"/>
              <a:gd name="T44" fmla="*/ 47797505 w 312"/>
              <a:gd name="T45" fmla="*/ 7955654 h 155"/>
              <a:gd name="T46" fmla="*/ 46192289 w 312"/>
              <a:gd name="T47" fmla="*/ 7955654 h 155"/>
              <a:gd name="T48" fmla="*/ 45657218 w 312"/>
              <a:gd name="T49" fmla="*/ 7660900 h 155"/>
              <a:gd name="T50" fmla="*/ 45122146 w 312"/>
              <a:gd name="T51" fmla="*/ 7366688 h 155"/>
              <a:gd name="T52" fmla="*/ 44943929 w 312"/>
              <a:gd name="T53" fmla="*/ 6777180 h 155"/>
              <a:gd name="T54" fmla="*/ 45122146 w 312"/>
              <a:gd name="T55" fmla="*/ 5893460 h 155"/>
              <a:gd name="T56" fmla="*/ 41377066 w 312"/>
              <a:gd name="T57" fmla="*/ 5598705 h 155"/>
              <a:gd name="T58" fmla="*/ 38523491 w 312"/>
              <a:gd name="T59" fmla="*/ 5009197 h 155"/>
              <a:gd name="T60" fmla="*/ 36026348 w 312"/>
              <a:gd name="T61" fmla="*/ 3830721 h 155"/>
              <a:gd name="T62" fmla="*/ 33707845 w 312"/>
              <a:gd name="T63" fmla="*/ 2651704 h 155"/>
              <a:gd name="T64" fmla="*/ 31567980 w 312"/>
              <a:gd name="T65" fmla="*/ 1767983 h 155"/>
              <a:gd name="T66" fmla="*/ 29070838 w 312"/>
              <a:gd name="T67" fmla="*/ 883720 h 155"/>
              <a:gd name="T68" fmla="*/ 26039039 w 312"/>
              <a:gd name="T69" fmla="*/ 294754 h 155"/>
              <a:gd name="T70" fmla="*/ 22472176 w 312"/>
              <a:gd name="T71" fmla="*/ 0 h 155"/>
              <a:gd name="T72" fmla="*/ 19618601 w 312"/>
              <a:gd name="T73" fmla="*/ 294754 h 155"/>
              <a:gd name="T74" fmla="*/ 13197736 w 312"/>
              <a:gd name="T75" fmla="*/ 1178475 h 155"/>
              <a:gd name="T76" fmla="*/ 9452656 w 312"/>
              <a:gd name="T77" fmla="*/ 1767983 h 155"/>
              <a:gd name="T78" fmla="*/ 6064007 w 312"/>
              <a:gd name="T79" fmla="*/ 2357493 h 155"/>
              <a:gd name="T80" fmla="*/ 3210431 w 312"/>
              <a:gd name="T81" fmla="*/ 2946458 h 155"/>
              <a:gd name="T82" fmla="*/ 1248360 w 312"/>
              <a:gd name="T83" fmla="*/ 3535967 h 155"/>
              <a:gd name="T84" fmla="*/ 1605216 w 312"/>
              <a:gd name="T85" fmla="*/ 5009197 h 155"/>
              <a:gd name="T86" fmla="*/ 1961649 w 312"/>
              <a:gd name="T87" fmla="*/ 5598705 h 155"/>
              <a:gd name="T88" fmla="*/ 2318504 w 312"/>
              <a:gd name="T89" fmla="*/ 5598705 h 155"/>
              <a:gd name="T90" fmla="*/ 2675360 w 312"/>
              <a:gd name="T91" fmla="*/ 5893460 h 155"/>
              <a:gd name="T92" fmla="*/ 3210431 w 312"/>
              <a:gd name="T93" fmla="*/ 5893460 h 155"/>
              <a:gd name="T94" fmla="*/ 3388648 w 312"/>
              <a:gd name="T95" fmla="*/ 5893460 h 155"/>
              <a:gd name="T96" fmla="*/ 3566865 w 312"/>
              <a:gd name="T97" fmla="*/ 6482425 h 155"/>
              <a:gd name="T98" fmla="*/ 3566865 w 312"/>
              <a:gd name="T99" fmla="*/ 7660900 h 155"/>
              <a:gd name="T100" fmla="*/ 3566865 w 312"/>
              <a:gd name="T101" fmla="*/ 8839917 h 155"/>
              <a:gd name="T102" fmla="*/ 3388648 w 312"/>
              <a:gd name="T103" fmla="*/ 10313148 h 155"/>
              <a:gd name="T104" fmla="*/ 3210431 w 312"/>
              <a:gd name="T105" fmla="*/ 11491622 h 155"/>
              <a:gd name="T106" fmla="*/ 2675360 w 312"/>
              <a:gd name="T107" fmla="*/ 12375885 h 155"/>
              <a:gd name="T108" fmla="*/ 2140288 w 312"/>
              <a:gd name="T109" fmla="*/ 13259605 h 155"/>
              <a:gd name="T110" fmla="*/ 1605216 w 312"/>
              <a:gd name="T111" fmla="*/ 14143868 h 155"/>
              <a:gd name="T112" fmla="*/ 713288 w 312"/>
              <a:gd name="T113" fmla="*/ 14438079 h 155"/>
              <a:gd name="T114" fmla="*/ 0 w 312"/>
              <a:gd name="T115" fmla="*/ 14732834 h 155"/>
              <a:gd name="T116" fmla="*/ 13197736 w 312"/>
              <a:gd name="T117" fmla="*/ 20036787 h 155"/>
              <a:gd name="T118" fmla="*/ 15516243 w 312"/>
              <a:gd name="T119" fmla="*/ 32707422 h 155"/>
              <a:gd name="T120" fmla="*/ 29605909 w 312"/>
              <a:gd name="T121" fmla="*/ 36243396 h 155"/>
              <a:gd name="T122" fmla="*/ 34242916 w 312"/>
              <a:gd name="T123" fmla="*/ 45672277 h 15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312"/>
              <a:gd name="T187" fmla="*/ 0 h 155"/>
              <a:gd name="T188" fmla="*/ 312 w 312"/>
              <a:gd name="T189" fmla="*/ 155 h 155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312" h="155">
                <a:moveTo>
                  <a:pt x="192" y="155"/>
                </a:moveTo>
                <a:lnTo>
                  <a:pt x="194" y="151"/>
                </a:lnTo>
                <a:lnTo>
                  <a:pt x="197" y="148"/>
                </a:lnTo>
                <a:lnTo>
                  <a:pt x="200" y="145"/>
                </a:lnTo>
                <a:lnTo>
                  <a:pt x="203" y="142"/>
                </a:lnTo>
                <a:lnTo>
                  <a:pt x="211" y="137"/>
                </a:lnTo>
                <a:lnTo>
                  <a:pt x="220" y="132"/>
                </a:lnTo>
                <a:lnTo>
                  <a:pt x="238" y="123"/>
                </a:lnTo>
                <a:lnTo>
                  <a:pt x="253" y="117"/>
                </a:lnTo>
                <a:lnTo>
                  <a:pt x="255" y="109"/>
                </a:lnTo>
                <a:lnTo>
                  <a:pt x="260" y="97"/>
                </a:lnTo>
                <a:lnTo>
                  <a:pt x="264" y="91"/>
                </a:lnTo>
                <a:lnTo>
                  <a:pt x="267" y="86"/>
                </a:lnTo>
                <a:lnTo>
                  <a:pt x="269" y="82"/>
                </a:lnTo>
                <a:lnTo>
                  <a:pt x="272" y="81"/>
                </a:lnTo>
                <a:lnTo>
                  <a:pt x="312" y="44"/>
                </a:lnTo>
                <a:lnTo>
                  <a:pt x="312" y="39"/>
                </a:lnTo>
                <a:lnTo>
                  <a:pt x="310" y="35"/>
                </a:lnTo>
                <a:lnTo>
                  <a:pt x="306" y="32"/>
                </a:lnTo>
                <a:lnTo>
                  <a:pt x="302" y="30"/>
                </a:lnTo>
                <a:lnTo>
                  <a:pt x="291" y="28"/>
                </a:lnTo>
                <a:lnTo>
                  <a:pt x="280" y="27"/>
                </a:lnTo>
                <a:lnTo>
                  <a:pt x="268" y="27"/>
                </a:lnTo>
                <a:lnTo>
                  <a:pt x="259" y="27"/>
                </a:lnTo>
                <a:lnTo>
                  <a:pt x="256" y="26"/>
                </a:lnTo>
                <a:lnTo>
                  <a:pt x="253" y="25"/>
                </a:lnTo>
                <a:lnTo>
                  <a:pt x="252" y="23"/>
                </a:lnTo>
                <a:lnTo>
                  <a:pt x="253" y="20"/>
                </a:lnTo>
                <a:lnTo>
                  <a:pt x="232" y="19"/>
                </a:lnTo>
                <a:lnTo>
                  <a:pt x="216" y="17"/>
                </a:lnTo>
                <a:lnTo>
                  <a:pt x="202" y="13"/>
                </a:lnTo>
                <a:lnTo>
                  <a:pt x="189" y="9"/>
                </a:lnTo>
                <a:lnTo>
                  <a:pt x="177" y="6"/>
                </a:lnTo>
                <a:lnTo>
                  <a:pt x="163" y="3"/>
                </a:lnTo>
                <a:lnTo>
                  <a:pt x="146" y="1"/>
                </a:lnTo>
                <a:lnTo>
                  <a:pt x="126" y="0"/>
                </a:lnTo>
                <a:lnTo>
                  <a:pt x="110" y="1"/>
                </a:lnTo>
                <a:lnTo>
                  <a:pt x="74" y="4"/>
                </a:lnTo>
                <a:lnTo>
                  <a:pt x="53" y="6"/>
                </a:lnTo>
                <a:lnTo>
                  <a:pt x="34" y="8"/>
                </a:lnTo>
                <a:lnTo>
                  <a:pt x="18" y="10"/>
                </a:lnTo>
                <a:lnTo>
                  <a:pt x="7" y="12"/>
                </a:lnTo>
                <a:lnTo>
                  <a:pt x="9" y="17"/>
                </a:lnTo>
                <a:lnTo>
                  <a:pt x="11" y="19"/>
                </a:lnTo>
                <a:lnTo>
                  <a:pt x="13" y="19"/>
                </a:lnTo>
                <a:lnTo>
                  <a:pt x="15" y="20"/>
                </a:lnTo>
                <a:lnTo>
                  <a:pt x="18" y="20"/>
                </a:lnTo>
                <a:lnTo>
                  <a:pt x="19" y="20"/>
                </a:lnTo>
                <a:lnTo>
                  <a:pt x="20" y="22"/>
                </a:lnTo>
                <a:lnTo>
                  <a:pt x="20" y="26"/>
                </a:lnTo>
                <a:lnTo>
                  <a:pt x="20" y="30"/>
                </a:lnTo>
                <a:lnTo>
                  <a:pt x="19" y="35"/>
                </a:lnTo>
                <a:lnTo>
                  <a:pt x="18" y="39"/>
                </a:lnTo>
                <a:lnTo>
                  <a:pt x="15" y="42"/>
                </a:lnTo>
                <a:lnTo>
                  <a:pt x="12" y="45"/>
                </a:lnTo>
                <a:lnTo>
                  <a:pt x="9" y="48"/>
                </a:lnTo>
                <a:lnTo>
                  <a:pt x="4" y="49"/>
                </a:lnTo>
                <a:lnTo>
                  <a:pt x="0" y="50"/>
                </a:lnTo>
                <a:lnTo>
                  <a:pt x="74" y="68"/>
                </a:lnTo>
                <a:lnTo>
                  <a:pt x="87" y="111"/>
                </a:lnTo>
                <a:lnTo>
                  <a:pt x="166" y="123"/>
                </a:lnTo>
                <a:lnTo>
                  <a:pt x="192" y="155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75" name="Freeform 473"/>
          <p:cNvSpPr>
            <a:spLocks/>
          </p:cNvSpPr>
          <p:nvPr userDrawn="1">
            <p:custDataLst>
              <p:tags r:id="rId310"/>
            </p:custDataLst>
          </p:nvPr>
        </p:nvSpPr>
        <p:spPr bwMode="auto">
          <a:xfrm>
            <a:off x="4173537" y="1746658"/>
            <a:ext cx="19050" cy="45244"/>
          </a:xfrm>
          <a:custGeom>
            <a:avLst/>
            <a:gdLst>
              <a:gd name="T0" fmla="*/ 0 w 46"/>
              <a:gd name="T1" fmla="*/ 36391658 h 50"/>
              <a:gd name="T2" fmla="*/ 342900 w 46"/>
              <a:gd name="T3" fmla="*/ 26201562 h 50"/>
              <a:gd name="T4" fmla="*/ 171450 w 46"/>
              <a:gd name="T5" fmla="*/ 20378995 h 50"/>
              <a:gd name="T6" fmla="*/ 342900 w 46"/>
              <a:gd name="T7" fmla="*/ 18922745 h 50"/>
              <a:gd name="T8" fmla="*/ 514350 w 46"/>
              <a:gd name="T9" fmla="*/ 18922745 h 50"/>
              <a:gd name="T10" fmla="*/ 1029114 w 46"/>
              <a:gd name="T11" fmla="*/ 17467706 h 50"/>
              <a:gd name="T12" fmla="*/ 2229678 w 46"/>
              <a:gd name="T13" fmla="*/ 17467706 h 50"/>
              <a:gd name="T14" fmla="*/ 7889185 w 46"/>
              <a:gd name="T15" fmla="*/ 0 h 50"/>
              <a:gd name="T16" fmla="*/ 7889185 w 46"/>
              <a:gd name="T17" fmla="*/ 72782109 h 50"/>
              <a:gd name="T18" fmla="*/ 6860072 w 46"/>
              <a:gd name="T19" fmla="*/ 71327071 h 50"/>
              <a:gd name="T20" fmla="*/ 5659506 w 46"/>
              <a:gd name="T21" fmla="*/ 65504503 h 50"/>
              <a:gd name="T22" fmla="*/ 4287493 w 46"/>
              <a:gd name="T23" fmla="*/ 59681936 h 50"/>
              <a:gd name="T24" fmla="*/ 2915478 w 46"/>
              <a:gd name="T25" fmla="*/ 53859369 h 50"/>
              <a:gd name="T26" fmla="*/ 857664 w 46"/>
              <a:gd name="T27" fmla="*/ 40757989 h 50"/>
              <a:gd name="T28" fmla="*/ 0 w 46"/>
              <a:gd name="T29" fmla="*/ 36391658 h 5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46"/>
              <a:gd name="T46" fmla="*/ 0 h 50"/>
              <a:gd name="T47" fmla="*/ 46 w 46"/>
              <a:gd name="T48" fmla="*/ 50 h 50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46" h="50">
                <a:moveTo>
                  <a:pt x="0" y="25"/>
                </a:moveTo>
                <a:lnTo>
                  <a:pt x="2" y="18"/>
                </a:lnTo>
                <a:lnTo>
                  <a:pt x="1" y="14"/>
                </a:lnTo>
                <a:lnTo>
                  <a:pt x="2" y="13"/>
                </a:lnTo>
                <a:lnTo>
                  <a:pt x="3" y="13"/>
                </a:lnTo>
                <a:lnTo>
                  <a:pt x="6" y="12"/>
                </a:lnTo>
                <a:lnTo>
                  <a:pt x="13" y="12"/>
                </a:lnTo>
                <a:lnTo>
                  <a:pt x="46" y="0"/>
                </a:lnTo>
                <a:lnTo>
                  <a:pt x="46" y="50"/>
                </a:lnTo>
                <a:lnTo>
                  <a:pt x="40" y="49"/>
                </a:lnTo>
                <a:lnTo>
                  <a:pt x="33" y="45"/>
                </a:lnTo>
                <a:lnTo>
                  <a:pt x="25" y="41"/>
                </a:lnTo>
                <a:lnTo>
                  <a:pt x="17" y="37"/>
                </a:lnTo>
                <a:lnTo>
                  <a:pt x="5" y="28"/>
                </a:lnTo>
                <a:lnTo>
                  <a:pt x="0" y="25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76" name="Freeform 474"/>
          <p:cNvSpPr>
            <a:spLocks/>
          </p:cNvSpPr>
          <p:nvPr userDrawn="1">
            <p:custDataLst>
              <p:tags r:id="rId311"/>
            </p:custDataLst>
          </p:nvPr>
        </p:nvSpPr>
        <p:spPr bwMode="auto">
          <a:xfrm>
            <a:off x="4908552" y="3159920"/>
            <a:ext cx="69850" cy="180975"/>
          </a:xfrm>
          <a:custGeom>
            <a:avLst/>
            <a:gdLst>
              <a:gd name="T0" fmla="*/ 1770656 w 166"/>
              <a:gd name="T1" fmla="*/ 78964908 h 456"/>
              <a:gd name="T2" fmla="*/ 3364161 w 166"/>
              <a:gd name="T3" fmla="*/ 81204870 h 456"/>
              <a:gd name="T4" fmla="*/ 6551172 w 166"/>
              <a:gd name="T5" fmla="*/ 84005219 h 456"/>
              <a:gd name="T6" fmla="*/ 10269212 w 166"/>
              <a:gd name="T7" fmla="*/ 85685323 h 456"/>
              <a:gd name="T8" fmla="*/ 12394166 w 166"/>
              <a:gd name="T9" fmla="*/ 87365426 h 456"/>
              <a:gd name="T10" fmla="*/ 14164824 w 166"/>
              <a:gd name="T11" fmla="*/ 89605388 h 456"/>
              <a:gd name="T12" fmla="*/ 15226880 w 166"/>
              <a:gd name="T13" fmla="*/ 92685667 h 456"/>
              <a:gd name="T14" fmla="*/ 15226880 w 166"/>
              <a:gd name="T15" fmla="*/ 97166120 h 456"/>
              <a:gd name="T16" fmla="*/ 13810525 w 166"/>
              <a:gd name="T17" fmla="*/ 101646573 h 456"/>
              <a:gd name="T18" fmla="*/ 12039867 w 166"/>
              <a:gd name="T19" fmla="*/ 105006780 h 456"/>
              <a:gd name="T20" fmla="*/ 10977810 w 166"/>
              <a:gd name="T21" fmla="*/ 108646916 h 456"/>
              <a:gd name="T22" fmla="*/ 10623511 w 166"/>
              <a:gd name="T23" fmla="*/ 112007124 h 456"/>
              <a:gd name="T24" fmla="*/ 11331689 w 166"/>
              <a:gd name="T25" fmla="*/ 115087402 h 456"/>
              <a:gd name="T26" fmla="*/ 13456643 w 166"/>
              <a:gd name="T27" fmla="*/ 118727539 h 456"/>
              <a:gd name="T28" fmla="*/ 18413890 w 166"/>
              <a:gd name="T29" fmla="*/ 124607637 h 456"/>
              <a:gd name="T30" fmla="*/ 21247022 w 166"/>
              <a:gd name="T31" fmla="*/ 124047779 h 456"/>
              <a:gd name="T32" fmla="*/ 21247022 w 166"/>
              <a:gd name="T33" fmla="*/ 118447610 h 456"/>
              <a:gd name="T34" fmla="*/ 23194827 w 166"/>
              <a:gd name="T35" fmla="*/ 115647260 h 456"/>
              <a:gd name="T36" fmla="*/ 25673659 w 166"/>
              <a:gd name="T37" fmla="*/ 113967157 h 456"/>
              <a:gd name="T38" fmla="*/ 27090015 w 166"/>
              <a:gd name="T39" fmla="*/ 112566982 h 456"/>
              <a:gd name="T40" fmla="*/ 28329227 w 166"/>
              <a:gd name="T41" fmla="*/ 110047091 h 456"/>
              <a:gd name="T42" fmla="*/ 29391704 w 166"/>
              <a:gd name="T43" fmla="*/ 105006780 h 456"/>
              <a:gd name="T44" fmla="*/ 29214555 w 166"/>
              <a:gd name="T45" fmla="*/ 98005907 h 456"/>
              <a:gd name="T46" fmla="*/ 27975349 w 166"/>
              <a:gd name="T47" fmla="*/ 91845879 h 456"/>
              <a:gd name="T48" fmla="*/ 26204687 w 166"/>
              <a:gd name="T49" fmla="*/ 85965252 h 456"/>
              <a:gd name="T50" fmla="*/ 24965061 w 166"/>
              <a:gd name="T51" fmla="*/ 79524766 h 456"/>
              <a:gd name="T52" fmla="*/ 23903004 w 166"/>
              <a:gd name="T53" fmla="*/ 75324771 h 456"/>
              <a:gd name="T54" fmla="*/ 20892723 w 166"/>
              <a:gd name="T55" fmla="*/ 70284460 h 456"/>
              <a:gd name="T56" fmla="*/ 17174685 w 166"/>
              <a:gd name="T57" fmla="*/ 62723712 h 456"/>
              <a:gd name="T58" fmla="*/ 15050151 w 166"/>
              <a:gd name="T59" fmla="*/ 57683401 h 456"/>
              <a:gd name="T60" fmla="*/ 14164824 w 166"/>
              <a:gd name="T61" fmla="*/ 54603652 h 456"/>
              <a:gd name="T62" fmla="*/ 14341553 w 166"/>
              <a:gd name="T63" fmla="*/ 49563341 h 456"/>
              <a:gd name="T64" fmla="*/ 15581179 w 166"/>
              <a:gd name="T65" fmla="*/ 41162822 h 456"/>
              <a:gd name="T66" fmla="*/ 16997535 w 166"/>
              <a:gd name="T67" fmla="*/ 36122511 h 456"/>
              <a:gd name="T68" fmla="*/ 17351834 w 166"/>
              <a:gd name="T69" fmla="*/ 31642050 h 456"/>
              <a:gd name="T70" fmla="*/ 16820385 w 166"/>
              <a:gd name="T71" fmla="*/ 22961602 h 456"/>
              <a:gd name="T72" fmla="*/ 16289357 w 166"/>
              <a:gd name="T73" fmla="*/ 12601047 h 456"/>
              <a:gd name="T74" fmla="*/ 15758329 w 166"/>
              <a:gd name="T75" fmla="*/ 5040313 h 456"/>
              <a:gd name="T76" fmla="*/ 12571316 w 166"/>
              <a:gd name="T77" fmla="*/ 2239963 h 456"/>
              <a:gd name="T78" fmla="*/ 5842994 w 166"/>
              <a:gd name="T79" fmla="*/ 1120246 h 456"/>
              <a:gd name="T80" fmla="*/ 2124534 w 166"/>
              <a:gd name="T81" fmla="*/ 2800350 h 456"/>
              <a:gd name="T82" fmla="*/ 3895190 w 166"/>
              <a:gd name="T83" fmla="*/ 7000346 h 456"/>
              <a:gd name="T84" fmla="*/ 5842994 w 166"/>
              <a:gd name="T85" fmla="*/ 8400521 h 456"/>
              <a:gd name="T86" fmla="*/ 7082202 w 166"/>
              <a:gd name="T87" fmla="*/ 12320588 h 456"/>
              <a:gd name="T88" fmla="*/ 7082202 w 166"/>
              <a:gd name="T89" fmla="*/ 17921291 h 456"/>
              <a:gd name="T90" fmla="*/ 7082202 w 166"/>
              <a:gd name="T91" fmla="*/ 21841357 h 456"/>
              <a:gd name="T92" fmla="*/ 6374022 w 166"/>
              <a:gd name="T93" fmla="*/ 23801389 h 456"/>
              <a:gd name="T94" fmla="*/ 5134816 w 166"/>
              <a:gd name="T95" fmla="*/ 26601739 h 456"/>
              <a:gd name="T96" fmla="*/ 2655983 w 166"/>
              <a:gd name="T97" fmla="*/ 30521804 h 456"/>
              <a:gd name="T98" fmla="*/ 531028 w 166"/>
              <a:gd name="T99" fmla="*/ 34161941 h 456"/>
              <a:gd name="T100" fmla="*/ 1239206 w 166"/>
              <a:gd name="T101" fmla="*/ 77564733 h 45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166"/>
              <a:gd name="T154" fmla="*/ 0 h 456"/>
              <a:gd name="T155" fmla="*/ 166 w 166"/>
              <a:gd name="T156" fmla="*/ 456 h 45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166" h="456">
                <a:moveTo>
                  <a:pt x="7" y="277"/>
                </a:moveTo>
                <a:lnTo>
                  <a:pt x="10" y="282"/>
                </a:lnTo>
                <a:lnTo>
                  <a:pt x="14" y="287"/>
                </a:lnTo>
                <a:lnTo>
                  <a:pt x="19" y="290"/>
                </a:lnTo>
                <a:lnTo>
                  <a:pt x="25" y="294"/>
                </a:lnTo>
                <a:lnTo>
                  <a:pt x="37" y="300"/>
                </a:lnTo>
                <a:lnTo>
                  <a:pt x="52" y="304"/>
                </a:lnTo>
                <a:lnTo>
                  <a:pt x="58" y="306"/>
                </a:lnTo>
                <a:lnTo>
                  <a:pt x="65" y="309"/>
                </a:lnTo>
                <a:lnTo>
                  <a:pt x="70" y="312"/>
                </a:lnTo>
                <a:lnTo>
                  <a:pt x="76" y="316"/>
                </a:lnTo>
                <a:lnTo>
                  <a:pt x="80" y="320"/>
                </a:lnTo>
                <a:lnTo>
                  <a:pt x="84" y="325"/>
                </a:lnTo>
                <a:lnTo>
                  <a:pt x="86" y="331"/>
                </a:lnTo>
                <a:lnTo>
                  <a:pt x="87" y="339"/>
                </a:lnTo>
                <a:lnTo>
                  <a:pt x="86" y="347"/>
                </a:lnTo>
                <a:lnTo>
                  <a:pt x="82" y="356"/>
                </a:lnTo>
                <a:lnTo>
                  <a:pt x="78" y="363"/>
                </a:lnTo>
                <a:lnTo>
                  <a:pt x="74" y="369"/>
                </a:lnTo>
                <a:lnTo>
                  <a:pt x="68" y="375"/>
                </a:lnTo>
                <a:lnTo>
                  <a:pt x="64" y="381"/>
                </a:lnTo>
                <a:lnTo>
                  <a:pt x="62" y="388"/>
                </a:lnTo>
                <a:lnTo>
                  <a:pt x="60" y="394"/>
                </a:lnTo>
                <a:lnTo>
                  <a:pt x="60" y="400"/>
                </a:lnTo>
                <a:lnTo>
                  <a:pt x="62" y="405"/>
                </a:lnTo>
                <a:lnTo>
                  <a:pt x="64" y="411"/>
                </a:lnTo>
                <a:lnTo>
                  <a:pt x="67" y="416"/>
                </a:lnTo>
                <a:lnTo>
                  <a:pt x="76" y="424"/>
                </a:lnTo>
                <a:lnTo>
                  <a:pt x="85" y="432"/>
                </a:lnTo>
                <a:lnTo>
                  <a:pt x="104" y="445"/>
                </a:lnTo>
                <a:lnTo>
                  <a:pt x="120" y="456"/>
                </a:lnTo>
                <a:lnTo>
                  <a:pt x="120" y="443"/>
                </a:lnTo>
                <a:lnTo>
                  <a:pt x="120" y="432"/>
                </a:lnTo>
                <a:lnTo>
                  <a:pt x="120" y="423"/>
                </a:lnTo>
                <a:lnTo>
                  <a:pt x="120" y="413"/>
                </a:lnTo>
                <a:lnTo>
                  <a:pt x="131" y="413"/>
                </a:lnTo>
                <a:lnTo>
                  <a:pt x="141" y="410"/>
                </a:lnTo>
                <a:lnTo>
                  <a:pt x="145" y="407"/>
                </a:lnTo>
                <a:lnTo>
                  <a:pt x="149" y="405"/>
                </a:lnTo>
                <a:lnTo>
                  <a:pt x="153" y="402"/>
                </a:lnTo>
                <a:lnTo>
                  <a:pt x="155" y="399"/>
                </a:lnTo>
                <a:lnTo>
                  <a:pt x="160" y="393"/>
                </a:lnTo>
                <a:lnTo>
                  <a:pt x="164" y="384"/>
                </a:lnTo>
                <a:lnTo>
                  <a:pt x="166" y="375"/>
                </a:lnTo>
                <a:lnTo>
                  <a:pt x="166" y="364"/>
                </a:lnTo>
                <a:lnTo>
                  <a:pt x="165" y="350"/>
                </a:lnTo>
                <a:lnTo>
                  <a:pt x="163" y="339"/>
                </a:lnTo>
                <a:lnTo>
                  <a:pt x="158" y="328"/>
                </a:lnTo>
                <a:lnTo>
                  <a:pt x="153" y="318"/>
                </a:lnTo>
                <a:lnTo>
                  <a:pt x="148" y="307"/>
                </a:lnTo>
                <a:lnTo>
                  <a:pt x="144" y="296"/>
                </a:lnTo>
                <a:lnTo>
                  <a:pt x="141" y="284"/>
                </a:lnTo>
                <a:lnTo>
                  <a:pt x="140" y="271"/>
                </a:lnTo>
                <a:lnTo>
                  <a:pt x="135" y="269"/>
                </a:lnTo>
                <a:lnTo>
                  <a:pt x="127" y="261"/>
                </a:lnTo>
                <a:lnTo>
                  <a:pt x="118" y="251"/>
                </a:lnTo>
                <a:lnTo>
                  <a:pt x="108" y="238"/>
                </a:lnTo>
                <a:lnTo>
                  <a:pt x="97" y="224"/>
                </a:lnTo>
                <a:lnTo>
                  <a:pt x="88" y="211"/>
                </a:lnTo>
                <a:lnTo>
                  <a:pt x="85" y="206"/>
                </a:lnTo>
                <a:lnTo>
                  <a:pt x="82" y="200"/>
                </a:lnTo>
                <a:lnTo>
                  <a:pt x="80" y="195"/>
                </a:lnTo>
                <a:lnTo>
                  <a:pt x="80" y="192"/>
                </a:lnTo>
                <a:lnTo>
                  <a:pt x="81" y="177"/>
                </a:lnTo>
                <a:lnTo>
                  <a:pt x="85" y="157"/>
                </a:lnTo>
                <a:lnTo>
                  <a:pt x="88" y="147"/>
                </a:lnTo>
                <a:lnTo>
                  <a:pt x="91" y="138"/>
                </a:lnTo>
                <a:lnTo>
                  <a:pt x="96" y="129"/>
                </a:lnTo>
                <a:lnTo>
                  <a:pt x="100" y="123"/>
                </a:lnTo>
                <a:lnTo>
                  <a:pt x="98" y="113"/>
                </a:lnTo>
                <a:lnTo>
                  <a:pt x="96" y="99"/>
                </a:lnTo>
                <a:lnTo>
                  <a:pt x="95" y="82"/>
                </a:lnTo>
                <a:lnTo>
                  <a:pt x="93" y="63"/>
                </a:lnTo>
                <a:lnTo>
                  <a:pt x="92" y="45"/>
                </a:lnTo>
                <a:lnTo>
                  <a:pt x="90" y="30"/>
                </a:lnTo>
                <a:lnTo>
                  <a:pt x="89" y="18"/>
                </a:lnTo>
                <a:lnTo>
                  <a:pt x="87" y="12"/>
                </a:lnTo>
                <a:lnTo>
                  <a:pt x="71" y="8"/>
                </a:lnTo>
                <a:lnTo>
                  <a:pt x="54" y="6"/>
                </a:lnTo>
                <a:lnTo>
                  <a:pt x="33" y="4"/>
                </a:lnTo>
                <a:lnTo>
                  <a:pt x="7" y="0"/>
                </a:lnTo>
                <a:lnTo>
                  <a:pt x="12" y="10"/>
                </a:lnTo>
                <a:lnTo>
                  <a:pt x="19" y="21"/>
                </a:lnTo>
                <a:lnTo>
                  <a:pt x="22" y="25"/>
                </a:lnTo>
                <a:lnTo>
                  <a:pt x="28" y="28"/>
                </a:lnTo>
                <a:lnTo>
                  <a:pt x="33" y="30"/>
                </a:lnTo>
                <a:lnTo>
                  <a:pt x="40" y="31"/>
                </a:lnTo>
                <a:lnTo>
                  <a:pt x="40" y="44"/>
                </a:lnTo>
                <a:lnTo>
                  <a:pt x="40" y="55"/>
                </a:lnTo>
                <a:lnTo>
                  <a:pt x="40" y="64"/>
                </a:lnTo>
                <a:lnTo>
                  <a:pt x="40" y="74"/>
                </a:lnTo>
                <a:lnTo>
                  <a:pt x="40" y="78"/>
                </a:lnTo>
                <a:lnTo>
                  <a:pt x="39" y="81"/>
                </a:lnTo>
                <a:lnTo>
                  <a:pt x="36" y="85"/>
                </a:lnTo>
                <a:lnTo>
                  <a:pt x="35" y="88"/>
                </a:lnTo>
                <a:lnTo>
                  <a:pt x="29" y="95"/>
                </a:lnTo>
                <a:lnTo>
                  <a:pt x="22" y="102"/>
                </a:lnTo>
                <a:lnTo>
                  <a:pt x="15" y="109"/>
                </a:lnTo>
                <a:lnTo>
                  <a:pt x="9" y="115"/>
                </a:lnTo>
                <a:lnTo>
                  <a:pt x="3" y="122"/>
                </a:lnTo>
                <a:lnTo>
                  <a:pt x="0" y="129"/>
                </a:lnTo>
                <a:lnTo>
                  <a:pt x="7" y="277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77" name="Freeform 475"/>
          <p:cNvSpPr>
            <a:spLocks/>
          </p:cNvSpPr>
          <p:nvPr userDrawn="1">
            <p:custDataLst>
              <p:tags r:id="rId312"/>
            </p:custDataLst>
          </p:nvPr>
        </p:nvSpPr>
        <p:spPr bwMode="auto">
          <a:xfrm>
            <a:off x="4400560" y="2088368"/>
            <a:ext cx="14287" cy="42863"/>
          </a:xfrm>
          <a:custGeom>
            <a:avLst/>
            <a:gdLst>
              <a:gd name="T0" fmla="*/ 7559940 w 27"/>
              <a:gd name="T1" fmla="*/ 0 h 19"/>
              <a:gd name="T2" fmla="*/ 7559940 w 27"/>
              <a:gd name="T3" fmla="*/ 108569964 h 19"/>
              <a:gd name="T4" fmla="*/ 7559940 w 27"/>
              <a:gd name="T5" fmla="*/ 171901162 h 19"/>
              <a:gd name="T6" fmla="*/ 2519804 w 27"/>
              <a:gd name="T7" fmla="*/ 171901162 h 19"/>
              <a:gd name="T8" fmla="*/ 0 w 27"/>
              <a:gd name="T9" fmla="*/ 171901162 h 19"/>
              <a:gd name="T10" fmla="*/ 2519804 w 27"/>
              <a:gd name="T11" fmla="*/ 108569964 h 19"/>
              <a:gd name="T12" fmla="*/ 7559940 w 27"/>
              <a:gd name="T13" fmla="*/ 0 h 1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19"/>
              <a:gd name="T23" fmla="*/ 27 w 27"/>
              <a:gd name="T24" fmla="*/ 19 h 1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78" name="Freeform 476"/>
          <p:cNvSpPr>
            <a:spLocks/>
          </p:cNvSpPr>
          <p:nvPr userDrawn="1">
            <p:custDataLst>
              <p:tags r:id="rId313"/>
            </p:custDataLst>
          </p:nvPr>
        </p:nvSpPr>
        <p:spPr bwMode="auto">
          <a:xfrm>
            <a:off x="4719642" y="3303997"/>
            <a:ext cx="188913" cy="163115"/>
          </a:xfrm>
          <a:custGeom>
            <a:avLst/>
            <a:gdLst>
              <a:gd name="T0" fmla="*/ 52831805 w 438"/>
              <a:gd name="T1" fmla="*/ 2295399 h 406"/>
              <a:gd name="T2" fmla="*/ 59528739 w 438"/>
              <a:gd name="T3" fmla="*/ 7747572 h 406"/>
              <a:gd name="T4" fmla="*/ 67527779 w 438"/>
              <a:gd name="T5" fmla="*/ 13486873 h 406"/>
              <a:gd name="T6" fmla="*/ 73480694 w 438"/>
              <a:gd name="T7" fmla="*/ 16643647 h 406"/>
              <a:gd name="T8" fmla="*/ 77387051 w 438"/>
              <a:gd name="T9" fmla="*/ 17504488 h 406"/>
              <a:gd name="T10" fmla="*/ 79061389 w 438"/>
              <a:gd name="T11" fmla="*/ 23243255 h 406"/>
              <a:gd name="T12" fmla="*/ 79805396 w 438"/>
              <a:gd name="T13" fmla="*/ 34434725 h 406"/>
              <a:gd name="T14" fmla="*/ 80735727 w 438"/>
              <a:gd name="T15" fmla="*/ 45051953 h 406"/>
              <a:gd name="T16" fmla="*/ 81479734 w 438"/>
              <a:gd name="T17" fmla="*/ 55956298 h 406"/>
              <a:gd name="T18" fmla="*/ 81479734 w 438"/>
              <a:gd name="T19" fmla="*/ 63990994 h 406"/>
              <a:gd name="T20" fmla="*/ 80921621 w 438"/>
              <a:gd name="T21" fmla="*/ 68008610 h 406"/>
              <a:gd name="T22" fmla="*/ 79061389 w 438"/>
              <a:gd name="T23" fmla="*/ 74321640 h 406"/>
              <a:gd name="T24" fmla="*/ 75712713 w 438"/>
              <a:gd name="T25" fmla="*/ 82356336 h 406"/>
              <a:gd name="T26" fmla="*/ 72736687 w 438"/>
              <a:gd name="T27" fmla="*/ 88095098 h 406"/>
              <a:gd name="T28" fmla="*/ 70876024 w 438"/>
              <a:gd name="T29" fmla="*/ 91825589 h 406"/>
              <a:gd name="T30" fmla="*/ 69573905 w 438"/>
              <a:gd name="T31" fmla="*/ 95269489 h 406"/>
              <a:gd name="T32" fmla="*/ 69202118 w 438"/>
              <a:gd name="T33" fmla="*/ 101008251 h 406"/>
              <a:gd name="T34" fmla="*/ 66783773 w 438"/>
              <a:gd name="T35" fmla="*/ 106747549 h 406"/>
              <a:gd name="T36" fmla="*/ 59714633 w 438"/>
              <a:gd name="T37" fmla="*/ 115069371 h 406"/>
              <a:gd name="T38" fmla="*/ 38135413 w 438"/>
              <a:gd name="T39" fmla="*/ 111338881 h 406"/>
              <a:gd name="T40" fmla="*/ 33856837 w 438"/>
              <a:gd name="T41" fmla="*/ 108756357 h 406"/>
              <a:gd name="T42" fmla="*/ 30694486 w 438"/>
              <a:gd name="T43" fmla="*/ 106173298 h 406"/>
              <a:gd name="T44" fmla="*/ 27903916 w 438"/>
              <a:gd name="T45" fmla="*/ 103017059 h 406"/>
              <a:gd name="T46" fmla="*/ 25857790 w 438"/>
              <a:gd name="T47" fmla="*/ 99286569 h 406"/>
              <a:gd name="T48" fmla="*/ 23067226 w 438"/>
              <a:gd name="T49" fmla="*/ 92399840 h 406"/>
              <a:gd name="T50" fmla="*/ 20090769 w 438"/>
              <a:gd name="T51" fmla="*/ 84938859 h 406"/>
              <a:gd name="T52" fmla="*/ 17486531 w 438"/>
              <a:gd name="T53" fmla="*/ 80060402 h 406"/>
              <a:gd name="T54" fmla="*/ 13393845 w 438"/>
              <a:gd name="T55" fmla="*/ 74321640 h 406"/>
              <a:gd name="T56" fmla="*/ 8185368 w 438"/>
              <a:gd name="T57" fmla="*/ 67147769 h 406"/>
              <a:gd name="T58" fmla="*/ 4464472 w 438"/>
              <a:gd name="T59" fmla="*/ 61121345 h 406"/>
              <a:gd name="T60" fmla="*/ 2418345 w 438"/>
              <a:gd name="T61" fmla="*/ 55956298 h 406"/>
              <a:gd name="T62" fmla="*/ 744007 w 438"/>
              <a:gd name="T63" fmla="*/ 50504126 h 406"/>
              <a:gd name="T64" fmla="*/ 0 w 438"/>
              <a:gd name="T65" fmla="*/ 44191112 h 406"/>
              <a:gd name="T66" fmla="*/ 3348677 w 438"/>
              <a:gd name="T67" fmla="*/ 40460622 h 406"/>
              <a:gd name="T68" fmla="*/ 7440931 w 438"/>
              <a:gd name="T69" fmla="*/ 40460622 h 406"/>
              <a:gd name="T70" fmla="*/ 9859275 w 438"/>
              <a:gd name="T71" fmla="*/ 40460622 h 406"/>
              <a:gd name="T72" fmla="*/ 11719507 w 438"/>
              <a:gd name="T73" fmla="*/ 39599781 h 406"/>
              <a:gd name="T74" fmla="*/ 14324180 w 438"/>
              <a:gd name="T75" fmla="*/ 37590973 h 406"/>
              <a:gd name="T76" fmla="*/ 18416863 w 438"/>
              <a:gd name="T77" fmla="*/ 30991361 h 406"/>
              <a:gd name="T78" fmla="*/ 21765107 w 438"/>
              <a:gd name="T79" fmla="*/ 24964937 h 406"/>
              <a:gd name="T80" fmla="*/ 24183452 w 438"/>
              <a:gd name="T81" fmla="*/ 22956665 h 406"/>
              <a:gd name="T82" fmla="*/ 27903916 w 438"/>
              <a:gd name="T83" fmla="*/ 20373606 h 406"/>
              <a:gd name="T84" fmla="*/ 33298724 w 438"/>
              <a:gd name="T85" fmla="*/ 17217363 h 406"/>
              <a:gd name="T86" fmla="*/ 37763625 w 438"/>
              <a:gd name="T87" fmla="*/ 14347714 h 406"/>
              <a:gd name="T88" fmla="*/ 39251638 w 438"/>
              <a:gd name="T89" fmla="*/ 12338906 h 406"/>
              <a:gd name="T90" fmla="*/ 39065745 w 438"/>
              <a:gd name="T91" fmla="*/ 10904349 h 406"/>
              <a:gd name="T92" fmla="*/ 39251638 w 438"/>
              <a:gd name="T93" fmla="*/ 8608414 h 406"/>
              <a:gd name="T94" fmla="*/ 39623857 w 438"/>
              <a:gd name="T95" fmla="*/ 4878459 h 406"/>
              <a:gd name="T96" fmla="*/ 40367864 w 438"/>
              <a:gd name="T97" fmla="*/ 3443366 h 406"/>
              <a:gd name="T98" fmla="*/ 41855877 w 438"/>
              <a:gd name="T99" fmla="*/ 3443366 h 406"/>
              <a:gd name="T100" fmla="*/ 43158427 w 438"/>
              <a:gd name="T101" fmla="*/ 2582524 h 406"/>
              <a:gd name="T102" fmla="*/ 43902434 w 438"/>
              <a:gd name="T103" fmla="*/ 1147967 h 406"/>
              <a:gd name="T104" fmla="*/ 45390447 w 438"/>
              <a:gd name="T105" fmla="*/ 573716 h 406"/>
              <a:gd name="T106" fmla="*/ 46692566 w 438"/>
              <a:gd name="T107" fmla="*/ 860841 h 406"/>
              <a:gd name="T108" fmla="*/ 49110910 w 438"/>
              <a:gd name="T109" fmla="*/ 287126 h 40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438"/>
              <a:gd name="T166" fmla="*/ 0 h 406"/>
              <a:gd name="T167" fmla="*/ 438 w 438"/>
              <a:gd name="T168" fmla="*/ 406 h 40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438" h="406">
                <a:moveTo>
                  <a:pt x="272" y="0"/>
                </a:moveTo>
                <a:lnTo>
                  <a:pt x="284" y="8"/>
                </a:lnTo>
                <a:lnTo>
                  <a:pt x="301" y="17"/>
                </a:lnTo>
                <a:lnTo>
                  <a:pt x="320" y="27"/>
                </a:lnTo>
                <a:lnTo>
                  <a:pt x="341" y="37"/>
                </a:lnTo>
                <a:lnTo>
                  <a:pt x="363" y="47"/>
                </a:lnTo>
                <a:lnTo>
                  <a:pt x="385" y="55"/>
                </a:lnTo>
                <a:lnTo>
                  <a:pt x="395" y="58"/>
                </a:lnTo>
                <a:lnTo>
                  <a:pt x="406" y="60"/>
                </a:lnTo>
                <a:lnTo>
                  <a:pt x="416" y="61"/>
                </a:lnTo>
                <a:lnTo>
                  <a:pt x="425" y="61"/>
                </a:lnTo>
                <a:lnTo>
                  <a:pt x="425" y="81"/>
                </a:lnTo>
                <a:lnTo>
                  <a:pt x="427" y="101"/>
                </a:lnTo>
                <a:lnTo>
                  <a:pt x="429" y="120"/>
                </a:lnTo>
                <a:lnTo>
                  <a:pt x="432" y="138"/>
                </a:lnTo>
                <a:lnTo>
                  <a:pt x="434" y="157"/>
                </a:lnTo>
                <a:lnTo>
                  <a:pt x="436" y="176"/>
                </a:lnTo>
                <a:lnTo>
                  <a:pt x="438" y="195"/>
                </a:lnTo>
                <a:lnTo>
                  <a:pt x="438" y="216"/>
                </a:lnTo>
                <a:lnTo>
                  <a:pt x="438" y="223"/>
                </a:lnTo>
                <a:lnTo>
                  <a:pt x="436" y="230"/>
                </a:lnTo>
                <a:lnTo>
                  <a:pt x="435" y="237"/>
                </a:lnTo>
                <a:lnTo>
                  <a:pt x="432" y="245"/>
                </a:lnTo>
                <a:lnTo>
                  <a:pt x="425" y="259"/>
                </a:lnTo>
                <a:lnTo>
                  <a:pt x="416" y="274"/>
                </a:lnTo>
                <a:lnTo>
                  <a:pt x="407" y="287"/>
                </a:lnTo>
                <a:lnTo>
                  <a:pt x="399" y="298"/>
                </a:lnTo>
                <a:lnTo>
                  <a:pt x="391" y="307"/>
                </a:lnTo>
                <a:lnTo>
                  <a:pt x="385" y="314"/>
                </a:lnTo>
                <a:lnTo>
                  <a:pt x="381" y="320"/>
                </a:lnTo>
                <a:lnTo>
                  <a:pt x="378" y="326"/>
                </a:lnTo>
                <a:lnTo>
                  <a:pt x="374" y="332"/>
                </a:lnTo>
                <a:lnTo>
                  <a:pt x="373" y="339"/>
                </a:lnTo>
                <a:lnTo>
                  <a:pt x="372" y="352"/>
                </a:lnTo>
                <a:lnTo>
                  <a:pt x="372" y="363"/>
                </a:lnTo>
                <a:lnTo>
                  <a:pt x="359" y="372"/>
                </a:lnTo>
                <a:lnTo>
                  <a:pt x="339" y="387"/>
                </a:lnTo>
                <a:lnTo>
                  <a:pt x="321" y="401"/>
                </a:lnTo>
                <a:lnTo>
                  <a:pt x="312" y="406"/>
                </a:lnTo>
                <a:lnTo>
                  <a:pt x="205" y="388"/>
                </a:lnTo>
                <a:lnTo>
                  <a:pt x="192" y="382"/>
                </a:lnTo>
                <a:lnTo>
                  <a:pt x="182" y="379"/>
                </a:lnTo>
                <a:lnTo>
                  <a:pt x="172" y="376"/>
                </a:lnTo>
                <a:lnTo>
                  <a:pt x="165" y="370"/>
                </a:lnTo>
                <a:lnTo>
                  <a:pt x="157" y="365"/>
                </a:lnTo>
                <a:lnTo>
                  <a:pt x="150" y="359"/>
                </a:lnTo>
                <a:lnTo>
                  <a:pt x="145" y="353"/>
                </a:lnTo>
                <a:lnTo>
                  <a:pt x="139" y="346"/>
                </a:lnTo>
                <a:lnTo>
                  <a:pt x="134" y="338"/>
                </a:lnTo>
                <a:lnTo>
                  <a:pt x="124" y="322"/>
                </a:lnTo>
                <a:lnTo>
                  <a:pt x="114" y="304"/>
                </a:lnTo>
                <a:lnTo>
                  <a:pt x="108" y="296"/>
                </a:lnTo>
                <a:lnTo>
                  <a:pt x="101" y="288"/>
                </a:lnTo>
                <a:lnTo>
                  <a:pt x="94" y="279"/>
                </a:lnTo>
                <a:lnTo>
                  <a:pt x="86" y="271"/>
                </a:lnTo>
                <a:lnTo>
                  <a:pt x="72" y="259"/>
                </a:lnTo>
                <a:lnTo>
                  <a:pt x="58" y="247"/>
                </a:lnTo>
                <a:lnTo>
                  <a:pt x="44" y="234"/>
                </a:lnTo>
                <a:lnTo>
                  <a:pt x="31" y="220"/>
                </a:lnTo>
                <a:lnTo>
                  <a:pt x="24" y="213"/>
                </a:lnTo>
                <a:lnTo>
                  <a:pt x="19" y="204"/>
                </a:lnTo>
                <a:lnTo>
                  <a:pt x="13" y="195"/>
                </a:lnTo>
                <a:lnTo>
                  <a:pt x="9" y="186"/>
                </a:lnTo>
                <a:lnTo>
                  <a:pt x="4" y="176"/>
                </a:lnTo>
                <a:lnTo>
                  <a:pt x="2" y="166"/>
                </a:lnTo>
                <a:lnTo>
                  <a:pt x="0" y="154"/>
                </a:lnTo>
                <a:lnTo>
                  <a:pt x="0" y="141"/>
                </a:lnTo>
                <a:lnTo>
                  <a:pt x="18" y="141"/>
                </a:lnTo>
                <a:lnTo>
                  <a:pt x="31" y="141"/>
                </a:lnTo>
                <a:lnTo>
                  <a:pt x="40" y="141"/>
                </a:lnTo>
                <a:lnTo>
                  <a:pt x="46" y="141"/>
                </a:lnTo>
                <a:lnTo>
                  <a:pt x="53" y="141"/>
                </a:lnTo>
                <a:lnTo>
                  <a:pt x="58" y="140"/>
                </a:lnTo>
                <a:lnTo>
                  <a:pt x="63" y="138"/>
                </a:lnTo>
                <a:lnTo>
                  <a:pt x="68" y="136"/>
                </a:lnTo>
                <a:lnTo>
                  <a:pt x="77" y="131"/>
                </a:lnTo>
                <a:lnTo>
                  <a:pt x="85" y="124"/>
                </a:lnTo>
                <a:lnTo>
                  <a:pt x="99" y="108"/>
                </a:lnTo>
                <a:lnTo>
                  <a:pt x="113" y="92"/>
                </a:lnTo>
                <a:lnTo>
                  <a:pt x="117" y="87"/>
                </a:lnTo>
                <a:lnTo>
                  <a:pt x="124" y="83"/>
                </a:lnTo>
                <a:lnTo>
                  <a:pt x="130" y="80"/>
                </a:lnTo>
                <a:lnTo>
                  <a:pt x="136" y="77"/>
                </a:lnTo>
                <a:lnTo>
                  <a:pt x="150" y="71"/>
                </a:lnTo>
                <a:lnTo>
                  <a:pt x="165" y="65"/>
                </a:lnTo>
                <a:lnTo>
                  <a:pt x="179" y="60"/>
                </a:lnTo>
                <a:lnTo>
                  <a:pt x="192" y="55"/>
                </a:lnTo>
                <a:lnTo>
                  <a:pt x="203" y="50"/>
                </a:lnTo>
                <a:lnTo>
                  <a:pt x="212" y="43"/>
                </a:lnTo>
                <a:lnTo>
                  <a:pt x="211" y="43"/>
                </a:lnTo>
                <a:lnTo>
                  <a:pt x="210" y="41"/>
                </a:lnTo>
                <a:lnTo>
                  <a:pt x="210" y="38"/>
                </a:lnTo>
                <a:lnTo>
                  <a:pt x="210" y="36"/>
                </a:lnTo>
                <a:lnTo>
                  <a:pt x="211" y="30"/>
                </a:lnTo>
                <a:lnTo>
                  <a:pt x="212" y="24"/>
                </a:lnTo>
                <a:lnTo>
                  <a:pt x="213" y="17"/>
                </a:lnTo>
                <a:lnTo>
                  <a:pt x="214" y="14"/>
                </a:lnTo>
                <a:lnTo>
                  <a:pt x="217" y="12"/>
                </a:lnTo>
                <a:lnTo>
                  <a:pt x="221" y="12"/>
                </a:lnTo>
                <a:lnTo>
                  <a:pt x="225" y="12"/>
                </a:lnTo>
                <a:lnTo>
                  <a:pt x="229" y="11"/>
                </a:lnTo>
                <a:lnTo>
                  <a:pt x="232" y="9"/>
                </a:lnTo>
                <a:lnTo>
                  <a:pt x="234" y="7"/>
                </a:lnTo>
                <a:lnTo>
                  <a:pt x="236" y="4"/>
                </a:lnTo>
                <a:lnTo>
                  <a:pt x="239" y="0"/>
                </a:lnTo>
                <a:lnTo>
                  <a:pt x="244" y="2"/>
                </a:lnTo>
                <a:lnTo>
                  <a:pt x="248" y="3"/>
                </a:lnTo>
                <a:lnTo>
                  <a:pt x="251" y="3"/>
                </a:lnTo>
                <a:lnTo>
                  <a:pt x="256" y="2"/>
                </a:lnTo>
                <a:lnTo>
                  <a:pt x="264" y="1"/>
                </a:lnTo>
                <a:lnTo>
                  <a:pt x="272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79" name="Freeform 477"/>
          <p:cNvSpPr>
            <a:spLocks/>
          </p:cNvSpPr>
          <p:nvPr userDrawn="1">
            <p:custDataLst>
              <p:tags r:id="rId314"/>
            </p:custDataLst>
          </p:nvPr>
        </p:nvSpPr>
        <p:spPr bwMode="auto">
          <a:xfrm>
            <a:off x="4632334" y="3136118"/>
            <a:ext cx="293687" cy="225029"/>
          </a:xfrm>
          <a:custGeom>
            <a:avLst/>
            <a:gdLst>
              <a:gd name="T0" fmla="*/ 96256123 w 678"/>
              <a:gd name="T1" fmla="*/ 2185991 h 574"/>
              <a:gd name="T2" fmla="*/ 103573605 w 678"/>
              <a:gd name="T3" fmla="*/ 7104209 h 574"/>
              <a:gd name="T4" fmla="*/ 121023745 w 678"/>
              <a:gd name="T5" fmla="*/ 17213505 h 574"/>
              <a:gd name="T6" fmla="*/ 123838028 w 678"/>
              <a:gd name="T7" fmla="*/ 24044332 h 574"/>
              <a:gd name="T8" fmla="*/ 127215427 w 678"/>
              <a:gd name="T9" fmla="*/ 25683564 h 574"/>
              <a:gd name="T10" fmla="*/ 127215427 w 678"/>
              <a:gd name="T11" fmla="*/ 34700389 h 574"/>
              <a:gd name="T12" fmla="*/ 127027866 w 678"/>
              <a:gd name="T13" fmla="*/ 39345227 h 574"/>
              <a:gd name="T14" fmla="*/ 125151389 w 678"/>
              <a:gd name="T15" fmla="*/ 43170448 h 574"/>
              <a:gd name="T16" fmla="*/ 121398867 w 678"/>
              <a:gd name="T17" fmla="*/ 48634901 h 574"/>
              <a:gd name="T18" fmla="*/ 119709951 w 678"/>
              <a:gd name="T19" fmla="*/ 94537575 h 574"/>
              <a:gd name="T20" fmla="*/ 86499048 w 678"/>
              <a:gd name="T21" fmla="*/ 106013240 h 574"/>
              <a:gd name="T22" fmla="*/ 86499048 w 678"/>
              <a:gd name="T23" fmla="*/ 113390304 h 574"/>
              <a:gd name="T24" fmla="*/ 85373248 w 678"/>
              <a:gd name="T25" fmla="*/ 118855279 h 574"/>
              <a:gd name="T26" fmla="*/ 83309209 w 678"/>
              <a:gd name="T27" fmla="*/ 118855279 h 574"/>
              <a:gd name="T28" fmla="*/ 81432732 w 678"/>
              <a:gd name="T29" fmla="*/ 120221131 h 574"/>
              <a:gd name="T30" fmla="*/ 79744249 w 678"/>
              <a:gd name="T31" fmla="*/ 121587506 h 574"/>
              <a:gd name="T32" fmla="*/ 77680211 w 678"/>
              <a:gd name="T33" fmla="*/ 122133742 h 574"/>
              <a:gd name="T34" fmla="*/ 77117094 w 678"/>
              <a:gd name="T35" fmla="*/ 126505722 h 574"/>
              <a:gd name="T36" fmla="*/ 76929533 w 678"/>
              <a:gd name="T37" fmla="*/ 129511328 h 574"/>
              <a:gd name="T38" fmla="*/ 75616172 w 678"/>
              <a:gd name="T39" fmla="*/ 131970175 h 574"/>
              <a:gd name="T40" fmla="*/ 68486251 w 678"/>
              <a:gd name="T41" fmla="*/ 136068776 h 574"/>
              <a:gd name="T42" fmla="*/ 61919014 w 678"/>
              <a:gd name="T43" fmla="*/ 140166887 h 574"/>
              <a:gd name="T44" fmla="*/ 58729176 w 678"/>
              <a:gd name="T45" fmla="*/ 143445872 h 574"/>
              <a:gd name="T46" fmla="*/ 51974364 w 678"/>
              <a:gd name="T47" fmla="*/ 154101921 h 574"/>
              <a:gd name="T48" fmla="*/ 48409403 w 678"/>
              <a:gd name="T49" fmla="*/ 156560768 h 574"/>
              <a:gd name="T50" fmla="*/ 44656882 w 678"/>
              <a:gd name="T51" fmla="*/ 156834147 h 574"/>
              <a:gd name="T52" fmla="*/ 36213167 w 678"/>
              <a:gd name="T53" fmla="*/ 156834147 h 574"/>
              <a:gd name="T54" fmla="*/ 34899806 w 678"/>
              <a:gd name="T55" fmla="*/ 152735547 h 574"/>
              <a:gd name="T56" fmla="*/ 30959724 w 678"/>
              <a:gd name="T57" fmla="*/ 149457084 h 574"/>
              <a:gd name="T58" fmla="*/ 24955163 w 678"/>
              <a:gd name="T59" fmla="*/ 148910325 h 574"/>
              <a:gd name="T60" fmla="*/ 17449686 w 678"/>
              <a:gd name="T61" fmla="*/ 151915931 h 574"/>
              <a:gd name="T62" fmla="*/ 6192117 w 678"/>
              <a:gd name="T63" fmla="*/ 143992108 h 574"/>
              <a:gd name="T64" fmla="*/ 0 w 678"/>
              <a:gd name="T65" fmla="*/ 77870838 h 574"/>
              <a:gd name="T66" fmla="*/ 13697162 w 678"/>
              <a:gd name="T67" fmla="*/ 78143694 h 574"/>
              <a:gd name="T68" fmla="*/ 19326164 w 678"/>
              <a:gd name="T69" fmla="*/ 77050699 h 574"/>
              <a:gd name="T70" fmla="*/ 22328441 w 678"/>
              <a:gd name="T71" fmla="*/ 75138088 h 574"/>
              <a:gd name="T72" fmla="*/ 24204918 w 678"/>
              <a:gd name="T73" fmla="*/ 69947015 h 574"/>
              <a:gd name="T74" fmla="*/ 24580040 w 678"/>
              <a:gd name="T75" fmla="*/ 62569935 h 574"/>
              <a:gd name="T76" fmla="*/ 23641802 w 678"/>
              <a:gd name="T77" fmla="*/ 50547512 h 574"/>
              <a:gd name="T78" fmla="*/ 24392479 w 678"/>
              <a:gd name="T79" fmla="*/ 45083059 h 574"/>
              <a:gd name="T80" fmla="*/ 26268523 w 678"/>
              <a:gd name="T81" fmla="*/ 46722290 h 574"/>
              <a:gd name="T82" fmla="*/ 32648207 w 678"/>
              <a:gd name="T83" fmla="*/ 47815285 h 574"/>
              <a:gd name="T84" fmla="*/ 35274928 w 678"/>
              <a:gd name="T85" fmla="*/ 50820891 h 574"/>
              <a:gd name="T86" fmla="*/ 36588289 w 678"/>
              <a:gd name="T87" fmla="*/ 54919492 h 574"/>
              <a:gd name="T88" fmla="*/ 39027883 w 678"/>
              <a:gd name="T89" fmla="*/ 57378339 h 574"/>
              <a:gd name="T90" fmla="*/ 45219565 w 678"/>
              <a:gd name="T91" fmla="*/ 59290950 h 574"/>
              <a:gd name="T92" fmla="*/ 50473442 w 678"/>
              <a:gd name="T93" fmla="*/ 58471334 h 574"/>
              <a:gd name="T94" fmla="*/ 56477563 w 678"/>
              <a:gd name="T95" fmla="*/ 54372733 h 574"/>
              <a:gd name="T96" fmla="*/ 59854976 w 678"/>
              <a:gd name="T97" fmla="*/ 53553118 h 574"/>
              <a:gd name="T98" fmla="*/ 62106575 w 678"/>
              <a:gd name="T99" fmla="*/ 52733502 h 574"/>
              <a:gd name="T100" fmla="*/ 64358175 w 678"/>
              <a:gd name="T101" fmla="*/ 51913886 h 574"/>
              <a:gd name="T102" fmla="*/ 66984896 w 678"/>
              <a:gd name="T103" fmla="*/ 49727896 h 574"/>
              <a:gd name="T104" fmla="*/ 69048935 w 678"/>
              <a:gd name="T105" fmla="*/ 45902675 h 574"/>
              <a:gd name="T106" fmla="*/ 71863651 w 678"/>
              <a:gd name="T107" fmla="*/ 34427010 h 574"/>
              <a:gd name="T108" fmla="*/ 75616172 w 678"/>
              <a:gd name="T109" fmla="*/ 12842043 h 574"/>
              <a:gd name="T110" fmla="*/ 77680211 w 678"/>
              <a:gd name="T111" fmla="*/ 2732227 h 574"/>
              <a:gd name="T112" fmla="*/ 80870049 w 678"/>
              <a:gd name="T113" fmla="*/ 1639232 h 574"/>
              <a:gd name="T114" fmla="*/ 84997692 w 678"/>
              <a:gd name="T115" fmla="*/ 2185991 h 574"/>
              <a:gd name="T116" fmla="*/ 90439130 w 678"/>
              <a:gd name="T117" fmla="*/ 273380 h 57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678"/>
              <a:gd name="T178" fmla="*/ 0 h 574"/>
              <a:gd name="T179" fmla="*/ 678 w 678"/>
              <a:gd name="T180" fmla="*/ 574 h 574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678" h="574">
                <a:moveTo>
                  <a:pt x="505" y="1"/>
                </a:moveTo>
                <a:lnTo>
                  <a:pt x="507" y="4"/>
                </a:lnTo>
                <a:lnTo>
                  <a:pt x="513" y="8"/>
                </a:lnTo>
                <a:lnTo>
                  <a:pt x="521" y="12"/>
                </a:lnTo>
                <a:lnTo>
                  <a:pt x="529" y="16"/>
                </a:lnTo>
                <a:lnTo>
                  <a:pt x="552" y="26"/>
                </a:lnTo>
                <a:lnTo>
                  <a:pt x="578" y="37"/>
                </a:lnTo>
                <a:lnTo>
                  <a:pt x="624" y="55"/>
                </a:lnTo>
                <a:lnTo>
                  <a:pt x="645" y="63"/>
                </a:lnTo>
                <a:lnTo>
                  <a:pt x="650" y="73"/>
                </a:lnTo>
                <a:lnTo>
                  <a:pt x="657" y="84"/>
                </a:lnTo>
                <a:lnTo>
                  <a:pt x="660" y="88"/>
                </a:lnTo>
                <a:lnTo>
                  <a:pt x="666" y="91"/>
                </a:lnTo>
                <a:lnTo>
                  <a:pt x="671" y="93"/>
                </a:lnTo>
                <a:lnTo>
                  <a:pt x="678" y="94"/>
                </a:lnTo>
                <a:lnTo>
                  <a:pt x="678" y="107"/>
                </a:lnTo>
                <a:lnTo>
                  <a:pt x="678" y="118"/>
                </a:lnTo>
                <a:lnTo>
                  <a:pt x="678" y="127"/>
                </a:lnTo>
                <a:lnTo>
                  <a:pt x="678" y="137"/>
                </a:lnTo>
                <a:lnTo>
                  <a:pt x="678" y="141"/>
                </a:lnTo>
                <a:lnTo>
                  <a:pt x="677" y="144"/>
                </a:lnTo>
                <a:lnTo>
                  <a:pt x="674" y="148"/>
                </a:lnTo>
                <a:lnTo>
                  <a:pt x="673" y="151"/>
                </a:lnTo>
                <a:lnTo>
                  <a:pt x="667" y="158"/>
                </a:lnTo>
                <a:lnTo>
                  <a:pt x="660" y="165"/>
                </a:lnTo>
                <a:lnTo>
                  <a:pt x="653" y="172"/>
                </a:lnTo>
                <a:lnTo>
                  <a:pt x="647" y="178"/>
                </a:lnTo>
                <a:lnTo>
                  <a:pt x="641" y="185"/>
                </a:lnTo>
                <a:lnTo>
                  <a:pt x="638" y="192"/>
                </a:lnTo>
                <a:lnTo>
                  <a:pt x="638" y="346"/>
                </a:lnTo>
                <a:lnTo>
                  <a:pt x="466" y="378"/>
                </a:lnTo>
                <a:lnTo>
                  <a:pt x="464" y="382"/>
                </a:lnTo>
                <a:lnTo>
                  <a:pt x="461" y="388"/>
                </a:lnTo>
                <a:lnTo>
                  <a:pt x="460" y="394"/>
                </a:lnTo>
                <a:lnTo>
                  <a:pt x="460" y="400"/>
                </a:lnTo>
                <a:lnTo>
                  <a:pt x="461" y="415"/>
                </a:lnTo>
                <a:lnTo>
                  <a:pt x="466" y="433"/>
                </a:lnTo>
                <a:lnTo>
                  <a:pt x="460" y="434"/>
                </a:lnTo>
                <a:lnTo>
                  <a:pt x="455" y="435"/>
                </a:lnTo>
                <a:lnTo>
                  <a:pt x="451" y="436"/>
                </a:lnTo>
                <a:lnTo>
                  <a:pt x="448" y="436"/>
                </a:lnTo>
                <a:lnTo>
                  <a:pt x="444" y="435"/>
                </a:lnTo>
                <a:lnTo>
                  <a:pt x="439" y="433"/>
                </a:lnTo>
                <a:lnTo>
                  <a:pt x="436" y="437"/>
                </a:lnTo>
                <a:lnTo>
                  <a:pt x="434" y="440"/>
                </a:lnTo>
                <a:lnTo>
                  <a:pt x="432" y="442"/>
                </a:lnTo>
                <a:lnTo>
                  <a:pt x="429" y="444"/>
                </a:lnTo>
                <a:lnTo>
                  <a:pt x="425" y="445"/>
                </a:lnTo>
                <a:lnTo>
                  <a:pt x="421" y="445"/>
                </a:lnTo>
                <a:lnTo>
                  <a:pt x="417" y="445"/>
                </a:lnTo>
                <a:lnTo>
                  <a:pt x="414" y="447"/>
                </a:lnTo>
                <a:lnTo>
                  <a:pt x="413" y="450"/>
                </a:lnTo>
                <a:lnTo>
                  <a:pt x="412" y="457"/>
                </a:lnTo>
                <a:lnTo>
                  <a:pt x="411" y="463"/>
                </a:lnTo>
                <a:lnTo>
                  <a:pt x="410" y="469"/>
                </a:lnTo>
                <a:lnTo>
                  <a:pt x="410" y="471"/>
                </a:lnTo>
                <a:lnTo>
                  <a:pt x="410" y="474"/>
                </a:lnTo>
                <a:lnTo>
                  <a:pt x="411" y="476"/>
                </a:lnTo>
                <a:lnTo>
                  <a:pt x="412" y="476"/>
                </a:lnTo>
                <a:lnTo>
                  <a:pt x="403" y="483"/>
                </a:lnTo>
                <a:lnTo>
                  <a:pt x="392" y="488"/>
                </a:lnTo>
                <a:lnTo>
                  <a:pt x="379" y="493"/>
                </a:lnTo>
                <a:lnTo>
                  <a:pt x="365" y="498"/>
                </a:lnTo>
                <a:lnTo>
                  <a:pt x="350" y="504"/>
                </a:lnTo>
                <a:lnTo>
                  <a:pt x="336" y="510"/>
                </a:lnTo>
                <a:lnTo>
                  <a:pt x="330" y="513"/>
                </a:lnTo>
                <a:lnTo>
                  <a:pt x="324" y="516"/>
                </a:lnTo>
                <a:lnTo>
                  <a:pt x="317" y="520"/>
                </a:lnTo>
                <a:lnTo>
                  <a:pt x="313" y="525"/>
                </a:lnTo>
                <a:lnTo>
                  <a:pt x="299" y="541"/>
                </a:lnTo>
                <a:lnTo>
                  <a:pt x="285" y="557"/>
                </a:lnTo>
                <a:lnTo>
                  <a:pt x="277" y="564"/>
                </a:lnTo>
                <a:lnTo>
                  <a:pt x="268" y="569"/>
                </a:lnTo>
                <a:lnTo>
                  <a:pt x="263" y="571"/>
                </a:lnTo>
                <a:lnTo>
                  <a:pt x="258" y="573"/>
                </a:lnTo>
                <a:lnTo>
                  <a:pt x="253" y="574"/>
                </a:lnTo>
                <a:lnTo>
                  <a:pt x="246" y="574"/>
                </a:lnTo>
                <a:lnTo>
                  <a:pt x="238" y="574"/>
                </a:lnTo>
                <a:lnTo>
                  <a:pt x="227" y="574"/>
                </a:lnTo>
                <a:lnTo>
                  <a:pt x="212" y="574"/>
                </a:lnTo>
                <a:lnTo>
                  <a:pt x="193" y="574"/>
                </a:lnTo>
                <a:lnTo>
                  <a:pt x="192" y="569"/>
                </a:lnTo>
                <a:lnTo>
                  <a:pt x="189" y="564"/>
                </a:lnTo>
                <a:lnTo>
                  <a:pt x="186" y="559"/>
                </a:lnTo>
                <a:lnTo>
                  <a:pt x="180" y="554"/>
                </a:lnTo>
                <a:lnTo>
                  <a:pt x="173" y="550"/>
                </a:lnTo>
                <a:lnTo>
                  <a:pt x="165" y="547"/>
                </a:lnTo>
                <a:lnTo>
                  <a:pt x="156" y="545"/>
                </a:lnTo>
                <a:lnTo>
                  <a:pt x="146" y="544"/>
                </a:lnTo>
                <a:lnTo>
                  <a:pt x="133" y="545"/>
                </a:lnTo>
                <a:lnTo>
                  <a:pt x="120" y="548"/>
                </a:lnTo>
                <a:lnTo>
                  <a:pt x="108" y="552"/>
                </a:lnTo>
                <a:lnTo>
                  <a:pt x="93" y="556"/>
                </a:lnTo>
                <a:lnTo>
                  <a:pt x="61" y="556"/>
                </a:lnTo>
                <a:lnTo>
                  <a:pt x="48" y="544"/>
                </a:lnTo>
                <a:lnTo>
                  <a:pt x="33" y="527"/>
                </a:lnTo>
                <a:lnTo>
                  <a:pt x="17" y="510"/>
                </a:lnTo>
                <a:lnTo>
                  <a:pt x="0" y="494"/>
                </a:lnTo>
                <a:lnTo>
                  <a:pt x="0" y="285"/>
                </a:lnTo>
                <a:lnTo>
                  <a:pt x="21" y="286"/>
                </a:lnTo>
                <a:lnTo>
                  <a:pt x="54" y="286"/>
                </a:lnTo>
                <a:lnTo>
                  <a:pt x="73" y="286"/>
                </a:lnTo>
                <a:lnTo>
                  <a:pt x="89" y="285"/>
                </a:lnTo>
                <a:lnTo>
                  <a:pt x="97" y="284"/>
                </a:lnTo>
                <a:lnTo>
                  <a:pt x="103" y="282"/>
                </a:lnTo>
                <a:lnTo>
                  <a:pt x="109" y="281"/>
                </a:lnTo>
                <a:lnTo>
                  <a:pt x="113" y="279"/>
                </a:lnTo>
                <a:lnTo>
                  <a:pt x="119" y="275"/>
                </a:lnTo>
                <a:lnTo>
                  <a:pt x="123" y="269"/>
                </a:lnTo>
                <a:lnTo>
                  <a:pt x="126" y="263"/>
                </a:lnTo>
                <a:lnTo>
                  <a:pt x="129" y="256"/>
                </a:lnTo>
                <a:lnTo>
                  <a:pt x="130" y="247"/>
                </a:lnTo>
                <a:lnTo>
                  <a:pt x="131" y="238"/>
                </a:lnTo>
                <a:lnTo>
                  <a:pt x="131" y="229"/>
                </a:lnTo>
                <a:lnTo>
                  <a:pt x="130" y="220"/>
                </a:lnTo>
                <a:lnTo>
                  <a:pt x="129" y="202"/>
                </a:lnTo>
                <a:lnTo>
                  <a:pt x="126" y="185"/>
                </a:lnTo>
                <a:lnTo>
                  <a:pt x="125" y="171"/>
                </a:lnTo>
                <a:lnTo>
                  <a:pt x="126" y="162"/>
                </a:lnTo>
                <a:lnTo>
                  <a:pt x="130" y="165"/>
                </a:lnTo>
                <a:lnTo>
                  <a:pt x="132" y="168"/>
                </a:lnTo>
                <a:lnTo>
                  <a:pt x="136" y="170"/>
                </a:lnTo>
                <a:lnTo>
                  <a:pt x="140" y="171"/>
                </a:lnTo>
                <a:lnTo>
                  <a:pt x="147" y="174"/>
                </a:lnTo>
                <a:lnTo>
                  <a:pt x="156" y="175"/>
                </a:lnTo>
                <a:lnTo>
                  <a:pt x="174" y="175"/>
                </a:lnTo>
                <a:lnTo>
                  <a:pt x="187" y="174"/>
                </a:lnTo>
                <a:lnTo>
                  <a:pt x="187" y="180"/>
                </a:lnTo>
                <a:lnTo>
                  <a:pt x="188" y="186"/>
                </a:lnTo>
                <a:lnTo>
                  <a:pt x="190" y="191"/>
                </a:lnTo>
                <a:lnTo>
                  <a:pt x="192" y="197"/>
                </a:lnTo>
                <a:lnTo>
                  <a:pt x="195" y="201"/>
                </a:lnTo>
                <a:lnTo>
                  <a:pt x="199" y="204"/>
                </a:lnTo>
                <a:lnTo>
                  <a:pt x="202" y="207"/>
                </a:lnTo>
                <a:lnTo>
                  <a:pt x="208" y="210"/>
                </a:lnTo>
                <a:lnTo>
                  <a:pt x="218" y="213"/>
                </a:lnTo>
                <a:lnTo>
                  <a:pt x="229" y="216"/>
                </a:lnTo>
                <a:lnTo>
                  <a:pt x="241" y="217"/>
                </a:lnTo>
                <a:lnTo>
                  <a:pt x="253" y="217"/>
                </a:lnTo>
                <a:lnTo>
                  <a:pt x="260" y="216"/>
                </a:lnTo>
                <a:lnTo>
                  <a:pt x="269" y="214"/>
                </a:lnTo>
                <a:lnTo>
                  <a:pt x="277" y="211"/>
                </a:lnTo>
                <a:lnTo>
                  <a:pt x="286" y="207"/>
                </a:lnTo>
                <a:lnTo>
                  <a:pt x="301" y="199"/>
                </a:lnTo>
                <a:lnTo>
                  <a:pt x="313" y="192"/>
                </a:lnTo>
                <a:lnTo>
                  <a:pt x="315" y="195"/>
                </a:lnTo>
                <a:lnTo>
                  <a:pt x="319" y="196"/>
                </a:lnTo>
                <a:lnTo>
                  <a:pt x="322" y="196"/>
                </a:lnTo>
                <a:lnTo>
                  <a:pt x="325" y="195"/>
                </a:lnTo>
                <a:lnTo>
                  <a:pt x="331" y="193"/>
                </a:lnTo>
                <a:lnTo>
                  <a:pt x="333" y="192"/>
                </a:lnTo>
                <a:lnTo>
                  <a:pt x="338" y="192"/>
                </a:lnTo>
                <a:lnTo>
                  <a:pt x="343" y="190"/>
                </a:lnTo>
                <a:lnTo>
                  <a:pt x="348" y="188"/>
                </a:lnTo>
                <a:lnTo>
                  <a:pt x="353" y="185"/>
                </a:lnTo>
                <a:lnTo>
                  <a:pt x="357" y="182"/>
                </a:lnTo>
                <a:lnTo>
                  <a:pt x="360" y="178"/>
                </a:lnTo>
                <a:lnTo>
                  <a:pt x="364" y="173"/>
                </a:lnTo>
                <a:lnTo>
                  <a:pt x="368" y="168"/>
                </a:lnTo>
                <a:lnTo>
                  <a:pt x="373" y="156"/>
                </a:lnTo>
                <a:lnTo>
                  <a:pt x="379" y="142"/>
                </a:lnTo>
                <a:lnTo>
                  <a:pt x="383" y="126"/>
                </a:lnTo>
                <a:lnTo>
                  <a:pt x="388" y="111"/>
                </a:lnTo>
                <a:lnTo>
                  <a:pt x="395" y="78"/>
                </a:lnTo>
                <a:lnTo>
                  <a:pt x="403" y="47"/>
                </a:lnTo>
                <a:lnTo>
                  <a:pt x="406" y="33"/>
                </a:lnTo>
                <a:lnTo>
                  <a:pt x="410" y="20"/>
                </a:lnTo>
                <a:lnTo>
                  <a:pt x="414" y="10"/>
                </a:lnTo>
                <a:lnTo>
                  <a:pt x="418" y="1"/>
                </a:lnTo>
                <a:lnTo>
                  <a:pt x="425" y="4"/>
                </a:lnTo>
                <a:lnTo>
                  <a:pt x="431" y="6"/>
                </a:lnTo>
                <a:lnTo>
                  <a:pt x="436" y="8"/>
                </a:lnTo>
                <a:lnTo>
                  <a:pt x="442" y="8"/>
                </a:lnTo>
                <a:lnTo>
                  <a:pt x="453" y="8"/>
                </a:lnTo>
                <a:lnTo>
                  <a:pt x="462" y="6"/>
                </a:lnTo>
                <a:lnTo>
                  <a:pt x="472" y="4"/>
                </a:lnTo>
                <a:lnTo>
                  <a:pt x="482" y="1"/>
                </a:lnTo>
                <a:lnTo>
                  <a:pt x="493" y="0"/>
                </a:lnTo>
                <a:lnTo>
                  <a:pt x="505" y="1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80" name="Freeform 478"/>
          <p:cNvSpPr>
            <a:spLocks/>
          </p:cNvSpPr>
          <p:nvPr userDrawn="1">
            <p:custDataLst>
              <p:tags r:id="rId315"/>
            </p:custDataLst>
          </p:nvPr>
        </p:nvSpPr>
        <p:spPr bwMode="auto">
          <a:xfrm>
            <a:off x="4368810" y="3340894"/>
            <a:ext cx="350837" cy="285750"/>
          </a:xfrm>
          <a:custGeom>
            <a:avLst/>
            <a:gdLst>
              <a:gd name="T0" fmla="*/ 149519808 w 810"/>
              <a:gd name="T1" fmla="*/ 11535339 h 727"/>
              <a:gd name="T2" fmla="*/ 143704145 w 810"/>
              <a:gd name="T3" fmla="*/ 7140998 h 727"/>
              <a:gd name="T4" fmla="*/ 134699332 w 810"/>
              <a:gd name="T5" fmla="*/ 9063294 h 727"/>
              <a:gd name="T6" fmla="*/ 118940691 w 810"/>
              <a:gd name="T7" fmla="*/ 12084565 h 727"/>
              <a:gd name="T8" fmla="*/ 113312548 w 810"/>
              <a:gd name="T9" fmla="*/ 15105837 h 727"/>
              <a:gd name="T10" fmla="*/ 52528959 w 810"/>
              <a:gd name="T11" fmla="*/ 10986112 h 727"/>
              <a:gd name="T12" fmla="*/ 43524146 w 810"/>
              <a:gd name="T13" fmla="*/ 10162272 h 727"/>
              <a:gd name="T14" fmla="*/ 32267912 w 810"/>
              <a:gd name="T15" fmla="*/ 4668954 h 727"/>
              <a:gd name="T16" fmla="*/ 21761856 w 810"/>
              <a:gd name="T17" fmla="*/ 0 h 727"/>
              <a:gd name="T18" fmla="*/ 15571101 w 810"/>
              <a:gd name="T19" fmla="*/ 1373067 h 727"/>
              <a:gd name="T20" fmla="*/ 9942981 w 810"/>
              <a:gd name="T21" fmla="*/ 6591771 h 727"/>
              <a:gd name="T22" fmla="*/ 0 w 810"/>
              <a:gd name="T23" fmla="*/ 15105837 h 727"/>
              <a:gd name="T24" fmla="*/ 1313257 w 810"/>
              <a:gd name="T25" fmla="*/ 18676339 h 727"/>
              <a:gd name="T26" fmla="*/ 4877501 w 810"/>
              <a:gd name="T27" fmla="*/ 20324019 h 727"/>
              <a:gd name="T28" fmla="*/ 6753828 w 810"/>
              <a:gd name="T29" fmla="*/ 35429860 h 727"/>
              <a:gd name="T30" fmla="*/ 11256237 w 810"/>
              <a:gd name="T31" fmla="*/ 52733124 h 727"/>
              <a:gd name="T32" fmla="*/ 20448600 w 810"/>
              <a:gd name="T33" fmla="*/ 75803809 h 727"/>
              <a:gd name="T34" fmla="*/ 24951440 w 810"/>
              <a:gd name="T35" fmla="*/ 82395055 h 727"/>
              <a:gd name="T36" fmla="*/ 29828946 w 810"/>
              <a:gd name="T37" fmla="*/ 82944805 h 727"/>
              <a:gd name="T38" fmla="*/ 29828946 w 810"/>
              <a:gd name="T39" fmla="*/ 91184255 h 727"/>
              <a:gd name="T40" fmla="*/ 28515690 w 810"/>
              <a:gd name="T41" fmla="*/ 98599865 h 727"/>
              <a:gd name="T42" fmla="*/ 27389973 w 810"/>
              <a:gd name="T43" fmla="*/ 108212382 h 727"/>
              <a:gd name="T44" fmla="*/ 28140591 w 810"/>
              <a:gd name="T45" fmla="*/ 116726445 h 727"/>
              <a:gd name="T46" fmla="*/ 32455458 w 810"/>
              <a:gd name="T47" fmla="*/ 132931255 h 727"/>
              <a:gd name="T48" fmla="*/ 33581168 w 810"/>
              <a:gd name="T49" fmla="*/ 142269191 h 727"/>
              <a:gd name="T50" fmla="*/ 35081970 w 810"/>
              <a:gd name="T51" fmla="*/ 166438314 h 727"/>
              <a:gd name="T52" fmla="*/ 38271121 w 810"/>
              <a:gd name="T53" fmla="*/ 177699035 h 727"/>
              <a:gd name="T54" fmla="*/ 43336599 w 810"/>
              <a:gd name="T55" fmla="*/ 189508983 h 727"/>
              <a:gd name="T56" fmla="*/ 45962679 w 810"/>
              <a:gd name="T57" fmla="*/ 192255641 h 727"/>
              <a:gd name="T58" fmla="*/ 48589191 w 810"/>
              <a:gd name="T59" fmla="*/ 196375365 h 727"/>
              <a:gd name="T60" fmla="*/ 49714901 w 810"/>
              <a:gd name="T61" fmla="*/ 186213622 h 727"/>
              <a:gd name="T62" fmla="*/ 57781997 w 810"/>
              <a:gd name="T63" fmla="*/ 191157187 h 727"/>
              <a:gd name="T64" fmla="*/ 61533786 w 810"/>
              <a:gd name="T65" fmla="*/ 195826139 h 727"/>
              <a:gd name="T66" fmla="*/ 69788415 w 810"/>
              <a:gd name="T67" fmla="*/ 199396637 h 727"/>
              <a:gd name="T68" fmla="*/ 76354696 w 810"/>
              <a:gd name="T69" fmla="*/ 198572797 h 727"/>
              <a:gd name="T70" fmla="*/ 80482011 w 810"/>
              <a:gd name="T71" fmla="*/ 195002299 h 727"/>
              <a:gd name="T72" fmla="*/ 84796871 w 810"/>
              <a:gd name="T73" fmla="*/ 185389258 h 727"/>
              <a:gd name="T74" fmla="*/ 86860312 w 810"/>
              <a:gd name="T75" fmla="*/ 145290462 h 727"/>
              <a:gd name="T76" fmla="*/ 87235404 w 810"/>
              <a:gd name="T77" fmla="*/ 131832277 h 727"/>
              <a:gd name="T78" fmla="*/ 88361114 w 810"/>
              <a:gd name="T79" fmla="*/ 128811530 h 727"/>
              <a:gd name="T80" fmla="*/ 86860312 w 810"/>
              <a:gd name="T81" fmla="*/ 117001058 h 727"/>
              <a:gd name="T82" fmla="*/ 87986022 w 810"/>
              <a:gd name="T83" fmla="*/ 101071385 h 727"/>
              <a:gd name="T84" fmla="*/ 93801685 w 810"/>
              <a:gd name="T85" fmla="*/ 90635028 h 727"/>
              <a:gd name="T86" fmla="*/ 98491638 w 810"/>
              <a:gd name="T87" fmla="*/ 87888371 h 727"/>
              <a:gd name="T88" fmla="*/ 100930604 w 810"/>
              <a:gd name="T89" fmla="*/ 63719232 h 727"/>
              <a:gd name="T90" fmla="*/ 103369570 w 810"/>
              <a:gd name="T91" fmla="*/ 40648563 h 727"/>
              <a:gd name="T92" fmla="*/ 101493676 w 810"/>
              <a:gd name="T93" fmla="*/ 34056785 h 727"/>
              <a:gd name="T94" fmla="*/ 99617348 w 810"/>
              <a:gd name="T95" fmla="*/ 27190402 h 727"/>
              <a:gd name="T96" fmla="*/ 101118150 w 810"/>
              <a:gd name="T97" fmla="*/ 23619904 h 727"/>
              <a:gd name="T98" fmla="*/ 115751541 w 810"/>
              <a:gd name="T99" fmla="*/ 21972224 h 727"/>
              <a:gd name="T100" fmla="*/ 132823437 w 810"/>
              <a:gd name="T101" fmla="*/ 17303272 h 727"/>
              <a:gd name="T102" fmla="*/ 150645518 w 810"/>
              <a:gd name="T103" fmla="*/ 16753517 h 727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810"/>
              <a:gd name="T157" fmla="*/ 0 h 727"/>
              <a:gd name="T158" fmla="*/ 810 w 810"/>
              <a:gd name="T159" fmla="*/ 727 h 727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810" h="727">
                <a:moveTo>
                  <a:pt x="810" y="61"/>
                </a:moveTo>
                <a:lnTo>
                  <a:pt x="807" y="54"/>
                </a:lnTo>
                <a:lnTo>
                  <a:pt x="802" y="48"/>
                </a:lnTo>
                <a:lnTo>
                  <a:pt x="797" y="42"/>
                </a:lnTo>
                <a:lnTo>
                  <a:pt x="790" y="36"/>
                </a:lnTo>
                <a:lnTo>
                  <a:pt x="784" y="32"/>
                </a:lnTo>
                <a:lnTo>
                  <a:pt x="775" y="28"/>
                </a:lnTo>
                <a:lnTo>
                  <a:pt x="766" y="26"/>
                </a:lnTo>
                <a:lnTo>
                  <a:pt x="756" y="25"/>
                </a:lnTo>
                <a:lnTo>
                  <a:pt x="743" y="26"/>
                </a:lnTo>
                <a:lnTo>
                  <a:pt x="730" y="29"/>
                </a:lnTo>
                <a:lnTo>
                  <a:pt x="718" y="33"/>
                </a:lnTo>
                <a:lnTo>
                  <a:pt x="703" y="37"/>
                </a:lnTo>
                <a:lnTo>
                  <a:pt x="671" y="37"/>
                </a:lnTo>
                <a:lnTo>
                  <a:pt x="651" y="41"/>
                </a:lnTo>
                <a:lnTo>
                  <a:pt x="634" y="44"/>
                </a:lnTo>
                <a:lnTo>
                  <a:pt x="627" y="46"/>
                </a:lnTo>
                <a:lnTo>
                  <a:pt x="619" y="48"/>
                </a:lnTo>
                <a:lnTo>
                  <a:pt x="611" y="51"/>
                </a:lnTo>
                <a:lnTo>
                  <a:pt x="604" y="55"/>
                </a:lnTo>
                <a:lnTo>
                  <a:pt x="411" y="55"/>
                </a:lnTo>
                <a:lnTo>
                  <a:pt x="411" y="37"/>
                </a:lnTo>
                <a:lnTo>
                  <a:pt x="292" y="37"/>
                </a:lnTo>
                <a:lnTo>
                  <a:pt x="280" y="40"/>
                </a:lnTo>
                <a:lnTo>
                  <a:pt x="269" y="41"/>
                </a:lnTo>
                <a:lnTo>
                  <a:pt x="257" y="40"/>
                </a:lnTo>
                <a:lnTo>
                  <a:pt x="245" y="39"/>
                </a:lnTo>
                <a:lnTo>
                  <a:pt x="232" y="37"/>
                </a:lnTo>
                <a:lnTo>
                  <a:pt x="220" y="34"/>
                </a:lnTo>
                <a:lnTo>
                  <a:pt x="208" y="30"/>
                </a:lnTo>
                <a:lnTo>
                  <a:pt x="196" y="26"/>
                </a:lnTo>
                <a:lnTo>
                  <a:pt x="172" y="17"/>
                </a:lnTo>
                <a:lnTo>
                  <a:pt x="149" y="8"/>
                </a:lnTo>
                <a:lnTo>
                  <a:pt x="137" y="5"/>
                </a:lnTo>
                <a:lnTo>
                  <a:pt x="126" y="2"/>
                </a:lnTo>
                <a:lnTo>
                  <a:pt x="116" y="0"/>
                </a:lnTo>
                <a:lnTo>
                  <a:pt x="105" y="0"/>
                </a:lnTo>
                <a:lnTo>
                  <a:pt x="97" y="0"/>
                </a:lnTo>
                <a:lnTo>
                  <a:pt x="91" y="2"/>
                </a:lnTo>
                <a:lnTo>
                  <a:pt x="83" y="5"/>
                </a:lnTo>
                <a:lnTo>
                  <a:pt x="75" y="8"/>
                </a:lnTo>
                <a:lnTo>
                  <a:pt x="68" y="13"/>
                </a:lnTo>
                <a:lnTo>
                  <a:pt x="60" y="19"/>
                </a:lnTo>
                <a:lnTo>
                  <a:pt x="53" y="24"/>
                </a:lnTo>
                <a:lnTo>
                  <a:pt x="46" y="31"/>
                </a:lnTo>
                <a:lnTo>
                  <a:pt x="6" y="31"/>
                </a:lnTo>
                <a:lnTo>
                  <a:pt x="3" y="45"/>
                </a:lnTo>
                <a:lnTo>
                  <a:pt x="0" y="55"/>
                </a:lnTo>
                <a:lnTo>
                  <a:pt x="0" y="58"/>
                </a:lnTo>
                <a:lnTo>
                  <a:pt x="2" y="61"/>
                </a:lnTo>
                <a:lnTo>
                  <a:pt x="4" y="64"/>
                </a:lnTo>
                <a:lnTo>
                  <a:pt x="7" y="68"/>
                </a:lnTo>
                <a:lnTo>
                  <a:pt x="12" y="70"/>
                </a:lnTo>
                <a:lnTo>
                  <a:pt x="16" y="72"/>
                </a:lnTo>
                <a:lnTo>
                  <a:pt x="21" y="74"/>
                </a:lnTo>
                <a:lnTo>
                  <a:pt x="26" y="74"/>
                </a:lnTo>
                <a:lnTo>
                  <a:pt x="26" y="86"/>
                </a:lnTo>
                <a:lnTo>
                  <a:pt x="28" y="99"/>
                </a:lnTo>
                <a:lnTo>
                  <a:pt x="32" y="113"/>
                </a:lnTo>
                <a:lnTo>
                  <a:pt x="36" y="129"/>
                </a:lnTo>
                <a:lnTo>
                  <a:pt x="40" y="144"/>
                </a:lnTo>
                <a:lnTo>
                  <a:pt x="47" y="160"/>
                </a:lnTo>
                <a:lnTo>
                  <a:pt x="53" y="175"/>
                </a:lnTo>
                <a:lnTo>
                  <a:pt x="60" y="192"/>
                </a:lnTo>
                <a:lnTo>
                  <a:pt x="77" y="223"/>
                </a:lnTo>
                <a:lnTo>
                  <a:pt x="93" y="252"/>
                </a:lnTo>
                <a:lnTo>
                  <a:pt x="102" y="265"/>
                </a:lnTo>
                <a:lnTo>
                  <a:pt x="109" y="276"/>
                </a:lnTo>
                <a:lnTo>
                  <a:pt x="117" y="286"/>
                </a:lnTo>
                <a:lnTo>
                  <a:pt x="125" y="296"/>
                </a:lnTo>
                <a:lnTo>
                  <a:pt x="128" y="298"/>
                </a:lnTo>
                <a:lnTo>
                  <a:pt x="133" y="300"/>
                </a:lnTo>
                <a:lnTo>
                  <a:pt x="137" y="301"/>
                </a:lnTo>
                <a:lnTo>
                  <a:pt x="142" y="301"/>
                </a:lnTo>
                <a:lnTo>
                  <a:pt x="151" y="302"/>
                </a:lnTo>
                <a:lnTo>
                  <a:pt x="159" y="302"/>
                </a:lnTo>
                <a:lnTo>
                  <a:pt x="159" y="309"/>
                </a:lnTo>
                <a:lnTo>
                  <a:pt x="159" y="317"/>
                </a:lnTo>
                <a:lnTo>
                  <a:pt x="159" y="326"/>
                </a:lnTo>
                <a:lnTo>
                  <a:pt x="159" y="332"/>
                </a:lnTo>
                <a:lnTo>
                  <a:pt x="158" y="339"/>
                </a:lnTo>
                <a:lnTo>
                  <a:pt x="157" y="346"/>
                </a:lnTo>
                <a:lnTo>
                  <a:pt x="154" y="353"/>
                </a:lnTo>
                <a:lnTo>
                  <a:pt x="152" y="359"/>
                </a:lnTo>
                <a:lnTo>
                  <a:pt x="149" y="366"/>
                </a:lnTo>
                <a:lnTo>
                  <a:pt x="147" y="374"/>
                </a:lnTo>
                <a:lnTo>
                  <a:pt x="146" y="383"/>
                </a:lnTo>
                <a:lnTo>
                  <a:pt x="146" y="394"/>
                </a:lnTo>
                <a:lnTo>
                  <a:pt x="146" y="403"/>
                </a:lnTo>
                <a:lnTo>
                  <a:pt x="147" y="410"/>
                </a:lnTo>
                <a:lnTo>
                  <a:pt x="148" y="418"/>
                </a:lnTo>
                <a:lnTo>
                  <a:pt x="150" y="425"/>
                </a:lnTo>
                <a:lnTo>
                  <a:pt x="156" y="439"/>
                </a:lnTo>
                <a:lnTo>
                  <a:pt x="162" y="453"/>
                </a:lnTo>
                <a:lnTo>
                  <a:pt x="168" y="469"/>
                </a:lnTo>
                <a:lnTo>
                  <a:pt x="173" y="484"/>
                </a:lnTo>
                <a:lnTo>
                  <a:pt x="175" y="491"/>
                </a:lnTo>
                <a:lnTo>
                  <a:pt x="178" y="500"/>
                </a:lnTo>
                <a:lnTo>
                  <a:pt x="179" y="508"/>
                </a:lnTo>
                <a:lnTo>
                  <a:pt x="179" y="518"/>
                </a:lnTo>
                <a:lnTo>
                  <a:pt x="179" y="542"/>
                </a:lnTo>
                <a:lnTo>
                  <a:pt x="180" y="564"/>
                </a:lnTo>
                <a:lnTo>
                  <a:pt x="183" y="586"/>
                </a:lnTo>
                <a:lnTo>
                  <a:pt x="187" y="606"/>
                </a:lnTo>
                <a:lnTo>
                  <a:pt x="191" y="616"/>
                </a:lnTo>
                <a:lnTo>
                  <a:pt x="194" y="627"/>
                </a:lnTo>
                <a:lnTo>
                  <a:pt x="198" y="637"/>
                </a:lnTo>
                <a:lnTo>
                  <a:pt x="204" y="647"/>
                </a:lnTo>
                <a:lnTo>
                  <a:pt x="209" y="657"/>
                </a:lnTo>
                <a:lnTo>
                  <a:pt x="216" y="667"/>
                </a:lnTo>
                <a:lnTo>
                  <a:pt x="224" y="679"/>
                </a:lnTo>
                <a:lnTo>
                  <a:pt x="231" y="690"/>
                </a:lnTo>
                <a:lnTo>
                  <a:pt x="235" y="696"/>
                </a:lnTo>
                <a:lnTo>
                  <a:pt x="238" y="698"/>
                </a:lnTo>
                <a:lnTo>
                  <a:pt x="241" y="700"/>
                </a:lnTo>
                <a:lnTo>
                  <a:pt x="245" y="700"/>
                </a:lnTo>
                <a:lnTo>
                  <a:pt x="249" y="701"/>
                </a:lnTo>
                <a:lnTo>
                  <a:pt x="252" y="703"/>
                </a:lnTo>
                <a:lnTo>
                  <a:pt x="256" y="707"/>
                </a:lnTo>
                <a:lnTo>
                  <a:pt x="259" y="715"/>
                </a:lnTo>
                <a:lnTo>
                  <a:pt x="259" y="708"/>
                </a:lnTo>
                <a:lnTo>
                  <a:pt x="262" y="699"/>
                </a:lnTo>
                <a:lnTo>
                  <a:pt x="264" y="688"/>
                </a:lnTo>
                <a:lnTo>
                  <a:pt x="265" y="678"/>
                </a:lnTo>
                <a:lnTo>
                  <a:pt x="298" y="678"/>
                </a:lnTo>
                <a:lnTo>
                  <a:pt x="301" y="685"/>
                </a:lnTo>
                <a:lnTo>
                  <a:pt x="304" y="691"/>
                </a:lnTo>
                <a:lnTo>
                  <a:pt x="308" y="696"/>
                </a:lnTo>
                <a:lnTo>
                  <a:pt x="313" y="701"/>
                </a:lnTo>
                <a:lnTo>
                  <a:pt x="317" y="706"/>
                </a:lnTo>
                <a:lnTo>
                  <a:pt x="322" y="710"/>
                </a:lnTo>
                <a:lnTo>
                  <a:pt x="328" y="713"/>
                </a:lnTo>
                <a:lnTo>
                  <a:pt x="333" y="716"/>
                </a:lnTo>
                <a:lnTo>
                  <a:pt x="346" y="721"/>
                </a:lnTo>
                <a:lnTo>
                  <a:pt x="359" y="724"/>
                </a:lnTo>
                <a:lnTo>
                  <a:pt x="372" y="726"/>
                </a:lnTo>
                <a:lnTo>
                  <a:pt x="384" y="727"/>
                </a:lnTo>
                <a:lnTo>
                  <a:pt x="393" y="726"/>
                </a:lnTo>
                <a:lnTo>
                  <a:pt x="400" y="725"/>
                </a:lnTo>
                <a:lnTo>
                  <a:pt x="407" y="723"/>
                </a:lnTo>
                <a:lnTo>
                  <a:pt x="414" y="721"/>
                </a:lnTo>
                <a:lnTo>
                  <a:pt x="419" y="718"/>
                </a:lnTo>
                <a:lnTo>
                  <a:pt x="425" y="714"/>
                </a:lnTo>
                <a:lnTo>
                  <a:pt x="429" y="710"/>
                </a:lnTo>
                <a:lnTo>
                  <a:pt x="433" y="706"/>
                </a:lnTo>
                <a:lnTo>
                  <a:pt x="441" y="696"/>
                </a:lnTo>
                <a:lnTo>
                  <a:pt x="447" y="686"/>
                </a:lnTo>
                <a:lnTo>
                  <a:pt x="452" y="675"/>
                </a:lnTo>
                <a:lnTo>
                  <a:pt x="458" y="665"/>
                </a:lnTo>
                <a:lnTo>
                  <a:pt x="458" y="554"/>
                </a:lnTo>
                <a:lnTo>
                  <a:pt x="462" y="542"/>
                </a:lnTo>
                <a:lnTo>
                  <a:pt x="463" y="529"/>
                </a:lnTo>
                <a:lnTo>
                  <a:pt x="464" y="516"/>
                </a:lnTo>
                <a:lnTo>
                  <a:pt x="464" y="502"/>
                </a:lnTo>
                <a:lnTo>
                  <a:pt x="464" y="490"/>
                </a:lnTo>
                <a:lnTo>
                  <a:pt x="465" y="480"/>
                </a:lnTo>
                <a:lnTo>
                  <a:pt x="466" y="476"/>
                </a:lnTo>
                <a:lnTo>
                  <a:pt x="467" y="473"/>
                </a:lnTo>
                <a:lnTo>
                  <a:pt x="469" y="470"/>
                </a:lnTo>
                <a:lnTo>
                  <a:pt x="471" y="469"/>
                </a:lnTo>
                <a:lnTo>
                  <a:pt x="466" y="456"/>
                </a:lnTo>
                <a:lnTo>
                  <a:pt x="464" y="444"/>
                </a:lnTo>
                <a:lnTo>
                  <a:pt x="463" y="435"/>
                </a:lnTo>
                <a:lnTo>
                  <a:pt x="463" y="426"/>
                </a:lnTo>
                <a:lnTo>
                  <a:pt x="463" y="409"/>
                </a:lnTo>
                <a:lnTo>
                  <a:pt x="464" y="388"/>
                </a:lnTo>
                <a:lnTo>
                  <a:pt x="465" y="378"/>
                </a:lnTo>
                <a:lnTo>
                  <a:pt x="469" y="368"/>
                </a:lnTo>
                <a:lnTo>
                  <a:pt x="474" y="358"/>
                </a:lnTo>
                <a:lnTo>
                  <a:pt x="482" y="348"/>
                </a:lnTo>
                <a:lnTo>
                  <a:pt x="490" y="338"/>
                </a:lnTo>
                <a:lnTo>
                  <a:pt x="500" y="330"/>
                </a:lnTo>
                <a:lnTo>
                  <a:pt x="506" y="327"/>
                </a:lnTo>
                <a:lnTo>
                  <a:pt x="511" y="324"/>
                </a:lnTo>
                <a:lnTo>
                  <a:pt x="518" y="322"/>
                </a:lnTo>
                <a:lnTo>
                  <a:pt x="525" y="320"/>
                </a:lnTo>
                <a:lnTo>
                  <a:pt x="526" y="298"/>
                </a:lnTo>
                <a:lnTo>
                  <a:pt x="528" y="275"/>
                </a:lnTo>
                <a:lnTo>
                  <a:pt x="532" y="254"/>
                </a:lnTo>
                <a:lnTo>
                  <a:pt x="538" y="232"/>
                </a:lnTo>
                <a:lnTo>
                  <a:pt x="542" y="211"/>
                </a:lnTo>
                <a:lnTo>
                  <a:pt x="546" y="190"/>
                </a:lnTo>
                <a:lnTo>
                  <a:pt x="550" y="168"/>
                </a:lnTo>
                <a:lnTo>
                  <a:pt x="551" y="148"/>
                </a:lnTo>
                <a:lnTo>
                  <a:pt x="550" y="141"/>
                </a:lnTo>
                <a:lnTo>
                  <a:pt x="548" y="135"/>
                </a:lnTo>
                <a:lnTo>
                  <a:pt x="544" y="129"/>
                </a:lnTo>
                <a:lnTo>
                  <a:pt x="541" y="124"/>
                </a:lnTo>
                <a:lnTo>
                  <a:pt x="537" y="117"/>
                </a:lnTo>
                <a:lnTo>
                  <a:pt x="533" y="111"/>
                </a:lnTo>
                <a:lnTo>
                  <a:pt x="531" y="105"/>
                </a:lnTo>
                <a:lnTo>
                  <a:pt x="531" y="99"/>
                </a:lnTo>
                <a:lnTo>
                  <a:pt x="531" y="94"/>
                </a:lnTo>
                <a:lnTo>
                  <a:pt x="532" y="91"/>
                </a:lnTo>
                <a:lnTo>
                  <a:pt x="535" y="88"/>
                </a:lnTo>
                <a:lnTo>
                  <a:pt x="539" y="86"/>
                </a:lnTo>
                <a:lnTo>
                  <a:pt x="548" y="84"/>
                </a:lnTo>
                <a:lnTo>
                  <a:pt x="559" y="83"/>
                </a:lnTo>
                <a:lnTo>
                  <a:pt x="587" y="82"/>
                </a:lnTo>
                <a:lnTo>
                  <a:pt x="617" y="80"/>
                </a:lnTo>
                <a:lnTo>
                  <a:pt x="640" y="74"/>
                </a:lnTo>
                <a:lnTo>
                  <a:pt x="662" y="70"/>
                </a:lnTo>
                <a:lnTo>
                  <a:pt x="685" y="67"/>
                </a:lnTo>
                <a:lnTo>
                  <a:pt x="708" y="63"/>
                </a:lnTo>
                <a:lnTo>
                  <a:pt x="731" y="62"/>
                </a:lnTo>
                <a:lnTo>
                  <a:pt x="754" y="61"/>
                </a:lnTo>
                <a:lnTo>
                  <a:pt x="778" y="61"/>
                </a:lnTo>
                <a:lnTo>
                  <a:pt x="803" y="61"/>
                </a:lnTo>
                <a:lnTo>
                  <a:pt x="810" y="61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81" name="Freeform 479"/>
          <p:cNvSpPr>
            <a:spLocks/>
          </p:cNvSpPr>
          <p:nvPr userDrawn="1">
            <p:custDataLst>
              <p:tags r:id="rId316"/>
            </p:custDataLst>
          </p:nvPr>
        </p:nvSpPr>
        <p:spPr bwMode="auto">
          <a:xfrm>
            <a:off x="3648077" y="2538413"/>
            <a:ext cx="161925" cy="105966"/>
          </a:xfrm>
          <a:custGeom>
            <a:avLst/>
            <a:gdLst>
              <a:gd name="T0" fmla="*/ 39952000 w 365"/>
              <a:gd name="T1" fmla="*/ 67953257 h 271"/>
              <a:gd name="T2" fmla="*/ 32079786 w 365"/>
              <a:gd name="T3" fmla="*/ 66866227 h 271"/>
              <a:gd name="T4" fmla="*/ 23813621 w 365"/>
              <a:gd name="T5" fmla="*/ 67137854 h 271"/>
              <a:gd name="T6" fmla="*/ 18106321 w 365"/>
              <a:gd name="T7" fmla="*/ 67953257 h 271"/>
              <a:gd name="T8" fmla="*/ 14563936 w 365"/>
              <a:gd name="T9" fmla="*/ 69312453 h 271"/>
              <a:gd name="T10" fmla="*/ 5116830 w 365"/>
              <a:gd name="T11" fmla="*/ 73661619 h 271"/>
              <a:gd name="T12" fmla="*/ 3936331 w 365"/>
              <a:gd name="T13" fmla="*/ 73389992 h 271"/>
              <a:gd name="T14" fmla="*/ 3345858 w 365"/>
              <a:gd name="T15" fmla="*/ 72302440 h 271"/>
              <a:gd name="T16" fmla="*/ 3542386 w 365"/>
              <a:gd name="T17" fmla="*/ 69040826 h 271"/>
              <a:gd name="T18" fmla="*/ 5116830 w 365"/>
              <a:gd name="T19" fmla="*/ 61973806 h 271"/>
              <a:gd name="T20" fmla="*/ 12005075 w 365"/>
              <a:gd name="T21" fmla="*/ 61430030 h 271"/>
              <a:gd name="T22" fmla="*/ 17515850 w 365"/>
              <a:gd name="T23" fmla="*/ 60342478 h 271"/>
              <a:gd name="T24" fmla="*/ 22632678 w 365"/>
              <a:gd name="T25" fmla="*/ 59255447 h 271"/>
              <a:gd name="T26" fmla="*/ 28733921 w 365"/>
              <a:gd name="T27" fmla="*/ 58711671 h 271"/>
              <a:gd name="T28" fmla="*/ 35819143 w 365"/>
              <a:gd name="T29" fmla="*/ 59255447 h 271"/>
              <a:gd name="T30" fmla="*/ 39164557 w 365"/>
              <a:gd name="T31" fmla="*/ 59255447 h 271"/>
              <a:gd name="T32" fmla="*/ 43100885 w 365"/>
              <a:gd name="T33" fmla="*/ 58711671 h 271"/>
              <a:gd name="T34" fmla="*/ 42313442 w 365"/>
              <a:gd name="T35" fmla="*/ 56537088 h 271"/>
              <a:gd name="T36" fmla="*/ 41329471 w 365"/>
              <a:gd name="T37" fmla="*/ 54634654 h 271"/>
              <a:gd name="T38" fmla="*/ 38377557 w 365"/>
              <a:gd name="T39" fmla="*/ 52731698 h 271"/>
              <a:gd name="T40" fmla="*/ 34441228 w 365"/>
              <a:gd name="T41" fmla="*/ 51916295 h 271"/>
              <a:gd name="T42" fmla="*/ 29914871 w 365"/>
              <a:gd name="T43" fmla="*/ 51644667 h 271"/>
              <a:gd name="T44" fmla="*/ 18303293 w 365"/>
              <a:gd name="T45" fmla="*/ 52188443 h 271"/>
              <a:gd name="T46" fmla="*/ 12595546 w 365"/>
              <a:gd name="T47" fmla="*/ 53275474 h 271"/>
              <a:gd name="T48" fmla="*/ 6494745 w 365"/>
              <a:gd name="T49" fmla="*/ 55178430 h 271"/>
              <a:gd name="T50" fmla="*/ 7478718 w 365"/>
              <a:gd name="T51" fmla="*/ 49741712 h 271"/>
              <a:gd name="T52" fmla="*/ 7675690 w 365"/>
              <a:gd name="T53" fmla="*/ 46752247 h 271"/>
              <a:gd name="T54" fmla="*/ 5116830 w 365"/>
              <a:gd name="T55" fmla="*/ 44577664 h 271"/>
              <a:gd name="T56" fmla="*/ 2558415 w 365"/>
              <a:gd name="T57" fmla="*/ 43490111 h 271"/>
              <a:gd name="T58" fmla="*/ 2164915 w 365"/>
              <a:gd name="T59" fmla="*/ 39956870 h 271"/>
              <a:gd name="T60" fmla="*/ 1180943 w 365"/>
              <a:gd name="T61" fmla="*/ 38869318 h 271"/>
              <a:gd name="T62" fmla="*/ 393500 w 365"/>
              <a:gd name="T63" fmla="*/ 38325542 h 271"/>
              <a:gd name="T64" fmla="*/ 0 w 365"/>
              <a:gd name="T65" fmla="*/ 36694735 h 271"/>
              <a:gd name="T66" fmla="*/ 983972 w 365"/>
              <a:gd name="T67" fmla="*/ 31258530 h 271"/>
              <a:gd name="T68" fmla="*/ 3345858 w 365"/>
              <a:gd name="T69" fmla="*/ 25006930 h 271"/>
              <a:gd name="T70" fmla="*/ 5904273 w 365"/>
              <a:gd name="T71" fmla="*/ 18755330 h 271"/>
              <a:gd name="T72" fmla="*/ 7675690 w 365"/>
              <a:gd name="T73" fmla="*/ 13319129 h 271"/>
              <a:gd name="T74" fmla="*/ 9446660 w 365"/>
              <a:gd name="T75" fmla="*/ 11416174 h 271"/>
              <a:gd name="T76" fmla="*/ 9643632 w 365"/>
              <a:gd name="T77" fmla="*/ 13046980 h 271"/>
              <a:gd name="T78" fmla="*/ 10234104 w 365"/>
              <a:gd name="T79" fmla="*/ 9785367 h 271"/>
              <a:gd name="T80" fmla="*/ 14760464 w 365"/>
              <a:gd name="T81" fmla="*/ 8426185 h 271"/>
              <a:gd name="T82" fmla="*/ 22436150 w 365"/>
              <a:gd name="T83" fmla="*/ 4892423 h 271"/>
              <a:gd name="T84" fmla="*/ 32473285 w 365"/>
              <a:gd name="T85" fmla="*/ 0 h 271"/>
              <a:gd name="T86" fmla="*/ 36212643 w 365"/>
              <a:gd name="T87" fmla="*/ 4077018 h 271"/>
              <a:gd name="T88" fmla="*/ 39755028 w 365"/>
              <a:gd name="T89" fmla="*/ 6523751 h 271"/>
              <a:gd name="T90" fmla="*/ 43297857 w 365"/>
              <a:gd name="T91" fmla="*/ 7882409 h 271"/>
              <a:gd name="T92" fmla="*/ 47037214 w 365"/>
              <a:gd name="T93" fmla="*/ 8154558 h 271"/>
              <a:gd name="T94" fmla="*/ 47430714 w 365"/>
              <a:gd name="T95" fmla="*/ 14134533 h 271"/>
              <a:gd name="T96" fmla="*/ 48611657 w 365"/>
              <a:gd name="T97" fmla="*/ 18755330 h 271"/>
              <a:gd name="T98" fmla="*/ 49989128 w 365"/>
              <a:gd name="T99" fmla="*/ 22832347 h 271"/>
              <a:gd name="T100" fmla="*/ 51957071 w 365"/>
              <a:gd name="T101" fmla="*/ 25822334 h 271"/>
              <a:gd name="T102" fmla="*/ 60026271 w 365"/>
              <a:gd name="T103" fmla="*/ 35063928 h 271"/>
              <a:gd name="T104" fmla="*/ 69276399 w 365"/>
              <a:gd name="T105" fmla="*/ 63604613 h 271"/>
              <a:gd name="T106" fmla="*/ 70653871 w 365"/>
              <a:gd name="T107" fmla="*/ 69856229 h 271"/>
              <a:gd name="T108" fmla="*/ 71834814 w 365"/>
              <a:gd name="T109" fmla="*/ 73661619 h 271"/>
              <a:gd name="T110" fmla="*/ 63175156 w 365"/>
              <a:gd name="T111" fmla="*/ 70400005 h 271"/>
              <a:gd name="T112" fmla="*/ 54121985 w 365"/>
              <a:gd name="T113" fmla="*/ 68497050 h 271"/>
              <a:gd name="T114" fmla="*/ 48808185 w 365"/>
              <a:gd name="T115" fmla="*/ 68225406 h 271"/>
              <a:gd name="T116" fmla="*/ 43100885 w 365"/>
              <a:gd name="T117" fmla="*/ 68497050 h 27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365"/>
              <a:gd name="T178" fmla="*/ 0 h 271"/>
              <a:gd name="T179" fmla="*/ 365 w 365"/>
              <a:gd name="T180" fmla="*/ 271 h 271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365" h="271">
                <a:moveTo>
                  <a:pt x="219" y="252"/>
                </a:moveTo>
                <a:lnTo>
                  <a:pt x="203" y="250"/>
                </a:lnTo>
                <a:lnTo>
                  <a:pt x="184" y="248"/>
                </a:lnTo>
                <a:lnTo>
                  <a:pt x="163" y="246"/>
                </a:lnTo>
                <a:lnTo>
                  <a:pt x="142" y="246"/>
                </a:lnTo>
                <a:lnTo>
                  <a:pt x="121" y="247"/>
                </a:lnTo>
                <a:lnTo>
                  <a:pt x="101" y="249"/>
                </a:lnTo>
                <a:lnTo>
                  <a:pt x="92" y="250"/>
                </a:lnTo>
                <a:lnTo>
                  <a:pt x="82" y="252"/>
                </a:lnTo>
                <a:lnTo>
                  <a:pt x="74" y="255"/>
                </a:lnTo>
                <a:lnTo>
                  <a:pt x="65" y="258"/>
                </a:lnTo>
                <a:lnTo>
                  <a:pt x="26" y="271"/>
                </a:lnTo>
                <a:lnTo>
                  <a:pt x="23" y="271"/>
                </a:lnTo>
                <a:lnTo>
                  <a:pt x="20" y="270"/>
                </a:lnTo>
                <a:lnTo>
                  <a:pt x="18" y="268"/>
                </a:lnTo>
                <a:lnTo>
                  <a:pt x="17" y="266"/>
                </a:lnTo>
                <a:lnTo>
                  <a:pt x="17" y="260"/>
                </a:lnTo>
                <a:lnTo>
                  <a:pt x="18" y="254"/>
                </a:lnTo>
                <a:lnTo>
                  <a:pt x="24" y="240"/>
                </a:lnTo>
                <a:lnTo>
                  <a:pt x="26" y="228"/>
                </a:lnTo>
                <a:lnTo>
                  <a:pt x="45" y="227"/>
                </a:lnTo>
                <a:lnTo>
                  <a:pt x="61" y="226"/>
                </a:lnTo>
                <a:lnTo>
                  <a:pt x="75" y="224"/>
                </a:lnTo>
                <a:lnTo>
                  <a:pt x="89" y="222"/>
                </a:lnTo>
                <a:lnTo>
                  <a:pt x="102" y="220"/>
                </a:lnTo>
                <a:lnTo>
                  <a:pt x="115" y="218"/>
                </a:lnTo>
                <a:lnTo>
                  <a:pt x="129" y="216"/>
                </a:lnTo>
                <a:lnTo>
                  <a:pt x="146" y="216"/>
                </a:lnTo>
                <a:lnTo>
                  <a:pt x="164" y="217"/>
                </a:lnTo>
                <a:lnTo>
                  <a:pt x="182" y="218"/>
                </a:lnTo>
                <a:lnTo>
                  <a:pt x="191" y="218"/>
                </a:lnTo>
                <a:lnTo>
                  <a:pt x="199" y="218"/>
                </a:lnTo>
                <a:lnTo>
                  <a:pt x="209" y="217"/>
                </a:lnTo>
                <a:lnTo>
                  <a:pt x="219" y="216"/>
                </a:lnTo>
                <a:lnTo>
                  <a:pt x="217" y="211"/>
                </a:lnTo>
                <a:lnTo>
                  <a:pt x="215" y="208"/>
                </a:lnTo>
                <a:lnTo>
                  <a:pt x="213" y="203"/>
                </a:lnTo>
                <a:lnTo>
                  <a:pt x="210" y="201"/>
                </a:lnTo>
                <a:lnTo>
                  <a:pt x="204" y="196"/>
                </a:lnTo>
                <a:lnTo>
                  <a:pt x="195" y="194"/>
                </a:lnTo>
                <a:lnTo>
                  <a:pt x="186" y="192"/>
                </a:lnTo>
                <a:lnTo>
                  <a:pt x="175" y="191"/>
                </a:lnTo>
                <a:lnTo>
                  <a:pt x="164" y="191"/>
                </a:lnTo>
                <a:lnTo>
                  <a:pt x="152" y="190"/>
                </a:lnTo>
                <a:lnTo>
                  <a:pt x="120" y="191"/>
                </a:lnTo>
                <a:lnTo>
                  <a:pt x="93" y="192"/>
                </a:lnTo>
                <a:lnTo>
                  <a:pt x="79" y="193"/>
                </a:lnTo>
                <a:lnTo>
                  <a:pt x="64" y="196"/>
                </a:lnTo>
                <a:lnTo>
                  <a:pt x="49" y="199"/>
                </a:lnTo>
                <a:lnTo>
                  <a:pt x="33" y="203"/>
                </a:lnTo>
                <a:lnTo>
                  <a:pt x="37" y="191"/>
                </a:lnTo>
                <a:lnTo>
                  <a:pt x="38" y="183"/>
                </a:lnTo>
                <a:lnTo>
                  <a:pt x="39" y="177"/>
                </a:lnTo>
                <a:lnTo>
                  <a:pt x="39" y="172"/>
                </a:lnTo>
                <a:lnTo>
                  <a:pt x="34" y="168"/>
                </a:lnTo>
                <a:lnTo>
                  <a:pt x="26" y="164"/>
                </a:lnTo>
                <a:lnTo>
                  <a:pt x="18" y="161"/>
                </a:lnTo>
                <a:lnTo>
                  <a:pt x="13" y="160"/>
                </a:lnTo>
                <a:lnTo>
                  <a:pt x="13" y="153"/>
                </a:lnTo>
                <a:lnTo>
                  <a:pt x="11" y="147"/>
                </a:lnTo>
                <a:lnTo>
                  <a:pt x="8" y="144"/>
                </a:lnTo>
                <a:lnTo>
                  <a:pt x="6" y="143"/>
                </a:lnTo>
                <a:lnTo>
                  <a:pt x="4" y="142"/>
                </a:lnTo>
                <a:lnTo>
                  <a:pt x="2" y="141"/>
                </a:lnTo>
                <a:lnTo>
                  <a:pt x="0" y="139"/>
                </a:lnTo>
                <a:lnTo>
                  <a:pt x="0" y="135"/>
                </a:lnTo>
                <a:lnTo>
                  <a:pt x="1" y="125"/>
                </a:lnTo>
                <a:lnTo>
                  <a:pt x="5" y="115"/>
                </a:lnTo>
                <a:lnTo>
                  <a:pt x="11" y="104"/>
                </a:lnTo>
                <a:lnTo>
                  <a:pt x="17" y="92"/>
                </a:lnTo>
                <a:lnTo>
                  <a:pt x="24" y="80"/>
                </a:lnTo>
                <a:lnTo>
                  <a:pt x="30" y="69"/>
                </a:lnTo>
                <a:lnTo>
                  <a:pt x="36" y="59"/>
                </a:lnTo>
                <a:lnTo>
                  <a:pt x="39" y="49"/>
                </a:lnTo>
                <a:lnTo>
                  <a:pt x="45" y="43"/>
                </a:lnTo>
                <a:lnTo>
                  <a:pt x="48" y="42"/>
                </a:lnTo>
                <a:lnTo>
                  <a:pt x="49" y="44"/>
                </a:lnTo>
                <a:lnTo>
                  <a:pt x="49" y="48"/>
                </a:lnTo>
                <a:lnTo>
                  <a:pt x="48" y="51"/>
                </a:lnTo>
                <a:lnTo>
                  <a:pt x="52" y="36"/>
                </a:lnTo>
                <a:lnTo>
                  <a:pt x="61" y="35"/>
                </a:lnTo>
                <a:lnTo>
                  <a:pt x="75" y="31"/>
                </a:lnTo>
                <a:lnTo>
                  <a:pt x="94" y="25"/>
                </a:lnTo>
                <a:lnTo>
                  <a:pt x="114" y="18"/>
                </a:lnTo>
                <a:lnTo>
                  <a:pt x="150" y="6"/>
                </a:lnTo>
                <a:lnTo>
                  <a:pt x="165" y="0"/>
                </a:lnTo>
                <a:lnTo>
                  <a:pt x="175" y="8"/>
                </a:lnTo>
                <a:lnTo>
                  <a:pt x="184" y="15"/>
                </a:lnTo>
                <a:lnTo>
                  <a:pt x="194" y="20"/>
                </a:lnTo>
                <a:lnTo>
                  <a:pt x="202" y="24"/>
                </a:lnTo>
                <a:lnTo>
                  <a:pt x="210" y="27"/>
                </a:lnTo>
                <a:lnTo>
                  <a:pt x="220" y="29"/>
                </a:lnTo>
                <a:lnTo>
                  <a:pt x="229" y="30"/>
                </a:lnTo>
                <a:lnTo>
                  <a:pt x="239" y="30"/>
                </a:lnTo>
                <a:lnTo>
                  <a:pt x="239" y="42"/>
                </a:lnTo>
                <a:lnTo>
                  <a:pt x="241" y="52"/>
                </a:lnTo>
                <a:lnTo>
                  <a:pt x="243" y="61"/>
                </a:lnTo>
                <a:lnTo>
                  <a:pt x="247" y="69"/>
                </a:lnTo>
                <a:lnTo>
                  <a:pt x="250" y="77"/>
                </a:lnTo>
                <a:lnTo>
                  <a:pt x="254" y="84"/>
                </a:lnTo>
                <a:lnTo>
                  <a:pt x="259" y="90"/>
                </a:lnTo>
                <a:lnTo>
                  <a:pt x="264" y="95"/>
                </a:lnTo>
                <a:lnTo>
                  <a:pt x="286" y="115"/>
                </a:lnTo>
                <a:lnTo>
                  <a:pt x="305" y="129"/>
                </a:lnTo>
                <a:lnTo>
                  <a:pt x="305" y="210"/>
                </a:lnTo>
                <a:lnTo>
                  <a:pt x="352" y="234"/>
                </a:lnTo>
                <a:lnTo>
                  <a:pt x="353" y="245"/>
                </a:lnTo>
                <a:lnTo>
                  <a:pt x="359" y="257"/>
                </a:lnTo>
                <a:lnTo>
                  <a:pt x="363" y="267"/>
                </a:lnTo>
                <a:lnTo>
                  <a:pt x="365" y="271"/>
                </a:lnTo>
                <a:lnTo>
                  <a:pt x="353" y="267"/>
                </a:lnTo>
                <a:lnTo>
                  <a:pt x="321" y="259"/>
                </a:lnTo>
                <a:lnTo>
                  <a:pt x="300" y="255"/>
                </a:lnTo>
                <a:lnTo>
                  <a:pt x="275" y="252"/>
                </a:lnTo>
                <a:lnTo>
                  <a:pt x="262" y="251"/>
                </a:lnTo>
                <a:lnTo>
                  <a:pt x="248" y="251"/>
                </a:lnTo>
                <a:lnTo>
                  <a:pt x="233" y="251"/>
                </a:lnTo>
                <a:lnTo>
                  <a:pt x="219" y="252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82" name="Freeform 480"/>
          <p:cNvSpPr>
            <a:spLocks/>
          </p:cNvSpPr>
          <p:nvPr userDrawn="1">
            <p:custDataLst>
              <p:tags r:id="rId317"/>
            </p:custDataLst>
          </p:nvPr>
        </p:nvSpPr>
        <p:spPr bwMode="auto">
          <a:xfrm>
            <a:off x="4821247" y="2959900"/>
            <a:ext cx="269875" cy="251222"/>
          </a:xfrm>
          <a:custGeom>
            <a:avLst/>
            <a:gdLst>
              <a:gd name="T0" fmla="*/ 27309270 w 624"/>
              <a:gd name="T1" fmla="*/ 3287348 h 640"/>
              <a:gd name="T2" fmla="*/ 44704963 w 624"/>
              <a:gd name="T3" fmla="*/ 3287348 h 640"/>
              <a:gd name="T4" fmla="*/ 53683060 w 624"/>
              <a:gd name="T5" fmla="*/ 1369685 h 640"/>
              <a:gd name="T6" fmla="*/ 60977913 w 624"/>
              <a:gd name="T7" fmla="*/ 6026193 h 640"/>
              <a:gd name="T8" fmla="*/ 74071603 w 624"/>
              <a:gd name="T9" fmla="*/ 18079106 h 640"/>
              <a:gd name="T10" fmla="*/ 86978024 w 624"/>
              <a:gd name="T11" fmla="*/ 30405740 h 640"/>
              <a:gd name="T12" fmla="*/ 87726235 w 624"/>
              <a:gd name="T13" fmla="*/ 35884484 h 640"/>
              <a:gd name="T14" fmla="*/ 89783598 w 624"/>
              <a:gd name="T15" fmla="*/ 41910676 h 640"/>
              <a:gd name="T16" fmla="*/ 92963278 w 624"/>
              <a:gd name="T17" fmla="*/ 46567706 h 640"/>
              <a:gd name="T18" fmla="*/ 97078438 w 624"/>
              <a:gd name="T19" fmla="*/ 50128257 h 640"/>
              <a:gd name="T20" fmla="*/ 101567703 w 624"/>
              <a:gd name="T21" fmla="*/ 52045919 h 640"/>
              <a:gd name="T22" fmla="*/ 103625499 w 624"/>
              <a:gd name="T23" fmla="*/ 53415604 h 640"/>
              <a:gd name="T24" fmla="*/ 105682863 w 624"/>
              <a:gd name="T25" fmla="*/ 56154972 h 640"/>
              <a:gd name="T26" fmla="*/ 104934652 w 624"/>
              <a:gd name="T27" fmla="*/ 62181163 h 640"/>
              <a:gd name="T28" fmla="*/ 100445387 w 624"/>
              <a:gd name="T29" fmla="*/ 69029600 h 640"/>
              <a:gd name="T30" fmla="*/ 98200754 w 624"/>
              <a:gd name="T31" fmla="*/ 74234086 h 640"/>
              <a:gd name="T32" fmla="*/ 99697176 w 624"/>
              <a:gd name="T33" fmla="*/ 78616866 h 640"/>
              <a:gd name="T34" fmla="*/ 102315914 w 624"/>
              <a:gd name="T35" fmla="*/ 81904212 h 640"/>
              <a:gd name="T36" fmla="*/ 103251394 w 624"/>
              <a:gd name="T37" fmla="*/ 116418472 h 640"/>
              <a:gd name="T38" fmla="*/ 102877288 w 624"/>
              <a:gd name="T39" fmla="*/ 120253797 h 640"/>
              <a:gd name="T40" fmla="*/ 104373710 w 624"/>
              <a:gd name="T41" fmla="*/ 126553716 h 640"/>
              <a:gd name="T42" fmla="*/ 104373710 w 624"/>
              <a:gd name="T43" fmla="*/ 133950115 h 640"/>
              <a:gd name="T44" fmla="*/ 104934652 w 624"/>
              <a:gd name="T45" fmla="*/ 141072296 h 640"/>
              <a:gd name="T46" fmla="*/ 111107175 w 624"/>
              <a:gd name="T47" fmla="*/ 150385311 h 640"/>
              <a:gd name="T48" fmla="*/ 115222362 w 624"/>
              <a:gd name="T49" fmla="*/ 158603415 h 640"/>
              <a:gd name="T50" fmla="*/ 107553390 w 624"/>
              <a:gd name="T51" fmla="*/ 164355879 h 640"/>
              <a:gd name="T52" fmla="*/ 91841395 w 624"/>
              <a:gd name="T53" fmla="*/ 172847711 h 640"/>
              <a:gd name="T54" fmla="*/ 82862864 w 624"/>
              <a:gd name="T55" fmla="*/ 174764850 h 640"/>
              <a:gd name="T56" fmla="*/ 73323392 w 624"/>
              <a:gd name="T57" fmla="*/ 172025482 h 640"/>
              <a:gd name="T58" fmla="*/ 63409815 w 624"/>
              <a:gd name="T59" fmla="*/ 173395166 h 640"/>
              <a:gd name="T60" fmla="*/ 57237292 w 624"/>
              <a:gd name="T61" fmla="*/ 172025482 h 640"/>
              <a:gd name="T62" fmla="*/ 55927693 w 624"/>
              <a:gd name="T63" fmla="*/ 168190681 h 640"/>
              <a:gd name="T64" fmla="*/ 54992646 w 624"/>
              <a:gd name="T65" fmla="*/ 156960004 h 640"/>
              <a:gd name="T66" fmla="*/ 53870329 w 624"/>
              <a:gd name="T67" fmla="*/ 144907097 h 640"/>
              <a:gd name="T68" fmla="*/ 47323268 w 624"/>
              <a:gd name="T69" fmla="*/ 141619751 h 640"/>
              <a:gd name="T70" fmla="*/ 34604116 w 624"/>
              <a:gd name="T71" fmla="*/ 137511222 h 640"/>
              <a:gd name="T72" fmla="*/ 16834318 w 624"/>
              <a:gd name="T73" fmla="*/ 125732010 h 640"/>
              <a:gd name="T74" fmla="*/ 12719155 w 624"/>
              <a:gd name="T75" fmla="*/ 122170936 h 640"/>
              <a:gd name="T76" fmla="*/ 12345050 w 624"/>
              <a:gd name="T77" fmla="*/ 117240178 h 640"/>
              <a:gd name="T78" fmla="*/ 12158213 w 624"/>
              <a:gd name="T79" fmla="*/ 110118554 h 640"/>
              <a:gd name="T80" fmla="*/ 9913581 w 624"/>
              <a:gd name="T81" fmla="*/ 103270133 h 640"/>
              <a:gd name="T82" fmla="*/ 7668948 w 624"/>
              <a:gd name="T83" fmla="*/ 97791920 h 640"/>
              <a:gd name="T84" fmla="*/ 5050209 w 624"/>
              <a:gd name="T85" fmla="*/ 95052552 h 640"/>
              <a:gd name="T86" fmla="*/ 2244633 w 624"/>
              <a:gd name="T87" fmla="*/ 90943499 h 640"/>
              <a:gd name="T88" fmla="*/ 935048 w 624"/>
              <a:gd name="T89" fmla="*/ 84369330 h 640"/>
              <a:gd name="T90" fmla="*/ 0 w 624"/>
              <a:gd name="T91" fmla="*/ 71768445 h 640"/>
              <a:gd name="T92" fmla="*/ 0 w 624"/>
              <a:gd name="T93" fmla="*/ 64098826 h 640"/>
              <a:gd name="T94" fmla="*/ 1870528 w 624"/>
              <a:gd name="T95" fmla="*/ 58072111 h 640"/>
              <a:gd name="T96" fmla="*/ 7108006 w 624"/>
              <a:gd name="T97" fmla="*/ 53415604 h 640"/>
              <a:gd name="T98" fmla="*/ 11410003 w 624"/>
              <a:gd name="T99" fmla="*/ 47389412 h 640"/>
              <a:gd name="T100" fmla="*/ 14402849 w 624"/>
              <a:gd name="T101" fmla="*/ 21092202 h 640"/>
              <a:gd name="T102" fmla="*/ 15712002 w 624"/>
              <a:gd name="T103" fmla="*/ 11778659 h 640"/>
              <a:gd name="T104" fmla="*/ 15337897 w 624"/>
              <a:gd name="T105" fmla="*/ 2191391 h 6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624"/>
              <a:gd name="T160" fmla="*/ 0 h 640"/>
              <a:gd name="T161" fmla="*/ 624 w 624"/>
              <a:gd name="T162" fmla="*/ 640 h 640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624" h="640">
                <a:moveTo>
                  <a:pt x="79" y="0"/>
                </a:moveTo>
                <a:lnTo>
                  <a:pt x="146" y="0"/>
                </a:lnTo>
                <a:lnTo>
                  <a:pt x="146" y="12"/>
                </a:lnTo>
                <a:lnTo>
                  <a:pt x="173" y="43"/>
                </a:lnTo>
                <a:lnTo>
                  <a:pt x="232" y="43"/>
                </a:lnTo>
                <a:lnTo>
                  <a:pt x="239" y="12"/>
                </a:lnTo>
                <a:lnTo>
                  <a:pt x="259" y="0"/>
                </a:lnTo>
                <a:lnTo>
                  <a:pt x="273" y="0"/>
                </a:lnTo>
                <a:lnTo>
                  <a:pt x="287" y="5"/>
                </a:lnTo>
                <a:lnTo>
                  <a:pt x="301" y="10"/>
                </a:lnTo>
                <a:lnTo>
                  <a:pt x="314" y="16"/>
                </a:lnTo>
                <a:lnTo>
                  <a:pt x="326" y="22"/>
                </a:lnTo>
                <a:lnTo>
                  <a:pt x="351" y="36"/>
                </a:lnTo>
                <a:lnTo>
                  <a:pt x="374" y="51"/>
                </a:lnTo>
                <a:lnTo>
                  <a:pt x="396" y="66"/>
                </a:lnTo>
                <a:lnTo>
                  <a:pt x="418" y="81"/>
                </a:lnTo>
                <a:lnTo>
                  <a:pt x="441" y="97"/>
                </a:lnTo>
                <a:lnTo>
                  <a:pt x="465" y="111"/>
                </a:lnTo>
                <a:lnTo>
                  <a:pt x="465" y="118"/>
                </a:lnTo>
                <a:lnTo>
                  <a:pt x="467" y="124"/>
                </a:lnTo>
                <a:lnTo>
                  <a:pt x="469" y="131"/>
                </a:lnTo>
                <a:lnTo>
                  <a:pt x="471" y="138"/>
                </a:lnTo>
                <a:lnTo>
                  <a:pt x="476" y="146"/>
                </a:lnTo>
                <a:lnTo>
                  <a:pt x="480" y="153"/>
                </a:lnTo>
                <a:lnTo>
                  <a:pt x="485" y="159"/>
                </a:lnTo>
                <a:lnTo>
                  <a:pt x="491" y="165"/>
                </a:lnTo>
                <a:lnTo>
                  <a:pt x="497" y="170"/>
                </a:lnTo>
                <a:lnTo>
                  <a:pt x="503" y="175"/>
                </a:lnTo>
                <a:lnTo>
                  <a:pt x="511" y="179"/>
                </a:lnTo>
                <a:lnTo>
                  <a:pt x="519" y="183"/>
                </a:lnTo>
                <a:lnTo>
                  <a:pt x="526" y="186"/>
                </a:lnTo>
                <a:lnTo>
                  <a:pt x="534" y="188"/>
                </a:lnTo>
                <a:lnTo>
                  <a:pt x="543" y="190"/>
                </a:lnTo>
                <a:lnTo>
                  <a:pt x="552" y="190"/>
                </a:lnTo>
                <a:lnTo>
                  <a:pt x="552" y="193"/>
                </a:lnTo>
                <a:lnTo>
                  <a:pt x="554" y="195"/>
                </a:lnTo>
                <a:lnTo>
                  <a:pt x="556" y="198"/>
                </a:lnTo>
                <a:lnTo>
                  <a:pt x="559" y="200"/>
                </a:lnTo>
                <a:lnTo>
                  <a:pt x="565" y="205"/>
                </a:lnTo>
                <a:lnTo>
                  <a:pt x="571" y="209"/>
                </a:lnTo>
                <a:lnTo>
                  <a:pt x="567" y="219"/>
                </a:lnTo>
                <a:lnTo>
                  <a:pt x="561" y="227"/>
                </a:lnTo>
                <a:lnTo>
                  <a:pt x="554" y="236"/>
                </a:lnTo>
                <a:lnTo>
                  <a:pt x="545" y="244"/>
                </a:lnTo>
                <a:lnTo>
                  <a:pt x="537" y="252"/>
                </a:lnTo>
                <a:lnTo>
                  <a:pt x="531" y="260"/>
                </a:lnTo>
                <a:lnTo>
                  <a:pt x="526" y="266"/>
                </a:lnTo>
                <a:lnTo>
                  <a:pt x="525" y="271"/>
                </a:lnTo>
                <a:lnTo>
                  <a:pt x="526" y="277"/>
                </a:lnTo>
                <a:lnTo>
                  <a:pt x="528" y="283"/>
                </a:lnTo>
                <a:lnTo>
                  <a:pt x="533" y="287"/>
                </a:lnTo>
                <a:lnTo>
                  <a:pt x="538" y="291"/>
                </a:lnTo>
                <a:lnTo>
                  <a:pt x="543" y="295"/>
                </a:lnTo>
                <a:lnTo>
                  <a:pt x="547" y="299"/>
                </a:lnTo>
                <a:lnTo>
                  <a:pt x="550" y="303"/>
                </a:lnTo>
                <a:lnTo>
                  <a:pt x="552" y="307"/>
                </a:lnTo>
                <a:lnTo>
                  <a:pt x="552" y="425"/>
                </a:lnTo>
                <a:lnTo>
                  <a:pt x="549" y="430"/>
                </a:lnTo>
                <a:lnTo>
                  <a:pt x="549" y="434"/>
                </a:lnTo>
                <a:lnTo>
                  <a:pt x="550" y="439"/>
                </a:lnTo>
                <a:lnTo>
                  <a:pt x="552" y="443"/>
                </a:lnTo>
                <a:lnTo>
                  <a:pt x="556" y="452"/>
                </a:lnTo>
                <a:lnTo>
                  <a:pt x="558" y="462"/>
                </a:lnTo>
                <a:lnTo>
                  <a:pt x="558" y="475"/>
                </a:lnTo>
                <a:lnTo>
                  <a:pt x="558" y="483"/>
                </a:lnTo>
                <a:lnTo>
                  <a:pt x="558" y="489"/>
                </a:lnTo>
                <a:lnTo>
                  <a:pt x="558" y="499"/>
                </a:lnTo>
                <a:lnTo>
                  <a:pt x="559" y="507"/>
                </a:lnTo>
                <a:lnTo>
                  <a:pt x="561" y="515"/>
                </a:lnTo>
                <a:lnTo>
                  <a:pt x="567" y="523"/>
                </a:lnTo>
                <a:lnTo>
                  <a:pt x="574" y="532"/>
                </a:lnTo>
                <a:lnTo>
                  <a:pt x="594" y="549"/>
                </a:lnTo>
                <a:lnTo>
                  <a:pt x="624" y="572"/>
                </a:lnTo>
                <a:lnTo>
                  <a:pt x="622" y="575"/>
                </a:lnTo>
                <a:lnTo>
                  <a:pt x="616" y="579"/>
                </a:lnTo>
                <a:lnTo>
                  <a:pt x="609" y="583"/>
                </a:lnTo>
                <a:lnTo>
                  <a:pt x="599" y="589"/>
                </a:lnTo>
                <a:lnTo>
                  <a:pt x="575" y="600"/>
                </a:lnTo>
                <a:lnTo>
                  <a:pt x="546" y="611"/>
                </a:lnTo>
                <a:lnTo>
                  <a:pt x="518" y="622"/>
                </a:lnTo>
                <a:lnTo>
                  <a:pt x="491" y="631"/>
                </a:lnTo>
                <a:lnTo>
                  <a:pt x="470" y="638"/>
                </a:lnTo>
                <a:lnTo>
                  <a:pt x="458" y="640"/>
                </a:lnTo>
                <a:lnTo>
                  <a:pt x="443" y="638"/>
                </a:lnTo>
                <a:lnTo>
                  <a:pt x="423" y="634"/>
                </a:lnTo>
                <a:lnTo>
                  <a:pt x="403" y="630"/>
                </a:lnTo>
                <a:lnTo>
                  <a:pt x="392" y="628"/>
                </a:lnTo>
                <a:lnTo>
                  <a:pt x="369" y="630"/>
                </a:lnTo>
                <a:lnTo>
                  <a:pt x="348" y="632"/>
                </a:lnTo>
                <a:lnTo>
                  <a:pt x="339" y="633"/>
                </a:lnTo>
                <a:lnTo>
                  <a:pt x="329" y="633"/>
                </a:lnTo>
                <a:lnTo>
                  <a:pt x="318" y="631"/>
                </a:lnTo>
                <a:lnTo>
                  <a:pt x="306" y="628"/>
                </a:lnTo>
                <a:lnTo>
                  <a:pt x="303" y="625"/>
                </a:lnTo>
                <a:lnTo>
                  <a:pt x="301" y="620"/>
                </a:lnTo>
                <a:lnTo>
                  <a:pt x="299" y="614"/>
                </a:lnTo>
                <a:lnTo>
                  <a:pt x="298" y="608"/>
                </a:lnTo>
                <a:lnTo>
                  <a:pt x="295" y="592"/>
                </a:lnTo>
                <a:lnTo>
                  <a:pt x="294" y="573"/>
                </a:lnTo>
                <a:lnTo>
                  <a:pt x="291" y="556"/>
                </a:lnTo>
                <a:lnTo>
                  <a:pt x="289" y="541"/>
                </a:lnTo>
                <a:lnTo>
                  <a:pt x="288" y="529"/>
                </a:lnTo>
                <a:lnTo>
                  <a:pt x="286" y="523"/>
                </a:lnTo>
                <a:lnTo>
                  <a:pt x="270" y="519"/>
                </a:lnTo>
                <a:lnTo>
                  <a:pt x="253" y="517"/>
                </a:lnTo>
                <a:lnTo>
                  <a:pt x="232" y="515"/>
                </a:lnTo>
                <a:lnTo>
                  <a:pt x="206" y="511"/>
                </a:lnTo>
                <a:lnTo>
                  <a:pt x="185" y="502"/>
                </a:lnTo>
                <a:lnTo>
                  <a:pt x="139" y="482"/>
                </a:lnTo>
                <a:lnTo>
                  <a:pt x="113" y="470"/>
                </a:lnTo>
                <a:lnTo>
                  <a:pt x="90" y="459"/>
                </a:lnTo>
                <a:lnTo>
                  <a:pt x="82" y="454"/>
                </a:lnTo>
                <a:lnTo>
                  <a:pt x="74" y="450"/>
                </a:lnTo>
                <a:lnTo>
                  <a:pt x="68" y="446"/>
                </a:lnTo>
                <a:lnTo>
                  <a:pt x="66" y="443"/>
                </a:lnTo>
                <a:lnTo>
                  <a:pt x="66" y="437"/>
                </a:lnTo>
                <a:lnTo>
                  <a:pt x="66" y="428"/>
                </a:lnTo>
                <a:lnTo>
                  <a:pt x="66" y="419"/>
                </a:lnTo>
                <a:lnTo>
                  <a:pt x="66" y="412"/>
                </a:lnTo>
                <a:lnTo>
                  <a:pt x="65" y="402"/>
                </a:lnTo>
                <a:lnTo>
                  <a:pt x="62" y="392"/>
                </a:lnTo>
                <a:lnTo>
                  <a:pt x="57" y="384"/>
                </a:lnTo>
                <a:lnTo>
                  <a:pt x="53" y="377"/>
                </a:lnTo>
                <a:lnTo>
                  <a:pt x="48" y="371"/>
                </a:lnTo>
                <a:lnTo>
                  <a:pt x="44" y="363"/>
                </a:lnTo>
                <a:lnTo>
                  <a:pt x="41" y="357"/>
                </a:lnTo>
                <a:lnTo>
                  <a:pt x="40" y="351"/>
                </a:lnTo>
                <a:lnTo>
                  <a:pt x="32" y="350"/>
                </a:lnTo>
                <a:lnTo>
                  <a:pt x="27" y="347"/>
                </a:lnTo>
                <a:lnTo>
                  <a:pt x="21" y="343"/>
                </a:lnTo>
                <a:lnTo>
                  <a:pt x="17" y="338"/>
                </a:lnTo>
                <a:lnTo>
                  <a:pt x="12" y="332"/>
                </a:lnTo>
                <a:lnTo>
                  <a:pt x="9" y="325"/>
                </a:lnTo>
                <a:lnTo>
                  <a:pt x="7" y="317"/>
                </a:lnTo>
                <a:lnTo>
                  <a:pt x="5" y="308"/>
                </a:lnTo>
                <a:lnTo>
                  <a:pt x="1" y="291"/>
                </a:lnTo>
                <a:lnTo>
                  <a:pt x="0" y="276"/>
                </a:lnTo>
                <a:lnTo>
                  <a:pt x="0" y="262"/>
                </a:lnTo>
                <a:lnTo>
                  <a:pt x="0" y="252"/>
                </a:lnTo>
                <a:lnTo>
                  <a:pt x="0" y="243"/>
                </a:lnTo>
                <a:lnTo>
                  <a:pt x="0" y="234"/>
                </a:lnTo>
                <a:lnTo>
                  <a:pt x="0" y="225"/>
                </a:lnTo>
                <a:lnTo>
                  <a:pt x="0" y="215"/>
                </a:lnTo>
                <a:lnTo>
                  <a:pt x="10" y="212"/>
                </a:lnTo>
                <a:lnTo>
                  <a:pt x="20" y="208"/>
                </a:lnTo>
                <a:lnTo>
                  <a:pt x="29" y="202"/>
                </a:lnTo>
                <a:lnTo>
                  <a:pt x="38" y="195"/>
                </a:lnTo>
                <a:lnTo>
                  <a:pt x="46" y="188"/>
                </a:lnTo>
                <a:lnTo>
                  <a:pt x="54" y="180"/>
                </a:lnTo>
                <a:lnTo>
                  <a:pt x="61" y="173"/>
                </a:lnTo>
                <a:lnTo>
                  <a:pt x="66" y="166"/>
                </a:lnTo>
                <a:lnTo>
                  <a:pt x="73" y="85"/>
                </a:lnTo>
                <a:lnTo>
                  <a:pt x="77" y="77"/>
                </a:lnTo>
                <a:lnTo>
                  <a:pt x="81" y="67"/>
                </a:lnTo>
                <a:lnTo>
                  <a:pt x="83" y="55"/>
                </a:lnTo>
                <a:lnTo>
                  <a:pt x="84" y="43"/>
                </a:lnTo>
                <a:lnTo>
                  <a:pt x="84" y="30"/>
                </a:lnTo>
                <a:lnTo>
                  <a:pt x="83" y="18"/>
                </a:lnTo>
                <a:lnTo>
                  <a:pt x="82" y="8"/>
                </a:lnTo>
                <a:lnTo>
                  <a:pt x="79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83" name="Freeform 481"/>
          <p:cNvSpPr>
            <a:spLocks/>
          </p:cNvSpPr>
          <p:nvPr userDrawn="1">
            <p:custDataLst>
              <p:tags r:id="rId318"/>
            </p:custDataLst>
          </p:nvPr>
        </p:nvSpPr>
        <p:spPr bwMode="auto">
          <a:xfrm>
            <a:off x="7346951" y="1845481"/>
            <a:ext cx="19050" cy="42863"/>
          </a:xfrm>
          <a:custGeom>
            <a:avLst/>
            <a:gdLst>
              <a:gd name="T0" fmla="*/ 1744907 w 52"/>
              <a:gd name="T1" fmla="*/ 65322448 h 50"/>
              <a:gd name="T2" fmla="*/ 0 w 52"/>
              <a:gd name="T3" fmla="*/ 41806373 h 50"/>
              <a:gd name="T4" fmla="*/ 268532 w 52"/>
              <a:gd name="T5" fmla="*/ 32661224 h 50"/>
              <a:gd name="T6" fmla="*/ 805229 w 52"/>
              <a:gd name="T7" fmla="*/ 23516084 h 50"/>
              <a:gd name="T8" fmla="*/ 1610458 w 52"/>
              <a:gd name="T9" fmla="*/ 16983836 h 50"/>
              <a:gd name="T10" fmla="*/ 2415687 w 52"/>
              <a:gd name="T11" fmla="*/ 11758042 h 50"/>
              <a:gd name="T12" fmla="*/ 3489448 w 52"/>
              <a:gd name="T13" fmla="*/ 6532245 h 50"/>
              <a:gd name="T14" fmla="*/ 4563208 w 52"/>
              <a:gd name="T15" fmla="*/ 3919347 h 50"/>
              <a:gd name="T16" fmla="*/ 5771051 w 52"/>
              <a:gd name="T17" fmla="*/ 1306449 h 50"/>
              <a:gd name="T18" fmla="*/ 6978895 w 52"/>
              <a:gd name="T19" fmla="*/ 0 h 50"/>
              <a:gd name="T20" fmla="*/ 5368436 w 52"/>
              <a:gd name="T21" fmla="*/ 14370939 h 50"/>
              <a:gd name="T22" fmla="*/ 3623530 w 52"/>
              <a:gd name="T23" fmla="*/ 28741878 h 50"/>
              <a:gd name="T24" fmla="*/ 2952750 w 52"/>
              <a:gd name="T25" fmla="*/ 39193476 h 50"/>
              <a:gd name="T26" fmla="*/ 2281604 w 52"/>
              <a:gd name="T27" fmla="*/ 47032168 h 50"/>
              <a:gd name="T28" fmla="*/ 1878990 w 52"/>
              <a:gd name="T29" fmla="*/ 56177308 h 50"/>
              <a:gd name="T30" fmla="*/ 1744907 w 52"/>
              <a:gd name="T31" fmla="*/ 65322448 h 5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52"/>
              <a:gd name="T49" fmla="*/ 0 h 50"/>
              <a:gd name="T50" fmla="*/ 52 w 52"/>
              <a:gd name="T51" fmla="*/ 50 h 50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52" h="50">
                <a:moveTo>
                  <a:pt x="13" y="50"/>
                </a:moveTo>
                <a:lnTo>
                  <a:pt x="0" y="32"/>
                </a:lnTo>
                <a:lnTo>
                  <a:pt x="2" y="25"/>
                </a:lnTo>
                <a:lnTo>
                  <a:pt x="6" y="18"/>
                </a:lnTo>
                <a:lnTo>
                  <a:pt x="12" y="13"/>
                </a:lnTo>
                <a:lnTo>
                  <a:pt x="18" y="9"/>
                </a:lnTo>
                <a:lnTo>
                  <a:pt x="26" y="5"/>
                </a:lnTo>
                <a:lnTo>
                  <a:pt x="34" y="3"/>
                </a:lnTo>
                <a:lnTo>
                  <a:pt x="43" y="1"/>
                </a:lnTo>
                <a:lnTo>
                  <a:pt x="52" y="0"/>
                </a:lnTo>
                <a:lnTo>
                  <a:pt x="40" y="11"/>
                </a:lnTo>
                <a:lnTo>
                  <a:pt x="27" y="22"/>
                </a:lnTo>
                <a:lnTo>
                  <a:pt x="22" y="30"/>
                </a:lnTo>
                <a:lnTo>
                  <a:pt x="17" y="36"/>
                </a:lnTo>
                <a:lnTo>
                  <a:pt x="14" y="43"/>
                </a:lnTo>
                <a:lnTo>
                  <a:pt x="13" y="5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84" name="Freeform 482"/>
          <p:cNvSpPr>
            <a:spLocks/>
          </p:cNvSpPr>
          <p:nvPr userDrawn="1">
            <p:custDataLst>
              <p:tags r:id="rId319"/>
            </p:custDataLst>
          </p:nvPr>
        </p:nvSpPr>
        <p:spPr bwMode="auto">
          <a:xfrm>
            <a:off x="7205662" y="1846661"/>
            <a:ext cx="141288" cy="94059"/>
          </a:xfrm>
          <a:custGeom>
            <a:avLst/>
            <a:gdLst>
              <a:gd name="T0" fmla="*/ 14815814 w 320"/>
              <a:gd name="T1" fmla="*/ 66352595 h 234"/>
              <a:gd name="T2" fmla="*/ 11891592 w 320"/>
              <a:gd name="T3" fmla="*/ 64916252 h 234"/>
              <a:gd name="T4" fmla="*/ 12866479 w 320"/>
              <a:gd name="T5" fmla="*/ 63767715 h 234"/>
              <a:gd name="T6" fmla="*/ 15010527 w 320"/>
              <a:gd name="T7" fmla="*/ 62331372 h 234"/>
              <a:gd name="T8" fmla="*/ 12476612 w 320"/>
              <a:gd name="T9" fmla="*/ 58597419 h 234"/>
              <a:gd name="T10" fmla="*/ 8382794 w 320"/>
              <a:gd name="T11" fmla="*/ 54288392 h 234"/>
              <a:gd name="T12" fmla="*/ 7018039 w 320"/>
              <a:gd name="T13" fmla="*/ 51416244 h 234"/>
              <a:gd name="T14" fmla="*/ 6628172 w 320"/>
              <a:gd name="T15" fmla="*/ 49118096 h 234"/>
              <a:gd name="T16" fmla="*/ 6628172 w 320"/>
              <a:gd name="T17" fmla="*/ 47107753 h 234"/>
              <a:gd name="T18" fmla="*/ 7018039 w 320"/>
              <a:gd name="T19" fmla="*/ 45096874 h 234"/>
              <a:gd name="T20" fmla="*/ 8382794 w 320"/>
              <a:gd name="T21" fmla="*/ 42798726 h 234"/>
              <a:gd name="T22" fmla="*/ 10916705 w 320"/>
              <a:gd name="T23" fmla="*/ 40501115 h 234"/>
              <a:gd name="T24" fmla="*/ 14230790 w 320"/>
              <a:gd name="T25" fmla="*/ 39352041 h 234"/>
              <a:gd name="T26" fmla="*/ 15595547 w 320"/>
              <a:gd name="T27" fmla="*/ 36192624 h 234"/>
              <a:gd name="T28" fmla="*/ 13061191 w 320"/>
              <a:gd name="T29" fmla="*/ 31883589 h 234"/>
              <a:gd name="T30" fmla="*/ 11891592 w 320"/>
              <a:gd name="T31" fmla="*/ 29298709 h 234"/>
              <a:gd name="T32" fmla="*/ 11696438 w 320"/>
              <a:gd name="T33" fmla="*/ 24702950 h 234"/>
              <a:gd name="T34" fmla="*/ 10721992 w 320"/>
              <a:gd name="T35" fmla="*/ 20106655 h 234"/>
              <a:gd name="T36" fmla="*/ 8967373 w 320"/>
              <a:gd name="T37" fmla="*/ 13213280 h 234"/>
              <a:gd name="T38" fmla="*/ 6433019 w 320"/>
              <a:gd name="T39" fmla="*/ 8904254 h 234"/>
              <a:gd name="T40" fmla="*/ 3899108 w 320"/>
              <a:gd name="T41" fmla="*/ 7181177 h 234"/>
              <a:gd name="T42" fmla="*/ 1364754 w 320"/>
              <a:gd name="T43" fmla="*/ 2872149 h 234"/>
              <a:gd name="T44" fmla="*/ 1754620 w 320"/>
              <a:gd name="T45" fmla="*/ 0 h 234"/>
              <a:gd name="T46" fmla="*/ 4678840 w 320"/>
              <a:gd name="T47" fmla="*/ 0 h 234"/>
              <a:gd name="T48" fmla="*/ 7407907 w 320"/>
              <a:gd name="T49" fmla="*/ 861806 h 234"/>
              <a:gd name="T50" fmla="*/ 10916705 w 320"/>
              <a:gd name="T51" fmla="*/ 4595761 h 234"/>
              <a:gd name="T52" fmla="*/ 15205681 w 320"/>
              <a:gd name="T53" fmla="*/ 10053328 h 234"/>
              <a:gd name="T54" fmla="*/ 18714478 w 320"/>
              <a:gd name="T55" fmla="*/ 13787817 h 234"/>
              <a:gd name="T56" fmla="*/ 23198163 w 320"/>
              <a:gd name="T57" fmla="*/ 16659966 h 234"/>
              <a:gd name="T58" fmla="*/ 29631628 w 320"/>
              <a:gd name="T59" fmla="*/ 20106655 h 234"/>
              <a:gd name="T60" fmla="*/ 35284912 w 320"/>
              <a:gd name="T61" fmla="*/ 22692071 h 234"/>
              <a:gd name="T62" fmla="*/ 41717929 w 320"/>
              <a:gd name="T63" fmla="*/ 24415682 h 234"/>
              <a:gd name="T64" fmla="*/ 46006901 w 320"/>
              <a:gd name="T65" fmla="*/ 22117534 h 234"/>
              <a:gd name="T66" fmla="*/ 50100719 w 320"/>
              <a:gd name="T67" fmla="*/ 23841145 h 234"/>
              <a:gd name="T68" fmla="*/ 55364137 w 320"/>
              <a:gd name="T69" fmla="*/ 30735051 h 234"/>
              <a:gd name="T70" fmla="*/ 59457969 w 320"/>
              <a:gd name="T71" fmla="*/ 34181737 h 234"/>
              <a:gd name="T72" fmla="*/ 57898503 w 320"/>
              <a:gd name="T73" fmla="*/ 38202967 h 234"/>
              <a:gd name="T74" fmla="*/ 52245206 w 320"/>
              <a:gd name="T75" fmla="*/ 41362920 h 234"/>
              <a:gd name="T76" fmla="*/ 48541254 w 320"/>
              <a:gd name="T77" fmla="*/ 42511458 h 234"/>
              <a:gd name="T78" fmla="*/ 46201614 w 320"/>
              <a:gd name="T79" fmla="*/ 45671411 h 234"/>
              <a:gd name="T80" fmla="*/ 45227168 w 320"/>
              <a:gd name="T81" fmla="*/ 50554438 h 234"/>
              <a:gd name="T82" fmla="*/ 45032014 w 320"/>
              <a:gd name="T83" fmla="*/ 53713855 h 234"/>
              <a:gd name="T84" fmla="*/ 43277836 w 320"/>
              <a:gd name="T85" fmla="*/ 55150197 h 234"/>
              <a:gd name="T86" fmla="*/ 39768597 w 320"/>
              <a:gd name="T87" fmla="*/ 54288392 h 234"/>
              <a:gd name="T88" fmla="*/ 36259799 w 320"/>
              <a:gd name="T89" fmla="*/ 51990780 h 234"/>
              <a:gd name="T90" fmla="*/ 32750560 w 320"/>
              <a:gd name="T91" fmla="*/ 48830828 h 234"/>
              <a:gd name="T92" fmla="*/ 30216207 w 320"/>
              <a:gd name="T93" fmla="*/ 47107753 h 234"/>
              <a:gd name="T94" fmla="*/ 28266868 w 320"/>
              <a:gd name="T95" fmla="*/ 46245948 h 234"/>
              <a:gd name="T96" fmla="*/ 25537803 w 320"/>
              <a:gd name="T97" fmla="*/ 46533216 h 234"/>
              <a:gd name="T98" fmla="*/ 22223718 w 320"/>
              <a:gd name="T99" fmla="*/ 47969022 h 234"/>
              <a:gd name="T100" fmla="*/ 19494211 w 320"/>
              <a:gd name="T101" fmla="*/ 49692633 h 234"/>
              <a:gd name="T102" fmla="*/ 16960300 w 320"/>
              <a:gd name="T103" fmla="*/ 51128975 h 234"/>
              <a:gd name="T104" fmla="*/ 16570434 w 320"/>
              <a:gd name="T105" fmla="*/ 52565317 h 234"/>
              <a:gd name="T106" fmla="*/ 18714478 w 320"/>
              <a:gd name="T107" fmla="*/ 54862929 h 234"/>
              <a:gd name="T108" fmla="*/ 22613584 w 320"/>
              <a:gd name="T109" fmla="*/ 57448345 h 234"/>
              <a:gd name="T110" fmla="*/ 24562916 w 320"/>
              <a:gd name="T111" fmla="*/ 60895030 h 234"/>
              <a:gd name="T112" fmla="*/ 22028564 w 320"/>
              <a:gd name="T113" fmla="*/ 64342251 h 234"/>
              <a:gd name="T114" fmla="*/ 19884519 w 320"/>
              <a:gd name="T115" fmla="*/ 66352595 h 234"/>
              <a:gd name="T116" fmla="*/ 17740033 w 320"/>
              <a:gd name="T117" fmla="*/ 67214400 h 23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320"/>
              <a:gd name="T178" fmla="*/ 0 h 234"/>
              <a:gd name="T179" fmla="*/ 320 w 320"/>
              <a:gd name="T180" fmla="*/ 234 h 234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320" h="234">
                <a:moveTo>
                  <a:pt x="87" y="234"/>
                </a:moveTo>
                <a:lnTo>
                  <a:pt x="76" y="231"/>
                </a:lnTo>
                <a:lnTo>
                  <a:pt x="61" y="228"/>
                </a:lnTo>
                <a:lnTo>
                  <a:pt x="61" y="226"/>
                </a:lnTo>
                <a:lnTo>
                  <a:pt x="63" y="224"/>
                </a:lnTo>
                <a:lnTo>
                  <a:pt x="66" y="222"/>
                </a:lnTo>
                <a:lnTo>
                  <a:pt x="70" y="220"/>
                </a:lnTo>
                <a:lnTo>
                  <a:pt x="77" y="217"/>
                </a:lnTo>
                <a:lnTo>
                  <a:pt x="80" y="216"/>
                </a:lnTo>
                <a:lnTo>
                  <a:pt x="64" y="204"/>
                </a:lnTo>
                <a:lnTo>
                  <a:pt x="50" y="194"/>
                </a:lnTo>
                <a:lnTo>
                  <a:pt x="43" y="189"/>
                </a:lnTo>
                <a:lnTo>
                  <a:pt x="38" y="182"/>
                </a:lnTo>
                <a:lnTo>
                  <a:pt x="36" y="179"/>
                </a:lnTo>
                <a:lnTo>
                  <a:pt x="34" y="175"/>
                </a:lnTo>
                <a:lnTo>
                  <a:pt x="34" y="171"/>
                </a:lnTo>
                <a:lnTo>
                  <a:pt x="33" y="167"/>
                </a:lnTo>
                <a:lnTo>
                  <a:pt x="34" y="164"/>
                </a:lnTo>
                <a:lnTo>
                  <a:pt x="34" y="160"/>
                </a:lnTo>
                <a:lnTo>
                  <a:pt x="36" y="157"/>
                </a:lnTo>
                <a:lnTo>
                  <a:pt x="38" y="154"/>
                </a:lnTo>
                <a:lnTo>
                  <a:pt x="43" y="149"/>
                </a:lnTo>
                <a:lnTo>
                  <a:pt x="50" y="145"/>
                </a:lnTo>
                <a:lnTo>
                  <a:pt x="56" y="141"/>
                </a:lnTo>
                <a:lnTo>
                  <a:pt x="64" y="139"/>
                </a:lnTo>
                <a:lnTo>
                  <a:pt x="73" y="137"/>
                </a:lnTo>
                <a:lnTo>
                  <a:pt x="80" y="137"/>
                </a:lnTo>
                <a:lnTo>
                  <a:pt x="80" y="126"/>
                </a:lnTo>
                <a:lnTo>
                  <a:pt x="80" y="111"/>
                </a:lnTo>
                <a:lnTo>
                  <a:pt x="67" y="111"/>
                </a:lnTo>
                <a:lnTo>
                  <a:pt x="61" y="111"/>
                </a:lnTo>
                <a:lnTo>
                  <a:pt x="61" y="102"/>
                </a:lnTo>
                <a:lnTo>
                  <a:pt x="61" y="93"/>
                </a:lnTo>
                <a:lnTo>
                  <a:pt x="60" y="86"/>
                </a:lnTo>
                <a:lnTo>
                  <a:pt x="58" y="79"/>
                </a:lnTo>
                <a:lnTo>
                  <a:pt x="55" y="70"/>
                </a:lnTo>
                <a:lnTo>
                  <a:pt x="53" y="62"/>
                </a:lnTo>
                <a:lnTo>
                  <a:pt x="46" y="46"/>
                </a:lnTo>
                <a:lnTo>
                  <a:pt x="40" y="32"/>
                </a:lnTo>
                <a:lnTo>
                  <a:pt x="33" y="31"/>
                </a:lnTo>
                <a:lnTo>
                  <a:pt x="27" y="29"/>
                </a:lnTo>
                <a:lnTo>
                  <a:pt x="20" y="25"/>
                </a:lnTo>
                <a:lnTo>
                  <a:pt x="16" y="21"/>
                </a:lnTo>
                <a:lnTo>
                  <a:pt x="7" y="10"/>
                </a:lnTo>
                <a:lnTo>
                  <a:pt x="0" y="0"/>
                </a:lnTo>
                <a:lnTo>
                  <a:pt x="9" y="0"/>
                </a:lnTo>
                <a:lnTo>
                  <a:pt x="17" y="0"/>
                </a:lnTo>
                <a:lnTo>
                  <a:pt x="24" y="0"/>
                </a:lnTo>
                <a:lnTo>
                  <a:pt x="33" y="0"/>
                </a:lnTo>
                <a:lnTo>
                  <a:pt x="38" y="3"/>
                </a:lnTo>
                <a:lnTo>
                  <a:pt x="45" y="8"/>
                </a:lnTo>
                <a:lnTo>
                  <a:pt x="56" y="16"/>
                </a:lnTo>
                <a:lnTo>
                  <a:pt x="67" y="26"/>
                </a:lnTo>
                <a:lnTo>
                  <a:pt x="78" y="35"/>
                </a:lnTo>
                <a:lnTo>
                  <a:pt x="88" y="42"/>
                </a:lnTo>
                <a:lnTo>
                  <a:pt x="96" y="48"/>
                </a:lnTo>
                <a:lnTo>
                  <a:pt x="100" y="50"/>
                </a:lnTo>
                <a:lnTo>
                  <a:pt x="119" y="58"/>
                </a:lnTo>
                <a:lnTo>
                  <a:pt x="135" y="65"/>
                </a:lnTo>
                <a:lnTo>
                  <a:pt x="152" y="70"/>
                </a:lnTo>
                <a:lnTo>
                  <a:pt x="166" y="76"/>
                </a:lnTo>
                <a:lnTo>
                  <a:pt x="181" y="79"/>
                </a:lnTo>
                <a:lnTo>
                  <a:pt x="197" y="82"/>
                </a:lnTo>
                <a:lnTo>
                  <a:pt x="214" y="85"/>
                </a:lnTo>
                <a:lnTo>
                  <a:pt x="233" y="87"/>
                </a:lnTo>
                <a:lnTo>
                  <a:pt x="236" y="77"/>
                </a:lnTo>
                <a:lnTo>
                  <a:pt x="240" y="62"/>
                </a:lnTo>
                <a:lnTo>
                  <a:pt x="257" y="83"/>
                </a:lnTo>
                <a:lnTo>
                  <a:pt x="275" y="100"/>
                </a:lnTo>
                <a:lnTo>
                  <a:pt x="284" y="107"/>
                </a:lnTo>
                <a:lnTo>
                  <a:pt x="293" y="113"/>
                </a:lnTo>
                <a:lnTo>
                  <a:pt x="305" y="119"/>
                </a:lnTo>
                <a:lnTo>
                  <a:pt x="320" y="123"/>
                </a:lnTo>
                <a:lnTo>
                  <a:pt x="297" y="133"/>
                </a:lnTo>
                <a:lnTo>
                  <a:pt x="277" y="141"/>
                </a:lnTo>
                <a:lnTo>
                  <a:pt x="268" y="144"/>
                </a:lnTo>
                <a:lnTo>
                  <a:pt x="258" y="147"/>
                </a:lnTo>
                <a:lnTo>
                  <a:pt x="249" y="148"/>
                </a:lnTo>
                <a:lnTo>
                  <a:pt x="240" y="149"/>
                </a:lnTo>
                <a:lnTo>
                  <a:pt x="237" y="159"/>
                </a:lnTo>
                <a:lnTo>
                  <a:pt x="234" y="170"/>
                </a:lnTo>
                <a:lnTo>
                  <a:pt x="232" y="176"/>
                </a:lnTo>
                <a:lnTo>
                  <a:pt x="231" y="181"/>
                </a:lnTo>
                <a:lnTo>
                  <a:pt x="231" y="187"/>
                </a:lnTo>
                <a:lnTo>
                  <a:pt x="233" y="192"/>
                </a:lnTo>
                <a:lnTo>
                  <a:pt x="222" y="192"/>
                </a:lnTo>
                <a:lnTo>
                  <a:pt x="213" y="191"/>
                </a:lnTo>
                <a:lnTo>
                  <a:pt x="204" y="189"/>
                </a:lnTo>
                <a:lnTo>
                  <a:pt x="198" y="187"/>
                </a:lnTo>
                <a:lnTo>
                  <a:pt x="186" y="181"/>
                </a:lnTo>
                <a:lnTo>
                  <a:pt x="176" y="176"/>
                </a:lnTo>
                <a:lnTo>
                  <a:pt x="168" y="170"/>
                </a:lnTo>
                <a:lnTo>
                  <a:pt x="159" y="165"/>
                </a:lnTo>
                <a:lnTo>
                  <a:pt x="155" y="164"/>
                </a:lnTo>
                <a:lnTo>
                  <a:pt x="151" y="162"/>
                </a:lnTo>
                <a:lnTo>
                  <a:pt x="145" y="161"/>
                </a:lnTo>
                <a:lnTo>
                  <a:pt x="140" y="161"/>
                </a:lnTo>
                <a:lnTo>
                  <a:pt x="131" y="162"/>
                </a:lnTo>
                <a:lnTo>
                  <a:pt x="122" y="164"/>
                </a:lnTo>
                <a:lnTo>
                  <a:pt x="114" y="167"/>
                </a:lnTo>
                <a:lnTo>
                  <a:pt x="108" y="170"/>
                </a:lnTo>
                <a:lnTo>
                  <a:pt x="100" y="173"/>
                </a:lnTo>
                <a:lnTo>
                  <a:pt x="94" y="176"/>
                </a:lnTo>
                <a:lnTo>
                  <a:pt x="87" y="178"/>
                </a:lnTo>
                <a:lnTo>
                  <a:pt x="80" y="179"/>
                </a:lnTo>
                <a:lnTo>
                  <a:pt x="85" y="183"/>
                </a:lnTo>
                <a:lnTo>
                  <a:pt x="90" y="188"/>
                </a:lnTo>
                <a:lnTo>
                  <a:pt x="96" y="191"/>
                </a:lnTo>
                <a:lnTo>
                  <a:pt x="101" y="194"/>
                </a:lnTo>
                <a:lnTo>
                  <a:pt x="116" y="200"/>
                </a:lnTo>
                <a:lnTo>
                  <a:pt x="133" y="204"/>
                </a:lnTo>
                <a:lnTo>
                  <a:pt x="126" y="212"/>
                </a:lnTo>
                <a:lnTo>
                  <a:pt x="119" y="219"/>
                </a:lnTo>
                <a:lnTo>
                  <a:pt x="113" y="224"/>
                </a:lnTo>
                <a:lnTo>
                  <a:pt x="108" y="228"/>
                </a:lnTo>
                <a:lnTo>
                  <a:pt x="102" y="231"/>
                </a:lnTo>
                <a:lnTo>
                  <a:pt x="97" y="233"/>
                </a:lnTo>
                <a:lnTo>
                  <a:pt x="91" y="234"/>
                </a:lnTo>
                <a:lnTo>
                  <a:pt x="87" y="234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85" name="Freeform 483"/>
          <p:cNvSpPr>
            <a:spLocks/>
          </p:cNvSpPr>
          <p:nvPr userDrawn="1">
            <p:custDataLst>
              <p:tags r:id="rId320"/>
            </p:custDataLst>
          </p:nvPr>
        </p:nvSpPr>
        <p:spPr bwMode="auto">
          <a:xfrm>
            <a:off x="7213608" y="2112181"/>
            <a:ext cx="52387" cy="42863"/>
          </a:xfrm>
          <a:custGeom>
            <a:avLst/>
            <a:gdLst>
              <a:gd name="T0" fmla="*/ 5796098 w 125"/>
              <a:gd name="T1" fmla="*/ 7175090 h 93"/>
              <a:gd name="T2" fmla="*/ 7552530 w 125"/>
              <a:gd name="T3" fmla="*/ 7175090 h 93"/>
              <a:gd name="T4" fmla="*/ 9133360 w 125"/>
              <a:gd name="T5" fmla="*/ 7175090 h 93"/>
              <a:gd name="T6" fmla="*/ 9660164 w 125"/>
              <a:gd name="T7" fmla="*/ 7175090 h 93"/>
              <a:gd name="T8" fmla="*/ 10187386 w 125"/>
              <a:gd name="T9" fmla="*/ 6419850 h 93"/>
              <a:gd name="T10" fmla="*/ 10714190 w 125"/>
              <a:gd name="T11" fmla="*/ 5664610 h 93"/>
              <a:gd name="T12" fmla="*/ 11416595 w 125"/>
              <a:gd name="T13" fmla="*/ 4154129 h 93"/>
              <a:gd name="T14" fmla="*/ 11943817 w 125"/>
              <a:gd name="T15" fmla="*/ 3020961 h 93"/>
              <a:gd name="T16" fmla="*/ 12295020 w 125"/>
              <a:gd name="T17" fmla="*/ 1888408 h 93"/>
              <a:gd name="T18" fmla="*/ 12646222 w 125"/>
              <a:gd name="T19" fmla="*/ 1133168 h 93"/>
              <a:gd name="T20" fmla="*/ 12646222 w 125"/>
              <a:gd name="T21" fmla="*/ 0 h 93"/>
              <a:gd name="T22" fmla="*/ 20725556 w 125"/>
              <a:gd name="T23" fmla="*/ 0 h 93"/>
              <a:gd name="T24" fmla="*/ 21428380 w 125"/>
              <a:gd name="T25" fmla="*/ 5664610 h 93"/>
              <a:gd name="T26" fmla="*/ 21955183 w 125"/>
              <a:gd name="T27" fmla="*/ 9440811 h 93"/>
              <a:gd name="T28" fmla="*/ 21779582 w 125"/>
              <a:gd name="T29" fmla="*/ 10951293 h 93"/>
              <a:gd name="T30" fmla="*/ 21428380 w 125"/>
              <a:gd name="T31" fmla="*/ 12461773 h 93"/>
              <a:gd name="T32" fmla="*/ 20901157 w 125"/>
              <a:gd name="T33" fmla="*/ 13217013 h 93"/>
              <a:gd name="T34" fmla="*/ 20549955 w 125"/>
              <a:gd name="T35" fmla="*/ 13972253 h 93"/>
              <a:gd name="T36" fmla="*/ 19496348 w 125"/>
              <a:gd name="T37" fmla="*/ 15105421 h 93"/>
              <a:gd name="T38" fmla="*/ 18266720 w 125"/>
              <a:gd name="T39" fmla="*/ 15482734 h 93"/>
              <a:gd name="T40" fmla="*/ 15456263 w 125"/>
              <a:gd name="T41" fmla="*/ 15482734 h 93"/>
              <a:gd name="T42" fmla="*/ 12646222 w 125"/>
              <a:gd name="T43" fmla="*/ 16237974 h 93"/>
              <a:gd name="T44" fmla="*/ 12295020 w 125"/>
              <a:gd name="T45" fmla="*/ 17748454 h 93"/>
              <a:gd name="T46" fmla="*/ 12119418 w 125"/>
              <a:gd name="T47" fmla="*/ 20014174 h 93"/>
              <a:gd name="T48" fmla="*/ 11767797 w 125"/>
              <a:gd name="T49" fmla="*/ 23035139 h 93"/>
              <a:gd name="T50" fmla="*/ 11767797 w 125"/>
              <a:gd name="T51" fmla="*/ 26811954 h 93"/>
              <a:gd name="T52" fmla="*/ 11592196 w 125"/>
              <a:gd name="T53" fmla="*/ 32475947 h 93"/>
              <a:gd name="T54" fmla="*/ 11592196 w 125"/>
              <a:gd name="T55" fmla="*/ 35119595 h 93"/>
              <a:gd name="T56" fmla="*/ 8606557 w 125"/>
              <a:gd name="T57" fmla="*/ 32098635 h 93"/>
              <a:gd name="T58" fmla="*/ 4742491 w 125"/>
              <a:gd name="T59" fmla="*/ 27567194 h 93"/>
              <a:gd name="T60" fmla="*/ 2810458 w 125"/>
              <a:gd name="T61" fmla="*/ 24546234 h 93"/>
              <a:gd name="T62" fmla="*/ 1229628 w 125"/>
              <a:gd name="T63" fmla="*/ 21902586 h 93"/>
              <a:gd name="T64" fmla="*/ 702405 w 125"/>
              <a:gd name="T65" fmla="*/ 20392106 h 93"/>
              <a:gd name="T66" fmla="*/ 351202 w 125"/>
              <a:gd name="T67" fmla="*/ 18881621 h 93"/>
              <a:gd name="T68" fmla="*/ 0 w 125"/>
              <a:gd name="T69" fmla="*/ 17748454 h 93"/>
              <a:gd name="T70" fmla="*/ 0 w 125"/>
              <a:gd name="T71" fmla="*/ 16237974 h 93"/>
              <a:gd name="T72" fmla="*/ 1229628 w 125"/>
              <a:gd name="T73" fmla="*/ 16237974 h 93"/>
              <a:gd name="T74" fmla="*/ 2634438 w 125"/>
              <a:gd name="T75" fmla="*/ 15482734 h 93"/>
              <a:gd name="T76" fmla="*/ 3512863 w 125"/>
              <a:gd name="T77" fmla="*/ 14727494 h 93"/>
              <a:gd name="T78" fmla="*/ 4039667 w 125"/>
              <a:gd name="T79" fmla="*/ 13594941 h 93"/>
              <a:gd name="T80" fmla="*/ 4918092 w 125"/>
              <a:gd name="T81" fmla="*/ 10573366 h 93"/>
              <a:gd name="T82" fmla="*/ 5796098 w 125"/>
              <a:gd name="T83" fmla="*/ 7175090 h 93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25"/>
              <a:gd name="T127" fmla="*/ 0 h 93"/>
              <a:gd name="T128" fmla="*/ 125 w 125"/>
              <a:gd name="T129" fmla="*/ 93 h 93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25" h="93">
                <a:moveTo>
                  <a:pt x="33" y="19"/>
                </a:moveTo>
                <a:lnTo>
                  <a:pt x="43" y="19"/>
                </a:lnTo>
                <a:lnTo>
                  <a:pt x="52" y="19"/>
                </a:lnTo>
                <a:lnTo>
                  <a:pt x="55" y="19"/>
                </a:lnTo>
                <a:lnTo>
                  <a:pt x="58" y="17"/>
                </a:lnTo>
                <a:lnTo>
                  <a:pt x="61" y="15"/>
                </a:lnTo>
                <a:lnTo>
                  <a:pt x="65" y="11"/>
                </a:lnTo>
                <a:lnTo>
                  <a:pt x="68" y="8"/>
                </a:lnTo>
                <a:lnTo>
                  <a:pt x="70" y="5"/>
                </a:lnTo>
                <a:lnTo>
                  <a:pt x="72" y="3"/>
                </a:lnTo>
                <a:lnTo>
                  <a:pt x="72" y="0"/>
                </a:lnTo>
                <a:lnTo>
                  <a:pt x="118" y="0"/>
                </a:lnTo>
                <a:lnTo>
                  <a:pt x="122" y="15"/>
                </a:lnTo>
                <a:lnTo>
                  <a:pt x="125" y="25"/>
                </a:lnTo>
                <a:lnTo>
                  <a:pt x="124" y="29"/>
                </a:lnTo>
                <a:lnTo>
                  <a:pt x="122" y="33"/>
                </a:lnTo>
                <a:lnTo>
                  <a:pt x="119" y="35"/>
                </a:lnTo>
                <a:lnTo>
                  <a:pt x="117" y="37"/>
                </a:lnTo>
                <a:lnTo>
                  <a:pt x="111" y="40"/>
                </a:lnTo>
                <a:lnTo>
                  <a:pt x="104" y="41"/>
                </a:lnTo>
                <a:lnTo>
                  <a:pt x="88" y="41"/>
                </a:lnTo>
                <a:lnTo>
                  <a:pt x="72" y="43"/>
                </a:lnTo>
                <a:lnTo>
                  <a:pt x="70" y="47"/>
                </a:lnTo>
                <a:lnTo>
                  <a:pt x="69" y="53"/>
                </a:lnTo>
                <a:lnTo>
                  <a:pt x="67" y="61"/>
                </a:lnTo>
                <a:lnTo>
                  <a:pt x="67" y="71"/>
                </a:lnTo>
                <a:lnTo>
                  <a:pt x="66" y="86"/>
                </a:lnTo>
                <a:lnTo>
                  <a:pt x="66" y="93"/>
                </a:lnTo>
                <a:lnTo>
                  <a:pt x="49" y="85"/>
                </a:lnTo>
                <a:lnTo>
                  <a:pt x="27" y="73"/>
                </a:lnTo>
                <a:lnTo>
                  <a:pt x="16" y="65"/>
                </a:lnTo>
                <a:lnTo>
                  <a:pt x="7" y="58"/>
                </a:lnTo>
                <a:lnTo>
                  <a:pt x="4" y="54"/>
                </a:lnTo>
                <a:lnTo>
                  <a:pt x="2" y="50"/>
                </a:lnTo>
                <a:lnTo>
                  <a:pt x="0" y="47"/>
                </a:lnTo>
                <a:lnTo>
                  <a:pt x="0" y="43"/>
                </a:lnTo>
                <a:lnTo>
                  <a:pt x="7" y="43"/>
                </a:lnTo>
                <a:lnTo>
                  <a:pt x="15" y="41"/>
                </a:lnTo>
                <a:lnTo>
                  <a:pt x="20" y="39"/>
                </a:lnTo>
                <a:lnTo>
                  <a:pt x="23" y="36"/>
                </a:lnTo>
                <a:lnTo>
                  <a:pt x="28" y="28"/>
                </a:lnTo>
                <a:lnTo>
                  <a:pt x="33" y="19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86" name="Freeform 484"/>
          <p:cNvSpPr>
            <a:spLocks/>
          </p:cNvSpPr>
          <p:nvPr userDrawn="1">
            <p:custDataLst>
              <p:tags r:id="rId321"/>
            </p:custDataLst>
          </p:nvPr>
        </p:nvSpPr>
        <p:spPr bwMode="auto">
          <a:xfrm>
            <a:off x="7159633" y="2122897"/>
            <a:ext cx="60325" cy="63103"/>
          </a:xfrm>
          <a:custGeom>
            <a:avLst/>
            <a:gdLst>
              <a:gd name="T0" fmla="*/ 4114346 w 133"/>
              <a:gd name="T1" fmla="*/ 3581832 h 154"/>
              <a:gd name="T2" fmla="*/ 4937578 w 133"/>
              <a:gd name="T3" fmla="*/ 2984678 h 154"/>
              <a:gd name="T4" fmla="*/ 6377667 w 133"/>
              <a:gd name="T5" fmla="*/ 1790916 h 154"/>
              <a:gd name="T6" fmla="*/ 6994524 w 133"/>
              <a:gd name="T7" fmla="*/ 1193762 h 154"/>
              <a:gd name="T8" fmla="*/ 7611836 w 133"/>
              <a:gd name="T9" fmla="*/ 597154 h 154"/>
              <a:gd name="T10" fmla="*/ 8640535 w 133"/>
              <a:gd name="T11" fmla="*/ 298304 h 154"/>
              <a:gd name="T12" fmla="*/ 9463313 w 133"/>
              <a:gd name="T13" fmla="*/ 0 h 154"/>
              <a:gd name="T14" fmla="*/ 12138023 w 133"/>
              <a:gd name="T15" fmla="*/ 298304 h 154"/>
              <a:gd name="T16" fmla="*/ 14400890 w 133"/>
              <a:gd name="T17" fmla="*/ 1193762 h 154"/>
              <a:gd name="T18" fmla="*/ 16663760 w 133"/>
              <a:gd name="T19" fmla="*/ 2388070 h 154"/>
              <a:gd name="T20" fmla="*/ 18515238 w 133"/>
              <a:gd name="T21" fmla="*/ 4178986 h 154"/>
              <a:gd name="T22" fmla="*/ 20367169 w 133"/>
              <a:gd name="T23" fmla="*/ 6268206 h 154"/>
              <a:gd name="T24" fmla="*/ 21601336 w 133"/>
              <a:gd name="T25" fmla="*/ 8954581 h 154"/>
              <a:gd name="T26" fmla="*/ 23041425 w 133"/>
              <a:gd name="T27" fmla="*/ 11939805 h 154"/>
              <a:gd name="T28" fmla="*/ 23864203 w 133"/>
              <a:gd name="T29" fmla="*/ 14924482 h 154"/>
              <a:gd name="T30" fmla="*/ 24892903 w 133"/>
              <a:gd name="T31" fmla="*/ 17909709 h 154"/>
              <a:gd name="T32" fmla="*/ 25510213 w 133"/>
              <a:gd name="T33" fmla="*/ 21192690 h 154"/>
              <a:gd name="T34" fmla="*/ 26127524 w 133"/>
              <a:gd name="T35" fmla="*/ 24476217 h 154"/>
              <a:gd name="T36" fmla="*/ 26744381 w 133"/>
              <a:gd name="T37" fmla="*/ 28058048 h 154"/>
              <a:gd name="T38" fmla="*/ 27155770 w 133"/>
              <a:gd name="T39" fmla="*/ 34625102 h 154"/>
              <a:gd name="T40" fmla="*/ 27361691 w 133"/>
              <a:gd name="T41" fmla="*/ 40296161 h 154"/>
              <a:gd name="T42" fmla="*/ 27155770 w 133"/>
              <a:gd name="T43" fmla="*/ 41191618 h 154"/>
              <a:gd name="T44" fmla="*/ 26744381 w 133"/>
              <a:gd name="T45" fmla="*/ 42087622 h 154"/>
              <a:gd name="T46" fmla="*/ 25715681 w 133"/>
              <a:gd name="T47" fmla="*/ 42983080 h 154"/>
              <a:gd name="T48" fmla="*/ 24892903 w 133"/>
              <a:gd name="T49" fmla="*/ 43878538 h 154"/>
              <a:gd name="T50" fmla="*/ 23658736 w 133"/>
              <a:gd name="T51" fmla="*/ 44773996 h 154"/>
              <a:gd name="T52" fmla="*/ 22630036 w 133"/>
              <a:gd name="T53" fmla="*/ 45669453 h 154"/>
              <a:gd name="T54" fmla="*/ 21395415 w 133"/>
              <a:gd name="T55" fmla="*/ 45967757 h 154"/>
              <a:gd name="T56" fmla="*/ 20367169 w 133"/>
              <a:gd name="T57" fmla="*/ 45967757 h 154"/>
              <a:gd name="T58" fmla="*/ 19132548 w 133"/>
              <a:gd name="T59" fmla="*/ 45669453 h 154"/>
              <a:gd name="T60" fmla="*/ 17898381 w 133"/>
              <a:gd name="T61" fmla="*/ 44475145 h 154"/>
              <a:gd name="T62" fmla="*/ 16252371 w 133"/>
              <a:gd name="T63" fmla="*/ 42087622 h 154"/>
              <a:gd name="T64" fmla="*/ 14606811 w 133"/>
              <a:gd name="T65" fmla="*/ 39997857 h 154"/>
              <a:gd name="T66" fmla="*/ 13166723 w 133"/>
              <a:gd name="T67" fmla="*/ 37609788 h 154"/>
              <a:gd name="T68" fmla="*/ 11932102 w 133"/>
              <a:gd name="T69" fmla="*/ 35222256 h 154"/>
              <a:gd name="T70" fmla="*/ 11109323 w 133"/>
              <a:gd name="T71" fmla="*/ 33132490 h 154"/>
              <a:gd name="T72" fmla="*/ 10903402 w 133"/>
              <a:gd name="T73" fmla="*/ 31341575 h 154"/>
              <a:gd name="T74" fmla="*/ 11109323 w 133"/>
              <a:gd name="T75" fmla="*/ 29252356 h 154"/>
              <a:gd name="T76" fmla="*/ 11520713 w 133"/>
              <a:gd name="T77" fmla="*/ 24775067 h 154"/>
              <a:gd name="T78" fmla="*/ 11932102 w 133"/>
              <a:gd name="T79" fmla="*/ 20297232 h 154"/>
              <a:gd name="T80" fmla="*/ 12138023 w 133"/>
              <a:gd name="T81" fmla="*/ 18506317 h 154"/>
              <a:gd name="T82" fmla="*/ 9669235 w 133"/>
              <a:gd name="T83" fmla="*/ 18208013 h 154"/>
              <a:gd name="T84" fmla="*/ 7406366 w 133"/>
              <a:gd name="T85" fmla="*/ 17610855 h 154"/>
              <a:gd name="T86" fmla="*/ 5143046 w 133"/>
              <a:gd name="T87" fmla="*/ 16715397 h 154"/>
              <a:gd name="T88" fmla="*/ 3497489 w 133"/>
              <a:gd name="T89" fmla="*/ 15521636 h 154"/>
              <a:gd name="T90" fmla="*/ 2674257 w 133"/>
              <a:gd name="T91" fmla="*/ 14626178 h 154"/>
              <a:gd name="T92" fmla="*/ 2057400 w 133"/>
              <a:gd name="T93" fmla="*/ 13730720 h 154"/>
              <a:gd name="T94" fmla="*/ 1440089 w 133"/>
              <a:gd name="T95" fmla="*/ 12835262 h 154"/>
              <a:gd name="T96" fmla="*/ 822778 w 133"/>
              <a:gd name="T97" fmla="*/ 11640955 h 154"/>
              <a:gd name="T98" fmla="*/ 411389 w 133"/>
              <a:gd name="T99" fmla="*/ 10148889 h 154"/>
              <a:gd name="T100" fmla="*/ 205921 w 133"/>
              <a:gd name="T101" fmla="*/ 8656276 h 154"/>
              <a:gd name="T102" fmla="*/ 0 w 133"/>
              <a:gd name="T103" fmla="*/ 7163664 h 154"/>
              <a:gd name="T104" fmla="*/ 0 w 133"/>
              <a:gd name="T105" fmla="*/ 5372748 h 154"/>
              <a:gd name="T106" fmla="*/ 1440089 w 133"/>
              <a:gd name="T107" fmla="*/ 4477291 h 154"/>
              <a:gd name="T108" fmla="*/ 4114346 w 133"/>
              <a:gd name="T109" fmla="*/ 3581832 h 15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33"/>
              <a:gd name="T166" fmla="*/ 0 h 154"/>
              <a:gd name="T167" fmla="*/ 133 w 133"/>
              <a:gd name="T168" fmla="*/ 154 h 154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33" h="154">
                <a:moveTo>
                  <a:pt x="20" y="12"/>
                </a:moveTo>
                <a:lnTo>
                  <a:pt x="24" y="10"/>
                </a:lnTo>
                <a:lnTo>
                  <a:pt x="31" y="6"/>
                </a:lnTo>
                <a:lnTo>
                  <a:pt x="34" y="4"/>
                </a:lnTo>
                <a:lnTo>
                  <a:pt x="37" y="2"/>
                </a:lnTo>
                <a:lnTo>
                  <a:pt x="42" y="1"/>
                </a:lnTo>
                <a:lnTo>
                  <a:pt x="46" y="0"/>
                </a:lnTo>
                <a:lnTo>
                  <a:pt x="59" y="1"/>
                </a:lnTo>
                <a:lnTo>
                  <a:pt x="70" y="4"/>
                </a:lnTo>
                <a:lnTo>
                  <a:pt x="81" y="8"/>
                </a:lnTo>
                <a:lnTo>
                  <a:pt x="90" y="14"/>
                </a:lnTo>
                <a:lnTo>
                  <a:pt x="99" y="21"/>
                </a:lnTo>
                <a:lnTo>
                  <a:pt x="105" y="30"/>
                </a:lnTo>
                <a:lnTo>
                  <a:pt x="112" y="40"/>
                </a:lnTo>
                <a:lnTo>
                  <a:pt x="116" y="50"/>
                </a:lnTo>
                <a:lnTo>
                  <a:pt x="121" y="60"/>
                </a:lnTo>
                <a:lnTo>
                  <a:pt x="124" y="71"/>
                </a:lnTo>
                <a:lnTo>
                  <a:pt x="127" y="82"/>
                </a:lnTo>
                <a:lnTo>
                  <a:pt x="130" y="94"/>
                </a:lnTo>
                <a:lnTo>
                  <a:pt x="132" y="116"/>
                </a:lnTo>
                <a:lnTo>
                  <a:pt x="133" y="135"/>
                </a:lnTo>
                <a:lnTo>
                  <a:pt x="132" y="138"/>
                </a:lnTo>
                <a:lnTo>
                  <a:pt x="130" y="141"/>
                </a:lnTo>
                <a:lnTo>
                  <a:pt x="125" y="144"/>
                </a:lnTo>
                <a:lnTo>
                  <a:pt x="121" y="147"/>
                </a:lnTo>
                <a:lnTo>
                  <a:pt x="115" y="150"/>
                </a:lnTo>
                <a:lnTo>
                  <a:pt x="110" y="153"/>
                </a:lnTo>
                <a:lnTo>
                  <a:pt x="104" y="154"/>
                </a:lnTo>
                <a:lnTo>
                  <a:pt x="99" y="154"/>
                </a:lnTo>
                <a:lnTo>
                  <a:pt x="93" y="153"/>
                </a:lnTo>
                <a:lnTo>
                  <a:pt x="87" y="149"/>
                </a:lnTo>
                <a:lnTo>
                  <a:pt x="79" y="141"/>
                </a:lnTo>
                <a:lnTo>
                  <a:pt x="71" y="134"/>
                </a:lnTo>
                <a:lnTo>
                  <a:pt x="64" y="126"/>
                </a:lnTo>
                <a:lnTo>
                  <a:pt x="58" y="118"/>
                </a:lnTo>
                <a:lnTo>
                  <a:pt x="54" y="111"/>
                </a:lnTo>
                <a:lnTo>
                  <a:pt x="53" y="105"/>
                </a:lnTo>
                <a:lnTo>
                  <a:pt x="54" y="98"/>
                </a:lnTo>
                <a:lnTo>
                  <a:pt x="56" y="83"/>
                </a:lnTo>
                <a:lnTo>
                  <a:pt x="58" y="68"/>
                </a:lnTo>
                <a:lnTo>
                  <a:pt x="59" y="62"/>
                </a:lnTo>
                <a:lnTo>
                  <a:pt x="47" y="61"/>
                </a:lnTo>
                <a:lnTo>
                  <a:pt x="36" y="59"/>
                </a:lnTo>
                <a:lnTo>
                  <a:pt x="25" y="56"/>
                </a:lnTo>
                <a:lnTo>
                  <a:pt x="17" y="52"/>
                </a:lnTo>
                <a:lnTo>
                  <a:pt x="13" y="49"/>
                </a:lnTo>
                <a:lnTo>
                  <a:pt x="10" y="46"/>
                </a:lnTo>
                <a:lnTo>
                  <a:pt x="7" y="43"/>
                </a:lnTo>
                <a:lnTo>
                  <a:pt x="4" y="39"/>
                </a:lnTo>
                <a:lnTo>
                  <a:pt x="2" y="34"/>
                </a:lnTo>
                <a:lnTo>
                  <a:pt x="1" y="29"/>
                </a:lnTo>
                <a:lnTo>
                  <a:pt x="0" y="24"/>
                </a:lnTo>
                <a:lnTo>
                  <a:pt x="0" y="18"/>
                </a:lnTo>
                <a:lnTo>
                  <a:pt x="7" y="15"/>
                </a:lnTo>
                <a:lnTo>
                  <a:pt x="20" y="12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87" name="Freeform 485"/>
          <p:cNvSpPr>
            <a:spLocks/>
          </p:cNvSpPr>
          <p:nvPr userDrawn="1">
            <p:custDataLst>
              <p:tags r:id="rId322"/>
            </p:custDataLst>
          </p:nvPr>
        </p:nvSpPr>
        <p:spPr bwMode="auto">
          <a:xfrm>
            <a:off x="7175500" y="1944302"/>
            <a:ext cx="209550" cy="183356"/>
          </a:xfrm>
          <a:custGeom>
            <a:avLst/>
            <a:gdLst>
              <a:gd name="T0" fmla="*/ 25014654 w 485"/>
              <a:gd name="T1" fmla="*/ 95781969 h 468"/>
              <a:gd name="T2" fmla="*/ 31174997 w 485"/>
              <a:gd name="T3" fmla="*/ 92507677 h 468"/>
              <a:gd name="T4" fmla="*/ 37335333 w 485"/>
              <a:gd name="T5" fmla="*/ 92507677 h 468"/>
              <a:gd name="T6" fmla="*/ 42189115 w 485"/>
              <a:gd name="T7" fmla="*/ 94963396 h 468"/>
              <a:gd name="T8" fmla="*/ 41815813 w 485"/>
              <a:gd name="T9" fmla="*/ 89232862 h 468"/>
              <a:gd name="T10" fmla="*/ 41069211 w 485"/>
              <a:gd name="T11" fmla="*/ 86231253 h 468"/>
              <a:gd name="T12" fmla="*/ 43495670 w 485"/>
              <a:gd name="T13" fmla="*/ 82683755 h 468"/>
              <a:gd name="T14" fmla="*/ 44616006 w 485"/>
              <a:gd name="T15" fmla="*/ 75316074 h 468"/>
              <a:gd name="T16" fmla="*/ 45175958 w 485"/>
              <a:gd name="T17" fmla="*/ 67129282 h 468"/>
              <a:gd name="T18" fmla="*/ 50029739 w 485"/>
              <a:gd name="T19" fmla="*/ 69585540 h 468"/>
              <a:gd name="T20" fmla="*/ 56003425 w 485"/>
              <a:gd name="T21" fmla="*/ 64946246 h 468"/>
              <a:gd name="T22" fmla="*/ 58990281 w 485"/>
              <a:gd name="T23" fmla="*/ 59215712 h 468"/>
              <a:gd name="T24" fmla="*/ 54696438 w 485"/>
              <a:gd name="T25" fmla="*/ 52939288 h 468"/>
              <a:gd name="T26" fmla="*/ 59363583 w 485"/>
              <a:gd name="T27" fmla="*/ 54303750 h 468"/>
              <a:gd name="T28" fmla="*/ 64030282 w 485"/>
              <a:gd name="T29" fmla="*/ 55122323 h 468"/>
              <a:gd name="T30" fmla="*/ 64590234 w 485"/>
              <a:gd name="T31" fmla="*/ 50483568 h 468"/>
              <a:gd name="T32" fmla="*/ 55069740 w 485"/>
              <a:gd name="T33" fmla="*/ 26196960 h 468"/>
              <a:gd name="T34" fmla="*/ 53203233 w 485"/>
              <a:gd name="T35" fmla="*/ 14462682 h 468"/>
              <a:gd name="T36" fmla="*/ 54323137 w 485"/>
              <a:gd name="T37" fmla="*/ 5184647 h 468"/>
              <a:gd name="T38" fmla="*/ 58990281 w 485"/>
              <a:gd name="T39" fmla="*/ 272684 h 468"/>
              <a:gd name="T40" fmla="*/ 62723727 w 485"/>
              <a:gd name="T41" fmla="*/ 4911963 h 468"/>
              <a:gd name="T42" fmla="*/ 70377269 w 485"/>
              <a:gd name="T43" fmla="*/ 12279646 h 468"/>
              <a:gd name="T44" fmla="*/ 77471291 w 485"/>
              <a:gd name="T45" fmla="*/ 19647853 h 468"/>
              <a:gd name="T46" fmla="*/ 79524448 w 485"/>
              <a:gd name="T47" fmla="*/ 26742327 h 468"/>
              <a:gd name="T48" fmla="*/ 81391387 w 485"/>
              <a:gd name="T49" fmla="*/ 37384831 h 468"/>
              <a:gd name="T50" fmla="*/ 83071675 w 485"/>
              <a:gd name="T51" fmla="*/ 47208753 h 468"/>
              <a:gd name="T52" fmla="*/ 79897749 w 485"/>
              <a:gd name="T53" fmla="*/ 48845900 h 468"/>
              <a:gd name="T54" fmla="*/ 76910907 w 485"/>
              <a:gd name="T55" fmla="*/ 50483568 h 468"/>
              <a:gd name="T56" fmla="*/ 79524448 w 485"/>
              <a:gd name="T57" fmla="*/ 54303750 h 468"/>
              <a:gd name="T58" fmla="*/ 83071675 w 485"/>
              <a:gd name="T59" fmla="*/ 55395529 h 468"/>
              <a:gd name="T60" fmla="*/ 84938182 w 485"/>
              <a:gd name="T61" fmla="*/ 71495370 h 468"/>
              <a:gd name="T62" fmla="*/ 88671627 w 485"/>
              <a:gd name="T63" fmla="*/ 85139474 h 468"/>
              <a:gd name="T64" fmla="*/ 89605313 w 485"/>
              <a:gd name="T65" fmla="*/ 103968745 h 468"/>
              <a:gd name="T66" fmla="*/ 86431819 w 485"/>
              <a:gd name="T67" fmla="*/ 99329468 h 468"/>
              <a:gd name="T68" fmla="*/ 84564880 w 485"/>
              <a:gd name="T69" fmla="*/ 97146432 h 468"/>
              <a:gd name="T70" fmla="*/ 81391387 w 485"/>
              <a:gd name="T71" fmla="*/ 99056784 h 468"/>
              <a:gd name="T72" fmla="*/ 80084832 w 485"/>
              <a:gd name="T73" fmla="*/ 108880707 h 468"/>
              <a:gd name="T74" fmla="*/ 76164304 w 485"/>
              <a:gd name="T75" fmla="*/ 106151781 h 468"/>
              <a:gd name="T76" fmla="*/ 72617509 w 485"/>
              <a:gd name="T77" fmla="*/ 104241429 h 468"/>
              <a:gd name="T78" fmla="*/ 70190618 w 485"/>
              <a:gd name="T79" fmla="*/ 109699280 h 468"/>
              <a:gd name="T80" fmla="*/ 64403583 w 485"/>
              <a:gd name="T81" fmla="*/ 112700889 h 468"/>
              <a:gd name="T82" fmla="*/ 62350426 w 485"/>
              <a:gd name="T83" fmla="*/ 109153390 h 468"/>
              <a:gd name="T84" fmla="*/ 58243247 w 485"/>
              <a:gd name="T85" fmla="*/ 107788928 h 468"/>
              <a:gd name="T86" fmla="*/ 56563377 w 485"/>
              <a:gd name="T87" fmla="*/ 116248387 h 468"/>
              <a:gd name="T88" fmla="*/ 55816774 w 485"/>
              <a:gd name="T89" fmla="*/ 122797495 h 468"/>
              <a:gd name="T90" fmla="*/ 57309993 w 485"/>
              <a:gd name="T91" fmla="*/ 127163566 h 468"/>
              <a:gd name="T92" fmla="*/ 50776342 w 485"/>
              <a:gd name="T93" fmla="*/ 127709456 h 468"/>
              <a:gd name="T94" fmla="*/ 48162801 w 485"/>
              <a:gd name="T95" fmla="*/ 126890883 h 468"/>
              <a:gd name="T96" fmla="*/ 45549259 w 485"/>
              <a:gd name="T97" fmla="*/ 120068569 h 468"/>
              <a:gd name="T98" fmla="*/ 42749067 w 485"/>
              <a:gd name="T99" fmla="*/ 114065351 h 468"/>
              <a:gd name="T100" fmla="*/ 38082368 w 485"/>
              <a:gd name="T101" fmla="*/ 110790536 h 468"/>
              <a:gd name="T102" fmla="*/ 35468826 w 485"/>
              <a:gd name="T103" fmla="*/ 107516244 h 468"/>
              <a:gd name="T104" fmla="*/ 25387955 w 485"/>
              <a:gd name="T105" fmla="*/ 113792668 h 468"/>
              <a:gd name="T106" fmla="*/ 16801160 w 485"/>
              <a:gd name="T107" fmla="*/ 118704107 h 468"/>
              <a:gd name="T108" fmla="*/ 12134025 w 485"/>
              <a:gd name="T109" fmla="*/ 125253736 h 468"/>
              <a:gd name="T110" fmla="*/ 5040434 w 485"/>
              <a:gd name="T111" fmla="*/ 125799104 h 468"/>
              <a:gd name="T112" fmla="*/ 1306555 w 485"/>
              <a:gd name="T113" fmla="*/ 119523202 h 468"/>
              <a:gd name="T114" fmla="*/ 0 w 485"/>
              <a:gd name="T115" fmla="*/ 113792668 h 468"/>
              <a:gd name="T116" fmla="*/ 1306555 w 485"/>
              <a:gd name="T117" fmla="*/ 112700889 h 468"/>
              <a:gd name="T118" fmla="*/ 5040434 w 485"/>
              <a:gd name="T119" fmla="*/ 112973572 h 468"/>
              <a:gd name="T120" fmla="*/ 8960532 w 485"/>
              <a:gd name="T121" fmla="*/ 110517853 h 468"/>
              <a:gd name="T122" fmla="*/ 13440580 w 485"/>
              <a:gd name="T123" fmla="*/ 100693931 h 468"/>
              <a:gd name="T124" fmla="*/ 17361112 w 485"/>
              <a:gd name="T125" fmla="*/ 96055175 h 468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485"/>
              <a:gd name="T190" fmla="*/ 0 h 468"/>
              <a:gd name="T191" fmla="*/ 485 w 485"/>
              <a:gd name="T192" fmla="*/ 468 h 468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485" h="468">
                <a:moveTo>
                  <a:pt x="100" y="351"/>
                </a:moveTo>
                <a:lnTo>
                  <a:pt x="113" y="351"/>
                </a:lnTo>
                <a:lnTo>
                  <a:pt x="126" y="351"/>
                </a:lnTo>
                <a:lnTo>
                  <a:pt x="134" y="351"/>
                </a:lnTo>
                <a:lnTo>
                  <a:pt x="142" y="348"/>
                </a:lnTo>
                <a:lnTo>
                  <a:pt x="149" y="346"/>
                </a:lnTo>
                <a:lnTo>
                  <a:pt x="158" y="342"/>
                </a:lnTo>
                <a:lnTo>
                  <a:pt x="167" y="339"/>
                </a:lnTo>
                <a:lnTo>
                  <a:pt x="177" y="336"/>
                </a:lnTo>
                <a:lnTo>
                  <a:pt x="188" y="334"/>
                </a:lnTo>
                <a:lnTo>
                  <a:pt x="199" y="333"/>
                </a:lnTo>
                <a:lnTo>
                  <a:pt x="200" y="339"/>
                </a:lnTo>
                <a:lnTo>
                  <a:pt x="203" y="345"/>
                </a:lnTo>
                <a:lnTo>
                  <a:pt x="208" y="352"/>
                </a:lnTo>
                <a:lnTo>
                  <a:pt x="212" y="357"/>
                </a:lnTo>
                <a:lnTo>
                  <a:pt x="226" y="348"/>
                </a:lnTo>
                <a:lnTo>
                  <a:pt x="239" y="339"/>
                </a:lnTo>
                <a:lnTo>
                  <a:pt x="233" y="335"/>
                </a:lnTo>
                <a:lnTo>
                  <a:pt x="226" y="329"/>
                </a:lnTo>
                <a:lnTo>
                  <a:pt x="224" y="327"/>
                </a:lnTo>
                <a:lnTo>
                  <a:pt x="221" y="325"/>
                </a:lnTo>
                <a:lnTo>
                  <a:pt x="220" y="322"/>
                </a:lnTo>
                <a:lnTo>
                  <a:pt x="220" y="320"/>
                </a:lnTo>
                <a:lnTo>
                  <a:pt x="220" y="316"/>
                </a:lnTo>
                <a:lnTo>
                  <a:pt x="222" y="312"/>
                </a:lnTo>
                <a:lnTo>
                  <a:pt x="225" y="309"/>
                </a:lnTo>
                <a:lnTo>
                  <a:pt x="229" y="306"/>
                </a:lnTo>
                <a:lnTo>
                  <a:pt x="233" y="303"/>
                </a:lnTo>
                <a:lnTo>
                  <a:pt x="236" y="301"/>
                </a:lnTo>
                <a:lnTo>
                  <a:pt x="238" y="298"/>
                </a:lnTo>
                <a:lnTo>
                  <a:pt x="239" y="296"/>
                </a:lnTo>
                <a:lnTo>
                  <a:pt x="239" y="276"/>
                </a:lnTo>
                <a:lnTo>
                  <a:pt x="239" y="268"/>
                </a:lnTo>
                <a:lnTo>
                  <a:pt x="239" y="259"/>
                </a:lnTo>
                <a:lnTo>
                  <a:pt x="239" y="240"/>
                </a:lnTo>
                <a:lnTo>
                  <a:pt x="242" y="246"/>
                </a:lnTo>
                <a:lnTo>
                  <a:pt x="246" y="253"/>
                </a:lnTo>
                <a:lnTo>
                  <a:pt x="253" y="259"/>
                </a:lnTo>
                <a:lnTo>
                  <a:pt x="259" y="265"/>
                </a:lnTo>
                <a:lnTo>
                  <a:pt x="268" y="255"/>
                </a:lnTo>
                <a:lnTo>
                  <a:pt x="277" y="249"/>
                </a:lnTo>
                <a:lnTo>
                  <a:pt x="284" y="244"/>
                </a:lnTo>
                <a:lnTo>
                  <a:pt x="292" y="241"/>
                </a:lnTo>
                <a:lnTo>
                  <a:pt x="300" y="238"/>
                </a:lnTo>
                <a:lnTo>
                  <a:pt x="307" y="235"/>
                </a:lnTo>
                <a:lnTo>
                  <a:pt x="316" y="230"/>
                </a:lnTo>
                <a:lnTo>
                  <a:pt x="325" y="222"/>
                </a:lnTo>
                <a:lnTo>
                  <a:pt x="316" y="217"/>
                </a:lnTo>
                <a:lnTo>
                  <a:pt x="310" y="212"/>
                </a:lnTo>
                <a:lnTo>
                  <a:pt x="304" y="208"/>
                </a:lnTo>
                <a:lnTo>
                  <a:pt x="301" y="203"/>
                </a:lnTo>
                <a:lnTo>
                  <a:pt x="293" y="194"/>
                </a:lnTo>
                <a:lnTo>
                  <a:pt x="285" y="185"/>
                </a:lnTo>
                <a:lnTo>
                  <a:pt x="300" y="190"/>
                </a:lnTo>
                <a:lnTo>
                  <a:pt x="312" y="196"/>
                </a:lnTo>
                <a:lnTo>
                  <a:pt x="318" y="199"/>
                </a:lnTo>
                <a:lnTo>
                  <a:pt x="325" y="201"/>
                </a:lnTo>
                <a:lnTo>
                  <a:pt x="332" y="203"/>
                </a:lnTo>
                <a:lnTo>
                  <a:pt x="338" y="203"/>
                </a:lnTo>
                <a:lnTo>
                  <a:pt x="343" y="202"/>
                </a:lnTo>
                <a:lnTo>
                  <a:pt x="345" y="200"/>
                </a:lnTo>
                <a:lnTo>
                  <a:pt x="347" y="197"/>
                </a:lnTo>
                <a:lnTo>
                  <a:pt x="347" y="193"/>
                </a:lnTo>
                <a:lnTo>
                  <a:pt x="346" y="185"/>
                </a:lnTo>
                <a:lnTo>
                  <a:pt x="345" y="179"/>
                </a:lnTo>
                <a:lnTo>
                  <a:pt x="322" y="142"/>
                </a:lnTo>
                <a:lnTo>
                  <a:pt x="303" y="111"/>
                </a:lnTo>
                <a:lnTo>
                  <a:pt x="295" y="96"/>
                </a:lnTo>
                <a:lnTo>
                  <a:pt x="290" y="80"/>
                </a:lnTo>
                <a:lnTo>
                  <a:pt x="288" y="72"/>
                </a:lnTo>
                <a:lnTo>
                  <a:pt x="287" y="63"/>
                </a:lnTo>
                <a:lnTo>
                  <a:pt x="285" y="53"/>
                </a:lnTo>
                <a:lnTo>
                  <a:pt x="285" y="43"/>
                </a:lnTo>
                <a:lnTo>
                  <a:pt x="287" y="34"/>
                </a:lnTo>
                <a:lnTo>
                  <a:pt x="288" y="26"/>
                </a:lnTo>
                <a:lnTo>
                  <a:pt x="291" y="19"/>
                </a:lnTo>
                <a:lnTo>
                  <a:pt x="295" y="13"/>
                </a:lnTo>
                <a:lnTo>
                  <a:pt x="301" y="7"/>
                </a:lnTo>
                <a:lnTo>
                  <a:pt x="307" y="4"/>
                </a:lnTo>
                <a:lnTo>
                  <a:pt x="316" y="1"/>
                </a:lnTo>
                <a:lnTo>
                  <a:pt x="325" y="0"/>
                </a:lnTo>
                <a:lnTo>
                  <a:pt x="328" y="7"/>
                </a:lnTo>
                <a:lnTo>
                  <a:pt x="332" y="13"/>
                </a:lnTo>
                <a:lnTo>
                  <a:pt x="336" y="18"/>
                </a:lnTo>
                <a:lnTo>
                  <a:pt x="340" y="23"/>
                </a:lnTo>
                <a:lnTo>
                  <a:pt x="351" y="31"/>
                </a:lnTo>
                <a:lnTo>
                  <a:pt x="363" y="38"/>
                </a:lnTo>
                <a:lnTo>
                  <a:pt x="377" y="45"/>
                </a:lnTo>
                <a:lnTo>
                  <a:pt x="389" y="51"/>
                </a:lnTo>
                <a:lnTo>
                  <a:pt x="401" y="60"/>
                </a:lnTo>
                <a:lnTo>
                  <a:pt x="412" y="68"/>
                </a:lnTo>
                <a:lnTo>
                  <a:pt x="415" y="72"/>
                </a:lnTo>
                <a:lnTo>
                  <a:pt x="418" y="76"/>
                </a:lnTo>
                <a:lnTo>
                  <a:pt x="421" y="81"/>
                </a:lnTo>
                <a:lnTo>
                  <a:pt x="423" y="86"/>
                </a:lnTo>
                <a:lnTo>
                  <a:pt x="426" y="98"/>
                </a:lnTo>
                <a:lnTo>
                  <a:pt x="428" y="111"/>
                </a:lnTo>
                <a:lnTo>
                  <a:pt x="430" y="122"/>
                </a:lnTo>
                <a:lnTo>
                  <a:pt x="434" y="133"/>
                </a:lnTo>
                <a:lnTo>
                  <a:pt x="436" y="137"/>
                </a:lnTo>
                <a:lnTo>
                  <a:pt x="438" y="142"/>
                </a:lnTo>
                <a:lnTo>
                  <a:pt x="441" y="145"/>
                </a:lnTo>
                <a:lnTo>
                  <a:pt x="445" y="148"/>
                </a:lnTo>
                <a:lnTo>
                  <a:pt x="445" y="173"/>
                </a:lnTo>
                <a:lnTo>
                  <a:pt x="440" y="173"/>
                </a:lnTo>
                <a:lnTo>
                  <a:pt x="436" y="175"/>
                </a:lnTo>
                <a:lnTo>
                  <a:pt x="432" y="177"/>
                </a:lnTo>
                <a:lnTo>
                  <a:pt x="428" y="179"/>
                </a:lnTo>
                <a:lnTo>
                  <a:pt x="425" y="181"/>
                </a:lnTo>
                <a:lnTo>
                  <a:pt x="421" y="183"/>
                </a:lnTo>
                <a:lnTo>
                  <a:pt x="416" y="184"/>
                </a:lnTo>
                <a:lnTo>
                  <a:pt x="412" y="185"/>
                </a:lnTo>
                <a:lnTo>
                  <a:pt x="415" y="189"/>
                </a:lnTo>
                <a:lnTo>
                  <a:pt x="418" y="193"/>
                </a:lnTo>
                <a:lnTo>
                  <a:pt x="422" y="196"/>
                </a:lnTo>
                <a:lnTo>
                  <a:pt x="426" y="199"/>
                </a:lnTo>
                <a:lnTo>
                  <a:pt x="430" y="201"/>
                </a:lnTo>
                <a:lnTo>
                  <a:pt x="435" y="202"/>
                </a:lnTo>
                <a:lnTo>
                  <a:pt x="440" y="203"/>
                </a:lnTo>
                <a:lnTo>
                  <a:pt x="445" y="203"/>
                </a:lnTo>
                <a:lnTo>
                  <a:pt x="446" y="211"/>
                </a:lnTo>
                <a:lnTo>
                  <a:pt x="447" y="225"/>
                </a:lnTo>
                <a:lnTo>
                  <a:pt x="450" y="243"/>
                </a:lnTo>
                <a:lnTo>
                  <a:pt x="455" y="262"/>
                </a:lnTo>
                <a:lnTo>
                  <a:pt x="460" y="282"/>
                </a:lnTo>
                <a:lnTo>
                  <a:pt x="468" y="299"/>
                </a:lnTo>
                <a:lnTo>
                  <a:pt x="471" y="306"/>
                </a:lnTo>
                <a:lnTo>
                  <a:pt x="475" y="312"/>
                </a:lnTo>
                <a:lnTo>
                  <a:pt x="480" y="317"/>
                </a:lnTo>
                <a:lnTo>
                  <a:pt x="485" y="320"/>
                </a:lnTo>
                <a:lnTo>
                  <a:pt x="485" y="382"/>
                </a:lnTo>
                <a:lnTo>
                  <a:pt x="480" y="381"/>
                </a:lnTo>
                <a:lnTo>
                  <a:pt x="475" y="378"/>
                </a:lnTo>
                <a:lnTo>
                  <a:pt x="471" y="374"/>
                </a:lnTo>
                <a:lnTo>
                  <a:pt x="467" y="369"/>
                </a:lnTo>
                <a:lnTo>
                  <a:pt x="463" y="364"/>
                </a:lnTo>
                <a:lnTo>
                  <a:pt x="460" y="359"/>
                </a:lnTo>
                <a:lnTo>
                  <a:pt x="459" y="354"/>
                </a:lnTo>
                <a:lnTo>
                  <a:pt x="458" y="351"/>
                </a:lnTo>
                <a:lnTo>
                  <a:pt x="453" y="356"/>
                </a:lnTo>
                <a:lnTo>
                  <a:pt x="448" y="360"/>
                </a:lnTo>
                <a:lnTo>
                  <a:pt x="444" y="361"/>
                </a:lnTo>
                <a:lnTo>
                  <a:pt x="440" y="362"/>
                </a:lnTo>
                <a:lnTo>
                  <a:pt x="436" y="363"/>
                </a:lnTo>
                <a:lnTo>
                  <a:pt x="432" y="363"/>
                </a:lnTo>
                <a:lnTo>
                  <a:pt x="432" y="380"/>
                </a:lnTo>
                <a:lnTo>
                  <a:pt x="430" y="391"/>
                </a:lnTo>
                <a:lnTo>
                  <a:pt x="429" y="399"/>
                </a:lnTo>
                <a:lnTo>
                  <a:pt x="425" y="413"/>
                </a:lnTo>
                <a:lnTo>
                  <a:pt x="419" y="403"/>
                </a:lnTo>
                <a:lnTo>
                  <a:pt x="412" y="393"/>
                </a:lnTo>
                <a:lnTo>
                  <a:pt x="408" y="389"/>
                </a:lnTo>
                <a:lnTo>
                  <a:pt x="404" y="385"/>
                </a:lnTo>
                <a:lnTo>
                  <a:pt x="401" y="382"/>
                </a:lnTo>
                <a:lnTo>
                  <a:pt x="399" y="382"/>
                </a:lnTo>
                <a:lnTo>
                  <a:pt x="389" y="382"/>
                </a:lnTo>
                <a:lnTo>
                  <a:pt x="379" y="382"/>
                </a:lnTo>
                <a:lnTo>
                  <a:pt x="378" y="389"/>
                </a:lnTo>
                <a:lnTo>
                  <a:pt x="376" y="398"/>
                </a:lnTo>
                <a:lnTo>
                  <a:pt x="376" y="402"/>
                </a:lnTo>
                <a:lnTo>
                  <a:pt x="376" y="406"/>
                </a:lnTo>
                <a:lnTo>
                  <a:pt x="377" y="410"/>
                </a:lnTo>
                <a:lnTo>
                  <a:pt x="379" y="413"/>
                </a:lnTo>
                <a:lnTo>
                  <a:pt x="345" y="413"/>
                </a:lnTo>
                <a:lnTo>
                  <a:pt x="340" y="410"/>
                </a:lnTo>
                <a:lnTo>
                  <a:pt x="337" y="407"/>
                </a:lnTo>
                <a:lnTo>
                  <a:pt x="335" y="404"/>
                </a:lnTo>
                <a:lnTo>
                  <a:pt x="334" y="400"/>
                </a:lnTo>
                <a:lnTo>
                  <a:pt x="333" y="392"/>
                </a:lnTo>
                <a:lnTo>
                  <a:pt x="332" y="382"/>
                </a:lnTo>
                <a:lnTo>
                  <a:pt x="312" y="382"/>
                </a:lnTo>
                <a:lnTo>
                  <a:pt x="312" y="395"/>
                </a:lnTo>
                <a:lnTo>
                  <a:pt x="310" y="405"/>
                </a:lnTo>
                <a:lnTo>
                  <a:pt x="307" y="413"/>
                </a:lnTo>
                <a:lnTo>
                  <a:pt x="305" y="420"/>
                </a:lnTo>
                <a:lnTo>
                  <a:pt x="303" y="426"/>
                </a:lnTo>
                <a:lnTo>
                  <a:pt x="301" y="431"/>
                </a:lnTo>
                <a:lnTo>
                  <a:pt x="300" y="437"/>
                </a:lnTo>
                <a:lnTo>
                  <a:pt x="299" y="443"/>
                </a:lnTo>
                <a:lnTo>
                  <a:pt x="299" y="450"/>
                </a:lnTo>
                <a:lnTo>
                  <a:pt x="301" y="456"/>
                </a:lnTo>
                <a:lnTo>
                  <a:pt x="302" y="460"/>
                </a:lnTo>
                <a:lnTo>
                  <a:pt x="304" y="463"/>
                </a:lnTo>
                <a:lnTo>
                  <a:pt x="307" y="466"/>
                </a:lnTo>
                <a:lnTo>
                  <a:pt x="312" y="468"/>
                </a:lnTo>
                <a:lnTo>
                  <a:pt x="298" y="468"/>
                </a:lnTo>
                <a:lnTo>
                  <a:pt x="284" y="468"/>
                </a:lnTo>
                <a:lnTo>
                  <a:pt x="272" y="468"/>
                </a:lnTo>
                <a:lnTo>
                  <a:pt x="266" y="468"/>
                </a:lnTo>
                <a:lnTo>
                  <a:pt x="264" y="468"/>
                </a:lnTo>
                <a:lnTo>
                  <a:pt x="260" y="467"/>
                </a:lnTo>
                <a:lnTo>
                  <a:pt x="258" y="465"/>
                </a:lnTo>
                <a:lnTo>
                  <a:pt x="256" y="462"/>
                </a:lnTo>
                <a:lnTo>
                  <a:pt x="251" y="456"/>
                </a:lnTo>
                <a:lnTo>
                  <a:pt x="247" y="449"/>
                </a:lnTo>
                <a:lnTo>
                  <a:pt x="244" y="440"/>
                </a:lnTo>
                <a:lnTo>
                  <a:pt x="242" y="432"/>
                </a:lnTo>
                <a:lnTo>
                  <a:pt x="239" y="424"/>
                </a:lnTo>
                <a:lnTo>
                  <a:pt x="239" y="419"/>
                </a:lnTo>
                <a:lnTo>
                  <a:pt x="229" y="418"/>
                </a:lnTo>
                <a:lnTo>
                  <a:pt x="222" y="417"/>
                </a:lnTo>
                <a:lnTo>
                  <a:pt x="215" y="414"/>
                </a:lnTo>
                <a:lnTo>
                  <a:pt x="209" y="411"/>
                </a:lnTo>
                <a:lnTo>
                  <a:pt x="204" y="406"/>
                </a:lnTo>
                <a:lnTo>
                  <a:pt x="202" y="401"/>
                </a:lnTo>
                <a:lnTo>
                  <a:pt x="200" y="395"/>
                </a:lnTo>
                <a:lnTo>
                  <a:pt x="199" y="389"/>
                </a:lnTo>
                <a:lnTo>
                  <a:pt x="190" y="394"/>
                </a:lnTo>
                <a:lnTo>
                  <a:pt x="179" y="399"/>
                </a:lnTo>
                <a:lnTo>
                  <a:pt x="166" y="405"/>
                </a:lnTo>
                <a:lnTo>
                  <a:pt x="150" y="411"/>
                </a:lnTo>
                <a:lnTo>
                  <a:pt x="136" y="417"/>
                </a:lnTo>
                <a:lnTo>
                  <a:pt x="121" y="421"/>
                </a:lnTo>
                <a:lnTo>
                  <a:pt x="107" y="424"/>
                </a:lnTo>
                <a:lnTo>
                  <a:pt x="93" y="425"/>
                </a:lnTo>
                <a:lnTo>
                  <a:pt x="90" y="435"/>
                </a:lnTo>
                <a:lnTo>
                  <a:pt x="86" y="443"/>
                </a:lnTo>
                <a:lnTo>
                  <a:pt x="80" y="451"/>
                </a:lnTo>
                <a:lnTo>
                  <a:pt x="72" y="455"/>
                </a:lnTo>
                <a:lnTo>
                  <a:pt x="65" y="459"/>
                </a:lnTo>
                <a:lnTo>
                  <a:pt x="56" y="461"/>
                </a:lnTo>
                <a:lnTo>
                  <a:pt x="45" y="462"/>
                </a:lnTo>
                <a:lnTo>
                  <a:pt x="33" y="462"/>
                </a:lnTo>
                <a:lnTo>
                  <a:pt x="27" y="461"/>
                </a:lnTo>
                <a:lnTo>
                  <a:pt x="22" y="457"/>
                </a:lnTo>
                <a:lnTo>
                  <a:pt x="16" y="452"/>
                </a:lnTo>
                <a:lnTo>
                  <a:pt x="11" y="446"/>
                </a:lnTo>
                <a:lnTo>
                  <a:pt x="7" y="438"/>
                </a:lnTo>
                <a:lnTo>
                  <a:pt x="3" y="431"/>
                </a:lnTo>
                <a:lnTo>
                  <a:pt x="1" y="424"/>
                </a:lnTo>
                <a:lnTo>
                  <a:pt x="0" y="419"/>
                </a:lnTo>
                <a:lnTo>
                  <a:pt x="0" y="417"/>
                </a:lnTo>
                <a:lnTo>
                  <a:pt x="1" y="415"/>
                </a:lnTo>
                <a:lnTo>
                  <a:pt x="2" y="414"/>
                </a:lnTo>
                <a:lnTo>
                  <a:pt x="3" y="414"/>
                </a:lnTo>
                <a:lnTo>
                  <a:pt x="7" y="413"/>
                </a:lnTo>
                <a:lnTo>
                  <a:pt x="11" y="414"/>
                </a:lnTo>
                <a:lnTo>
                  <a:pt x="16" y="414"/>
                </a:lnTo>
                <a:lnTo>
                  <a:pt x="22" y="415"/>
                </a:lnTo>
                <a:lnTo>
                  <a:pt x="27" y="414"/>
                </a:lnTo>
                <a:lnTo>
                  <a:pt x="33" y="413"/>
                </a:lnTo>
                <a:lnTo>
                  <a:pt x="38" y="411"/>
                </a:lnTo>
                <a:lnTo>
                  <a:pt x="44" y="409"/>
                </a:lnTo>
                <a:lnTo>
                  <a:pt x="48" y="405"/>
                </a:lnTo>
                <a:lnTo>
                  <a:pt x="53" y="401"/>
                </a:lnTo>
                <a:lnTo>
                  <a:pt x="60" y="391"/>
                </a:lnTo>
                <a:lnTo>
                  <a:pt x="66" y="379"/>
                </a:lnTo>
                <a:lnTo>
                  <a:pt x="72" y="369"/>
                </a:lnTo>
                <a:lnTo>
                  <a:pt x="80" y="360"/>
                </a:lnTo>
                <a:lnTo>
                  <a:pt x="83" y="356"/>
                </a:lnTo>
                <a:lnTo>
                  <a:pt x="89" y="354"/>
                </a:lnTo>
                <a:lnTo>
                  <a:pt x="93" y="352"/>
                </a:lnTo>
                <a:lnTo>
                  <a:pt x="100" y="351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88" name="Freeform 486"/>
          <p:cNvSpPr>
            <a:spLocks/>
          </p:cNvSpPr>
          <p:nvPr userDrawn="1">
            <p:custDataLst>
              <p:tags r:id="rId323"/>
            </p:custDataLst>
          </p:nvPr>
        </p:nvSpPr>
        <p:spPr bwMode="auto">
          <a:xfrm>
            <a:off x="4721229" y="1112055"/>
            <a:ext cx="107950" cy="45244"/>
          </a:xfrm>
          <a:custGeom>
            <a:avLst/>
            <a:gdLst>
              <a:gd name="T0" fmla="*/ 5199153 w 246"/>
              <a:gd name="T1" fmla="*/ 74267252 h 42"/>
              <a:gd name="T2" fmla="*/ 6932496 w 246"/>
              <a:gd name="T3" fmla="*/ 74267252 h 42"/>
              <a:gd name="T4" fmla="*/ 8665402 w 246"/>
              <a:gd name="T5" fmla="*/ 72204712 h 42"/>
              <a:gd name="T6" fmla="*/ 10206103 w 246"/>
              <a:gd name="T7" fmla="*/ 68078197 h 42"/>
              <a:gd name="T8" fmla="*/ 11361080 w 246"/>
              <a:gd name="T9" fmla="*/ 63953117 h 42"/>
              <a:gd name="T10" fmla="*/ 12709138 w 246"/>
              <a:gd name="T11" fmla="*/ 61889141 h 42"/>
              <a:gd name="T12" fmla="*/ 13864554 w 246"/>
              <a:gd name="T13" fmla="*/ 59826601 h 42"/>
              <a:gd name="T14" fmla="*/ 15405258 w 246"/>
              <a:gd name="T15" fmla="*/ 59826601 h 42"/>
              <a:gd name="T16" fmla="*/ 16752877 w 246"/>
              <a:gd name="T17" fmla="*/ 61889141 h 42"/>
              <a:gd name="T18" fmla="*/ 16752877 w 246"/>
              <a:gd name="T19" fmla="*/ 86645363 h 42"/>
              <a:gd name="T20" fmla="*/ 29654661 w 246"/>
              <a:gd name="T21" fmla="*/ 86645363 h 42"/>
              <a:gd name="T22" fmla="*/ 29654661 w 246"/>
              <a:gd name="T23" fmla="*/ 80456307 h 42"/>
              <a:gd name="T24" fmla="*/ 30039946 w 246"/>
              <a:gd name="T25" fmla="*/ 74267252 h 42"/>
              <a:gd name="T26" fmla="*/ 30617873 w 246"/>
              <a:gd name="T27" fmla="*/ 68078197 h 42"/>
              <a:gd name="T28" fmla="*/ 31388004 w 246"/>
              <a:gd name="T29" fmla="*/ 63953117 h 42"/>
              <a:gd name="T30" fmla="*/ 33698836 w 246"/>
              <a:gd name="T31" fmla="*/ 53637546 h 42"/>
              <a:gd name="T32" fmla="*/ 36587156 w 246"/>
              <a:gd name="T33" fmla="*/ 47448490 h 42"/>
              <a:gd name="T34" fmla="*/ 42556438 w 246"/>
              <a:gd name="T35" fmla="*/ 35070368 h 42"/>
              <a:gd name="T36" fmla="*/ 47370744 w 246"/>
              <a:gd name="T37" fmla="*/ 24756233 h 42"/>
              <a:gd name="T38" fmla="*/ 40823534 w 246"/>
              <a:gd name="T39" fmla="*/ 26818773 h 42"/>
              <a:gd name="T40" fmla="*/ 35817025 w 246"/>
              <a:gd name="T41" fmla="*/ 28881313 h 42"/>
              <a:gd name="T42" fmla="*/ 34276324 w 246"/>
              <a:gd name="T43" fmla="*/ 30945289 h 42"/>
              <a:gd name="T44" fmla="*/ 32928266 w 246"/>
              <a:gd name="T45" fmla="*/ 30945289 h 42"/>
              <a:gd name="T46" fmla="*/ 32350778 w 246"/>
              <a:gd name="T47" fmla="*/ 28881313 h 42"/>
              <a:gd name="T48" fmla="*/ 32158135 w 246"/>
              <a:gd name="T49" fmla="*/ 24756233 h 42"/>
              <a:gd name="T50" fmla="*/ 30617873 w 246"/>
              <a:gd name="T51" fmla="*/ 33007828 h 42"/>
              <a:gd name="T52" fmla="*/ 29269815 w 246"/>
              <a:gd name="T53" fmla="*/ 35070368 h 42"/>
              <a:gd name="T54" fmla="*/ 28307035 w 246"/>
              <a:gd name="T55" fmla="*/ 35070368 h 42"/>
              <a:gd name="T56" fmla="*/ 27151619 w 246"/>
              <a:gd name="T57" fmla="*/ 30945289 h 42"/>
              <a:gd name="T58" fmla="*/ 26381488 w 246"/>
              <a:gd name="T59" fmla="*/ 24756233 h 42"/>
              <a:gd name="T60" fmla="*/ 25610919 w 246"/>
              <a:gd name="T61" fmla="*/ 18567172 h 42"/>
              <a:gd name="T62" fmla="*/ 24840788 w 246"/>
              <a:gd name="T63" fmla="*/ 10315574 h 42"/>
              <a:gd name="T64" fmla="*/ 24262860 w 246"/>
              <a:gd name="T65" fmla="*/ 0 h 42"/>
              <a:gd name="T66" fmla="*/ 23300087 w 246"/>
              <a:gd name="T67" fmla="*/ 4126517 h 42"/>
              <a:gd name="T68" fmla="*/ 21759825 w 246"/>
              <a:gd name="T69" fmla="*/ 8251598 h 42"/>
              <a:gd name="T70" fmla="*/ 19834279 w 246"/>
              <a:gd name="T71" fmla="*/ 10315574 h 42"/>
              <a:gd name="T72" fmla="*/ 17908293 w 246"/>
              <a:gd name="T73" fmla="*/ 10315574 h 42"/>
              <a:gd name="T74" fmla="*/ 14249839 w 246"/>
              <a:gd name="T75" fmla="*/ 12378117 h 42"/>
              <a:gd name="T76" fmla="*/ 11553722 w 246"/>
              <a:gd name="T77" fmla="*/ 12378117 h 42"/>
              <a:gd name="T78" fmla="*/ 11168876 w 246"/>
              <a:gd name="T79" fmla="*/ 18567172 h 42"/>
              <a:gd name="T80" fmla="*/ 10783591 w 246"/>
              <a:gd name="T81" fmla="*/ 24756233 h 42"/>
              <a:gd name="T82" fmla="*/ 10398307 w 246"/>
              <a:gd name="T83" fmla="*/ 30945289 h 42"/>
              <a:gd name="T84" fmla="*/ 9628176 w 246"/>
              <a:gd name="T85" fmla="*/ 35070368 h 42"/>
              <a:gd name="T86" fmla="*/ 8087475 w 246"/>
              <a:gd name="T87" fmla="*/ 41259424 h 42"/>
              <a:gd name="T88" fmla="*/ 6354569 w 246"/>
              <a:gd name="T89" fmla="*/ 45385939 h 42"/>
              <a:gd name="T90" fmla="*/ 2695678 w 246"/>
              <a:gd name="T91" fmla="*/ 49511030 h 42"/>
              <a:gd name="T92" fmla="*/ 0 w 246"/>
              <a:gd name="T93" fmla="*/ 49511030 h 42"/>
              <a:gd name="T94" fmla="*/ 192642 w 246"/>
              <a:gd name="T95" fmla="*/ 55700086 h 42"/>
              <a:gd name="T96" fmla="*/ 577489 w 246"/>
              <a:gd name="T97" fmla="*/ 59826601 h 42"/>
              <a:gd name="T98" fmla="*/ 962774 w 246"/>
              <a:gd name="T99" fmla="*/ 63953117 h 42"/>
              <a:gd name="T100" fmla="*/ 1732905 w 246"/>
              <a:gd name="T101" fmla="*/ 68078197 h 42"/>
              <a:gd name="T102" fmla="*/ 3273606 w 246"/>
              <a:gd name="T103" fmla="*/ 72204712 h 42"/>
              <a:gd name="T104" fmla="*/ 5199153 w 246"/>
              <a:gd name="T105" fmla="*/ 74267252 h 4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246"/>
              <a:gd name="T160" fmla="*/ 0 h 42"/>
              <a:gd name="T161" fmla="*/ 246 w 246"/>
              <a:gd name="T162" fmla="*/ 42 h 42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89" name="Freeform 487"/>
          <p:cNvSpPr>
            <a:spLocks/>
          </p:cNvSpPr>
          <p:nvPr userDrawn="1">
            <p:custDataLst>
              <p:tags r:id="rId324"/>
            </p:custDataLst>
          </p:nvPr>
        </p:nvSpPr>
        <p:spPr bwMode="auto">
          <a:xfrm>
            <a:off x="4864102" y="1098959"/>
            <a:ext cx="63500" cy="42863"/>
          </a:xfrm>
          <a:custGeom>
            <a:avLst/>
            <a:gdLst>
              <a:gd name="T0" fmla="*/ 18707355 w 149"/>
              <a:gd name="T1" fmla="*/ 0 h 61"/>
              <a:gd name="T2" fmla="*/ 21431887 w 149"/>
              <a:gd name="T3" fmla="*/ 877861 h 61"/>
              <a:gd name="T4" fmla="*/ 24337544 w 149"/>
              <a:gd name="T5" fmla="*/ 2633585 h 61"/>
              <a:gd name="T6" fmla="*/ 26335449 w 149"/>
              <a:gd name="T7" fmla="*/ 4388371 h 61"/>
              <a:gd name="T8" fmla="*/ 27062076 w 149"/>
              <a:gd name="T9" fmla="*/ 5266232 h 61"/>
              <a:gd name="T10" fmla="*/ 27062076 w 149"/>
              <a:gd name="T11" fmla="*/ 7021955 h 61"/>
              <a:gd name="T12" fmla="*/ 26698976 w 149"/>
              <a:gd name="T13" fmla="*/ 8777679 h 61"/>
              <a:gd name="T14" fmla="*/ 26335449 w 149"/>
              <a:gd name="T15" fmla="*/ 10533402 h 61"/>
              <a:gd name="T16" fmla="*/ 25609248 w 149"/>
              <a:gd name="T17" fmla="*/ 11411263 h 61"/>
              <a:gd name="T18" fmla="*/ 24882621 w 149"/>
              <a:gd name="T19" fmla="*/ 12288187 h 61"/>
              <a:gd name="T20" fmla="*/ 23974443 w 149"/>
              <a:gd name="T21" fmla="*/ 12288187 h 61"/>
              <a:gd name="T22" fmla="*/ 23066266 w 149"/>
              <a:gd name="T23" fmla="*/ 12288187 h 61"/>
              <a:gd name="T24" fmla="*/ 22339638 w 149"/>
              <a:gd name="T25" fmla="*/ 10533402 h 61"/>
              <a:gd name="T26" fmla="*/ 22339638 w 149"/>
              <a:gd name="T27" fmla="*/ 20188006 h 61"/>
              <a:gd name="T28" fmla="*/ 22339638 w 149"/>
              <a:gd name="T29" fmla="*/ 28965681 h 61"/>
              <a:gd name="T30" fmla="*/ 22339638 w 149"/>
              <a:gd name="T31" fmla="*/ 35987642 h 61"/>
              <a:gd name="T32" fmla="*/ 22339638 w 149"/>
              <a:gd name="T33" fmla="*/ 43009595 h 61"/>
              <a:gd name="T34" fmla="*/ 21068360 w 149"/>
              <a:gd name="T35" fmla="*/ 43887456 h 61"/>
              <a:gd name="T36" fmla="*/ 19797082 w 149"/>
              <a:gd name="T37" fmla="*/ 44765317 h 61"/>
              <a:gd name="T38" fmla="*/ 18888905 w 149"/>
              <a:gd name="T39" fmla="*/ 46521040 h 61"/>
              <a:gd name="T40" fmla="*/ 18162278 w 149"/>
              <a:gd name="T41" fmla="*/ 48276762 h 61"/>
              <a:gd name="T42" fmla="*/ 17072550 w 149"/>
              <a:gd name="T43" fmla="*/ 50031548 h 61"/>
              <a:gd name="T44" fmla="*/ 16164799 w 149"/>
              <a:gd name="T45" fmla="*/ 51787271 h 61"/>
              <a:gd name="T46" fmla="*/ 15074645 w 149"/>
              <a:gd name="T47" fmla="*/ 53542993 h 61"/>
              <a:gd name="T48" fmla="*/ 13803363 w 149"/>
              <a:gd name="T49" fmla="*/ 53542993 h 61"/>
              <a:gd name="T50" fmla="*/ 12168985 w 149"/>
              <a:gd name="T51" fmla="*/ 52665132 h 61"/>
              <a:gd name="T52" fmla="*/ 9626003 w 149"/>
              <a:gd name="T53" fmla="*/ 50031548 h 61"/>
              <a:gd name="T54" fmla="*/ 7083447 w 149"/>
              <a:gd name="T55" fmla="*/ 47398901 h 61"/>
              <a:gd name="T56" fmla="*/ 4540463 w 149"/>
              <a:gd name="T57" fmla="*/ 43009595 h 61"/>
              <a:gd name="T58" fmla="*/ 2179456 w 149"/>
              <a:gd name="T59" fmla="*/ 39499087 h 61"/>
              <a:gd name="T60" fmla="*/ 545077 w 149"/>
              <a:gd name="T61" fmla="*/ 35987642 h 61"/>
              <a:gd name="T62" fmla="*/ 181550 w 149"/>
              <a:gd name="T63" fmla="*/ 34232856 h 61"/>
              <a:gd name="T64" fmla="*/ 0 w 149"/>
              <a:gd name="T65" fmla="*/ 33354995 h 61"/>
              <a:gd name="T66" fmla="*/ 0 w 149"/>
              <a:gd name="T67" fmla="*/ 32477134 h 61"/>
              <a:gd name="T68" fmla="*/ 545077 w 149"/>
              <a:gd name="T69" fmla="*/ 32477134 h 61"/>
              <a:gd name="T70" fmla="*/ 3450734 w 149"/>
              <a:gd name="T71" fmla="*/ 31599272 h 61"/>
              <a:gd name="T72" fmla="*/ 6356818 w 149"/>
              <a:gd name="T73" fmla="*/ 30721411 h 61"/>
              <a:gd name="T74" fmla="*/ 8717825 w 149"/>
              <a:gd name="T75" fmla="*/ 28087820 h 61"/>
              <a:gd name="T76" fmla="*/ 10897281 w 149"/>
              <a:gd name="T77" fmla="*/ 23699451 h 61"/>
              <a:gd name="T78" fmla="*/ 13077162 w 149"/>
              <a:gd name="T79" fmla="*/ 19310144 h 61"/>
              <a:gd name="T80" fmla="*/ 14893095 w 149"/>
              <a:gd name="T81" fmla="*/ 14043910 h 61"/>
              <a:gd name="T82" fmla="*/ 16891000 w 149"/>
              <a:gd name="T83" fmla="*/ 7021955 h 61"/>
              <a:gd name="T84" fmla="*/ 18707355 w 149"/>
              <a:gd name="T85" fmla="*/ 0 h 61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149"/>
              <a:gd name="T130" fmla="*/ 0 h 61"/>
              <a:gd name="T131" fmla="*/ 149 w 149"/>
              <a:gd name="T132" fmla="*/ 61 h 61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90" name="Freeform 488"/>
          <p:cNvSpPr>
            <a:spLocks/>
          </p:cNvSpPr>
          <p:nvPr userDrawn="1">
            <p:custDataLst>
              <p:tags r:id="rId325"/>
            </p:custDataLst>
          </p:nvPr>
        </p:nvSpPr>
        <p:spPr bwMode="auto">
          <a:xfrm>
            <a:off x="4900621" y="1104912"/>
            <a:ext cx="130175" cy="42863"/>
          </a:xfrm>
          <a:custGeom>
            <a:avLst/>
            <a:gdLst>
              <a:gd name="T0" fmla="*/ 25209539 w 299"/>
              <a:gd name="T1" fmla="*/ 42943586 h 74"/>
              <a:gd name="T2" fmla="*/ 29190113 w 299"/>
              <a:gd name="T3" fmla="*/ 38768548 h 74"/>
              <a:gd name="T4" fmla="*/ 33738835 w 299"/>
              <a:gd name="T5" fmla="*/ 32207885 h 74"/>
              <a:gd name="T6" fmla="*/ 37719402 w 299"/>
              <a:gd name="T7" fmla="*/ 25050231 h 74"/>
              <a:gd name="T8" fmla="*/ 39235787 w 299"/>
              <a:gd name="T9" fmla="*/ 23857804 h 74"/>
              <a:gd name="T10" fmla="*/ 39994198 w 299"/>
              <a:gd name="T11" fmla="*/ 27436635 h 74"/>
              <a:gd name="T12" fmla="*/ 41699969 w 299"/>
              <a:gd name="T13" fmla="*/ 30418473 h 74"/>
              <a:gd name="T14" fmla="*/ 46059306 w 299"/>
              <a:gd name="T15" fmla="*/ 32804099 h 74"/>
              <a:gd name="T16" fmla="*/ 50987668 w 299"/>
              <a:gd name="T17" fmla="*/ 32804099 h 74"/>
              <a:gd name="T18" fmla="*/ 54209825 w 299"/>
              <a:gd name="T19" fmla="*/ 32804099 h 74"/>
              <a:gd name="T20" fmla="*/ 55536825 w 299"/>
              <a:gd name="T21" fmla="*/ 27436635 h 74"/>
              <a:gd name="T22" fmla="*/ 56484621 w 299"/>
              <a:gd name="T23" fmla="*/ 18489568 h 74"/>
              <a:gd name="T24" fmla="*/ 52883259 w 299"/>
              <a:gd name="T25" fmla="*/ 14910744 h 74"/>
              <a:gd name="T26" fmla="*/ 46249126 w 299"/>
              <a:gd name="T27" fmla="*/ 14910744 h 74"/>
              <a:gd name="T28" fmla="*/ 42647764 w 299"/>
              <a:gd name="T29" fmla="*/ 14910744 h 74"/>
              <a:gd name="T30" fmla="*/ 40562788 w 299"/>
              <a:gd name="T31" fmla="*/ 16103943 h 74"/>
              <a:gd name="T32" fmla="*/ 38667197 w 299"/>
              <a:gd name="T33" fmla="*/ 19682767 h 74"/>
              <a:gd name="T34" fmla="*/ 32601654 w 299"/>
              <a:gd name="T35" fmla="*/ 22068392 h 74"/>
              <a:gd name="T36" fmla="*/ 33360065 w 299"/>
              <a:gd name="T37" fmla="*/ 16700156 h 74"/>
              <a:gd name="T38" fmla="*/ 34118040 w 299"/>
              <a:gd name="T39" fmla="*/ 12525115 h 74"/>
              <a:gd name="T40" fmla="*/ 36771606 w 299"/>
              <a:gd name="T41" fmla="*/ 7753865 h 74"/>
              <a:gd name="T42" fmla="*/ 39804378 w 299"/>
              <a:gd name="T43" fmla="*/ 5368238 h 74"/>
              <a:gd name="T44" fmla="*/ 42647764 w 299"/>
              <a:gd name="T45" fmla="*/ 0 h 74"/>
              <a:gd name="T46" fmla="*/ 35065835 w 299"/>
              <a:gd name="T47" fmla="*/ 1789413 h 74"/>
              <a:gd name="T48" fmla="*/ 29758703 w 299"/>
              <a:gd name="T49" fmla="*/ 6560666 h 74"/>
              <a:gd name="T50" fmla="*/ 25398924 w 299"/>
              <a:gd name="T51" fmla="*/ 14910744 h 74"/>
              <a:gd name="T52" fmla="*/ 21608177 w 299"/>
              <a:gd name="T53" fmla="*/ 23857804 h 74"/>
              <a:gd name="T54" fmla="*/ 18954611 w 299"/>
              <a:gd name="T55" fmla="*/ 31611672 h 74"/>
              <a:gd name="T56" fmla="*/ 16490430 w 299"/>
              <a:gd name="T57" fmla="*/ 35190496 h 74"/>
              <a:gd name="T58" fmla="*/ 12131089 w 299"/>
              <a:gd name="T59" fmla="*/ 37576122 h 74"/>
              <a:gd name="T60" fmla="*/ 6065545 w 299"/>
              <a:gd name="T61" fmla="*/ 38172335 h 74"/>
              <a:gd name="T62" fmla="*/ 2274362 w 299"/>
              <a:gd name="T63" fmla="*/ 39961747 h 74"/>
              <a:gd name="T64" fmla="*/ 379205 w 299"/>
              <a:gd name="T65" fmla="*/ 41751159 h 74"/>
              <a:gd name="T66" fmla="*/ 7392112 w 299"/>
              <a:gd name="T67" fmla="*/ 44136784 h 74"/>
              <a:gd name="T68" fmla="*/ 19333816 w 299"/>
              <a:gd name="T69" fmla="*/ 44136784 h 7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299"/>
              <a:gd name="T106" fmla="*/ 0 h 74"/>
              <a:gd name="T107" fmla="*/ 299 w 299"/>
              <a:gd name="T108" fmla="*/ 74 h 74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91" name="Freeform 489"/>
          <p:cNvSpPr>
            <a:spLocks/>
          </p:cNvSpPr>
          <p:nvPr userDrawn="1">
            <p:custDataLst>
              <p:tags r:id="rId326"/>
            </p:custDataLst>
          </p:nvPr>
        </p:nvSpPr>
        <p:spPr bwMode="auto">
          <a:xfrm>
            <a:off x="5434022" y="1244215"/>
            <a:ext cx="41275" cy="42863"/>
          </a:xfrm>
          <a:custGeom>
            <a:avLst/>
            <a:gdLst>
              <a:gd name="T0" fmla="*/ 15843823 w 100"/>
              <a:gd name="T1" fmla="*/ 0 h 42"/>
              <a:gd name="T2" fmla="*/ 16525273 w 100"/>
              <a:gd name="T3" fmla="*/ 12960804 h 42"/>
              <a:gd name="T4" fmla="*/ 17036258 w 100"/>
              <a:gd name="T5" fmla="*/ 33327974 h 42"/>
              <a:gd name="T6" fmla="*/ 15673357 w 100"/>
              <a:gd name="T7" fmla="*/ 44436841 h 42"/>
              <a:gd name="T8" fmla="*/ 14651389 w 100"/>
              <a:gd name="T9" fmla="*/ 53695148 h 42"/>
              <a:gd name="T10" fmla="*/ 13458538 w 100"/>
              <a:gd name="T11" fmla="*/ 62952084 h 42"/>
              <a:gd name="T12" fmla="*/ 12266104 w 100"/>
              <a:gd name="T13" fmla="*/ 68506518 h 42"/>
              <a:gd name="T14" fmla="*/ 11073670 w 100"/>
              <a:gd name="T15" fmla="*/ 72210381 h 42"/>
              <a:gd name="T16" fmla="*/ 9710770 w 100"/>
              <a:gd name="T17" fmla="*/ 75912883 h 42"/>
              <a:gd name="T18" fmla="*/ 8347869 w 100"/>
              <a:gd name="T19" fmla="*/ 77764814 h 42"/>
              <a:gd name="T20" fmla="*/ 6814504 w 100"/>
              <a:gd name="T21" fmla="*/ 77764814 h 42"/>
              <a:gd name="T22" fmla="*/ 4599686 w 100"/>
              <a:gd name="T23" fmla="*/ 75912883 h 42"/>
              <a:gd name="T24" fmla="*/ 2044351 w 100"/>
              <a:gd name="T25" fmla="*/ 72210381 h 42"/>
              <a:gd name="T26" fmla="*/ 170466 w 100"/>
              <a:gd name="T27" fmla="*/ 68506518 h 42"/>
              <a:gd name="T28" fmla="*/ 0 w 100"/>
              <a:gd name="T29" fmla="*/ 66655947 h 42"/>
              <a:gd name="T30" fmla="*/ 1022382 w 100"/>
              <a:gd name="T31" fmla="*/ 66655947 h 42"/>
              <a:gd name="T32" fmla="*/ 2044351 w 100"/>
              <a:gd name="T33" fmla="*/ 64804016 h 42"/>
              <a:gd name="T34" fmla="*/ 3066732 w 100"/>
              <a:gd name="T35" fmla="*/ 61101513 h 42"/>
              <a:gd name="T36" fmla="*/ 3918236 w 100"/>
              <a:gd name="T37" fmla="*/ 55545719 h 42"/>
              <a:gd name="T38" fmla="*/ 5622068 w 100"/>
              <a:gd name="T39" fmla="*/ 46288783 h 42"/>
              <a:gd name="T40" fmla="*/ 7495954 w 100"/>
              <a:gd name="T41" fmla="*/ 33327974 h 42"/>
              <a:gd name="T42" fmla="*/ 9369838 w 100"/>
              <a:gd name="T43" fmla="*/ 20367169 h 42"/>
              <a:gd name="T44" fmla="*/ 11244135 w 100"/>
              <a:gd name="T45" fmla="*/ 9258299 h 42"/>
              <a:gd name="T46" fmla="*/ 12266104 w 100"/>
              <a:gd name="T47" fmla="*/ 5554435 h 42"/>
              <a:gd name="T48" fmla="*/ 13458538 w 100"/>
              <a:gd name="T49" fmla="*/ 1851932 h 42"/>
              <a:gd name="T50" fmla="*/ 14651389 w 100"/>
              <a:gd name="T51" fmla="*/ 0 h 42"/>
              <a:gd name="T52" fmla="*/ 15843823 w 100"/>
              <a:gd name="T53" fmla="*/ 0 h 42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100"/>
              <a:gd name="T82" fmla="*/ 0 h 42"/>
              <a:gd name="T83" fmla="*/ 100 w 100"/>
              <a:gd name="T84" fmla="*/ 42 h 42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100" h="42">
                <a:moveTo>
                  <a:pt x="93" y="0"/>
                </a:moveTo>
                <a:lnTo>
                  <a:pt x="97" y="7"/>
                </a:lnTo>
                <a:lnTo>
                  <a:pt x="100" y="18"/>
                </a:lnTo>
                <a:lnTo>
                  <a:pt x="92" y="24"/>
                </a:lnTo>
                <a:lnTo>
                  <a:pt x="86" y="29"/>
                </a:lnTo>
                <a:lnTo>
                  <a:pt x="79" y="34"/>
                </a:lnTo>
                <a:lnTo>
                  <a:pt x="72" y="37"/>
                </a:lnTo>
                <a:lnTo>
                  <a:pt x="65" y="39"/>
                </a:lnTo>
                <a:lnTo>
                  <a:pt x="57" y="41"/>
                </a:lnTo>
                <a:lnTo>
                  <a:pt x="49" y="42"/>
                </a:lnTo>
                <a:lnTo>
                  <a:pt x="40" y="42"/>
                </a:lnTo>
                <a:lnTo>
                  <a:pt x="27" y="41"/>
                </a:lnTo>
                <a:lnTo>
                  <a:pt x="12" y="39"/>
                </a:lnTo>
                <a:lnTo>
                  <a:pt x="1" y="37"/>
                </a:lnTo>
                <a:lnTo>
                  <a:pt x="0" y="36"/>
                </a:lnTo>
                <a:lnTo>
                  <a:pt x="6" y="36"/>
                </a:lnTo>
                <a:lnTo>
                  <a:pt x="12" y="35"/>
                </a:lnTo>
                <a:lnTo>
                  <a:pt x="18" y="33"/>
                </a:lnTo>
                <a:lnTo>
                  <a:pt x="23" y="30"/>
                </a:lnTo>
                <a:lnTo>
                  <a:pt x="33" y="25"/>
                </a:lnTo>
                <a:lnTo>
                  <a:pt x="44" y="18"/>
                </a:lnTo>
                <a:lnTo>
                  <a:pt x="55" y="11"/>
                </a:lnTo>
                <a:lnTo>
                  <a:pt x="66" y="5"/>
                </a:lnTo>
                <a:lnTo>
                  <a:pt x="72" y="3"/>
                </a:lnTo>
                <a:lnTo>
                  <a:pt x="79" y="1"/>
                </a:lnTo>
                <a:lnTo>
                  <a:pt x="86" y="0"/>
                </a:lnTo>
                <a:lnTo>
                  <a:pt x="93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92" name="Freeform 490"/>
          <p:cNvSpPr>
            <a:spLocks/>
          </p:cNvSpPr>
          <p:nvPr userDrawn="1">
            <p:custDataLst>
              <p:tags r:id="rId327"/>
            </p:custDataLst>
          </p:nvPr>
        </p:nvSpPr>
        <p:spPr bwMode="auto">
          <a:xfrm>
            <a:off x="5343534" y="1138247"/>
            <a:ext cx="15875" cy="44054"/>
          </a:xfrm>
          <a:custGeom>
            <a:avLst/>
            <a:gdLst>
              <a:gd name="T0" fmla="*/ 6300390 w 40"/>
              <a:gd name="T1" fmla="*/ 690030449 h 5"/>
              <a:gd name="T2" fmla="*/ 0 w 40"/>
              <a:gd name="T3" fmla="*/ 690030449 h 5"/>
              <a:gd name="T4" fmla="*/ 787400 w 40"/>
              <a:gd name="T5" fmla="*/ 414020692 h 5"/>
              <a:gd name="T6" fmla="*/ 1417637 w 40"/>
              <a:gd name="T7" fmla="*/ 138010798 h 5"/>
              <a:gd name="T8" fmla="*/ 2362597 w 40"/>
              <a:gd name="T9" fmla="*/ 0 h 5"/>
              <a:gd name="T10" fmla="*/ 3150393 w 40"/>
              <a:gd name="T11" fmla="*/ 0 h 5"/>
              <a:gd name="T12" fmla="*/ 3937794 w 40"/>
              <a:gd name="T13" fmla="*/ 0 h 5"/>
              <a:gd name="T14" fmla="*/ 4725193 w 40"/>
              <a:gd name="T15" fmla="*/ 138010798 h 5"/>
              <a:gd name="T16" fmla="*/ 5512990 w 40"/>
              <a:gd name="T17" fmla="*/ 414020692 h 5"/>
              <a:gd name="T18" fmla="*/ 6300390 w 40"/>
              <a:gd name="T19" fmla="*/ 690030449 h 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40"/>
              <a:gd name="T31" fmla="*/ 0 h 5"/>
              <a:gd name="T32" fmla="*/ 40 w 40"/>
              <a:gd name="T33" fmla="*/ 5 h 5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40" h="5">
                <a:moveTo>
                  <a:pt x="40" y="5"/>
                </a:moveTo>
                <a:lnTo>
                  <a:pt x="0" y="5"/>
                </a:lnTo>
                <a:lnTo>
                  <a:pt x="5" y="3"/>
                </a:lnTo>
                <a:lnTo>
                  <a:pt x="9" y="1"/>
                </a:lnTo>
                <a:lnTo>
                  <a:pt x="15" y="0"/>
                </a:lnTo>
                <a:lnTo>
                  <a:pt x="20" y="0"/>
                </a:lnTo>
                <a:lnTo>
                  <a:pt x="25" y="0"/>
                </a:lnTo>
                <a:lnTo>
                  <a:pt x="30" y="1"/>
                </a:lnTo>
                <a:lnTo>
                  <a:pt x="35" y="3"/>
                </a:lnTo>
                <a:lnTo>
                  <a:pt x="40" y="5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93" name="Freeform 491"/>
          <p:cNvSpPr>
            <a:spLocks/>
          </p:cNvSpPr>
          <p:nvPr userDrawn="1">
            <p:custDataLst>
              <p:tags r:id="rId328"/>
            </p:custDataLst>
          </p:nvPr>
        </p:nvSpPr>
        <p:spPr bwMode="auto">
          <a:xfrm>
            <a:off x="5365758" y="1107292"/>
            <a:ext cx="14287" cy="45244"/>
          </a:xfrm>
          <a:custGeom>
            <a:avLst/>
            <a:gdLst>
              <a:gd name="T0" fmla="*/ 0 w 33"/>
              <a:gd name="T1" fmla="*/ 71948278 h 31"/>
              <a:gd name="T2" fmla="*/ 3748822 w 33"/>
              <a:gd name="T3" fmla="*/ 0 h 31"/>
              <a:gd name="T4" fmla="*/ 3748822 w 33"/>
              <a:gd name="T5" fmla="*/ 15147413 h 31"/>
              <a:gd name="T6" fmla="*/ 4123748 w 33"/>
              <a:gd name="T7" fmla="*/ 37868538 h 31"/>
              <a:gd name="T8" fmla="*/ 4685703 w 33"/>
              <a:gd name="T9" fmla="*/ 53015947 h 31"/>
              <a:gd name="T10" fmla="*/ 5060628 w 33"/>
              <a:gd name="T11" fmla="*/ 68161426 h 31"/>
              <a:gd name="T12" fmla="*/ 5810479 w 33"/>
              <a:gd name="T13" fmla="*/ 98456244 h 31"/>
              <a:gd name="T14" fmla="*/ 6185404 w 33"/>
              <a:gd name="T15" fmla="*/ 117390506 h 31"/>
              <a:gd name="T16" fmla="*/ 0 w 33"/>
              <a:gd name="T17" fmla="*/ 117390506 h 31"/>
              <a:gd name="T18" fmla="*/ 0 w 33"/>
              <a:gd name="T19" fmla="*/ 94669392 h 31"/>
              <a:gd name="T20" fmla="*/ 0 w 33"/>
              <a:gd name="T21" fmla="*/ 71948278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3"/>
              <a:gd name="T34" fmla="*/ 0 h 31"/>
              <a:gd name="T35" fmla="*/ 33 w 33"/>
              <a:gd name="T36" fmla="*/ 31 h 31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3" h="31">
                <a:moveTo>
                  <a:pt x="0" y="19"/>
                </a:moveTo>
                <a:lnTo>
                  <a:pt x="20" y="0"/>
                </a:lnTo>
                <a:lnTo>
                  <a:pt x="20" y="4"/>
                </a:lnTo>
                <a:lnTo>
                  <a:pt x="22" y="10"/>
                </a:lnTo>
                <a:lnTo>
                  <a:pt x="25" y="14"/>
                </a:lnTo>
                <a:lnTo>
                  <a:pt x="27" y="18"/>
                </a:lnTo>
                <a:lnTo>
                  <a:pt x="31" y="26"/>
                </a:lnTo>
                <a:lnTo>
                  <a:pt x="33" y="31"/>
                </a:lnTo>
                <a:lnTo>
                  <a:pt x="0" y="31"/>
                </a:lnTo>
                <a:lnTo>
                  <a:pt x="0" y="25"/>
                </a:lnTo>
                <a:lnTo>
                  <a:pt x="0" y="19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94" name="Freeform 492"/>
          <p:cNvSpPr>
            <a:spLocks/>
          </p:cNvSpPr>
          <p:nvPr userDrawn="1">
            <p:custDataLst>
              <p:tags r:id="rId329"/>
            </p:custDataLst>
          </p:nvPr>
        </p:nvSpPr>
        <p:spPr bwMode="auto">
          <a:xfrm>
            <a:off x="5510217" y="1194209"/>
            <a:ext cx="17463" cy="42863"/>
          </a:xfrm>
          <a:custGeom>
            <a:avLst/>
            <a:gdLst>
              <a:gd name="T0" fmla="*/ 7437961 w 41"/>
              <a:gd name="T1" fmla="*/ 0 h 43"/>
              <a:gd name="T2" fmla="*/ 7437961 w 41"/>
              <a:gd name="T3" fmla="*/ 75956331 h 43"/>
              <a:gd name="T4" fmla="*/ 5623937 w 41"/>
              <a:gd name="T5" fmla="*/ 74189998 h 43"/>
              <a:gd name="T6" fmla="*/ 4353824 w 41"/>
              <a:gd name="T7" fmla="*/ 70657332 h 43"/>
              <a:gd name="T8" fmla="*/ 3265581 w 41"/>
              <a:gd name="T9" fmla="*/ 65358332 h 43"/>
              <a:gd name="T10" fmla="*/ 2358357 w 41"/>
              <a:gd name="T11" fmla="*/ 58291671 h 43"/>
              <a:gd name="T12" fmla="*/ 907224 w 41"/>
              <a:gd name="T13" fmla="*/ 44161006 h 43"/>
              <a:gd name="T14" fmla="*/ 0 w 41"/>
              <a:gd name="T15" fmla="*/ 33561668 h 43"/>
              <a:gd name="T16" fmla="*/ 2176912 w 41"/>
              <a:gd name="T17" fmla="*/ 22963670 h 43"/>
              <a:gd name="T18" fmla="*/ 4535269 w 41"/>
              <a:gd name="T19" fmla="*/ 12364337 h 43"/>
              <a:gd name="T20" fmla="*/ 6530735 w 41"/>
              <a:gd name="T21" fmla="*/ 3532667 h 43"/>
              <a:gd name="T22" fmla="*/ 7437961 w 41"/>
              <a:gd name="T23" fmla="*/ 0 h 4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41"/>
              <a:gd name="T37" fmla="*/ 0 h 43"/>
              <a:gd name="T38" fmla="*/ 41 w 41"/>
              <a:gd name="T39" fmla="*/ 43 h 43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41" h="43">
                <a:moveTo>
                  <a:pt x="41" y="0"/>
                </a:moveTo>
                <a:lnTo>
                  <a:pt x="41" y="43"/>
                </a:lnTo>
                <a:lnTo>
                  <a:pt x="31" y="42"/>
                </a:lnTo>
                <a:lnTo>
                  <a:pt x="24" y="40"/>
                </a:lnTo>
                <a:lnTo>
                  <a:pt x="18" y="37"/>
                </a:lnTo>
                <a:lnTo>
                  <a:pt x="13" y="33"/>
                </a:lnTo>
                <a:lnTo>
                  <a:pt x="5" y="25"/>
                </a:lnTo>
                <a:lnTo>
                  <a:pt x="0" y="19"/>
                </a:lnTo>
                <a:lnTo>
                  <a:pt x="12" y="13"/>
                </a:lnTo>
                <a:lnTo>
                  <a:pt x="25" y="7"/>
                </a:lnTo>
                <a:lnTo>
                  <a:pt x="36" y="2"/>
                </a:lnTo>
                <a:lnTo>
                  <a:pt x="41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95" name="Freeform 493"/>
          <p:cNvSpPr>
            <a:spLocks/>
          </p:cNvSpPr>
          <p:nvPr userDrawn="1">
            <p:custDataLst>
              <p:tags r:id="rId330"/>
            </p:custDataLst>
          </p:nvPr>
        </p:nvSpPr>
        <p:spPr bwMode="auto">
          <a:xfrm>
            <a:off x="5564190" y="1107292"/>
            <a:ext cx="93663" cy="45244"/>
          </a:xfrm>
          <a:custGeom>
            <a:avLst/>
            <a:gdLst>
              <a:gd name="T0" fmla="*/ 11795382 w 213"/>
              <a:gd name="T1" fmla="*/ 0 h 62"/>
              <a:gd name="T2" fmla="*/ 16049355 w 213"/>
              <a:gd name="T3" fmla="*/ 0 h 62"/>
              <a:gd name="T4" fmla="*/ 20303325 w 213"/>
              <a:gd name="T5" fmla="*/ 946713 h 62"/>
              <a:gd name="T6" fmla="*/ 24557295 w 213"/>
              <a:gd name="T7" fmla="*/ 2840140 h 62"/>
              <a:gd name="T8" fmla="*/ 28231258 w 213"/>
              <a:gd name="T9" fmla="*/ 6626993 h 62"/>
              <a:gd name="T10" fmla="*/ 32098710 w 213"/>
              <a:gd name="T11" fmla="*/ 10413848 h 62"/>
              <a:gd name="T12" fmla="*/ 35579191 w 213"/>
              <a:gd name="T13" fmla="*/ 15147413 h 62"/>
              <a:gd name="T14" fmla="*/ 36932687 w 213"/>
              <a:gd name="T15" fmla="*/ 17987556 h 62"/>
              <a:gd name="T16" fmla="*/ 38479665 w 213"/>
              <a:gd name="T17" fmla="*/ 21774408 h 62"/>
              <a:gd name="T18" fmla="*/ 40026643 w 213"/>
              <a:gd name="T19" fmla="*/ 25561261 h 62"/>
              <a:gd name="T20" fmla="*/ 41186657 w 213"/>
              <a:gd name="T21" fmla="*/ 29348113 h 62"/>
              <a:gd name="T22" fmla="*/ 40800133 w 213"/>
              <a:gd name="T23" fmla="*/ 33134000 h 62"/>
              <a:gd name="T24" fmla="*/ 40026643 w 213"/>
              <a:gd name="T25" fmla="*/ 35974139 h 62"/>
              <a:gd name="T26" fmla="*/ 38866190 w 213"/>
              <a:gd name="T27" fmla="*/ 38814278 h 62"/>
              <a:gd name="T28" fmla="*/ 37706176 w 213"/>
              <a:gd name="T29" fmla="*/ 41654417 h 62"/>
              <a:gd name="T30" fmla="*/ 34225695 w 213"/>
              <a:gd name="T31" fmla="*/ 46387983 h 62"/>
              <a:gd name="T32" fmla="*/ 30164768 w 213"/>
              <a:gd name="T33" fmla="*/ 50174835 h 62"/>
              <a:gd name="T34" fmla="*/ 26104273 w 213"/>
              <a:gd name="T35" fmla="*/ 53961687 h 62"/>
              <a:gd name="T36" fmla="*/ 22043346 w 213"/>
              <a:gd name="T37" fmla="*/ 55855114 h 62"/>
              <a:gd name="T38" fmla="*/ 18369822 w 213"/>
              <a:gd name="T39" fmla="*/ 58695253 h 62"/>
              <a:gd name="T40" fmla="*/ 15469348 w 213"/>
              <a:gd name="T41" fmla="*/ 58695253 h 62"/>
              <a:gd name="T42" fmla="*/ 11988424 w 213"/>
              <a:gd name="T43" fmla="*/ 58695253 h 62"/>
              <a:gd name="T44" fmla="*/ 8314461 w 213"/>
              <a:gd name="T45" fmla="*/ 55855114 h 62"/>
              <a:gd name="T46" fmla="*/ 6380957 w 213"/>
              <a:gd name="T47" fmla="*/ 55855114 h 62"/>
              <a:gd name="T48" fmla="*/ 4447454 w 213"/>
              <a:gd name="T49" fmla="*/ 55855114 h 62"/>
              <a:gd name="T50" fmla="*/ 2320468 w 213"/>
              <a:gd name="T51" fmla="*/ 56801827 h 62"/>
              <a:gd name="T52" fmla="*/ 0 w 213"/>
              <a:gd name="T53" fmla="*/ 58695253 h 62"/>
              <a:gd name="T54" fmla="*/ 1160014 w 213"/>
              <a:gd name="T55" fmla="*/ 47334696 h 62"/>
              <a:gd name="T56" fmla="*/ 2126986 w 213"/>
              <a:gd name="T57" fmla="*/ 36920852 h 62"/>
              <a:gd name="T58" fmla="*/ 3287000 w 213"/>
              <a:gd name="T59" fmla="*/ 27454687 h 62"/>
              <a:gd name="T60" fmla="*/ 4447454 w 213"/>
              <a:gd name="T61" fmla="*/ 18934269 h 62"/>
              <a:gd name="T62" fmla="*/ 5220943 w 213"/>
              <a:gd name="T63" fmla="*/ 15147413 h 62"/>
              <a:gd name="T64" fmla="*/ 5800950 w 213"/>
              <a:gd name="T65" fmla="*/ 11360561 h 62"/>
              <a:gd name="T66" fmla="*/ 6574439 w 213"/>
              <a:gd name="T67" fmla="*/ 8520421 h 62"/>
              <a:gd name="T68" fmla="*/ 7541412 w 213"/>
              <a:gd name="T69" fmla="*/ 5680280 h 62"/>
              <a:gd name="T70" fmla="*/ 8314461 w 213"/>
              <a:gd name="T71" fmla="*/ 2840140 h 62"/>
              <a:gd name="T72" fmla="*/ 9474915 w 213"/>
              <a:gd name="T73" fmla="*/ 946713 h 62"/>
              <a:gd name="T74" fmla="*/ 10441886 w 213"/>
              <a:gd name="T75" fmla="*/ 0 h 62"/>
              <a:gd name="T76" fmla="*/ 11795382 w 213"/>
              <a:gd name="T77" fmla="*/ 0 h 6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213"/>
              <a:gd name="T118" fmla="*/ 0 h 62"/>
              <a:gd name="T119" fmla="*/ 213 w 213"/>
              <a:gd name="T120" fmla="*/ 62 h 62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213" h="62">
                <a:moveTo>
                  <a:pt x="61" y="0"/>
                </a:moveTo>
                <a:lnTo>
                  <a:pt x="83" y="0"/>
                </a:lnTo>
                <a:lnTo>
                  <a:pt x="105" y="1"/>
                </a:lnTo>
                <a:lnTo>
                  <a:pt x="127" y="3"/>
                </a:lnTo>
                <a:lnTo>
                  <a:pt x="146" y="7"/>
                </a:lnTo>
                <a:lnTo>
                  <a:pt x="166" y="11"/>
                </a:lnTo>
                <a:lnTo>
                  <a:pt x="184" y="16"/>
                </a:lnTo>
                <a:lnTo>
                  <a:pt x="191" y="19"/>
                </a:lnTo>
                <a:lnTo>
                  <a:pt x="199" y="23"/>
                </a:lnTo>
                <a:lnTo>
                  <a:pt x="207" y="27"/>
                </a:lnTo>
                <a:lnTo>
                  <a:pt x="213" y="31"/>
                </a:lnTo>
                <a:lnTo>
                  <a:pt x="211" y="35"/>
                </a:lnTo>
                <a:lnTo>
                  <a:pt x="207" y="38"/>
                </a:lnTo>
                <a:lnTo>
                  <a:pt x="201" y="41"/>
                </a:lnTo>
                <a:lnTo>
                  <a:pt x="195" y="44"/>
                </a:lnTo>
                <a:lnTo>
                  <a:pt x="177" y="49"/>
                </a:lnTo>
                <a:lnTo>
                  <a:pt x="156" y="53"/>
                </a:lnTo>
                <a:lnTo>
                  <a:pt x="135" y="57"/>
                </a:lnTo>
                <a:lnTo>
                  <a:pt x="114" y="59"/>
                </a:lnTo>
                <a:lnTo>
                  <a:pt x="95" y="62"/>
                </a:lnTo>
                <a:lnTo>
                  <a:pt x="80" y="62"/>
                </a:lnTo>
                <a:lnTo>
                  <a:pt x="62" y="62"/>
                </a:lnTo>
                <a:lnTo>
                  <a:pt x="43" y="59"/>
                </a:lnTo>
                <a:lnTo>
                  <a:pt x="33" y="59"/>
                </a:lnTo>
                <a:lnTo>
                  <a:pt x="23" y="59"/>
                </a:lnTo>
                <a:lnTo>
                  <a:pt x="12" y="60"/>
                </a:lnTo>
                <a:lnTo>
                  <a:pt x="0" y="62"/>
                </a:lnTo>
                <a:lnTo>
                  <a:pt x="6" y="50"/>
                </a:lnTo>
                <a:lnTo>
                  <a:pt x="11" y="39"/>
                </a:lnTo>
                <a:lnTo>
                  <a:pt x="17" y="29"/>
                </a:lnTo>
                <a:lnTo>
                  <a:pt x="23" y="20"/>
                </a:lnTo>
                <a:lnTo>
                  <a:pt x="27" y="16"/>
                </a:lnTo>
                <a:lnTo>
                  <a:pt x="30" y="12"/>
                </a:lnTo>
                <a:lnTo>
                  <a:pt x="34" y="9"/>
                </a:lnTo>
                <a:lnTo>
                  <a:pt x="39" y="6"/>
                </a:lnTo>
                <a:lnTo>
                  <a:pt x="43" y="3"/>
                </a:lnTo>
                <a:lnTo>
                  <a:pt x="49" y="1"/>
                </a:lnTo>
                <a:lnTo>
                  <a:pt x="54" y="0"/>
                </a:lnTo>
                <a:lnTo>
                  <a:pt x="61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96" name="Freeform 494"/>
          <p:cNvSpPr>
            <a:spLocks/>
          </p:cNvSpPr>
          <p:nvPr userDrawn="1">
            <p:custDataLst>
              <p:tags r:id="rId331"/>
            </p:custDataLst>
          </p:nvPr>
        </p:nvSpPr>
        <p:spPr bwMode="auto">
          <a:xfrm>
            <a:off x="5624512" y="1126342"/>
            <a:ext cx="103188" cy="45244"/>
          </a:xfrm>
          <a:custGeom>
            <a:avLst/>
            <a:gdLst>
              <a:gd name="T0" fmla="*/ 7642821 w 239"/>
              <a:gd name="T1" fmla="*/ 0 h 56"/>
              <a:gd name="T2" fmla="*/ 5592013 w 239"/>
              <a:gd name="T3" fmla="*/ 3481614 h 56"/>
              <a:gd name="T4" fmla="*/ 4287268 w 239"/>
              <a:gd name="T5" fmla="*/ 5801973 h 56"/>
              <a:gd name="T6" fmla="*/ 3541637 w 239"/>
              <a:gd name="T7" fmla="*/ 8123407 h 56"/>
              <a:gd name="T8" fmla="*/ 2796006 w 239"/>
              <a:gd name="T9" fmla="*/ 10443767 h 56"/>
              <a:gd name="T10" fmla="*/ 2423407 w 239"/>
              <a:gd name="T11" fmla="*/ 15085559 h 56"/>
              <a:gd name="T12" fmla="*/ 1863861 w 239"/>
              <a:gd name="T13" fmla="*/ 17405916 h 56"/>
              <a:gd name="T14" fmla="*/ 1304745 w 239"/>
              <a:gd name="T15" fmla="*/ 19727355 h 56"/>
              <a:gd name="T16" fmla="*/ 0 w 239"/>
              <a:gd name="T17" fmla="*/ 22047713 h 56"/>
              <a:gd name="T18" fmla="*/ 372599 w 239"/>
              <a:gd name="T19" fmla="*/ 27850761 h 56"/>
              <a:gd name="T20" fmla="*/ 932146 w 239"/>
              <a:gd name="T21" fmla="*/ 31331297 h 56"/>
              <a:gd name="T22" fmla="*/ 1304745 w 239"/>
              <a:gd name="T23" fmla="*/ 34812910 h 56"/>
              <a:gd name="T24" fmla="*/ 1863861 w 239"/>
              <a:gd name="T25" fmla="*/ 38294532 h 56"/>
              <a:gd name="T26" fmla="*/ 3169037 w 239"/>
              <a:gd name="T27" fmla="*/ 41775068 h 56"/>
              <a:gd name="T28" fmla="*/ 4473783 w 239"/>
              <a:gd name="T29" fmla="*/ 44096503 h 56"/>
              <a:gd name="T30" fmla="*/ 7642821 w 239"/>
              <a:gd name="T31" fmla="*/ 44096503 h 56"/>
              <a:gd name="T32" fmla="*/ 10065796 w 239"/>
              <a:gd name="T33" fmla="*/ 44096503 h 56"/>
              <a:gd name="T34" fmla="*/ 28520479 w 239"/>
              <a:gd name="T35" fmla="*/ 44096503 h 56"/>
              <a:gd name="T36" fmla="*/ 28893078 w 239"/>
              <a:gd name="T37" fmla="*/ 47578116 h 56"/>
              <a:gd name="T38" fmla="*/ 29079593 w 239"/>
              <a:gd name="T39" fmla="*/ 51058652 h 56"/>
              <a:gd name="T40" fmla="*/ 29638708 w 239"/>
              <a:gd name="T41" fmla="*/ 53380087 h 56"/>
              <a:gd name="T42" fmla="*/ 30197823 w 239"/>
              <a:gd name="T43" fmla="*/ 55700444 h 56"/>
              <a:gd name="T44" fmla="*/ 31129969 w 239"/>
              <a:gd name="T45" fmla="*/ 59182057 h 56"/>
              <a:gd name="T46" fmla="*/ 32434714 w 239"/>
              <a:gd name="T47" fmla="*/ 62663671 h 56"/>
              <a:gd name="T48" fmla="*/ 35044635 w 239"/>
              <a:gd name="T49" fmla="*/ 64984028 h 56"/>
              <a:gd name="T50" fmla="*/ 37281526 w 239"/>
              <a:gd name="T51" fmla="*/ 64984028 h 56"/>
              <a:gd name="T52" fmla="*/ 38027156 w 239"/>
              <a:gd name="T53" fmla="*/ 63823849 h 56"/>
              <a:gd name="T54" fmla="*/ 39145386 w 239"/>
              <a:gd name="T55" fmla="*/ 62663671 h 56"/>
              <a:gd name="T56" fmla="*/ 39891016 w 239"/>
              <a:gd name="T57" fmla="*/ 60342236 h 56"/>
              <a:gd name="T58" fmla="*/ 41009677 w 239"/>
              <a:gd name="T59" fmla="*/ 56860623 h 56"/>
              <a:gd name="T60" fmla="*/ 42873537 w 239"/>
              <a:gd name="T61" fmla="*/ 49898473 h 56"/>
              <a:gd name="T62" fmla="*/ 44551313 w 239"/>
              <a:gd name="T63" fmla="*/ 44096503 h 56"/>
              <a:gd name="T64" fmla="*/ 43246568 w 239"/>
              <a:gd name="T65" fmla="*/ 42936324 h 56"/>
              <a:gd name="T66" fmla="*/ 41941823 w 239"/>
              <a:gd name="T67" fmla="*/ 41775068 h 56"/>
              <a:gd name="T68" fmla="*/ 40823162 w 239"/>
              <a:gd name="T69" fmla="*/ 39454711 h 56"/>
              <a:gd name="T70" fmla="*/ 39704932 w 239"/>
              <a:gd name="T71" fmla="*/ 37133276 h 56"/>
              <a:gd name="T72" fmla="*/ 37468042 w 239"/>
              <a:gd name="T73" fmla="*/ 30171118 h 56"/>
              <a:gd name="T74" fmla="*/ 35417235 w 239"/>
              <a:gd name="T75" fmla="*/ 22047713 h 56"/>
              <a:gd name="T76" fmla="*/ 33180344 w 239"/>
              <a:gd name="T77" fmla="*/ 15085559 h 56"/>
              <a:gd name="T78" fmla="*/ 31129969 w 239"/>
              <a:gd name="T79" fmla="*/ 6962152 h 56"/>
              <a:gd name="T80" fmla="*/ 29825224 w 239"/>
              <a:gd name="T81" fmla="*/ 4641794 h 56"/>
              <a:gd name="T82" fmla="*/ 28706562 w 239"/>
              <a:gd name="T83" fmla="*/ 2320358 h 56"/>
              <a:gd name="T84" fmla="*/ 27401811 w 239"/>
              <a:gd name="T85" fmla="*/ 1160179 h 56"/>
              <a:gd name="T86" fmla="*/ 26097066 w 239"/>
              <a:gd name="T87" fmla="*/ 0 h 56"/>
              <a:gd name="T88" fmla="*/ 24978404 w 239"/>
              <a:gd name="T89" fmla="*/ 1160179 h 56"/>
              <a:gd name="T90" fmla="*/ 23673659 w 239"/>
              <a:gd name="T91" fmla="*/ 4641794 h 56"/>
              <a:gd name="T92" fmla="*/ 23114545 w 239"/>
              <a:gd name="T93" fmla="*/ 6962152 h 56"/>
              <a:gd name="T94" fmla="*/ 22741514 w 239"/>
              <a:gd name="T95" fmla="*/ 9283588 h 56"/>
              <a:gd name="T96" fmla="*/ 22555430 w 239"/>
              <a:gd name="T97" fmla="*/ 11603946 h 56"/>
              <a:gd name="T98" fmla="*/ 22368914 w 239"/>
              <a:gd name="T99" fmla="*/ 15085559 h 56"/>
              <a:gd name="T100" fmla="*/ 18640763 w 239"/>
              <a:gd name="T101" fmla="*/ 9283588 h 56"/>
              <a:gd name="T102" fmla="*/ 14912612 w 239"/>
              <a:gd name="T103" fmla="*/ 4641794 h 56"/>
              <a:gd name="T104" fmla="*/ 11370973 w 239"/>
              <a:gd name="T105" fmla="*/ 1160179 h 56"/>
              <a:gd name="T106" fmla="*/ 7642821 w 239"/>
              <a:gd name="T107" fmla="*/ 0 h 5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239"/>
              <a:gd name="T163" fmla="*/ 0 h 56"/>
              <a:gd name="T164" fmla="*/ 239 w 239"/>
              <a:gd name="T165" fmla="*/ 56 h 5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239" h="56">
                <a:moveTo>
                  <a:pt x="41" y="0"/>
                </a:moveTo>
                <a:lnTo>
                  <a:pt x="30" y="3"/>
                </a:lnTo>
                <a:lnTo>
                  <a:pt x="23" y="5"/>
                </a:lnTo>
                <a:lnTo>
                  <a:pt x="19" y="7"/>
                </a:lnTo>
                <a:lnTo>
                  <a:pt x="15" y="9"/>
                </a:lnTo>
                <a:lnTo>
                  <a:pt x="13" y="13"/>
                </a:lnTo>
                <a:lnTo>
                  <a:pt x="10" y="15"/>
                </a:lnTo>
                <a:lnTo>
                  <a:pt x="7" y="17"/>
                </a:lnTo>
                <a:lnTo>
                  <a:pt x="0" y="19"/>
                </a:lnTo>
                <a:lnTo>
                  <a:pt x="2" y="24"/>
                </a:lnTo>
                <a:lnTo>
                  <a:pt x="5" y="27"/>
                </a:lnTo>
                <a:lnTo>
                  <a:pt x="7" y="30"/>
                </a:lnTo>
                <a:lnTo>
                  <a:pt x="10" y="33"/>
                </a:lnTo>
                <a:lnTo>
                  <a:pt x="17" y="36"/>
                </a:lnTo>
                <a:lnTo>
                  <a:pt x="24" y="38"/>
                </a:lnTo>
                <a:lnTo>
                  <a:pt x="41" y="38"/>
                </a:lnTo>
                <a:lnTo>
                  <a:pt x="54" y="38"/>
                </a:lnTo>
                <a:lnTo>
                  <a:pt x="153" y="38"/>
                </a:lnTo>
                <a:lnTo>
                  <a:pt x="155" y="41"/>
                </a:lnTo>
                <a:lnTo>
                  <a:pt x="156" y="44"/>
                </a:lnTo>
                <a:lnTo>
                  <a:pt x="159" y="46"/>
                </a:lnTo>
                <a:lnTo>
                  <a:pt x="162" y="48"/>
                </a:lnTo>
                <a:lnTo>
                  <a:pt x="167" y="51"/>
                </a:lnTo>
                <a:lnTo>
                  <a:pt x="174" y="54"/>
                </a:lnTo>
                <a:lnTo>
                  <a:pt x="188" y="56"/>
                </a:lnTo>
                <a:lnTo>
                  <a:pt x="200" y="56"/>
                </a:lnTo>
                <a:lnTo>
                  <a:pt x="204" y="55"/>
                </a:lnTo>
                <a:lnTo>
                  <a:pt x="210" y="54"/>
                </a:lnTo>
                <a:lnTo>
                  <a:pt x="214" y="52"/>
                </a:lnTo>
                <a:lnTo>
                  <a:pt x="220" y="49"/>
                </a:lnTo>
                <a:lnTo>
                  <a:pt x="230" y="43"/>
                </a:lnTo>
                <a:lnTo>
                  <a:pt x="239" y="38"/>
                </a:lnTo>
                <a:lnTo>
                  <a:pt x="232" y="37"/>
                </a:lnTo>
                <a:lnTo>
                  <a:pt x="225" y="36"/>
                </a:lnTo>
                <a:lnTo>
                  <a:pt x="219" y="34"/>
                </a:lnTo>
                <a:lnTo>
                  <a:pt x="213" y="32"/>
                </a:lnTo>
                <a:lnTo>
                  <a:pt x="201" y="26"/>
                </a:lnTo>
                <a:lnTo>
                  <a:pt x="190" y="19"/>
                </a:lnTo>
                <a:lnTo>
                  <a:pt x="178" y="13"/>
                </a:lnTo>
                <a:lnTo>
                  <a:pt x="167" y="6"/>
                </a:lnTo>
                <a:lnTo>
                  <a:pt x="160" y="4"/>
                </a:lnTo>
                <a:lnTo>
                  <a:pt x="154" y="2"/>
                </a:lnTo>
                <a:lnTo>
                  <a:pt x="147" y="1"/>
                </a:lnTo>
                <a:lnTo>
                  <a:pt x="140" y="0"/>
                </a:lnTo>
                <a:lnTo>
                  <a:pt x="134" y="1"/>
                </a:lnTo>
                <a:lnTo>
                  <a:pt x="127" y="4"/>
                </a:lnTo>
                <a:lnTo>
                  <a:pt x="124" y="6"/>
                </a:lnTo>
                <a:lnTo>
                  <a:pt x="122" y="8"/>
                </a:lnTo>
                <a:lnTo>
                  <a:pt x="121" y="10"/>
                </a:lnTo>
                <a:lnTo>
                  <a:pt x="120" y="13"/>
                </a:lnTo>
                <a:lnTo>
                  <a:pt x="100" y="8"/>
                </a:lnTo>
                <a:lnTo>
                  <a:pt x="80" y="4"/>
                </a:lnTo>
                <a:lnTo>
                  <a:pt x="61" y="1"/>
                </a:lnTo>
                <a:lnTo>
                  <a:pt x="41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97" name="Freeform 495"/>
          <p:cNvSpPr>
            <a:spLocks/>
          </p:cNvSpPr>
          <p:nvPr userDrawn="1">
            <p:custDataLst>
              <p:tags r:id="rId332"/>
            </p:custDataLst>
          </p:nvPr>
        </p:nvSpPr>
        <p:spPr bwMode="auto">
          <a:xfrm>
            <a:off x="5741989" y="1137059"/>
            <a:ext cx="82550" cy="42863"/>
          </a:xfrm>
          <a:custGeom>
            <a:avLst/>
            <a:gdLst>
              <a:gd name="T0" fmla="*/ 2728123 w 187"/>
              <a:gd name="T1" fmla="*/ 9696211 h 80"/>
              <a:gd name="T2" fmla="*/ 7989693 w 187"/>
              <a:gd name="T3" fmla="*/ 0 h 80"/>
              <a:gd name="T4" fmla="*/ 8574606 w 187"/>
              <a:gd name="T5" fmla="*/ 1530906 h 80"/>
              <a:gd name="T6" fmla="*/ 9743549 w 187"/>
              <a:gd name="T7" fmla="*/ 3061811 h 80"/>
              <a:gd name="T8" fmla="*/ 11302728 w 187"/>
              <a:gd name="T9" fmla="*/ 4592717 h 80"/>
              <a:gd name="T10" fmla="*/ 13056584 w 187"/>
              <a:gd name="T11" fmla="*/ 6123623 h 80"/>
              <a:gd name="T12" fmla="*/ 17343889 w 187"/>
              <a:gd name="T13" fmla="*/ 9696211 h 80"/>
              <a:gd name="T14" fmla="*/ 22215661 w 187"/>
              <a:gd name="T15" fmla="*/ 13268802 h 80"/>
              <a:gd name="T16" fmla="*/ 27087434 w 187"/>
              <a:gd name="T17" fmla="*/ 16840675 h 80"/>
              <a:gd name="T18" fmla="*/ 31374301 w 187"/>
              <a:gd name="T19" fmla="*/ 19392422 h 80"/>
              <a:gd name="T20" fmla="*/ 34492659 w 187"/>
              <a:gd name="T21" fmla="*/ 21434105 h 80"/>
              <a:gd name="T22" fmla="*/ 36441192 w 187"/>
              <a:gd name="T23" fmla="*/ 21944168 h 80"/>
              <a:gd name="T24" fmla="*/ 36441192 w 187"/>
              <a:gd name="T25" fmla="*/ 28578572 h 80"/>
              <a:gd name="T26" fmla="*/ 36441192 w 187"/>
              <a:gd name="T27" fmla="*/ 34702907 h 80"/>
              <a:gd name="T28" fmla="*/ 33128157 w 187"/>
              <a:gd name="T29" fmla="*/ 35723034 h 80"/>
              <a:gd name="T30" fmla="*/ 29425768 w 187"/>
              <a:gd name="T31" fmla="*/ 36233812 h 80"/>
              <a:gd name="T32" fmla="*/ 25918050 w 187"/>
              <a:gd name="T33" fmla="*/ 36233812 h 80"/>
              <a:gd name="T34" fmla="*/ 22605015 w 187"/>
              <a:gd name="T35" fmla="*/ 35723034 h 80"/>
              <a:gd name="T36" fmla="*/ 16564299 w 187"/>
              <a:gd name="T37" fmla="*/ 35212970 h 80"/>
              <a:gd name="T38" fmla="*/ 11887200 w 187"/>
              <a:gd name="T39" fmla="*/ 34702907 h 80"/>
              <a:gd name="T40" fmla="*/ 10717815 w 187"/>
              <a:gd name="T41" fmla="*/ 35212970 h 80"/>
              <a:gd name="T42" fmla="*/ 9938667 w 187"/>
              <a:gd name="T43" fmla="*/ 35723034 h 80"/>
              <a:gd name="T44" fmla="*/ 8769283 w 187"/>
              <a:gd name="T45" fmla="*/ 36743875 h 80"/>
              <a:gd name="T46" fmla="*/ 7989693 w 187"/>
              <a:gd name="T47" fmla="*/ 37764717 h 80"/>
              <a:gd name="T48" fmla="*/ 6430954 w 187"/>
              <a:gd name="T49" fmla="*/ 39805685 h 80"/>
              <a:gd name="T50" fmla="*/ 5456246 w 187"/>
              <a:gd name="T51" fmla="*/ 40826527 h 80"/>
              <a:gd name="T52" fmla="*/ 4287303 w 187"/>
              <a:gd name="T53" fmla="*/ 40316463 h 80"/>
              <a:gd name="T54" fmla="*/ 3507713 w 187"/>
              <a:gd name="T55" fmla="*/ 38785558 h 80"/>
              <a:gd name="T56" fmla="*/ 2728123 w 187"/>
              <a:gd name="T57" fmla="*/ 36743875 h 80"/>
              <a:gd name="T58" fmla="*/ 1753856 w 187"/>
              <a:gd name="T59" fmla="*/ 34192129 h 80"/>
              <a:gd name="T60" fmla="*/ 1169385 w 187"/>
              <a:gd name="T61" fmla="*/ 31640382 h 80"/>
              <a:gd name="T62" fmla="*/ 584472 w 187"/>
              <a:gd name="T63" fmla="*/ 29088636 h 80"/>
              <a:gd name="T64" fmla="*/ 389795 w 187"/>
              <a:gd name="T65" fmla="*/ 27047667 h 80"/>
              <a:gd name="T66" fmla="*/ 0 w 187"/>
              <a:gd name="T67" fmla="*/ 25516762 h 80"/>
              <a:gd name="T68" fmla="*/ 389795 w 187"/>
              <a:gd name="T69" fmla="*/ 22454232 h 80"/>
              <a:gd name="T70" fmla="*/ 584472 w 187"/>
              <a:gd name="T71" fmla="*/ 20413263 h 80"/>
              <a:gd name="T72" fmla="*/ 974267 w 187"/>
              <a:gd name="T73" fmla="*/ 18372295 h 80"/>
              <a:gd name="T74" fmla="*/ 1364061 w 187"/>
              <a:gd name="T75" fmla="*/ 15820548 h 80"/>
              <a:gd name="T76" fmla="*/ 2533446 w 187"/>
              <a:gd name="T77" fmla="*/ 12247960 h 80"/>
              <a:gd name="T78" fmla="*/ 2728123 w 187"/>
              <a:gd name="T79" fmla="*/ 9696211 h 8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187"/>
              <a:gd name="T121" fmla="*/ 0 h 80"/>
              <a:gd name="T122" fmla="*/ 187 w 187"/>
              <a:gd name="T123" fmla="*/ 80 h 80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187" h="80">
                <a:moveTo>
                  <a:pt x="14" y="19"/>
                </a:moveTo>
                <a:lnTo>
                  <a:pt x="41" y="0"/>
                </a:lnTo>
                <a:lnTo>
                  <a:pt x="44" y="3"/>
                </a:lnTo>
                <a:lnTo>
                  <a:pt x="50" y="6"/>
                </a:lnTo>
                <a:lnTo>
                  <a:pt x="58" y="9"/>
                </a:lnTo>
                <a:lnTo>
                  <a:pt x="67" y="12"/>
                </a:lnTo>
                <a:lnTo>
                  <a:pt x="89" y="19"/>
                </a:lnTo>
                <a:lnTo>
                  <a:pt x="114" y="26"/>
                </a:lnTo>
                <a:lnTo>
                  <a:pt x="139" y="33"/>
                </a:lnTo>
                <a:lnTo>
                  <a:pt x="161" y="38"/>
                </a:lnTo>
                <a:lnTo>
                  <a:pt x="177" y="42"/>
                </a:lnTo>
                <a:lnTo>
                  <a:pt x="187" y="43"/>
                </a:lnTo>
                <a:lnTo>
                  <a:pt x="187" y="56"/>
                </a:lnTo>
                <a:lnTo>
                  <a:pt x="187" y="68"/>
                </a:lnTo>
                <a:lnTo>
                  <a:pt x="170" y="70"/>
                </a:lnTo>
                <a:lnTo>
                  <a:pt x="151" y="71"/>
                </a:lnTo>
                <a:lnTo>
                  <a:pt x="133" y="71"/>
                </a:lnTo>
                <a:lnTo>
                  <a:pt x="116" y="70"/>
                </a:lnTo>
                <a:lnTo>
                  <a:pt x="85" y="69"/>
                </a:lnTo>
                <a:lnTo>
                  <a:pt x="61" y="68"/>
                </a:lnTo>
                <a:lnTo>
                  <a:pt x="55" y="69"/>
                </a:lnTo>
                <a:lnTo>
                  <a:pt x="51" y="70"/>
                </a:lnTo>
                <a:lnTo>
                  <a:pt x="45" y="72"/>
                </a:lnTo>
                <a:lnTo>
                  <a:pt x="41" y="74"/>
                </a:lnTo>
                <a:lnTo>
                  <a:pt x="33" y="78"/>
                </a:lnTo>
                <a:lnTo>
                  <a:pt x="28" y="80"/>
                </a:lnTo>
                <a:lnTo>
                  <a:pt x="22" y="79"/>
                </a:lnTo>
                <a:lnTo>
                  <a:pt x="18" y="76"/>
                </a:lnTo>
                <a:lnTo>
                  <a:pt x="14" y="72"/>
                </a:lnTo>
                <a:lnTo>
                  <a:pt x="9" y="67"/>
                </a:lnTo>
                <a:lnTo>
                  <a:pt x="6" y="62"/>
                </a:lnTo>
                <a:lnTo>
                  <a:pt x="3" y="57"/>
                </a:lnTo>
                <a:lnTo>
                  <a:pt x="2" y="53"/>
                </a:lnTo>
                <a:lnTo>
                  <a:pt x="0" y="50"/>
                </a:lnTo>
                <a:lnTo>
                  <a:pt x="2" y="44"/>
                </a:lnTo>
                <a:lnTo>
                  <a:pt x="3" y="40"/>
                </a:lnTo>
                <a:lnTo>
                  <a:pt x="5" y="36"/>
                </a:lnTo>
                <a:lnTo>
                  <a:pt x="7" y="31"/>
                </a:lnTo>
                <a:lnTo>
                  <a:pt x="13" y="24"/>
                </a:lnTo>
                <a:lnTo>
                  <a:pt x="14" y="19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98" name="Freeform 496"/>
          <p:cNvSpPr>
            <a:spLocks/>
          </p:cNvSpPr>
          <p:nvPr userDrawn="1">
            <p:custDataLst>
              <p:tags r:id="rId333"/>
            </p:custDataLst>
          </p:nvPr>
        </p:nvSpPr>
        <p:spPr bwMode="auto">
          <a:xfrm>
            <a:off x="6269047" y="1231117"/>
            <a:ext cx="79375" cy="44054"/>
          </a:xfrm>
          <a:custGeom>
            <a:avLst/>
            <a:gdLst>
              <a:gd name="T0" fmla="*/ 9406588 w 183"/>
              <a:gd name="T1" fmla="*/ 0 h 73"/>
              <a:gd name="T2" fmla="*/ 11852465 w 183"/>
              <a:gd name="T3" fmla="*/ 0 h 73"/>
              <a:gd name="T4" fmla="*/ 14110098 w 183"/>
              <a:gd name="T5" fmla="*/ 647727 h 73"/>
              <a:gd name="T6" fmla="*/ 16179489 w 183"/>
              <a:gd name="T7" fmla="*/ 2590104 h 73"/>
              <a:gd name="T8" fmla="*/ 18248877 w 183"/>
              <a:gd name="T9" fmla="*/ 4531677 h 73"/>
              <a:gd name="T10" fmla="*/ 19942210 w 183"/>
              <a:gd name="T11" fmla="*/ 6474053 h 73"/>
              <a:gd name="T12" fmla="*/ 21823353 w 183"/>
              <a:gd name="T13" fmla="*/ 9711080 h 73"/>
              <a:gd name="T14" fmla="*/ 23328442 w 183"/>
              <a:gd name="T15" fmla="*/ 12301184 h 73"/>
              <a:gd name="T16" fmla="*/ 24645285 w 183"/>
              <a:gd name="T17" fmla="*/ 16185939 h 73"/>
              <a:gd name="T18" fmla="*/ 29913101 w 183"/>
              <a:gd name="T19" fmla="*/ 31724152 h 73"/>
              <a:gd name="T20" fmla="*/ 34428366 w 183"/>
              <a:gd name="T21" fmla="*/ 47262358 h 73"/>
              <a:gd name="T22" fmla="*/ 25774319 w 183"/>
              <a:gd name="T23" fmla="*/ 47262358 h 73"/>
              <a:gd name="T24" fmla="*/ 24080986 w 183"/>
              <a:gd name="T25" fmla="*/ 46614631 h 73"/>
              <a:gd name="T26" fmla="*/ 22011598 w 183"/>
              <a:gd name="T27" fmla="*/ 45319981 h 73"/>
              <a:gd name="T28" fmla="*/ 19565721 w 183"/>
              <a:gd name="T29" fmla="*/ 42730683 h 73"/>
              <a:gd name="T30" fmla="*/ 16932033 w 183"/>
              <a:gd name="T31" fmla="*/ 40140579 h 73"/>
              <a:gd name="T32" fmla="*/ 13733609 w 183"/>
              <a:gd name="T33" fmla="*/ 36255827 h 73"/>
              <a:gd name="T34" fmla="*/ 10911677 w 183"/>
              <a:gd name="T35" fmla="*/ 32371879 h 73"/>
              <a:gd name="T36" fmla="*/ 7901500 w 183"/>
              <a:gd name="T37" fmla="*/ 28487126 h 73"/>
              <a:gd name="T38" fmla="*/ 5267811 w 183"/>
              <a:gd name="T39" fmla="*/ 23954640 h 73"/>
              <a:gd name="T40" fmla="*/ 3010177 w 183"/>
              <a:gd name="T41" fmla="*/ 19422965 h 73"/>
              <a:gd name="T42" fmla="*/ 1316844 w 183"/>
              <a:gd name="T43" fmla="*/ 14890485 h 73"/>
              <a:gd name="T44" fmla="*/ 752544 w 183"/>
              <a:gd name="T45" fmla="*/ 12301184 h 73"/>
              <a:gd name="T46" fmla="*/ 376055 w 183"/>
              <a:gd name="T47" fmla="*/ 10358807 h 73"/>
              <a:gd name="T48" fmla="*/ 188245 w 183"/>
              <a:gd name="T49" fmla="*/ 9064158 h 73"/>
              <a:gd name="T50" fmla="*/ 0 w 183"/>
              <a:gd name="T51" fmla="*/ 7121782 h 73"/>
              <a:gd name="T52" fmla="*/ 188245 w 183"/>
              <a:gd name="T53" fmla="*/ 5179404 h 73"/>
              <a:gd name="T54" fmla="*/ 564300 w 183"/>
              <a:gd name="T55" fmla="*/ 3884754 h 73"/>
              <a:gd name="T56" fmla="*/ 1316844 w 183"/>
              <a:gd name="T57" fmla="*/ 2590104 h 73"/>
              <a:gd name="T58" fmla="*/ 2445878 w 183"/>
              <a:gd name="T59" fmla="*/ 1942377 h 73"/>
              <a:gd name="T60" fmla="*/ 3574478 w 183"/>
              <a:gd name="T61" fmla="*/ 647727 h 73"/>
              <a:gd name="T62" fmla="*/ 5267811 w 183"/>
              <a:gd name="T63" fmla="*/ 0 h 73"/>
              <a:gd name="T64" fmla="*/ 7148956 w 183"/>
              <a:gd name="T65" fmla="*/ 0 h 73"/>
              <a:gd name="T66" fmla="*/ 9406588 w 183"/>
              <a:gd name="T67" fmla="*/ 0 h 73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183"/>
              <a:gd name="T103" fmla="*/ 0 h 73"/>
              <a:gd name="T104" fmla="*/ 183 w 183"/>
              <a:gd name="T105" fmla="*/ 73 h 73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183" h="73">
                <a:moveTo>
                  <a:pt x="50" y="0"/>
                </a:moveTo>
                <a:lnTo>
                  <a:pt x="63" y="0"/>
                </a:lnTo>
                <a:lnTo>
                  <a:pt x="75" y="1"/>
                </a:lnTo>
                <a:lnTo>
                  <a:pt x="86" y="4"/>
                </a:lnTo>
                <a:lnTo>
                  <a:pt x="97" y="7"/>
                </a:lnTo>
                <a:lnTo>
                  <a:pt x="106" y="10"/>
                </a:lnTo>
                <a:lnTo>
                  <a:pt x="116" y="15"/>
                </a:lnTo>
                <a:lnTo>
                  <a:pt x="124" y="19"/>
                </a:lnTo>
                <a:lnTo>
                  <a:pt x="131" y="25"/>
                </a:lnTo>
                <a:lnTo>
                  <a:pt x="159" y="49"/>
                </a:lnTo>
                <a:lnTo>
                  <a:pt x="183" y="73"/>
                </a:lnTo>
                <a:lnTo>
                  <a:pt x="137" y="73"/>
                </a:lnTo>
                <a:lnTo>
                  <a:pt x="128" y="72"/>
                </a:lnTo>
                <a:lnTo>
                  <a:pt x="117" y="70"/>
                </a:lnTo>
                <a:lnTo>
                  <a:pt x="104" y="66"/>
                </a:lnTo>
                <a:lnTo>
                  <a:pt x="90" y="62"/>
                </a:lnTo>
                <a:lnTo>
                  <a:pt x="73" y="56"/>
                </a:lnTo>
                <a:lnTo>
                  <a:pt x="58" y="50"/>
                </a:lnTo>
                <a:lnTo>
                  <a:pt x="42" y="44"/>
                </a:lnTo>
                <a:lnTo>
                  <a:pt x="28" y="37"/>
                </a:lnTo>
                <a:lnTo>
                  <a:pt x="16" y="30"/>
                </a:lnTo>
                <a:lnTo>
                  <a:pt x="7" y="23"/>
                </a:lnTo>
                <a:lnTo>
                  <a:pt x="4" y="19"/>
                </a:lnTo>
                <a:lnTo>
                  <a:pt x="2" y="16"/>
                </a:lnTo>
                <a:lnTo>
                  <a:pt x="1" y="14"/>
                </a:lnTo>
                <a:lnTo>
                  <a:pt x="0" y="11"/>
                </a:lnTo>
                <a:lnTo>
                  <a:pt x="1" y="8"/>
                </a:lnTo>
                <a:lnTo>
                  <a:pt x="3" y="6"/>
                </a:lnTo>
                <a:lnTo>
                  <a:pt x="7" y="4"/>
                </a:lnTo>
                <a:lnTo>
                  <a:pt x="13" y="3"/>
                </a:lnTo>
                <a:lnTo>
                  <a:pt x="19" y="1"/>
                </a:lnTo>
                <a:lnTo>
                  <a:pt x="28" y="0"/>
                </a:lnTo>
                <a:lnTo>
                  <a:pt x="38" y="0"/>
                </a:lnTo>
                <a:lnTo>
                  <a:pt x="50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499" name="Freeform 497"/>
          <p:cNvSpPr>
            <a:spLocks/>
          </p:cNvSpPr>
          <p:nvPr userDrawn="1">
            <p:custDataLst>
              <p:tags r:id="rId334"/>
            </p:custDataLst>
          </p:nvPr>
        </p:nvSpPr>
        <p:spPr bwMode="auto">
          <a:xfrm>
            <a:off x="6335713" y="1244215"/>
            <a:ext cx="33338" cy="42863"/>
          </a:xfrm>
          <a:custGeom>
            <a:avLst/>
            <a:gdLst>
              <a:gd name="T0" fmla="*/ 0 w 79"/>
              <a:gd name="T1" fmla="*/ 11108870 h 42"/>
              <a:gd name="T2" fmla="*/ 4095932 w 79"/>
              <a:gd name="T3" fmla="*/ 3702504 h 42"/>
              <a:gd name="T4" fmla="*/ 7301444 w 79"/>
              <a:gd name="T5" fmla="*/ 1851932 h 42"/>
              <a:gd name="T6" fmla="*/ 10685039 w 79"/>
              <a:gd name="T7" fmla="*/ 0 h 42"/>
              <a:gd name="T8" fmla="*/ 14068637 w 79"/>
              <a:gd name="T9" fmla="*/ 0 h 42"/>
              <a:gd name="T10" fmla="*/ 14068637 w 79"/>
              <a:gd name="T11" fmla="*/ 16663306 h 42"/>
              <a:gd name="T12" fmla="*/ 14068637 w 79"/>
              <a:gd name="T13" fmla="*/ 33327974 h 42"/>
              <a:gd name="T14" fmla="*/ 14068637 w 79"/>
              <a:gd name="T15" fmla="*/ 40734339 h 42"/>
              <a:gd name="T16" fmla="*/ 13356298 w 79"/>
              <a:gd name="T17" fmla="*/ 49991285 h 42"/>
              <a:gd name="T18" fmla="*/ 12822046 w 79"/>
              <a:gd name="T19" fmla="*/ 57397650 h 42"/>
              <a:gd name="T20" fmla="*/ 12109711 w 79"/>
              <a:gd name="T21" fmla="*/ 64804016 h 42"/>
              <a:gd name="T22" fmla="*/ 11041207 w 79"/>
              <a:gd name="T23" fmla="*/ 70358449 h 42"/>
              <a:gd name="T24" fmla="*/ 10150787 w 79"/>
              <a:gd name="T25" fmla="*/ 74062312 h 42"/>
              <a:gd name="T26" fmla="*/ 9082284 w 79"/>
              <a:gd name="T27" fmla="*/ 77764814 h 42"/>
              <a:gd name="T28" fmla="*/ 8191864 w 79"/>
              <a:gd name="T29" fmla="*/ 77764814 h 42"/>
              <a:gd name="T30" fmla="*/ 7123361 w 79"/>
              <a:gd name="T31" fmla="*/ 77764814 h 42"/>
              <a:gd name="T32" fmla="*/ 6232939 w 79"/>
              <a:gd name="T33" fmla="*/ 75912883 h 42"/>
              <a:gd name="T34" fmla="*/ 5164436 w 79"/>
              <a:gd name="T35" fmla="*/ 72210381 h 42"/>
              <a:gd name="T36" fmla="*/ 4452100 w 79"/>
              <a:gd name="T37" fmla="*/ 68506518 h 42"/>
              <a:gd name="T38" fmla="*/ 2849344 w 79"/>
              <a:gd name="T39" fmla="*/ 59249582 h 42"/>
              <a:gd name="T40" fmla="*/ 1958924 w 79"/>
              <a:gd name="T41" fmla="*/ 48140714 h 42"/>
              <a:gd name="T42" fmla="*/ 890420 w 79"/>
              <a:gd name="T43" fmla="*/ 37030476 h 42"/>
              <a:gd name="T44" fmla="*/ 356168 w 79"/>
              <a:gd name="T45" fmla="*/ 25921608 h 42"/>
              <a:gd name="T46" fmla="*/ 0 w 79"/>
              <a:gd name="T47" fmla="*/ 16663306 h 42"/>
              <a:gd name="T48" fmla="*/ 0 w 79"/>
              <a:gd name="T49" fmla="*/ 11108870 h 4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79"/>
              <a:gd name="T76" fmla="*/ 0 h 42"/>
              <a:gd name="T77" fmla="*/ 79 w 79"/>
              <a:gd name="T78" fmla="*/ 42 h 42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79" h="42">
                <a:moveTo>
                  <a:pt x="0" y="6"/>
                </a:moveTo>
                <a:lnTo>
                  <a:pt x="23" y="2"/>
                </a:lnTo>
                <a:lnTo>
                  <a:pt x="41" y="1"/>
                </a:lnTo>
                <a:lnTo>
                  <a:pt x="60" y="0"/>
                </a:lnTo>
                <a:lnTo>
                  <a:pt x="79" y="0"/>
                </a:lnTo>
                <a:lnTo>
                  <a:pt x="79" y="9"/>
                </a:lnTo>
                <a:lnTo>
                  <a:pt x="79" y="18"/>
                </a:lnTo>
                <a:lnTo>
                  <a:pt x="79" y="22"/>
                </a:lnTo>
                <a:lnTo>
                  <a:pt x="75" y="27"/>
                </a:lnTo>
                <a:lnTo>
                  <a:pt x="72" y="31"/>
                </a:lnTo>
                <a:lnTo>
                  <a:pt x="68" y="35"/>
                </a:lnTo>
                <a:lnTo>
                  <a:pt x="62" y="38"/>
                </a:lnTo>
                <a:lnTo>
                  <a:pt x="57" y="40"/>
                </a:lnTo>
                <a:lnTo>
                  <a:pt x="51" y="42"/>
                </a:lnTo>
                <a:lnTo>
                  <a:pt x="46" y="42"/>
                </a:lnTo>
                <a:lnTo>
                  <a:pt x="40" y="42"/>
                </a:lnTo>
                <a:lnTo>
                  <a:pt x="35" y="41"/>
                </a:lnTo>
                <a:lnTo>
                  <a:pt x="29" y="39"/>
                </a:lnTo>
                <a:lnTo>
                  <a:pt x="25" y="37"/>
                </a:lnTo>
                <a:lnTo>
                  <a:pt x="16" y="32"/>
                </a:lnTo>
                <a:lnTo>
                  <a:pt x="11" y="26"/>
                </a:lnTo>
                <a:lnTo>
                  <a:pt x="5" y="20"/>
                </a:lnTo>
                <a:lnTo>
                  <a:pt x="2" y="14"/>
                </a:lnTo>
                <a:lnTo>
                  <a:pt x="0" y="9"/>
                </a:lnTo>
                <a:lnTo>
                  <a:pt x="0" y="6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500" name="Freeform 498"/>
          <p:cNvSpPr>
            <a:spLocks/>
          </p:cNvSpPr>
          <p:nvPr userDrawn="1">
            <p:custDataLst>
              <p:tags r:id="rId335"/>
            </p:custDataLst>
          </p:nvPr>
        </p:nvSpPr>
        <p:spPr bwMode="auto">
          <a:xfrm>
            <a:off x="6365884" y="1252547"/>
            <a:ext cx="52387" cy="44054"/>
          </a:xfrm>
          <a:custGeom>
            <a:avLst/>
            <a:gdLst>
              <a:gd name="T0" fmla="*/ 24286707 w 113"/>
              <a:gd name="T1" fmla="*/ 49762385 h 52"/>
              <a:gd name="T2" fmla="*/ 24071595 w 113"/>
              <a:gd name="T3" fmla="*/ 53589390 h 52"/>
              <a:gd name="T4" fmla="*/ 23427189 w 113"/>
              <a:gd name="T5" fmla="*/ 57417525 h 52"/>
              <a:gd name="T6" fmla="*/ 22782319 w 113"/>
              <a:gd name="T7" fmla="*/ 59969239 h 52"/>
              <a:gd name="T8" fmla="*/ 22137449 w 113"/>
              <a:gd name="T9" fmla="*/ 62520952 h 52"/>
              <a:gd name="T10" fmla="*/ 20203303 w 113"/>
              <a:gd name="T11" fmla="*/ 65072666 h 52"/>
              <a:gd name="T12" fmla="*/ 18268694 w 113"/>
              <a:gd name="T13" fmla="*/ 66349087 h 52"/>
              <a:gd name="T14" fmla="*/ 14185287 w 113"/>
              <a:gd name="T15" fmla="*/ 66349087 h 52"/>
              <a:gd name="T16" fmla="*/ 11391160 w 113"/>
              <a:gd name="T17" fmla="*/ 65072666 h 52"/>
              <a:gd name="T18" fmla="*/ 10101420 w 113"/>
              <a:gd name="T19" fmla="*/ 65072666 h 52"/>
              <a:gd name="T20" fmla="*/ 8381921 w 113"/>
              <a:gd name="T21" fmla="*/ 61245660 h 52"/>
              <a:gd name="T22" fmla="*/ 6447773 w 113"/>
              <a:gd name="T23" fmla="*/ 57417525 h 52"/>
              <a:gd name="T24" fmla="*/ 4513627 w 113"/>
              <a:gd name="T25" fmla="*/ 52314098 h 52"/>
              <a:gd name="T26" fmla="*/ 2794128 w 113"/>
              <a:gd name="T27" fmla="*/ 45934250 h 52"/>
              <a:gd name="T28" fmla="*/ 1289740 w 113"/>
              <a:gd name="T29" fmla="*/ 39554401 h 52"/>
              <a:gd name="T30" fmla="*/ 859518 w 113"/>
              <a:gd name="T31" fmla="*/ 35726257 h 52"/>
              <a:gd name="T32" fmla="*/ 429759 w 113"/>
              <a:gd name="T33" fmla="*/ 31898122 h 52"/>
              <a:gd name="T34" fmla="*/ 215111 w 113"/>
              <a:gd name="T35" fmla="*/ 28071117 h 52"/>
              <a:gd name="T36" fmla="*/ 0 w 113"/>
              <a:gd name="T37" fmla="*/ 25519403 h 52"/>
              <a:gd name="T38" fmla="*/ 215111 w 113"/>
              <a:gd name="T39" fmla="*/ 19139555 h 52"/>
              <a:gd name="T40" fmla="*/ 215111 w 113"/>
              <a:gd name="T41" fmla="*/ 14034994 h 52"/>
              <a:gd name="T42" fmla="*/ 644870 w 113"/>
              <a:gd name="T43" fmla="*/ 10207988 h 52"/>
              <a:gd name="T44" fmla="*/ 1074629 w 113"/>
              <a:gd name="T45" fmla="*/ 6379851 h 52"/>
              <a:gd name="T46" fmla="*/ 1504388 w 113"/>
              <a:gd name="T47" fmla="*/ 3828136 h 52"/>
              <a:gd name="T48" fmla="*/ 2149258 w 113"/>
              <a:gd name="T49" fmla="*/ 2551715 h 52"/>
              <a:gd name="T50" fmla="*/ 3008776 w 113"/>
              <a:gd name="T51" fmla="*/ 1276422 h 52"/>
              <a:gd name="T52" fmla="*/ 3653645 w 113"/>
              <a:gd name="T53" fmla="*/ 0 h 52"/>
              <a:gd name="T54" fmla="*/ 5588256 w 113"/>
              <a:gd name="T55" fmla="*/ 0 h 52"/>
              <a:gd name="T56" fmla="*/ 7737515 w 113"/>
              <a:gd name="T57" fmla="*/ 2551715 h 52"/>
              <a:gd name="T58" fmla="*/ 9886772 w 113"/>
              <a:gd name="T59" fmla="*/ 6379851 h 52"/>
              <a:gd name="T60" fmla="*/ 12250677 w 113"/>
              <a:gd name="T61" fmla="*/ 11483280 h 52"/>
              <a:gd name="T62" fmla="*/ 16549195 w 113"/>
              <a:gd name="T63" fmla="*/ 22966560 h 52"/>
              <a:gd name="T64" fmla="*/ 20417951 w 113"/>
              <a:gd name="T65" fmla="*/ 37002679 h 52"/>
              <a:gd name="T66" fmla="*/ 23212078 w 113"/>
              <a:gd name="T67" fmla="*/ 45934250 h 52"/>
              <a:gd name="T68" fmla="*/ 24286707 w 113"/>
              <a:gd name="T69" fmla="*/ 49762385 h 52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13"/>
              <a:gd name="T106" fmla="*/ 0 h 52"/>
              <a:gd name="T107" fmla="*/ 113 w 113"/>
              <a:gd name="T108" fmla="*/ 52 h 52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13" h="52">
                <a:moveTo>
                  <a:pt x="113" y="39"/>
                </a:moveTo>
                <a:lnTo>
                  <a:pt x="112" y="42"/>
                </a:lnTo>
                <a:lnTo>
                  <a:pt x="109" y="45"/>
                </a:lnTo>
                <a:lnTo>
                  <a:pt x="106" y="47"/>
                </a:lnTo>
                <a:lnTo>
                  <a:pt x="103" y="49"/>
                </a:lnTo>
                <a:lnTo>
                  <a:pt x="94" y="51"/>
                </a:lnTo>
                <a:lnTo>
                  <a:pt x="85" y="52"/>
                </a:lnTo>
                <a:lnTo>
                  <a:pt x="66" y="52"/>
                </a:lnTo>
                <a:lnTo>
                  <a:pt x="53" y="51"/>
                </a:lnTo>
                <a:lnTo>
                  <a:pt x="47" y="51"/>
                </a:lnTo>
                <a:lnTo>
                  <a:pt x="39" y="48"/>
                </a:lnTo>
                <a:lnTo>
                  <a:pt x="30" y="45"/>
                </a:lnTo>
                <a:lnTo>
                  <a:pt x="21" y="41"/>
                </a:lnTo>
                <a:lnTo>
                  <a:pt x="13" y="36"/>
                </a:lnTo>
                <a:lnTo>
                  <a:pt x="6" y="31"/>
                </a:lnTo>
                <a:lnTo>
                  <a:pt x="4" y="28"/>
                </a:lnTo>
                <a:lnTo>
                  <a:pt x="2" y="25"/>
                </a:lnTo>
                <a:lnTo>
                  <a:pt x="1" y="22"/>
                </a:lnTo>
                <a:lnTo>
                  <a:pt x="0" y="20"/>
                </a:lnTo>
                <a:lnTo>
                  <a:pt x="1" y="15"/>
                </a:lnTo>
                <a:lnTo>
                  <a:pt x="1" y="11"/>
                </a:lnTo>
                <a:lnTo>
                  <a:pt x="3" y="8"/>
                </a:lnTo>
                <a:lnTo>
                  <a:pt x="5" y="5"/>
                </a:lnTo>
                <a:lnTo>
                  <a:pt x="7" y="3"/>
                </a:lnTo>
                <a:lnTo>
                  <a:pt x="10" y="2"/>
                </a:lnTo>
                <a:lnTo>
                  <a:pt x="14" y="1"/>
                </a:lnTo>
                <a:lnTo>
                  <a:pt x="17" y="0"/>
                </a:lnTo>
                <a:lnTo>
                  <a:pt x="26" y="0"/>
                </a:lnTo>
                <a:lnTo>
                  <a:pt x="36" y="2"/>
                </a:lnTo>
                <a:lnTo>
                  <a:pt x="46" y="5"/>
                </a:lnTo>
                <a:lnTo>
                  <a:pt x="57" y="9"/>
                </a:lnTo>
                <a:lnTo>
                  <a:pt x="77" y="18"/>
                </a:lnTo>
                <a:lnTo>
                  <a:pt x="95" y="29"/>
                </a:lnTo>
                <a:lnTo>
                  <a:pt x="108" y="36"/>
                </a:lnTo>
                <a:lnTo>
                  <a:pt x="113" y="39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501" name="Freeform 499"/>
          <p:cNvSpPr>
            <a:spLocks/>
          </p:cNvSpPr>
          <p:nvPr userDrawn="1">
            <p:custDataLst>
              <p:tags r:id="rId336"/>
            </p:custDataLst>
          </p:nvPr>
        </p:nvSpPr>
        <p:spPr bwMode="auto">
          <a:xfrm>
            <a:off x="6137277" y="1232310"/>
            <a:ext cx="61912" cy="44053"/>
          </a:xfrm>
          <a:custGeom>
            <a:avLst/>
            <a:gdLst>
              <a:gd name="T0" fmla="*/ 0 w 139"/>
              <a:gd name="T1" fmla="*/ 17249588 h 40"/>
              <a:gd name="T2" fmla="*/ 1586996 w 139"/>
              <a:gd name="T3" fmla="*/ 19406703 h 40"/>
              <a:gd name="T4" fmla="*/ 3769506 w 139"/>
              <a:gd name="T5" fmla="*/ 17249588 h 40"/>
              <a:gd name="T6" fmla="*/ 5951569 w 139"/>
              <a:gd name="T7" fmla="*/ 15093941 h 40"/>
              <a:gd name="T8" fmla="*/ 8332286 w 139"/>
              <a:gd name="T9" fmla="*/ 10781175 h 40"/>
              <a:gd name="T10" fmla="*/ 10514794 w 139"/>
              <a:gd name="T11" fmla="*/ 4312764 h 40"/>
              <a:gd name="T12" fmla="*/ 12696857 w 139"/>
              <a:gd name="T13" fmla="*/ 2155648 h 40"/>
              <a:gd name="T14" fmla="*/ 14482506 w 139"/>
              <a:gd name="T15" fmla="*/ 0 h 40"/>
              <a:gd name="T16" fmla="*/ 15871297 w 139"/>
              <a:gd name="T17" fmla="*/ 4312764 h 40"/>
              <a:gd name="T18" fmla="*/ 27576223 w 139"/>
              <a:gd name="T19" fmla="*/ 84095222 h 40"/>
              <a:gd name="T20" fmla="*/ 26386088 w 139"/>
              <a:gd name="T21" fmla="*/ 86250869 h 40"/>
              <a:gd name="T22" fmla="*/ 24798647 w 139"/>
              <a:gd name="T23" fmla="*/ 84095222 h 40"/>
              <a:gd name="T24" fmla="*/ 23013444 w 139"/>
              <a:gd name="T25" fmla="*/ 81938107 h 40"/>
              <a:gd name="T26" fmla="*/ 21029143 w 139"/>
              <a:gd name="T27" fmla="*/ 77625344 h 40"/>
              <a:gd name="T28" fmla="*/ 17061432 w 139"/>
              <a:gd name="T29" fmla="*/ 64688525 h 40"/>
              <a:gd name="T30" fmla="*/ 12696857 w 139"/>
              <a:gd name="T31" fmla="*/ 51750237 h 40"/>
              <a:gd name="T32" fmla="*/ 8729146 w 139"/>
              <a:gd name="T33" fmla="*/ 34500644 h 40"/>
              <a:gd name="T34" fmla="*/ 5158294 w 139"/>
              <a:gd name="T35" fmla="*/ 23719466 h 40"/>
              <a:gd name="T36" fmla="*/ 3372644 w 139"/>
              <a:gd name="T37" fmla="*/ 19406703 h 40"/>
              <a:gd name="T38" fmla="*/ 2182509 w 139"/>
              <a:gd name="T39" fmla="*/ 15093941 h 40"/>
              <a:gd name="T40" fmla="*/ 793721 w 139"/>
              <a:gd name="T41" fmla="*/ 15093941 h 40"/>
              <a:gd name="T42" fmla="*/ 0 w 139"/>
              <a:gd name="T43" fmla="*/ 17249588 h 40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139"/>
              <a:gd name="T67" fmla="*/ 0 h 40"/>
              <a:gd name="T68" fmla="*/ 139 w 139"/>
              <a:gd name="T69" fmla="*/ 40 h 40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139" h="40">
                <a:moveTo>
                  <a:pt x="0" y="8"/>
                </a:moveTo>
                <a:lnTo>
                  <a:pt x="8" y="9"/>
                </a:lnTo>
                <a:lnTo>
                  <a:pt x="19" y="8"/>
                </a:lnTo>
                <a:lnTo>
                  <a:pt x="30" y="7"/>
                </a:lnTo>
                <a:lnTo>
                  <a:pt x="42" y="5"/>
                </a:lnTo>
                <a:lnTo>
                  <a:pt x="53" y="2"/>
                </a:lnTo>
                <a:lnTo>
                  <a:pt x="64" y="1"/>
                </a:lnTo>
                <a:lnTo>
                  <a:pt x="73" y="0"/>
                </a:lnTo>
                <a:lnTo>
                  <a:pt x="80" y="2"/>
                </a:lnTo>
                <a:lnTo>
                  <a:pt x="139" y="39"/>
                </a:lnTo>
                <a:lnTo>
                  <a:pt x="133" y="40"/>
                </a:lnTo>
                <a:lnTo>
                  <a:pt x="125" y="39"/>
                </a:lnTo>
                <a:lnTo>
                  <a:pt x="116" y="38"/>
                </a:lnTo>
                <a:lnTo>
                  <a:pt x="106" y="36"/>
                </a:lnTo>
                <a:lnTo>
                  <a:pt x="86" y="30"/>
                </a:lnTo>
                <a:lnTo>
                  <a:pt x="64" y="24"/>
                </a:lnTo>
                <a:lnTo>
                  <a:pt x="44" y="16"/>
                </a:lnTo>
                <a:lnTo>
                  <a:pt x="26" y="11"/>
                </a:lnTo>
                <a:lnTo>
                  <a:pt x="17" y="9"/>
                </a:lnTo>
                <a:lnTo>
                  <a:pt x="11" y="7"/>
                </a:lnTo>
                <a:lnTo>
                  <a:pt x="4" y="7"/>
                </a:lnTo>
                <a:lnTo>
                  <a:pt x="0" y="8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502" name="Freeform 500"/>
          <p:cNvSpPr>
            <a:spLocks/>
          </p:cNvSpPr>
          <p:nvPr userDrawn="1">
            <p:custDataLst>
              <p:tags r:id="rId337"/>
            </p:custDataLst>
          </p:nvPr>
        </p:nvSpPr>
        <p:spPr bwMode="auto">
          <a:xfrm>
            <a:off x="6437314" y="1188256"/>
            <a:ext cx="139700" cy="42863"/>
          </a:xfrm>
          <a:custGeom>
            <a:avLst/>
            <a:gdLst>
              <a:gd name="T0" fmla="*/ 1847479 w 325"/>
              <a:gd name="T1" fmla="*/ 4535778 h 71"/>
              <a:gd name="T2" fmla="*/ 5727700 w 325"/>
              <a:gd name="T3" fmla="*/ 647968 h 71"/>
              <a:gd name="T4" fmla="*/ 9792755 w 325"/>
              <a:gd name="T5" fmla="*/ 0 h 71"/>
              <a:gd name="T6" fmla="*/ 13488141 w 325"/>
              <a:gd name="T7" fmla="*/ 2591873 h 71"/>
              <a:gd name="T8" fmla="*/ 16998696 w 325"/>
              <a:gd name="T9" fmla="*/ 6478877 h 71"/>
              <a:gd name="T10" fmla="*/ 20324415 w 325"/>
              <a:gd name="T11" fmla="*/ 11662623 h 71"/>
              <a:gd name="T12" fmla="*/ 22541560 w 325"/>
              <a:gd name="T13" fmla="*/ 18789469 h 71"/>
              <a:gd name="T14" fmla="*/ 24019801 w 325"/>
              <a:gd name="T15" fmla="*/ 24620377 h 71"/>
              <a:gd name="T16" fmla="*/ 25128374 w 325"/>
              <a:gd name="T17" fmla="*/ 22029309 h 71"/>
              <a:gd name="T18" fmla="*/ 25682875 w 325"/>
              <a:gd name="T19" fmla="*/ 9718719 h 71"/>
              <a:gd name="T20" fmla="*/ 29747505 w 325"/>
              <a:gd name="T21" fmla="*/ 4535778 h 71"/>
              <a:gd name="T22" fmla="*/ 39909924 w 325"/>
              <a:gd name="T23" fmla="*/ 8422783 h 71"/>
              <a:gd name="T24" fmla="*/ 47669934 w 325"/>
              <a:gd name="T25" fmla="*/ 14901661 h 71"/>
              <a:gd name="T26" fmla="*/ 52289059 w 325"/>
              <a:gd name="T27" fmla="*/ 20733373 h 71"/>
              <a:gd name="T28" fmla="*/ 56354126 w 325"/>
              <a:gd name="T29" fmla="*/ 27860223 h 71"/>
              <a:gd name="T30" fmla="*/ 59125773 w 325"/>
              <a:gd name="T31" fmla="*/ 35635035 h 71"/>
              <a:gd name="T32" fmla="*/ 58386438 w 325"/>
              <a:gd name="T33" fmla="*/ 41465942 h 71"/>
              <a:gd name="T34" fmla="*/ 54321801 w 325"/>
              <a:gd name="T35" fmla="*/ 44057814 h 71"/>
              <a:gd name="T36" fmla="*/ 47854768 w 325"/>
              <a:gd name="T37" fmla="*/ 46001718 h 71"/>
              <a:gd name="T38" fmla="*/ 38801351 w 325"/>
              <a:gd name="T39" fmla="*/ 45353750 h 71"/>
              <a:gd name="T40" fmla="*/ 30856078 w 325"/>
              <a:gd name="T41" fmla="*/ 44057814 h 71"/>
              <a:gd name="T42" fmla="*/ 24574302 w 325"/>
              <a:gd name="T43" fmla="*/ 44705782 h 71"/>
              <a:gd name="T44" fmla="*/ 16629029 w 325"/>
              <a:gd name="T45" fmla="*/ 46001718 h 71"/>
              <a:gd name="T46" fmla="*/ 13303307 w 325"/>
              <a:gd name="T47" fmla="*/ 44057814 h 71"/>
              <a:gd name="T48" fmla="*/ 12379568 w 325"/>
              <a:gd name="T49" fmla="*/ 41465942 h 71"/>
              <a:gd name="T50" fmla="*/ 10716494 w 325"/>
              <a:gd name="T51" fmla="*/ 39522843 h 71"/>
              <a:gd name="T52" fmla="*/ 8499348 w 325"/>
              <a:gd name="T53" fmla="*/ 38226907 h 71"/>
              <a:gd name="T54" fmla="*/ 6467035 w 325"/>
              <a:gd name="T55" fmla="*/ 34339099 h 71"/>
              <a:gd name="T56" fmla="*/ 4619127 w 325"/>
              <a:gd name="T57" fmla="*/ 29156159 h 71"/>
              <a:gd name="T58" fmla="*/ 2956482 w 325"/>
              <a:gd name="T59" fmla="*/ 25268345 h 71"/>
              <a:gd name="T60" fmla="*/ 1108573 w 325"/>
              <a:gd name="T61" fmla="*/ 23972409 h 71"/>
              <a:gd name="T62" fmla="*/ 0 w 325"/>
              <a:gd name="T63" fmla="*/ 14253693 h 7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325"/>
              <a:gd name="T97" fmla="*/ 0 h 71"/>
              <a:gd name="T98" fmla="*/ 325 w 325"/>
              <a:gd name="T99" fmla="*/ 71 h 71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325" h="71">
                <a:moveTo>
                  <a:pt x="0" y="12"/>
                </a:moveTo>
                <a:lnTo>
                  <a:pt x="10" y="7"/>
                </a:lnTo>
                <a:lnTo>
                  <a:pt x="20" y="3"/>
                </a:lnTo>
                <a:lnTo>
                  <a:pt x="31" y="1"/>
                </a:lnTo>
                <a:lnTo>
                  <a:pt x="42" y="0"/>
                </a:lnTo>
                <a:lnTo>
                  <a:pt x="53" y="0"/>
                </a:lnTo>
                <a:lnTo>
                  <a:pt x="62" y="2"/>
                </a:lnTo>
                <a:lnTo>
                  <a:pt x="73" y="4"/>
                </a:lnTo>
                <a:lnTo>
                  <a:pt x="83" y="6"/>
                </a:lnTo>
                <a:lnTo>
                  <a:pt x="92" y="10"/>
                </a:lnTo>
                <a:lnTo>
                  <a:pt x="101" y="14"/>
                </a:lnTo>
                <a:lnTo>
                  <a:pt x="110" y="18"/>
                </a:lnTo>
                <a:lnTo>
                  <a:pt x="116" y="23"/>
                </a:lnTo>
                <a:lnTo>
                  <a:pt x="122" y="29"/>
                </a:lnTo>
                <a:lnTo>
                  <a:pt x="127" y="33"/>
                </a:lnTo>
                <a:lnTo>
                  <a:pt x="130" y="38"/>
                </a:lnTo>
                <a:lnTo>
                  <a:pt x="133" y="43"/>
                </a:lnTo>
                <a:lnTo>
                  <a:pt x="136" y="34"/>
                </a:lnTo>
                <a:lnTo>
                  <a:pt x="138" y="25"/>
                </a:lnTo>
                <a:lnTo>
                  <a:pt x="139" y="15"/>
                </a:lnTo>
                <a:lnTo>
                  <a:pt x="139" y="6"/>
                </a:lnTo>
                <a:lnTo>
                  <a:pt x="161" y="7"/>
                </a:lnTo>
                <a:lnTo>
                  <a:pt x="188" y="9"/>
                </a:lnTo>
                <a:lnTo>
                  <a:pt x="216" y="13"/>
                </a:lnTo>
                <a:lnTo>
                  <a:pt x="245" y="19"/>
                </a:lnTo>
                <a:lnTo>
                  <a:pt x="258" y="23"/>
                </a:lnTo>
                <a:lnTo>
                  <a:pt x="271" y="28"/>
                </a:lnTo>
                <a:lnTo>
                  <a:pt x="283" y="32"/>
                </a:lnTo>
                <a:lnTo>
                  <a:pt x="295" y="37"/>
                </a:lnTo>
                <a:lnTo>
                  <a:pt x="305" y="43"/>
                </a:lnTo>
                <a:lnTo>
                  <a:pt x="314" y="48"/>
                </a:lnTo>
                <a:lnTo>
                  <a:pt x="320" y="55"/>
                </a:lnTo>
                <a:lnTo>
                  <a:pt x="325" y="61"/>
                </a:lnTo>
                <a:lnTo>
                  <a:pt x="316" y="64"/>
                </a:lnTo>
                <a:lnTo>
                  <a:pt x="305" y="67"/>
                </a:lnTo>
                <a:lnTo>
                  <a:pt x="294" y="68"/>
                </a:lnTo>
                <a:lnTo>
                  <a:pt x="283" y="70"/>
                </a:lnTo>
                <a:lnTo>
                  <a:pt x="259" y="71"/>
                </a:lnTo>
                <a:lnTo>
                  <a:pt x="234" y="71"/>
                </a:lnTo>
                <a:lnTo>
                  <a:pt x="210" y="70"/>
                </a:lnTo>
                <a:lnTo>
                  <a:pt x="186" y="69"/>
                </a:lnTo>
                <a:lnTo>
                  <a:pt x="167" y="68"/>
                </a:lnTo>
                <a:lnTo>
                  <a:pt x="152" y="67"/>
                </a:lnTo>
                <a:lnTo>
                  <a:pt x="133" y="69"/>
                </a:lnTo>
                <a:lnTo>
                  <a:pt x="104" y="71"/>
                </a:lnTo>
                <a:lnTo>
                  <a:pt x="90" y="71"/>
                </a:lnTo>
                <a:lnTo>
                  <a:pt x="78" y="70"/>
                </a:lnTo>
                <a:lnTo>
                  <a:pt x="72" y="68"/>
                </a:lnTo>
                <a:lnTo>
                  <a:pt x="69" y="67"/>
                </a:lnTo>
                <a:lnTo>
                  <a:pt x="67" y="64"/>
                </a:lnTo>
                <a:lnTo>
                  <a:pt x="66" y="61"/>
                </a:lnTo>
                <a:lnTo>
                  <a:pt x="58" y="61"/>
                </a:lnTo>
                <a:lnTo>
                  <a:pt x="51" y="60"/>
                </a:lnTo>
                <a:lnTo>
                  <a:pt x="46" y="59"/>
                </a:lnTo>
                <a:lnTo>
                  <a:pt x="42" y="57"/>
                </a:lnTo>
                <a:lnTo>
                  <a:pt x="35" y="53"/>
                </a:lnTo>
                <a:lnTo>
                  <a:pt x="31" y="49"/>
                </a:lnTo>
                <a:lnTo>
                  <a:pt x="25" y="45"/>
                </a:lnTo>
                <a:lnTo>
                  <a:pt x="20" y="41"/>
                </a:lnTo>
                <a:lnTo>
                  <a:pt x="16" y="39"/>
                </a:lnTo>
                <a:lnTo>
                  <a:pt x="12" y="38"/>
                </a:lnTo>
                <a:lnTo>
                  <a:pt x="6" y="37"/>
                </a:lnTo>
                <a:lnTo>
                  <a:pt x="0" y="37"/>
                </a:lnTo>
                <a:lnTo>
                  <a:pt x="0" y="22"/>
                </a:lnTo>
                <a:lnTo>
                  <a:pt x="0" y="12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503" name="Freeform 501"/>
          <p:cNvSpPr>
            <a:spLocks/>
          </p:cNvSpPr>
          <p:nvPr userDrawn="1">
            <p:custDataLst>
              <p:tags r:id="rId338"/>
            </p:custDataLst>
          </p:nvPr>
        </p:nvSpPr>
        <p:spPr bwMode="auto">
          <a:xfrm>
            <a:off x="6597650" y="1194209"/>
            <a:ext cx="95250" cy="42863"/>
          </a:xfrm>
          <a:custGeom>
            <a:avLst/>
            <a:gdLst>
              <a:gd name="T0" fmla="*/ 16308101 w 220"/>
              <a:gd name="T1" fmla="*/ 15751175 h 72"/>
              <a:gd name="T2" fmla="*/ 17245447 w 220"/>
              <a:gd name="T3" fmla="*/ 16380618 h 72"/>
              <a:gd name="T4" fmla="*/ 18370263 w 220"/>
              <a:gd name="T5" fmla="*/ 17010855 h 72"/>
              <a:gd name="T6" fmla="*/ 18932238 w 220"/>
              <a:gd name="T7" fmla="*/ 17641092 h 72"/>
              <a:gd name="T8" fmla="*/ 19494646 w 220"/>
              <a:gd name="T9" fmla="*/ 17010855 h 72"/>
              <a:gd name="T10" fmla="*/ 20431992 w 220"/>
              <a:gd name="T11" fmla="*/ 17010855 h 72"/>
              <a:gd name="T12" fmla="*/ 21181869 w 220"/>
              <a:gd name="T13" fmla="*/ 15751175 h 72"/>
              <a:gd name="T14" fmla="*/ 21369338 w 220"/>
              <a:gd name="T15" fmla="*/ 16380618 h 72"/>
              <a:gd name="T16" fmla="*/ 21556808 w 220"/>
              <a:gd name="T17" fmla="*/ 16380618 h 72"/>
              <a:gd name="T18" fmla="*/ 21744277 w 220"/>
              <a:gd name="T19" fmla="*/ 15751175 h 72"/>
              <a:gd name="T20" fmla="*/ 21931746 w 220"/>
              <a:gd name="T21" fmla="*/ 15751175 h 72"/>
              <a:gd name="T22" fmla="*/ 22306685 w 220"/>
              <a:gd name="T23" fmla="*/ 13860463 h 72"/>
              <a:gd name="T24" fmla="*/ 22494154 w 220"/>
              <a:gd name="T25" fmla="*/ 10710861 h 72"/>
              <a:gd name="T26" fmla="*/ 22494154 w 220"/>
              <a:gd name="T27" fmla="*/ 4410075 h 72"/>
              <a:gd name="T28" fmla="*/ 22494154 w 220"/>
              <a:gd name="T29" fmla="*/ 0 h 72"/>
              <a:gd name="T30" fmla="*/ 23431067 w 220"/>
              <a:gd name="T31" fmla="*/ 3150393 h 72"/>
              <a:gd name="T32" fmla="*/ 24555883 w 220"/>
              <a:gd name="T33" fmla="*/ 6299993 h 72"/>
              <a:gd name="T34" fmla="*/ 25680699 w 220"/>
              <a:gd name="T35" fmla="*/ 9450387 h 72"/>
              <a:gd name="T36" fmla="*/ 26805514 w 220"/>
              <a:gd name="T37" fmla="*/ 11970542 h 72"/>
              <a:gd name="T38" fmla="*/ 29242188 w 220"/>
              <a:gd name="T39" fmla="*/ 15751175 h 72"/>
              <a:gd name="T40" fmla="*/ 31866325 w 220"/>
              <a:gd name="T41" fmla="*/ 18900773 h 72"/>
              <a:gd name="T42" fmla="*/ 34303426 w 220"/>
              <a:gd name="T43" fmla="*/ 22051166 h 72"/>
              <a:gd name="T44" fmla="*/ 36740093 w 220"/>
              <a:gd name="T45" fmla="*/ 25831795 h 72"/>
              <a:gd name="T46" fmla="*/ 38052378 w 220"/>
              <a:gd name="T47" fmla="*/ 27721719 h 72"/>
              <a:gd name="T48" fmla="*/ 39177194 w 220"/>
              <a:gd name="T49" fmla="*/ 29611637 h 72"/>
              <a:gd name="T50" fmla="*/ 40114107 w 220"/>
              <a:gd name="T51" fmla="*/ 32131793 h 72"/>
              <a:gd name="T52" fmla="*/ 41238923 w 220"/>
              <a:gd name="T53" fmla="*/ 34651948 h 72"/>
              <a:gd name="T54" fmla="*/ 38614786 w 220"/>
              <a:gd name="T55" fmla="*/ 35282185 h 72"/>
              <a:gd name="T56" fmla="*/ 36365155 w 220"/>
              <a:gd name="T57" fmla="*/ 35912422 h 72"/>
              <a:gd name="T58" fmla="*/ 34115956 w 220"/>
              <a:gd name="T59" fmla="*/ 36541866 h 72"/>
              <a:gd name="T60" fmla="*/ 32053794 w 220"/>
              <a:gd name="T61" fmla="*/ 37802340 h 72"/>
              <a:gd name="T62" fmla="*/ 28304835 w 220"/>
              <a:gd name="T63" fmla="*/ 40952733 h 72"/>
              <a:gd name="T64" fmla="*/ 25118291 w 220"/>
              <a:gd name="T65" fmla="*/ 44103125 h 72"/>
              <a:gd name="T66" fmla="*/ 23618537 w 220"/>
              <a:gd name="T67" fmla="*/ 44732568 h 72"/>
              <a:gd name="T68" fmla="*/ 21931746 w 220"/>
              <a:gd name="T69" fmla="*/ 45362806 h 72"/>
              <a:gd name="T70" fmla="*/ 20619461 w 220"/>
              <a:gd name="T71" fmla="*/ 45362806 h 72"/>
              <a:gd name="T72" fmla="*/ 19307176 w 220"/>
              <a:gd name="T73" fmla="*/ 45362806 h 72"/>
              <a:gd name="T74" fmla="*/ 17807855 w 220"/>
              <a:gd name="T75" fmla="*/ 44103125 h 72"/>
              <a:gd name="T76" fmla="*/ 16495570 w 220"/>
              <a:gd name="T77" fmla="*/ 41582970 h 72"/>
              <a:gd name="T78" fmla="*/ 15183286 w 220"/>
              <a:gd name="T79" fmla="*/ 38432577 h 72"/>
              <a:gd name="T80" fmla="*/ 13871430 w 220"/>
              <a:gd name="T81" fmla="*/ 34651948 h 72"/>
              <a:gd name="T82" fmla="*/ 11059391 w 220"/>
              <a:gd name="T83" fmla="*/ 33392267 h 72"/>
              <a:gd name="T84" fmla="*/ 8435254 w 220"/>
              <a:gd name="T85" fmla="*/ 31501555 h 72"/>
              <a:gd name="T86" fmla="*/ 6186055 w 220"/>
              <a:gd name="T87" fmla="*/ 29611637 h 72"/>
              <a:gd name="T88" fmla="*/ 4123893 w 220"/>
              <a:gd name="T89" fmla="*/ 27091482 h 72"/>
              <a:gd name="T90" fmla="*/ 3374015 w 220"/>
              <a:gd name="T91" fmla="*/ 25831795 h 72"/>
              <a:gd name="T92" fmla="*/ 2436668 w 220"/>
              <a:gd name="T93" fmla="*/ 23941084 h 72"/>
              <a:gd name="T94" fmla="*/ 1687224 w 220"/>
              <a:gd name="T95" fmla="*/ 22051166 h 72"/>
              <a:gd name="T96" fmla="*/ 1312285 w 220"/>
              <a:gd name="T97" fmla="*/ 19531010 h 72"/>
              <a:gd name="T98" fmla="*/ 562408 w 220"/>
              <a:gd name="T99" fmla="*/ 17010855 h 72"/>
              <a:gd name="T100" fmla="*/ 374939 w 220"/>
              <a:gd name="T101" fmla="*/ 14490700 h 72"/>
              <a:gd name="T102" fmla="*/ 187469 w 220"/>
              <a:gd name="T103" fmla="*/ 11341098 h 72"/>
              <a:gd name="T104" fmla="*/ 0 w 220"/>
              <a:gd name="T105" fmla="*/ 8190706 h 72"/>
              <a:gd name="T106" fmla="*/ 4311362 w 220"/>
              <a:gd name="T107" fmla="*/ 10710861 h 72"/>
              <a:gd name="T108" fmla="*/ 8247785 w 220"/>
              <a:gd name="T109" fmla="*/ 13231019 h 72"/>
              <a:gd name="T110" fmla="*/ 11996738 w 220"/>
              <a:gd name="T111" fmla="*/ 15120937 h 72"/>
              <a:gd name="T112" fmla="*/ 16308101 w 220"/>
              <a:gd name="T113" fmla="*/ 15751175 h 72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220"/>
              <a:gd name="T172" fmla="*/ 0 h 72"/>
              <a:gd name="T173" fmla="*/ 220 w 220"/>
              <a:gd name="T174" fmla="*/ 72 h 72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220" h="72">
                <a:moveTo>
                  <a:pt x="87" y="25"/>
                </a:moveTo>
                <a:lnTo>
                  <a:pt x="92" y="26"/>
                </a:lnTo>
                <a:lnTo>
                  <a:pt x="98" y="27"/>
                </a:lnTo>
                <a:lnTo>
                  <a:pt x="101" y="28"/>
                </a:lnTo>
                <a:lnTo>
                  <a:pt x="104" y="27"/>
                </a:lnTo>
                <a:lnTo>
                  <a:pt x="109" y="27"/>
                </a:lnTo>
                <a:lnTo>
                  <a:pt x="113" y="25"/>
                </a:lnTo>
                <a:lnTo>
                  <a:pt x="114" y="26"/>
                </a:lnTo>
                <a:lnTo>
                  <a:pt x="115" y="26"/>
                </a:lnTo>
                <a:lnTo>
                  <a:pt x="116" y="25"/>
                </a:lnTo>
                <a:lnTo>
                  <a:pt x="117" y="25"/>
                </a:lnTo>
                <a:lnTo>
                  <a:pt x="119" y="22"/>
                </a:lnTo>
                <a:lnTo>
                  <a:pt x="120" y="17"/>
                </a:lnTo>
                <a:lnTo>
                  <a:pt x="120" y="7"/>
                </a:lnTo>
                <a:lnTo>
                  <a:pt x="120" y="0"/>
                </a:lnTo>
                <a:lnTo>
                  <a:pt x="125" y="5"/>
                </a:lnTo>
                <a:lnTo>
                  <a:pt x="131" y="10"/>
                </a:lnTo>
                <a:lnTo>
                  <a:pt x="137" y="15"/>
                </a:lnTo>
                <a:lnTo>
                  <a:pt x="143" y="19"/>
                </a:lnTo>
                <a:lnTo>
                  <a:pt x="156" y="25"/>
                </a:lnTo>
                <a:lnTo>
                  <a:pt x="170" y="30"/>
                </a:lnTo>
                <a:lnTo>
                  <a:pt x="183" y="35"/>
                </a:lnTo>
                <a:lnTo>
                  <a:pt x="196" y="41"/>
                </a:lnTo>
                <a:lnTo>
                  <a:pt x="203" y="44"/>
                </a:lnTo>
                <a:lnTo>
                  <a:pt x="209" y="47"/>
                </a:lnTo>
                <a:lnTo>
                  <a:pt x="214" y="51"/>
                </a:lnTo>
                <a:lnTo>
                  <a:pt x="220" y="55"/>
                </a:lnTo>
                <a:lnTo>
                  <a:pt x="206" y="56"/>
                </a:lnTo>
                <a:lnTo>
                  <a:pt x="194" y="57"/>
                </a:lnTo>
                <a:lnTo>
                  <a:pt x="182" y="58"/>
                </a:lnTo>
                <a:lnTo>
                  <a:pt x="171" y="60"/>
                </a:lnTo>
                <a:lnTo>
                  <a:pt x="151" y="65"/>
                </a:lnTo>
                <a:lnTo>
                  <a:pt x="134" y="70"/>
                </a:lnTo>
                <a:lnTo>
                  <a:pt x="126" y="71"/>
                </a:lnTo>
                <a:lnTo>
                  <a:pt x="117" y="72"/>
                </a:lnTo>
                <a:lnTo>
                  <a:pt x="110" y="72"/>
                </a:lnTo>
                <a:lnTo>
                  <a:pt x="103" y="72"/>
                </a:lnTo>
                <a:lnTo>
                  <a:pt x="95" y="70"/>
                </a:lnTo>
                <a:lnTo>
                  <a:pt x="88" y="66"/>
                </a:lnTo>
                <a:lnTo>
                  <a:pt x="81" y="61"/>
                </a:lnTo>
                <a:lnTo>
                  <a:pt x="74" y="55"/>
                </a:lnTo>
                <a:lnTo>
                  <a:pt x="59" y="53"/>
                </a:lnTo>
                <a:lnTo>
                  <a:pt x="45" y="50"/>
                </a:lnTo>
                <a:lnTo>
                  <a:pt x="33" y="47"/>
                </a:lnTo>
                <a:lnTo>
                  <a:pt x="22" y="43"/>
                </a:lnTo>
                <a:lnTo>
                  <a:pt x="18" y="41"/>
                </a:lnTo>
                <a:lnTo>
                  <a:pt x="13" y="38"/>
                </a:lnTo>
                <a:lnTo>
                  <a:pt x="9" y="35"/>
                </a:lnTo>
                <a:lnTo>
                  <a:pt x="7" y="31"/>
                </a:lnTo>
                <a:lnTo>
                  <a:pt x="3" y="27"/>
                </a:lnTo>
                <a:lnTo>
                  <a:pt x="2" y="23"/>
                </a:lnTo>
                <a:lnTo>
                  <a:pt x="1" y="18"/>
                </a:lnTo>
                <a:lnTo>
                  <a:pt x="0" y="13"/>
                </a:lnTo>
                <a:lnTo>
                  <a:pt x="23" y="17"/>
                </a:lnTo>
                <a:lnTo>
                  <a:pt x="44" y="21"/>
                </a:lnTo>
                <a:lnTo>
                  <a:pt x="64" y="24"/>
                </a:lnTo>
                <a:lnTo>
                  <a:pt x="87" y="25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504" name="Freeform 502"/>
          <p:cNvSpPr>
            <a:spLocks/>
          </p:cNvSpPr>
          <p:nvPr userDrawn="1">
            <p:custDataLst>
              <p:tags r:id="rId339"/>
            </p:custDataLst>
          </p:nvPr>
        </p:nvSpPr>
        <p:spPr bwMode="auto">
          <a:xfrm>
            <a:off x="6557964" y="1229928"/>
            <a:ext cx="63500" cy="44053"/>
          </a:xfrm>
          <a:custGeom>
            <a:avLst/>
            <a:gdLst>
              <a:gd name="T0" fmla="*/ 27618146 w 146"/>
              <a:gd name="T1" fmla="*/ 95835295 h 30"/>
              <a:gd name="T2" fmla="*/ 26482975 w 146"/>
              <a:gd name="T3" fmla="*/ 61333175 h 30"/>
              <a:gd name="T4" fmla="*/ 25915825 w 146"/>
              <a:gd name="T5" fmla="*/ 34500162 h 30"/>
              <a:gd name="T6" fmla="*/ 25159044 w 146"/>
              <a:gd name="T7" fmla="*/ 15334273 h 30"/>
              <a:gd name="T8" fmla="*/ 24213069 w 146"/>
              <a:gd name="T9" fmla="*/ 3833568 h 30"/>
              <a:gd name="T10" fmla="*/ 23834678 w 146"/>
              <a:gd name="T11" fmla="*/ 3833568 h 30"/>
              <a:gd name="T12" fmla="*/ 23456288 w 146"/>
              <a:gd name="T13" fmla="*/ 3833568 h 30"/>
              <a:gd name="T14" fmla="*/ 22699943 w 146"/>
              <a:gd name="T15" fmla="*/ 7667136 h 30"/>
              <a:gd name="T16" fmla="*/ 22321552 w 146"/>
              <a:gd name="T17" fmla="*/ 11500705 h 30"/>
              <a:gd name="T18" fmla="*/ 21375577 w 146"/>
              <a:gd name="T19" fmla="*/ 34500162 h 30"/>
              <a:gd name="T20" fmla="*/ 19862451 w 146"/>
              <a:gd name="T21" fmla="*/ 72833892 h 30"/>
              <a:gd name="T22" fmla="*/ 13619878 w 146"/>
              <a:gd name="T23" fmla="*/ 72833892 h 30"/>
              <a:gd name="T24" fmla="*/ 11917557 w 146"/>
              <a:gd name="T25" fmla="*/ 69000325 h 30"/>
              <a:gd name="T26" fmla="*/ 10403996 w 146"/>
              <a:gd name="T27" fmla="*/ 65166758 h 30"/>
              <a:gd name="T28" fmla="*/ 8890870 w 146"/>
              <a:gd name="T29" fmla="*/ 53667999 h 30"/>
              <a:gd name="T30" fmla="*/ 7566504 w 146"/>
              <a:gd name="T31" fmla="*/ 46000864 h 30"/>
              <a:gd name="T32" fmla="*/ 5485791 w 146"/>
              <a:gd name="T33" fmla="*/ 22999453 h 30"/>
              <a:gd name="T34" fmla="*/ 3594274 w 146"/>
              <a:gd name="T35" fmla="*/ 0 h 30"/>
              <a:gd name="T36" fmla="*/ 2648298 w 146"/>
              <a:gd name="T37" fmla="*/ 34500162 h 30"/>
              <a:gd name="T38" fmla="*/ 1891517 w 146"/>
              <a:gd name="T39" fmla="*/ 57501566 h 30"/>
              <a:gd name="T40" fmla="*/ 756781 w 146"/>
              <a:gd name="T41" fmla="*/ 76667459 h 30"/>
              <a:gd name="T42" fmla="*/ 0 w 146"/>
              <a:gd name="T43" fmla="*/ 95835295 h 30"/>
              <a:gd name="T44" fmla="*/ 6242571 w 146"/>
              <a:gd name="T45" fmla="*/ 95835295 h 30"/>
              <a:gd name="T46" fmla="*/ 10782386 w 146"/>
              <a:gd name="T47" fmla="*/ 95835295 h 30"/>
              <a:gd name="T48" fmla="*/ 14565857 w 146"/>
              <a:gd name="T49" fmla="*/ 95835295 h 30"/>
              <a:gd name="T50" fmla="*/ 18727280 w 146"/>
              <a:gd name="T51" fmla="*/ 95835295 h 30"/>
              <a:gd name="T52" fmla="*/ 20807991 w 146"/>
              <a:gd name="T53" fmla="*/ 99666905 h 30"/>
              <a:gd name="T54" fmla="*/ 23267528 w 146"/>
              <a:gd name="T55" fmla="*/ 111167606 h 30"/>
              <a:gd name="T56" fmla="*/ 24213069 w 146"/>
              <a:gd name="T57" fmla="*/ 115001174 h 30"/>
              <a:gd name="T58" fmla="*/ 25537434 w 146"/>
              <a:gd name="T59" fmla="*/ 115001174 h 30"/>
              <a:gd name="T60" fmla="*/ 26482975 w 146"/>
              <a:gd name="T61" fmla="*/ 107334039 h 30"/>
              <a:gd name="T62" fmla="*/ 27618146 w 146"/>
              <a:gd name="T63" fmla="*/ 95835295 h 30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46"/>
              <a:gd name="T97" fmla="*/ 0 h 30"/>
              <a:gd name="T98" fmla="*/ 146 w 146"/>
              <a:gd name="T99" fmla="*/ 30 h 30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46" h="30">
                <a:moveTo>
                  <a:pt x="146" y="25"/>
                </a:moveTo>
                <a:lnTo>
                  <a:pt x="140" y="16"/>
                </a:lnTo>
                <a:lnTo>
                  <a:pt x="137" y="9"/>
                </a:lnTo>
                <a:lnTo>
                  <a:pt x="133" y="4"/>
                </a:lnTo>
                <a:lnTo>
                  <a:pt x="128" y="1"/>
                </a:lnTo>
                <a:lnTo>
                  <a:pt x="126" y="1"/>
                </a:lnTo>
                <a:lnTo>
                  <a:pt x="124" y="1"/>
                </a:lnTo>
                <a:lnTo>
                  <a:pt x="120" y="2"/>
                </a:lnTo>
                <a:lnTo>
                  <a:pt x="118" y="3"/>
                </a:lnTo>
                <a:lnTo>
                  <a:pt x="113" y="9"/>
                </a:lnTo>
                <a:lnTo>
                  <a:pt x="105" y="19"/>
                </a:lnTo>
                <a:lnTo>
                  <a:pt x="72" y="19"/>
                </a:lnTo>
                <a:lnTo>
                  <a:pt x="63" y="18"/>
                </a:lnTo>
                <a:lnTo>
                  <a:pt x="55" y="17"/>
                </a:lnTo>
                <a:lnTo>
                  <a:pt x="47" y="14"/>
                </a:lnTo>
                <a:lnTo>
                  <a:pt x="40" y="12"/>
                </a:lnTo>
                <a:lnTo>
                  <a:pt x="29" y="6"/>
                </a:lnTo>
                <a:lnTo>
                  <a:pt x="19" y="0"/>
                </a:lnTo>
                <a:lnTo>
                  <a:pt x="14" y="9"/>
                </a:lnTo>
                <a:lnTo>
                  <a:pt x="10" y="15"/>
                </a:lnTo>
                <a:lnTo>
                  <a:pt x="4" y="20"/>
                </a:lnTo>
                <a:lnTo>
                  <a:pt x="0" y="25"/>
                </a:lnTo>
                <a:lnTo>
                  <a:pt x="33" y="25"/>
                </a:lnTo>
                <a:lnTo>
                  <a:pt x="57" y="25"/>
                </a:lnTo>
                <a:lnTo>
                  <a:pt x="77" y="25"/>
                </a:lnTo>
                <a:lnTo>
                  <a:pt x="99" y="25"/>
                </a:lnTo>
                <a:lnTo>
                  <a:pt x="110" y="26"/>
                </a:lnTo>
                <a:lnTo>
                  <a:pt x="123" y="29"/>
                </a:lnTo>
                <a:lnTo>
                  <a:pt x="128" y="30"/>
                </a:lnTo>
                <a:lnTo>
                  <a:pt x="135" y="30"/>
                </a:lnTo>
                <a:lnTo>
                  <a:pt x="140" y="28"/>
                </a:lnTo>
                <a:lnTo>
                  <a:pt x="146" y="25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505" name="Freeform 503"/>
          <p:cNvSpPr>
            <a:spLocks/>
          </p:cNvSpPr>
          <p:nvPr userDrawn="1">
            <p:custDataLst>
              <p:tags r:id="rId340"/>
            </p:custDataLst>
          </p:nvPr>
        </p:nvSpPr>
        <p:spPr bwMode="auto">
          <a:xfrm>
            <a:off x="6537330" y="1227547"/>
            <a:ext cx="20637" cy="44053"/>
          </a:xfrm>
          <a:custGeom>
            <a:avLst/>
            <a:gdLst>
              <a:gd name="T0" fmla="*/ 0 w 53"/>
              <a:gd name="T1" fmla="*/ 383337180 h 9"/>
              <a:gd name="T2" fmla="*/ 2577289 w 53"/>
              <a:gd name="T3" fmla="*/ 383337180 h 9"/>
              <a:gd name="T4" fmla="*/ 4396849 w 53"/>
              <a:gd name="T5" fmla="*/ 383337180 h 9"/>
              <a:gd name="T6" fmla="*/ 6064552 w 53"/>
              <a:gd name="T7" fmla="*/ 383337180 h 9"/>
              <a:gd name="T8" fmla="*/ 8035581 w 53"/>
              <a:gd name="T9" fmla="*/ 383337180 h 9"/>
              <a:gd name="T10" fmla="*/ 6974139 w 53"/>
              <a:gd name="T11" fmla="*/ 255558154 h 9"/>
              <a:gd name="T12" fmla="*/ 5761227 w 53"/>
              <a:gd name="T13" fmla="*/ 127779077 h 9"/>
              <a:gd name="T14" fmla="*/ 4700174 w 53"/>
              <a:gd name="T15" fmla="*/ 42590846 h 9"/>
              <a:gd name="T16" fmla="*/ 3790200 w 53"/>
              <a:gd name="T17" fmla="*/ 0 h 9"/>
              <a:gd name="T18" fmla="*/ 2880614 w 53"/>
              <a:gd name="T19" fmla="*/ 0 h 9"/>
              <a:gd name="T20" fmla="*/ 2122496 w 53"/>
              <a:gd name="T21" fmla="*/ 0 h 9"/>
              <a:gd name="T22" fmla="*/ 1364378 w 53"/>
              <a:gd name="T23" fmla="*/ 42590846 h 9"/>
              <a:gd name="T24" fmla="*/ 909586 w 53"/>
              <a:gd name="T25" fmla="*/ 127779077 h 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53"/>
              <a:gd name="T40" fmla="*/ 0 h 9"/>
              <a:gd name="T41" fmla="*/ 53 w 53"/>
              <a:gd name="T42" fmla="*/ 9 h 9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53" h="9">
                <a:moveTo>
                  <a:pt x="0" y="9"/>
                </a:moveTo>
                <a:lnTo>
                  <a:pt x="17" y="9"/>
                </a:lnTo>
                <a:lnTo>
                  <a:pt x="29" y="9"/>
                </a:lnTo>
                <a:lnTo>
                  <a:pt x="40" y="9"/>
                </a:lnTo>
                <a:lnTo>
                  <a:pt x="53" y="9"/>
                </a:lnTo>
                <a:lnTo>
                  <a:pt x="46" y="6"/>
                </a:lnTo>
                <a:lnTo>
                  <a:pt x="38" y="3"/>
                </a:lnTo>
                <a:lnTo>
                  <a:pt x="31" y="1"/>
                </a:lnTo>
                <a:lnTo>
                  <a:pt x="25" y="0"/>
                </a:lnTo>
                <a:lnTo>
                  <a:pt x="19" y="0"/>
                </a:lnTo>
                <a:lnTo>
                  <a:pt x="14" y="0"/>
                </a:lnTo>
                <a:lnTo>
                  <a:pt x="9" y="1"/>
                </a:lnTo>
                <a:lnTo>
                  <a:pt x="6" y="3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506" name="Line 504"/>
          <p:cNvSpPr>
            <a:spLocks noChangeShapeType="1"/>
          </p:cNvSpPr>
          <p:nvPr userDrawn="1">
            <p:custDataLst>
              <p:tags r:id="rId341"/>
            </p:custDataLst>
          </p:nvPr>
        </p:nvSpPr>
        <p:spPr bwMode="auto">
          <a:xfrm flipV="1">
            <a:off x="6538912" y="1226345"/>
            <a:ext cx="0" cy="1191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507" name="Freeform 505"/>
          <p:cNvSpPr>
            <a:spLocks/>
          </p:cNvSpPr>
          <p:nvPr userDrawn="1">
            <p:custDataLst>
              <p:tags r:id="rId342"/>
            </p:custDataLst>
          </p:nvPr>
        </p:nvSpPr>
        <p:spPr bwMode="auto">
          <a:xfrm>
            <a:off x="5708651" y="1172777"/>
            <a:ext cx="11112" cy="41672"/>
          </a:xfrm>
          <a:custGeom>
            <a:avLst/>
            <a:gdLst>
              <a:gd name="T0" fmla="*/ 0 w 26"/>
              <a:gd name="T1" fmla="*/ 123485431 h 25"/>
              <a:gd name="T2" fmla="*/ 913321 w 26"/>
              <a:gd name="T3" fmla="*/ 83969748 h 25"/>
              <a:gd name="T4" fmla="*/ 2374549 w 26"/>
              <a:gd name="T5" fmla="*/ 39515700 h 25"/>
              <a:gd name="T6" fmla="*/ 2922456 w 26"/>
              <a:gd name="T7" fmla="*/ 24696199 h 25"/>
              <a:gd name="T8" fmla="*/ 3653284 w 26"/>
              <a:gd name="T9" fmla="*/ 9878925 h 25"/>
              <a:gd name="T10" fmla="*/ 4201191 w 26"/>
              <a:gd name="T11" fmla="*/ 4938351 h 25"/>
              <a:gd name="T12" fmla="*/ 4749098 w 26"/>
              <a:gd name="T13" fmla="*/ 0 h 25"/>
              <a:gd name="T14" fmla="*/ 4749098 w 26"/>
              <a:gd name="T15" fmla="*/ 123485431 h 25"/>
              <a:gd name="T16" fmla="*/ 3653284 w 26"/>
              <a:gd name="T17" fmla="*/ 123485431 h 25"/>
              <a:gd name="T18" fmla="*/ 2374549 w 26"/>
              <a:gd name="T19" fmla="*/ 123485431 h 25"/>
              <a:gd name="T20" fmla="*/ 0 w 26"/>
              <a:gd name="T21" fmla="*/ 123485431 h 2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26"/>
              <a:gd name="T34" fmla="*/ 0 h 25"/>
              <a:gd name="T35" fmla="*/ 26 w 26"/>
              <a:gd name="T36" fmla="*/ 25 h 25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26" h="25">
                <a:moveTo>
                  <a:pt x="0" y="25"/>
                </a:moveTo>
                <a:lnTo>
                  <a:pt x="5" y="17"/>
                </a:lnTo>
                <a:lnTo>
                  <a:pt x="13" y="8"/>
                </a:lnTo>
                <a:lnTo>
                  <a:pt x="16" y="5"/>
                </a:lnTo>
                <a:lnTo>
                  <a:pt x="20" y="2"/>
                </a:lnTo>
                <a:lnTo>
                  <a:pt x="23" y="1"/>
                </a:lnTo>
                <a:lnTo>
                  <a:pt x="26" y="0"/>
                </a:lnTo>
                <a:lnTo>
                  <a:pt x="26" y="25"/>
                </a:lnTo>
                <a:lnTo>
                  <a:pt x="20" y="25"/>
                </a:lnTo>
                <a:lnTo>
                  <a:pt x="13" y="25"/>
                </a:lnTo>
                <a:lnTo>
                  <a:pt x="0" y="25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508" name="Freeform 506"/>
          <p:cNvSpPr>
            <a:spLocks/>
          </p:cNvSpPr>
          <p:nvPr userDrawn="1">
            <p:custDataLst>
              <p:tags r:id="rId343"/>
            </p:custDataLst>
          </p:nvPr>
        </p:nvSpPr>
        <p:spPr bwMode="auto">
          <a:xfrm>
            <a:off x="6457954" y="1226356"/>
            <a:ext cx="9525" cy="42863"/>
          </a:xfrm>
          <a:custGeom>
            <a:avLst/>
            <a:gdLst>
              <a:gd name="T0" fmla="*/ 2749261 w 33"/>
              <a:gd name="T1" fmla="*/ 130644896 h 25"/>
              <a:gd name="T2" fmla="*/ 2749261 w 33"/>
              <a:gd name="T3" fmla="*/ 62709551 h 25"/>
              <a:gd name="T4" fmla="*/ 2749261 w 33"/>
              <a:gd name="T5" fmla="*/ 0 h 25"/>
              <a:gd name="T6" fmla="*/ 0 w 33"/>
              <a:gd name="T7" fmla="*/ 0 h 25"/>
              <a:gd name="T8" fmla="*/ 749877 w 33"/>
              <a:gd name="T9" fmla="*/ 47032168 h 25"/>
              <a:gd name="T10" fmla="*/ 1332923 w 33"/>
              <a:gd name="T11" fmla="*/ 88838541 h 25"/>
              <a:gd name="T12" fmla="*/ 1666298 w 33"/>
              <a:gd name="T13" fmla="*/ 104515924 h 25"/>
              <a:gd name="T14" fmla="*/ 1999384 w 33"/>
              <a:gd name="T15" fmla="*/ 120193307 h 25"/>
              <a:gd name="T16" fmla="*/ 2332759 w 33"/>
              <a:gd name="T17" fmla="*/ 125419101 h 25"/>
              <a:gd name="T18" fmla="*/ 2749261 w 33"/>
              <a:gd name="T19" fmla="*/ 130644896 h 2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3"/>
              <a:gd name="T31" fmla="*/ 0 h 25"/>
              <a:gd name="T32" fmla="*/ 33 w 33"/>
              <a:gd name="T33" fmla="*/ 25 h 25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3" h="25">
                <a:moveTo>
                  <a:pt x="33" y="25"/>
                </a:moveTo>
                <a:lnTo>
                  <a:pt x="33" y="12"/>
                </a:lnTo>
                <a:lnTo>
                  <a:pt x="33" y="0"/>
                </a:lnTo>
                <a:lnTo>
                  <a:pt x="0" y="0"/>
                </a:lnTo>
                <a:lnTo>
                  <a:pt x="9" y="9"/>
                </a:lnTo>
                <a:lnTo>
                  <a:pt x="16" y="17"/>
                </a:lnTo>
                <a:lnTo>
                  <a:pt x="20" y="20"/>
                </a:lnTo>
                <a:lnTo>
                  <a:pt x="24" y="23"/>
                </a:lnTo>
                <a:lnTo>
                  <a:pt x="28" y="24"/>
                </a:lnTo>
                <a:lnTo>
                  <a:pt x="33" y="25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509" name="Freeform 507"/>
          <p:cNvSpPr>
            <a:spLocks/>
          </p:cNvSpPr>
          <p:nvPr userDrawn="1">
            <p:custDataLst>
              <p:tags r:id="rId344"/>
            </p:custDataLst>
          </p:nvPr>
        </p:nvSpPr>
        <p:spPr bwMode="auto">
          <a:xfrm>
            <a:off x="6411918" y="1198972"/>
            <a:ext cx="9525" cy="42863"/>
          </a:xfrm>
          <a:custGeom>
            <a:avLst/>
            <a:gdLst>
              <a:gd name="T0" fmla="*/ 0 w 20"/>
              <a:gd name="T1" fmla="*/ 0 h 18"/>
              <a:gd name="T2" fmla="*/ 2948464 w 20"/>
              <a:gd name="T3" fmla="*/ 181451223 h 18"/>
              <a:gd name="T4" fmla="*/ 3629025 w 20"/>
              <a:gd name="T5" fmla="*/ 110886878 h 18"/>
              <a:gd name="T6" fmla="*/ 4536281 w 20"/>
              <a:gd name="T7" fmla="*/ 0 h 18"/>
              <a:gd name="T8" fmla="*/ 0 w 20"/>
              <a:gd name="T9" fmla="*/ 0 h 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0"/>
              <a:gd name="T16" fmla="*/ 0 h 18"/>
              <a:gd name="T17" fmla="*/ 20 w 20"/>
              <a:gd name="T18" fmla="*/ 18 h 1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0" h="18">
                <a:moveTo>
                  <a:pt x="0" y="0"/>
                </a:moveTo>
                <a:lnTo>
                  <a:pt x="13" y="18"/>
                </a:lnTo>
                <a:lnTo>
                  <a:pt x="16" y="11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510" name="Freeform 508"/>
          <p:cNvSpPr>
            <a:spLocks/>
          </p:cNvSpPr>
          <p:nvPr userDrawn="1">
            <p:custDataLst>
              <p:tags r:id="rId345"/>
            </p:custDataLst>
          </p:nvPr>
        </p:nvSpPr>
        <p:spPr bwMode="auto">
          <a:xfrm>
            <a:off x="6911976" y="1626404"/>
            <a:ext cx="12700" cy="44054"/>
          </a:xfrm>
          <a:custGeom>
            <a:avLst/>
            <a:gdLst>
              <a:gd name="T0" fmla="*/ 0 w 33"/>
              <a:gd name="T1" fmla="*/ 111295249 h 31"/>
              <a:gd name="T2" fmla="*/ 0 w 33"/>
              <a:gd name="T3" fmla="*/ 0 h 31"/>
              <a:gd name="T4" fmla="*/ 1333115 w 33"/>
              <a:gd name="T5" fmla="*/ 0 h 31"/>
              <a:gd name="T6" fmla="*/ 2369897 w 33"/>
              <a:gd name="T7" fmla="*/ 0 h 31"/>
              <a:gd name="T8" fmla="*/ 3554460 w 33"/>
              <a:gd name="T9" fmla="*/ 0 h 31"/>
              <a:gd name="T10" fmla="*/ 4887575 w 33"/>
              <a:gd name="T11" fmla="*/ 0 h 31"/>
              <a:gd name="T12" fmla="*/ 4443075 w 33"/>
              <a:gd name="T13" fmla="*/ 7181194 h 31"/>
              <a:gd name="T14" fmla="*/ 4295293 w 33"/>
              <a:gd name="T15" fmla="*/ 17951094 h 31"/>
              <a:gd name="T16" fmla="*/ 4147127 w 33"/>
              <a:gd name="T17" fmla="*/ 32311591 h 31"/>
              <a:gd name="T18" fmla="*/ 4147127 w 33"/>
              <a:gd name="T19" fmla="*/ 46672081 h 31"/>
              <a:gd name="T20" fmla="*/ 4147127 w 33"/>
              <a:gd name="T21" fmla="*/ 61032571 h 31"/>
              <a:gd name="T22" fmla="*/ 4295293 w 33"/>
              <a:gd name="T23" fmla="*/ 75393076 h 31"/>
              <a:gd name="T24" fmla="*/ 4443075 w 33"/>
              <a:gd name="T25" fmla="*/ 93344163 h 31"/>
              <a:gd name="T26" fmla="*/ 4887575 w 33"/>
              <a:gd name="T27" fmla="*/ 111295249 h 31"/>
              <a:gd name="T28" fmla="*/ 0 w 33"/>
              <a:gd name="T29" fmla="*/ 111295249 h 31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33"/>
              <a:gd name="T46" fmla="*/ 0 h 31"/>
              <a:gd name="T47" fmla="*/ 33 w 33"/>
              <a:gd name="T48" fmla="*/ 31 h 31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33" h="31">
                <a:moveTo>
                  <a:pt x="0" y="31"/>
                </a:moveTo>
                <a:lnTo>
                  <a:pt x="0" y="0"/>
                </a:lnTo>
                <a:lnTo>
                  <a:pt x="9" y="0"/>
                </a:lnTo>
                <a:lnTo>
                  <a:pt x="16" y="0"/>
                </a:lnTo>
                <a:lnTo>
                  <a:pt x="24" y="0"/>
                </a:lnTo>
                <a:lnTo>
                  <a:pt x="33" y="0"/>
                </a:lnTo>
                <a:lnTo>
                  <a:pt x="30" y="2"/>
                </a:lnTo>
                <a:lnTo>
                  <a:pt x="29" y="5"/>
                </a:lnTo>
                <a:lnTo>
                  <a:pt x="28" y="9"/>
                </a:lnTo>
                <a:lnTo>
                  <a:pt x="28" y="13"/>
                </a:lnTo>
                <a:lnTo>
                  <a:pt x="28" y="17"/>
                </a:lnTo>
                <a:lnTo>
                  <a:pt x="29" y="21"/>
                </a:lnTo>
                <a:lnTo>
                  <a:pt x="30" y="26"/>
                </a:lnTo>
                <a:lnTo>
                  <a:pt x="33" y="31"/>
                </a:lnTo>
                <a:lnTo>
                  <a:pt x="0" y="31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511" name="Freeform 509"/>
          <p:cNvSpPr>
            <a:spLocks/>
          </p:cNvSpPr>
          <p:nvPr userDrawn="1">
            <p:custDataLst>
              <p:tags r:id="rId346"/>
            </p:custDataLst>
          </p:nvPr>
        </p:nvSpPr>
        <p:spPr bwMode="auto">
          <a:xfrm>
            <a:off x="7205667" y="1268019"/>
            <a:ext cx="55563" cy="44053"/>
          </a:xfrm>
          <a:custGeom>
            <a:avLst/>
            <a:gdLst>
              <a:gd name="T0" fmla="*/ 556491 w 129"/>
              <a:gd name="T1" fmla="*/ 48406633 h 56"/>
              <a:gd name="T2" fmla="*/ 185641 w 129"/>
              <a:gd name="T3" fmla="*/ 46206094 h 56"/>
              <a:gd name="T4" fmla="*/ 185641 w 129"/>
              <a:gd name="T5" fmla="*/ 44005555 h 56"/>
              <a:gd name="T6" fmla="*/ 0 w 129"/>
              <a:gd name="T7" fmla="*/ 40704746 h 56"/>
              <a:gd name="T8" fmla="*/ 185641 w 129"/>
              <a:gd name="T9" fmla="*/ 36304717 h 56"/>
              <a:gd name="T10" fmla="*/ 370851 w 129"/>
              <a:gd name="T11" fmla="*/ 27503601 h 56"/>
              <a:gd name="T12" fmla="*/ 556491 w 129"/>
              <a:gd name="T13" fmla="*/ 19802763 h 56"/>
              <a:gd name="T14" fmla="*/ 1669474 w 129"/>
              <a:gd name="T15" fmla="*/ 14301411 h 56"/>
              <a:gd name="T16" fmla="*/ 2968528 w 129"/>
              <a:gd name="T17" fmla="*/ 9901381 h 56"/>
              <a:gd name="T18" fmla="*/ 3895871 w 129"/>
              <a:gd name="T19" fmla="*/ 6600571 h 56"/>
              <a:gd name="T20" fmla="*/ 5008853 w 129"/>
              <a:gd name="T21" fmla="*/ 5500301 h 56"/>
              <a:gd name="T22" fmla="*/ 7235250 w 129"/>
              <a:gd name="T23" fmla="*/ 3300810 h 56"/>
              <a:gd name="T24" fmla="*/ 10574628 w 129"/>
              <a:gd name="T25" fmla="*/ 0 h 56"/>
              <a:gd name="T26" fmla="*/ 11131119 w 129"/>
              <a:gd name="T27" fmla="*/ 5500301 h 56"/>
              <a:gd name="T28" fmla="*/ 11873251 w 129"/>
              <a:gd name="T29" fmla="*/ 8801112 h 56"/>
              <a:gd name="T30" fmla="*/ 12801023 w 129"/>
              <a:gd name="T31" fmla="*/ 12101921 h 56"/>
              <a:gd name="T32" fmla="*/ 13543155 w 129"/>
              <a:gd name="T33" fmla="*/ 15401680 h 56"/>
              <a:gd name="T34" fmla="*/ 15398273 w 129"/>
              <a:gd name="T35" fmla="*/ 19802763 h 56"/>
              <a:gd name="T36" fmla="*/ 17253387 w 129"/>
              <a:gd name="T37" fmla="*/ 23102523 h 56"/>
              <a:gd name="T38" fmla="*/ 19108501 w 129"/>
              <a:gd name="T39" fmla="*/ 27503601 h 56"/>
              <a:gd name="T40" fmla="*/ 20963615 w 129"/>
              <a:gd name="T41" fmla="*/ 31903630 h 56"/>
              <a:gd name="T42" fmla="*/ 21705747 w 129"/>
              <a:gd name="T43" fmla="*/ 35204447 h 56"/>
              <a:gd name="T44" fmla="*/ 22447879 w 129"/>
              <a:gd name="T45" fmla="*/ 38505256 h 56"/>
              <a:gd name="T46" fmla="*/ 23375651 w 129"/>
              <a:gd name="T47" fmla="*/ 41805016 h 56"/>
              <a:gd name="T48" fmla="*/ 23932142 w 129"/>
              <a:gd name="T49" fmla="*/ 48406633 h 56"/>
              <a:gd name="T50" fmla="*/ 22077028 w 129"/>
              <a:gd name="T51" fmla="*/ 52806663 h 56"/>
              <a:gd name="T52" fmla="*/ 20221914 w 129"/>
              <a:gd name="T53" fmla="*/ 56107471 h 56"/>
              <a:gd name="T54" fmla="*/ 18366369 w 129"/>
              <a:gd name="T55" fmla="*/ 58306962 h 56"/>
              <a:gd name="T56" fmla="*/ 16696896 w 129"/>
              <a:gd name="T57" fmla="*/ 59407231 h 56"/>
              <a:gd name="T58" fmla="*/ 12986233 w 129"/>
              <a:gd name="T59" fmla="*/ 61607770 h 56"/>
              <a:gd name="T60" fmla="*/ 9090364 w 129"/>
              <a:gd name="T61" fmla="*/ 61607770 h 56"/>
              <a:gd name="T62" fmla="*/ 7420891 w 129"/>
              <a:gd name="T63" fmla="*/ 60507501 h 56"/>
              <a:gd name="T64" fmla="*/ 5750985 w 129"/>
              <a:gd name="T65" fmla="*/ 59407231 h 56"/>
              <a:gd name="T66" fmla="*/ 4267152 w 129"/>
              <a:gd name="T67" fmla="*/ 57207741 h 56"/>
              <a:gd name="T68" fmla="*/ 2968528 w 129"/>
              <a:gd name="T69" fmla="*/ 55007202 h 56"/>
              <a:gd name="T70" fmla="*/ 1112983 w 129"/>
              <a:gd name="T71" fmla="*/ 50606124 h 56"/>
              <a:gd name="T72" fmla="*/ 556491 w 129"/>
              <a:gd name="T73" fmla="*/ 48406633 h 5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129"/>
              <a:gd name="T112" fmla="*/ 0 h 56"/>
              <a:gd name="T113" fmla="*/ 129 w 129"/>
              <a:gd name="T114" fmla="*/ 56 h 5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129" h="56">
                <a:moveTo>
                  <a:pt x="3" y="44"/>
                </a:moveTo>
                <a:lnTo>
                  <a:pt x="1" y="42"/>
                </a:lnTo>
                <a:lnTo>
                  <a:pt x="1" y="40"/>
                </a:lnTo>
                <a:lnTo>
                  <a:pt x="0" y="37"/>
                </a:lnTo>
                <a:lnTo>
                  <a:pt x="1" y="33"/>
                </a:lnTo>
                <a:lnTo>
                  <a:pt x="2" y="25"/>
                </a:lnTo>
                <a:lnTo>
                  <a:pt x="3" y="18"/>
                </a:lnTo>
                <a:lnTo>
                  <a:pt x="9" y="13"/>
                </a:lnTo>
                <a:lnTo>
                  <a:pt x="16" y="9"/>
                </a:lnTo>
                <a:lnTo>
                  <a:pt x="21" y="6"/>
                </a:lnTo>
                <a:lnTo>
                  <a:pt x="27" y="5"/>
                </a:lnTo>
                <a:lnTo>
                  <a:pt x="39" y="3"/>
                </a:lnTo>
                <a:lnTo>
                  <a:pt x="57" y="0"/>
                </a:lnTo>
                <a:lnTo>
                  <a:pt x="60" y="5"/>
                </a:lnTo>
                <a:lnTo>
                  <a:pt x="64" y="8"/>
                </a:lnTo>
                <a:lnTo>
                  <a:pt x="69" y="11"/>
                </a:lnTo>
                <a:lnTo>
                  <a:pt x="73" y="14"/>
                </a:lnTo>
                <a:lnTo>
                  <a:pt x="83" y="18"/>
                </a:lnTo>
                <a:lnTo>
                  <a:pt x="93" y="21"/>
                </a:lnTo>
                <a:lnTo>
                  <a:pt x="103" y="25"/>
                </a:lnTo>
                <a:lnTo>
                  <a:pt x="113" y="29"/>
                </a:lnTo>
                <a:lnTo>
                  <a:pt x="117" y="32"/>
                </a:lnTo>
                <a:lnTo>
                  <a:pt x="121" y="35"/>
                </a:lnTo>
                <a:lnTo>
                  <a:pt x="126" y="38"/>
                </a:lnTo>
                <a:lnTo>
                  <a:pt x="129" y="44"/>
                </a:lnTo>
                <a:lnTo>
                  <a:pt x="119" y="48"/>
                </a:lnTo>
                <a:lnTo>
                  <a:pt x="109" y="51"/>
                </a:lnTo>
                <a:lnTo>
                  <a:pt x="99" y="53"/>
                </a:lnTo>
                <a:lnTo>
                  <a:pt x="90" y="54"/>
                </a:lnTo>
                <a:lnTo>
                  <a:pt x="70" y="56"/>
                </a:lnTo>
                <a:lnTo>
                  <a:pt x="49" y="56"/>
                </a:lnTo>
                <a:lnTo>
                  <a:pt x="40" y="55"/>
                </a:lnTo>
                <a:lnTo>
                  <a:pt x="31" y="54"/>
                </a:lnTo>
                <a:lnTo>
                  <a:pt x="23" y="52"/>
                </a:lnTo>
                <a:lnTo>
                  <a:pt x="16" y="50"/>
                </a:lnTo>
                <a:lnTo>
                  <a:pt x="6" y="46"/>
                </a:lnTo>
                <a:lnTo>
                  <a:pt x="3" y="44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512" name="Freeform 510"/>
          <p:cNvSpPr>
            <a:spLocks/>
          </p:cNvSpPr>
          <p:nvPr userDrawn="1">
            <p:custDataLst>
              <p:tags r:id="rId347"/>
            </p:custDataLst>
          </p:nvPr>
        </p:nvSpPr>
        <p:spPr bwMode="auto">
          <a:xfrm>
            <a:off x="7342189" y="1532334"/>
            <a:ext cx="14288" cy="42863"/>
          </a:xfrm>
          <a:custGeom>
            <a:avLst/>
            <a:gdLst>
              <a:gd name="T0" fmla="*/ 2550233 w 41"/>
              <a:gd name="T1" fmla="*/ 77764814 h 42"/>
              <a:gd name="T2" fmla="*/ 0 w 41"/>
              <a:gd name="T3" fmla="*/ 55545719 h 42"/>
              <a:gd name="T4" fmla="*/ 0 w 41"/>
              <a:gd name="T5" fmla="*/ 11108870 h 42"/>
              <a:gd name="T6" fmla="*/ 849962 w 41"/>
              <a:gd name="T7" fmla="*/ 9258299 h 42"/>
              <a:gd name="T8" fmla="*/ 1700272 w 41"/>
              <a:gd name="T9" fmla="*/ 5554435 h 42"/>
              <a:gd name="T10" fmla="*/ 2914752 w 41"/>
              <a:gd name="T11" fmla="*/ 1851932 h 42"/>
              <a:gd name="T12" fmla="*/ 4129232 w 41"/>
              <a:gd name="T13" fmla="*/ 0 h 42"/>
              <a:gd name="T14" fmla="*/ 4129232 w 41"/>
              <a:gd name="T15" fmla="*/ 33327974 h 42"/>
              <a:gd name="T16" fmla="*/ 4979193 w 41"/>
              <a:gd name="T17" fmla="*/ 33327974 h 42"/>
              <a:gd name="T18" fmla="*/ 2550233 w 41"/>
              <a:gd name="T19" fmla="*/ 77764814 h 4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41"/>
              <a:gd name="T31" fmla="*/ 0 h 42"/>
              <a:gd name="T32" fmla="*/ 41 w 41"/>
              <a:gd name="T33" fmla="*/ 42 h 4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41" h="42">
                <a:moveTo>
                  <a:pt x="21" y="42"/>
                </a:moveTo>
                <a:lnTo>
                  <a:pt x="0" y="30"/>
                </a:lnTo>
                <a:lnTo>
                  <a:pt x="0" y="6"/>
                </a:lnTo>
                <a:lnTo>
                  <a:pt x="7" y="5"/>
                </a:lnTo>
                <a:lnTo>
                  <a:pt x="14" y="3"/>
                </a:lnTo>
                <a:lnTo>
                  <a:pt x="24" y="1"/>
                </a:lnTo>
                <a:lnTo>
                  <a:pt x="34" y="0"/>
                </a:lnTo>
                <a:lnTo>
                  <a:pt x="34" y="18"/>
                </a:lnTo>
                <a:lnTo>
                  <a:pt x="41" y="18"/>
                </a:lnTo>
                <a:lnTo>
                  <a:pt x="21" y="42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513" name="Freeform 511"/>
          <p:cNvSpPr>
            <a:spLocks/>
          </p:cNvSpPr>
          <p:nvPr userDrawn="1">
            <p:custDataLst>
              <p:tags r:id="rId348"/>
            </p:custDataLst>
          </p:nvPr>
        </p:nvSpPr>
        <p:spPr bwMode="auto">
          <a:xfrm>
            <a:off x="7491421" y="1616880"/>
            <a:ext cx="42863" cy="45244"/>
          </a:xfrm>
          <a:custGeom>
            <a:avLst/>
            <a:gdLst>
              <a:gd name="T0" fmla="*/ 12745520 w 93"/>
              <a:gd name="T1" fmla="*/ 21532929 h 39"/>
              <a:gd name="T2" fmla="*/ 14232359 w 93"/>
              <a:gd name="T3" fmla="*/ 43065858 h 39"/>
              <a:gd name="T4" fmla="*/ 16356615 w 93"/>
              <a:gd name="T5" fmla="*/ 66991684 h 39"/>
              <a:gd name="T6" fmla="*/ 17206039 w 93"/>
              <a:gd name="T7" fmla="*/ 78954591 h 39"/>
              <a:gd name="T8" fmla="*/ 18268396 w 93"/>
              <a:gd name="T9" fmla="*/ 86133263 h 39"/>
              <a:gd name="T10" fmla="*/ 19117821 w 93"/>
              <a:gd name="T11" fmla="*/ 90917498 h 39"/>
              <a:gd name="T12" fmla="*/ 19755235 w 93"/>
              <a:gd name="T13" fmla="*/ 93310388 h 39"/>
              <a:gd name="T14" fmla="*/ 12745520 w 93"/>
              <a:gd name="T15" fmla="*/ 93310388 h 39"/>
              <a:gd name="T16" fmla="*/ 10621267 w 93"/>
              <a:gd name="T17" fmla="*/ 86133263 h 39"/>
              <a:gd name="T18" fmla="*/ 9133968 w 93"/>
              <a:gd name="T19" fmla="*/ 76561700 h 39"/>
              <a:gd name="T20" fmla="*/ 7647129 w 93"/>
              <a:gd name="T21" fmla="*/ 66991684 h 39"/>
              <a:gd name="T22" fmla="*/ 6372760 w 93"/>
              <a:gd name="T23" fmla="*/ 55028777 h 39"/>
              <a:gd name="T24" fmla="*/ 5097932 w 93"/>
              <a:gd name="T25" fmla="*/ 43065858 h 39"/>
              <a:gd name="T26" fmla="*/ 3398621 w 93"/>
              <a:gd name="T27" fmla="*/ 31102951 h 39"/>
              <a:gd name="T28" fmla="*/ 1911782 w 93"/>
              <a:gd name="T29" fmla="*/ 16748694 h 39"/>
              <a:gd name="T30" fmla="*/ 0 w 93"/>
              <a:gd name="T31" fmla="*/ 7177128 h 39"/>
              <a:gd name="T32" fmla="*/ 2336725 w 93"/>
              <a:gd name="T33" fmla="*/ 2392891 h 39"/>
              <a:gd name="T34" fmla="*/ 4248507 w 93"/>
              <a:gd name="T35" fmla="*/ 0 h 39"/>
              <a:gd name="T36" fmla="*/ 5522874 w 93"/>
              <a:gd name="T37" fmla="*/ 0 h 39"/>
              <a:gd name="T38" fmla="*/ 7009713 w 93"/>
              <a:gd name="T39" fmla="*/ 2392891 h 39"/>
              <a:gd name="T40" fmla="*/ 9346439 w 93"/>
              <a:gd name="T41" fmla="*/ 9570019 h 39"/>
              <a:gd name="T42" fmla="*/ 12745520 w 93"/>
              <a:gd name="T43" fmla="*/ 21532929 h 39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93"/>
              <a:gd name="T67" fmla="*/ 0 h 39"/>
              <a:gd name="T68" fmla="*/ 93 w 93"/>
              <a:gd name="T69" fmla="*/ 39 h 39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93" h="39">
                <a:moveTo>
                  <a:pt x="60" y="9"/>
                </a:moveTo>
                <a:lnTo>
                  <a:pt x="67" y="18"/>
                </a:lnTo>
                <a:lnTo>
                  <a:pt x="77" y="28"/>
                </a:lnTo>
                <a:lnTo>
                  <a:pt x="81" y="33"/>
                </a:lnTo>
                <a:lnTo>
                  <a:pt x="86" y="36"/>
                </a:lnTo>
                <a:lnTo>
                  <a:pt x="90" y="38"/>
                </a:lnTo>
                <a:lnTo>
                  <a:pt x="93" y="39"/>
                </a:lnTo>
                <a:lnTo>
                  <a:pt x="60" y="39"/>
                </a:lnTo>
                <a:lnTo>
                  <a:pt x="50" y="36"/>
                </a:lnTo>
                <a:lnTo>
                  <a:pt x="43" y="32"/>
                </a:lnTo>
                <a:lnTo>
                  <a:pt x="36" y="28"/>
                </a:lnTo>
                <a:lnTo>
                  <a:pt x="30" y="23"/>
                </a:lnTo>
                <a:lnTo>
                  <a:pt x="24" y="18"/>
                </a:lnTo>
                <a:lnTo>
                  <a:pt x="16" y="13"/>
                </a:lnTo>
                <a:lnTo>
                  <a:pt x="9" y="7"/>
                </a:lnTo>
                <a:lnTo>
                  <a:pt x="0" y="3"/>
                </a:lnTo>
                <a:lnTo>
                  <a:pt x="11" y="1"/>
                </a:lnTo>
                <a:lnTo>
                  <a:pt x="20" y="0"/>
                </a:lnTo>
                <a:lnTo>
                  <a:pt x="26" y="0"/>
                </a:lnTo>
                <a:lnTo>
                  <a:pt x="33" y="1"/>
                </a:lnTo>
                <a:lnTo>
                  <a:pt x="44" y="4"/>
                </a:lnTo>
                <a:lnTo>
                  <a:pt x="60" y="9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514" name="Freeform 512"/>
          <p:cNvSpPr>
            <a:spLocks/>
          </p:cNvSpPr>
          <p:nvPr userDrawn="1">
            <p:custDataLst>
              <p:tags r:id="rId349"/>
            </p:custDataLst>
          </p:nvPr>
        </p:nvSpPr>
        <p:spPr bwMode="auto">
          <a:xfrm>
            <a:off x="7542213" y="1628786"/>
            <a:ext cx="19050" cy="44054"/>
          </a:xfrm>
          <a:custGeom>
            <a:avLst/>
            <a:gdLst>
              <a:gd name="T0" fmla="*/ 9305192 w 39"/>
              <a:gd name="T1" fmla="*/ 181586957 h 19"/>
              <a:gd name="T2" fmla="*/ 3101731 w 39"/>
              <a:gd name="T3" fmla="*/ 181586957 h 19"/>
              <a:gd name="T4" fmla="*/ 1908907 w 39"/>
              <a:gd name="T5" fmla="*/ 181586957 h 19"/>
              <a:gd name="T6" fmla="*/ 1192823 w 39"/>
              <a:gd name="T7" fmla="*/ 162472383 h 19"/>
              <a:gd name="T8" fmla="*/ 715596 w 39"/>
              <a:gd name="T9" fmla="*/ 133802067 h 19"/>
              <a:gd name="T10" fmla="*/ 477227 w 39"/>
              <a:gd name="T11" fmla="*/ 105128660 h 19"/>
              <a:gd name="T12" fmla="*/ 0 w 39"/>
              <a:gd name="T13" fmla="*/ 47784902 h 19"/>
              <a:gd name="T14" fmla="*/ 0 w 39"/>
              <a:gd name="T15" fmla="*/ 0 h 19"/>
              <a:gd name="T16" fmla="*/ 3101731 w 39"/>
              <a:gd name="T17" fmla="*/ 38229160 h 19"/>
              <a:gd name="T18" fmla="*/ 5249008 w 39"/>
              <a:gd name="T19" fmla="*/ 86014062 h 19"/>
              <a:gd name="T20" fmla="*/ 7157914 w 39"/>
              <a:gd name="T21" fmla="*/ 133802067 h 19"/>
              <a:gd name="T22" fmla="*/ 9305192 w 39"/>
              <a:gd name="T23" fmla="*/ 181586957 h 1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39"/>
              <a:gd name="T37" fmla="*/ 0 h 19"/>
              <a:gd name="T38" fmla="*/ 39 w 39"/>
              <a:gd name="T39" fmla="*/ 19 h 19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39" h="19">
                <a:moveTo>
                  <a:pt x="39" y="19"/>
                </a:moveTo>
                <a:lnTo>
                  <a:pt x="13" y="19"/>
                </a:lnTo>
                <a:lnTo>
                  <a:pt x="8" y="19"/>
                </a:lnTo>
                <a:lnTo>
                  <a:pt x="5" y="17"/>
                </a:lnTo>
                <a:lnTo>
                  <a:pt x="3" y="14"/>
                </a:lnTo>
                <a:lnTo>
                  <a:pt x="2" y="11"/>
                </a:lnTo>
                <a:lnTo>
                  <a:pt x="0" y="5"/>
                </a:lnTo>
                <a:lnTo>
                  <a:pt x="0" y="0"/>
                </a:lnTo>
                <a:lnTo>
                  <a:pt x="13" y="4"/>
                </a:lnTo>
                <a:lnTo>
                  <a:pt x="22" y="9"/>
                </a:lnTo>
                <a:lnTo>
                  <a:pt x="30" y="14"/>
                </a:lnTo>
                <a:lnTo>
                  <a:pt x="39" y="19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515" name="Freeform 513"/>
          <p:cNvSpPr>
            <a:spLocks/>
          </p:cNvSpPr>
          <p:nvPr userDrawn="1">
            <p:custDataLst>
              <p:tags r:id="rId350"/>
            </p:custDataLst>
          </p:nvPr>
        </p:nvSpPr>
        <p:spPr bwMode="auto">
          <a:xfrm>
            <a:off x="7407283" y="1724037"/>
            <a:ext cx="14287" cy="42863"/>
          </a:xfrm>
          <a:custGeom>
            <a:avLst/>
            <a:gdLst>
              <a:gd name="T0" fmla="*/ 0 w 26"/>
              <a:gd name="T1" fmla="*/ 90725611 h 36"/>
              <a:gd name="T2" fmla="*/ 906126 w 26"/>
              <a:gd name="T3" fmla="*/ 78124042 h 36"/>
              <a:gd name="T4" fmla="*/ 3019503 w 26"/>
              <a:gd name="T5" fmla="*/ 50403116 h 36"/>
              <a:gd name="T6" fmla="*/ 5435105 w 26"/>
              <a:gd name="T7" fmla="*/ 20161248 h 36"/>
              <a:gd name="T8" fmla="*/ 7850706 w 26"/>
              <a:gd name="T9" fmla="*/ 0 h 36"/>
              <a:gd name="T10" fmla="*/ 7850706 w 26"/>
              <a:gd name="T11" fmla="*/ 22682197 h 36"/>
              <a:gd name="T12" fmla="*/ 7850706 w 26"/>
              <a:gd name="T13" fmla="*/ 45362806 h 36"/>
              <a:gd name="T14" fmla="*/ 7549031 w 26"/>
              <a:gd name="T15" fmla="*/ 55443439 h 36"/>
              <a:gd name="T16" fmla="*/ 7246806 w 26"/>
              <a:gd name="T17" fmla="*/ 65524060 h 36"/>
              <a:gd name="T18" fmla="*/ 6341230 w 26"/>
              <a:gd name="T19" fmla="*/ 73083731 h 36"/>
              <a:gd name="T20" fmla="*/ 5133430 w 26"/>
              <a:gd name="T21" fmla="*/ 80644991 h 36"/>
              <a:gd name="T22" fmla="*/ 4227303 w 26"/>
              <a:gd name="T23" fmla="*/ 85685301 h 36"/>
              <a:gd name="T24" fmla="*/ 3019503 w 26"/>
              <a:gd name="T25" fmla="*/ 88206250 h 36"/>
              <a:gd name="T26" fmla="*/ 1207801 w 26"/>
              <a:gd name="T27" fmla="*/ 90725611 h 36"/>
              <a:gd name="T28" fmla="*/ 0 w 26"/>
              <a:gd name="T29" fmla="*/ 90725611 h 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26"/>
              <a:gd name="T46" fmla="*/ 0 h 36"/>
              <a:gd name="T47" fmla="*/ 26 w 26"/>
              <a:gd name="T48" fmla="*/ 36 h 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26" h="36">
                <a:moveTo>
                  <a:pt x="0" y="36"/>
                </a:moveTo>
                <a:lnTo>
                  <a:pt x="3" y="31"/>
                </a:lnTo>
                <a:lnTo>
                  <a:pt x="10" y="20"/>
                </a:lnTo>
                <a:lnTo>
                  <a:pt x="18" y="8"/>
                </a:lnTo>
                <a:lnTo>
                  <a:pt x="26" y="0"/>
                </a:lnTo>
                <a:lnTo>
                  <a:pt x="26" y="9"/>
                </a:lnTo>
                <a:lnTo>
                  <a:pt x="26" y="18"/>
                </a:lnTo>
                <a:lnTo>
                  <a:pt x="25" y="22"/>
                </a:lnTo>
                <a:lnTo>
                  <a:pt x="24" y="26"/>
                </a:lnTo>
                <a:lnTo>
                  <a:pt x="21" y="29"/>
                </a:lnTo>
                <a:lnTo>
                  <a:pt x="17" y="32"/>
                </a:lnTo>
                <a:lnTo>
                  <a:pt x="14" y="34"/>
                </a:lnTo>
                <a:lnTo>
                  <a:pt x="10" y="35"/>
                </a:lnTo>
                <a:lnTo>
                  <a:pt x="4" y="36"/>
                </a:lnTo>
                <a:lnTo>
                  <a:pt x="0" y="36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516" name="Freeform 514"/>
          <p:cNvSpPr>
            <a:spLocks/>
          </p:cNvSpPr>
          <p:nvPr userDrawn="1">
            <p:custDataLst>
              <p:tags r:id="rId351"/>
            </p:custDataLst>
          </p:nvPr>
        </p:nvSpPr>
        <p:spPr bwMode="auto">
          <a:xfrm>
            <a:off x="7418396" y="1745467"/>
            <a:ext cx="3175" cy="45244"/>
          </a:xfrm>
          <a:custGeom>
            <a:avLst/>
            <a:gdLst>
              <a:gd name="T0" fmla="*/ 0 w 6"/>
              <a:gd name="T1" fmla="*/ 98354191 h 37"/>
              <a:gd name="T2" fmla="*/ 0 w 6"/>
              <a:gd name="T3" fmla="*/ 0 h 37"/>
              <a:gd name="T4" fmla="*/ 1680104 w 6"/>
              <a:gd name="T5" fmla="*/ 0 h 37"/>
              <a:gd name="T6" fmla="*/ 1680104 w 6"/>
              <a:gd name="T7" fmla="*/ 82405572 h 37"/>
              <a:gd name="T8" fmla="*/ 0 w 6"/>
              <a:gd name="T9" fmla="*/ 98354191 h 3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7"/>
              <a:gd name="T17" fmla="*/ 6 w 6"/>
              <a:gd name="T18" fmla="*/ 37 h 3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7">
                <a:moveTo>
                  <a:pt x="0" y="37"/>
                </a:moveTo>
                <a:lnTo>
                  <a:pt x="0" y="0"/>
                </a:lnTo>
                <a:lnTo>
                  <a:pt x="6" y="0"/>
                </a:lnTo>
                <a:lnTo>
                  <a:pt x="6" y="31"/>
                </a:lnTo>
                <a:lnTo>
                  <a:pt x="0" y="37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517" name="Freeform 515"/>
          <p:cNvSpPr>
            <a:spLocks/>
          </p:cNvSpPr>
          <p:nvPr userDrawn="1">
            <p:custDataLst>
              <p:tags r:id="rId352"/>
            </p:custDataLst>
          </p:nvPr>
        </p:nvSpPr>
        <p:spPr bwMode="auto">
          <a:xfrm>
            <a:off x="7405692" y="1807379"/>
            <a:ext cx="9525" cy="41672"/>
          </a:xfrm>
          <a:custGeom>
            <a:avLst/>
            <a:gdLst>
              <a:gd name="T0" fmla="*/ 0 w 20"/>
              <a:gd name="T1" fmla="*/ 51760167 h 43"/>
              <a:gd name="T2" fmla="*/ 0 w 20"/>
              <a:gd name="T3" fmla="*/ 41742022 h 43"/>
              <a:gd name="T4" fmla="*/ 0 w 20"/>
              <a:gd name="T5" fmla="*/ 30054414 h 43"/>
              <a:gd name="T6" fmla="*/ 453866 w 20"/>
              <a:gd name="T7" fmla="*/ 15026561 h 43"/>
              <a:gd name="T8" fmla="*/ 1587817 w 20"/>
              <a:gd name="T9" fmla="*/ 0 h 43"/>
              <a:gd name="T10" fmla="*/ 2495074 w 20"/>
              <a:gd name="T11" fmla="*/ 11687613 h 43"/>
              <a:gd name="T12" fmla="*/ 3629025 w 20"/>
              <a:gd name="T13" fmla="*/ 20036274 h 43"/>
              <a:gd name="T14" fmla="*/ 3855719 w 20"/>
              <a:gd name="T15" fmla="*/ 23375227 h 43"/>
              <a:gd name="T16" fmla="*/ 4309586 w 20"/>
              <a:gd name="T17" fmla="*/ 30054414 h 43"/>
              <a:gd name="T18" fmla="*/ 4309586 w 20"/>
              <a:gd name="T19" fmla="*/ 35062835 h 43"/>
              <a:gd name="T20" fmla="*/ 4536281 w 20"/>
              <a:gd name="T21" fmla="*/ 41742022 h 43"/>
              <a:gd name="T22" fmla="*/ 4309586 w 20"/>
              <a:gd name="T23" fmla="*/ 45080980 h 43"/>
              <a:gd name="T24" fmla="*/ 4082892 w 20"/>
              <a:gd name="T25" fmla="*/ 50090693 h 43"/>
              <a:gd name="T26" fmla="*/ 3629025 w 20"/>
              <a:gd name="T27" fmla="*/ 55099114 h 43"/>
              <a:gd name="T28" fmla="*/ 2721769 w 20"/>
              <a:gd name="T29" fmla="*/ 60108828 h 43"/>
              <a:gd name="T30" fmla="*/ 2041208 w 20"/>
              <a:gd name="T31" fmla="*/ 65117249 h 43"/>
              <a:gd name="T32" fmla="*/ 1360646 w 20"/>
              <a:gd name="T33" fmla="*/ 68457488 h 43"/>
              <a:gd name="T34" fmla="*/ 453866 w 20"/>
              <a:gd name="T35" fmla="*/ 70126962 h 43"/>
              <a:gd name="T36" fmla="*/ 0 w 20"/>
              <a:gd name="T37" fmla="*/ 71796436 h 43"/>
              <a:gd name="T38" fmla="*/ 0 w 20"/>
              <a:gd name="T39" fmla="*/ 51760167 h 43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20"/>
              <a:gd name="T61" fmla="*/ 0 h 43"/>
              <a:gd name="T62" fmla="*/ 20 w 20"/>
              <a:gd name="T63" fmla="*/ 43 h 43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20" h="43">
                <a:moveTo>
                  <a:pt x="0" y="31"/>
                </a:moveTo>
                <a:lnTo>
                  <a:pt x="0" y="25"/>
                </a:lnTo>
                <a:lnTo>
                  <a:pt x="0" y="18"/>
                </a:lnTo>
                <a:lnTo>
                  <a:pt x="2" y="9"/>
                </a:lnTo>
                <a:lnTo>
                  <a:pt x="7" y="0"/>
                </a:lnTo>
                <a:lnTo>
                  <a:pt x="11" y="7"/>
                </a:lnTo>
                <a:lnTo>
                  <a:pt x="16" y="12"/>
                </a:lnTo>
                <a:lnTo>
                  <a:pt x="17" y="14"/>
                </a:lnTo>
                <a:lnTo>
                  <a:pt x="19" y="18"/>
                </a:lnTo>
                <a:lnTo>
                  <a:pt x="19" y="21"/>
                </a:lnTo>
                <a:lnTo>
                  <a:pt x="20" y="25"/>
                </a:lnTo>
                <a:lnTo>
                  <a:pt x="19" y="27"/>
                </a:lnTo>
                <a:lnTo>
                  <a:pt x="18" y="30"/>
                </a:lnTo>
                <a:lnTo>
                  <a:pt x="16" y="33"/>
                </a:lnTo>
                <a:lnTo>
                  <a:pt x="12" y="36"/>
                </a:lnTo>
                <a:lnTo>
                  <a:pt x="9" y="39"/>
                </a:lnTo>
                <a:lnTo>
                  <a:pt x="6" y="41"/>
                </a:lnTo>
                <a:lnTo>
                  <a:pt x="2" y="42"/>
                </a:lnTo>
                <a:lnTo>
                  <a:pt x="0" y="43"/>
                </a:lnTo>
                <a:lnTo>
                  <a:pt x="0" y="31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518" name="Freeform 516"/>
          <p:cNvSpPr>
            <a:spLocks/>
          </p:cNvSpPr>
          <p:nvPr userDrawn="1">
            <p:custDataLst>
              <p:tags r:id="rId353"/>
            </p:custDataLst>
          </p:nvPr>
        </p:nvSpPr>
        <p:spPr bwMode="auto">
          <a:xfrm>
            <a:off x="7383462" y="1833572"/>
            <a:ext cx="0" cy="44054"/>
          </a:xfrm>
          <a:custGeom>
            <a:avLst/>
            <a:gdLst>
              <a:gd name="T0" fmla="*/ 115005089 h 30"/>
              <a:gd name="T1" fmla="*/ 95836927 h 30"/>
              <a:gd name="T2" fmla="*/ 69003458 h 30"/>
              <a:gd name="T3" fmla="*/ 34500750 h 30"/>
              <a:gd name="T4" fmla="*/ 0 h 30"/>
              <a:gd name="T5" fmla="*/ 0 60000 65536"/>
              <a:gd name="T6" fmla="*/ 0 60000 65536"/>
              <a:gd name="T7" fmla="*/ 0 60000 65536"/>
              <a:gd name="T8" fmla="*/ 0 60000 65536"/>
              <a:gd name="T9" fmla="*/ 0 60000 65536"/>
              <a:gd name="T10" fmla="*/ 0 h 30"/>
              <a:gd name="T11" fmla="*/ 30 h 30"/>
            </a:gdLst>
            <a:ahLst/>
            <a:cxnLst>
              <a:cxn ang="T5">
                <a:pos x="0" y="T0"/>
              </a:cxn>
              <a:cxn ang="T6">
                <a:pos x="0" y="T1"/>
              </a:cxn>
              <a:cxn ang="T7">
                <a:pos x="0" y="T2"/>
              </a:cxn>
              <a:cxn ang="T8">
                <a:pos x="0" y="T3"/>
              </a:cxn>
              <a:cxn ang="T9">
                <a:pos x="0" y="T4"/>
              </a:cxn>
            </a:cxnLst>
            <a:rect l="0" t="T10" r="0" b="T11"/>
            <a:pathLst>
              <a:path h="30">
                <a:moveTo>
                  <a:pt x="0" y="30"/>
                </a:moveTo>
                <a:lnTo>
                  <a:pt x="0" y="25"/>
                </a:lnTo>
                <a:lnTo>
                  <a:pt x="0" y="18"/>
                </a:lnTo>
                <a:lnTo>
                  <a:pt x="0" y="9"/>
                </a:lnTo>
                <a:lnTo>
                  <a:pt x="0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519" name="Freeform 517"/>
          <p:cNvSpPr>
            <a:spLocks/>
          </p:cNvSpPr>
          <p:nvPr userDrawn="1">
            <p:custDataLst>
              <p:tags r:id="rId354"/>
            </p:custDataLst>
          </p:nvPr>
        </p:nvSpPr>
        <p:spPr bwMode="auto">
          <a:xfrm>
            <a:off x="7383462" y="1833572"/>
            <a:ext cx="7938" cy="44054"/>
          </a:xfrm>
          <a:custGeom>
            <a:avLst/>
            <a:gdLst>
              <a:gd name="T0" fmla="*/ 0 w 20"/>
              <a:gd name="T1" fmla="*/ 0 h 24"/>
              <a:gd name="T2" fmla="*/ 3150592 w 20"/>
              <a:gd name="T3" fmla="*/ 0 h 24"/>
              <a:gd name="T4" fmla="*/ 0 w 20"/>
              <a:gd name="T5" fmla="*/ 143756353 h 24"/>
              <a:gd name="T6" fmla="*/ 0 60000 65536"/>
              <a:gd name="T7" fmla="*/ 0 60000 65536"/>
              <a:gd name="T8" fmla="*/ 0 60000 65536"/>
              <a:gd name="T9" fmla="*/ 0 w 20"/>
              <a:gd name="T10" fmla="*/ 0 h 24"/>
              <a:gd name="T11" fmla="*/ 20 w 20"/>
              <a:gd name="T12" fmla="*/ 24 h 2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0" h="24">
                <a:moveTo>
                  <a:pt x="0" y="0"/>
                </a:moveTo>
                <a:lnTo>
                  <a:pt x="20" y="0"/>
                </a:lnTo>
                <a:lnTo>
                  <a:pt x="0" y="24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520" name="Freeform 518"/>
          <p:cNvSpPr>
            <a:spLocks/>
          </p:cNvSpPr>
          <p:nvPr userDrawn="1">
            <p:custDataLst>
              <p:tags r:id="rId355"/>
            </p:custDataLst>
          </p:nvPr>
        </p:nvSpPr>
        <p:spPr bwMode="auto">
          <a:xfrm>
            <a:off x="7137403" y="1524000"/>
            <a:ext cx="17462" cy="45244"/>
          </a:xfrm>
          <a:custGeom>
            <a:avLst/>
            <a:gdLst>
              <a:gd name="T0" fmla="*/ 0 w 46"/>
              <a:gd name="T1" fmla="*/ 0 h 19"/>
              <a:gd name="T2" fmla="*/ 1296743 w 46"/>
              <a:gd name="T3" fmla="*/ 30241875 h 19"/>
              <a:gd name="T4" fmla="*/ 2017620 w 46"/>
              <a:gd name="T5" fmla="*/ 50403117 h 19"/>
              <a:gd name="T6" fmla="*/ 2738117 w 46"/>
              <a:gd name="T7" fmla="*/ 80644992 h 19"/>
              <a:gd name="T8" fmla="*/ 3314364 w 46"/>
              <a:gd name="T9" fmla="*/ 100806234 h 19"/>
              <a:gd name="T10" fmla="*/ 3746738 w 46"/>
              <a:gd name="T11" fmla="*/ 120967501 h 19"/>
              <a:gd name="T12" fmla="*/ 4611107 w 46"/>
              <a:gd name="T13" fmla="*/ 141128743 h 19"/>
              <a:gd name="T14" fmla="*/ 5331983 w 46"/>
              <a:gd name="T15" fmla="*/ 171370606 h 19"/>
              <a:gd name="T16" fmla="*/ 6628728 w 46"/>
              <a:gd name="T17" fmla="*/ 191531848 h 19"/>
              <a:gd name="T18" fmla="*/ 4755358 w 46"/>
              <a:gd name="T19" fmla="*/ 191531848 h 19"/>
              <a:gd name="T20" fmla="*/ 3458615 w 46"/>
              <a:gd name="T21" fmla="*/ 191531848 h 19"/>
              <a:gd name="T22" fmla="*/ 2593866 w 46"/>
              <a:gd name="T23" fmla="*/ 181451227 h 19"/>
              <a:gd name="T24" fmla="*/ 1873369 w 46"/>
              <a:gd name="T25" fmla="*/ 171370606 h 19"/>
              <a:gd name="T26" fmla="*/ 1440995 w 46"/>
              <a:gd name="T27" fmla="*/ 141128743 h 19"/>
              <a:gd name="T28" fmla="*/ 1008620 w 46"/>
              <a:gd name="T29" fmla="*/ 110886880 h 19"/>
              <a:gd name="T30" fmla="*/ 576246 w 46"/>
              <a:gd name="T31" fmla="*/ 70564371 h 19"/>
              <a:gd name="T32" fmla="*/ 0 w 46"/>
              <a:gd name="T33" fmla="*/ 0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46"/>
              <a:gd name="T52" fmla="*/ 0 h 19"/>
              <a:gd name="T53" fmla="*/ 46 w 46"/>
              <a:gd name="T54" fmla="*/ 19 h 19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46" h="19">
                <a:moveTo>
                  <a:pt x="0" y="0"/>
                </a:moveTo>
                <a:lnTo>
                  <a:pt x="9" y="3"/>
                </a:lnTo>
                <a:lnTo>
                  <a:pt x="14" y="5"/>
                </a:lnTo>
                <a:lnTo>
                  <a:pt x="19" y="8"/>
                </a:lnTo>
                <a:lnTo>
                  <a:pt x="23" y="10"/>
                </a:lnTo>
                <a:lnTo>
                  <a:pt x="26" y="12"/>
                </a:lnTo>
                <a:lnTo>
                  <a:pt x="32" y="14"/>
                </a:lnTo>
                <a:lnTo>
                  <a:pt x="37" y="17"/>
                </a:lnTo>
                <a:lnTo>
                  <a:pt x="46" y="19"/>
                </a:lnTo>
                <a:lnTo>
                  <a:pt x="33" y="19"/>
                </a:lnTo>
                <a:lnTo>
                  <a:pt x="24" y="19"/>
                </a:lnTo>
                <a:lnTo>
                  <a:pt x="18" y="18"/>
                </a:lnTo>
                <a:lnTo>
                  <a:pt x="13" y="17"/>
                </a:lnTo>
                <a:lnTo>
                  <a:pt x="10" y="14"/>
                </a:lnTo>
                <a:lnTo>
                  <a:pt x="7" y="11"/>
                </a:lnTo>
                <a:lnTo>
                  <a:pt x="4" y="7"/>
                </a:lnTo>
                <a:lnTo>
                  <a:pt x="0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521" name="Freeform 519"/>
          <p:cNvSpPr>
            <a:spLocks/>
          </p:cNvSpPr>
          <p:nvPr userDrawn="1">
            <p:custDataLst>
              <p:tags r:id="rId356"/>
            </p:custDataLst>
          </p:nvPr>
        </p:nvSpPr>
        <p:spPr bwMode="auto">
          <a:xfrm>
            <a:off x="4452942" y="1628786"/>
            <a:ext cx="47625" cy="44054"/>
          </a:xfrm>
          <a:custGeom>
            <a:avLst/>
            <a:gdLst>
              <a:gd name="T0" fmla="*/ 7484745 w 100"/>
              <a:gd name="T1" fmla="*/ 0 h 55"/>
              <a:gd name="T2" fmla="*/ 22681407 w 100"/>
              <a:gd name="T3" fmla="*/ 13687022 h 55"/>
              <a:gd name="T4" fmla="*/ 22681407 w 100"/>
              <a:gd name="T5" fmla="*/ 62730047 h 55"/>
              <a:gd name="T6" fmla="*/ 2948464 w 100"/>
              <a:gd name="T7" fmla="*/ 62730047 h 55"/>
              <a:gd name="T8" fmla="*/ 0 w 100"/>
              <a:gd name="T9" fmla="*/ 49043029 h 55"/>
              <a:gd name="T10" fmla="*/ 226695 w 100"/>
              <a:gd name="T11" fmla="*/ 43341173 h 55"/>
              <a:gd name="T12" fmla="*/ 907256 w 100"/>
              <a:gd name="T13" fmla="*/ 36497664 h 55"/>
              <a:gd name="T14" fmla="*/ 2268379 w 100"/>
              <a:gd name="T15" fmla="*/ 28513562 h 55"/>
              <a:gd name="T16" fmla="*/ 3629025 w 100"/>
              <a:gd name="T17" fmla="*/ 20529468 h 55"/>
              <a:gd name="T18" fmla="*/ 6124099 w 100"/>
              <a:gd name="T19" fmla="*/ 5702926 h 55"/>
              <a:gd name="T20" fmla="*/ 7484745 w 100"/>
              <a:gd name="T21" fmla="*/ 0 h 5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00"/>
              <a:gd name="T34" fmla="*/ 0 h 55"/>
              <a:gd name="T35" fmla="*/ 100 w 100"/>
              <a:gd name="T36" fmla="*/ 55 h 55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00" h="55">
                <a:moveTo>
                  <a:pt x="33" y="0"/>
                </a:moveTo>
                <a:lnTo>
                  <a:pt x="100" y="12"/>
                </a:lnTo>
                <a:lnTo>
                  <a:pt x="100" y="55"/>
                </a:lnTo>
                <a:lnTo>
                  <a:pt x="13" y="55"/>
                </a:lnTo>
                <a:lnTo>
                  <a:pt x="0" y="43"/>
                </a:lnTo>
                <a:lnTo>
                  <a:pt x="1" y="38"/>
                </a:lnTo>
                <a:lnTo>
                  <a:pt x="4" y="32"/>
                </a:lnTo>
                <a:lnTo>
                  <a:pt x="10" y="25"/>
                </a:lnTo>
                <a:lnTo>
                  <a:pt x="16" y="18"/>
                </a:lnTo>
                <a:lnTo>
                  <a:pt x="27" y="5"/>
                </a:lnTo>
                <a:lnTo>
                  <a:pt x="33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522" name="Freeform 520"/>
          <p:cNvSpPr>
            <a:spLocks/>
          </p:cNvSpPr>
          <p:nvPr userDrawn="1">
            <p:custDataLst>
              <p:tags r:id="rId357"/>
            </p:custDataLst>
          </p:nvPr>
        </p:nvSpPr>
        <p:spPr bwMode="auto">
          <a:xfrm>
            <a:off x="4902200" y="1322787"/>
            <a:ext cx="42862" cy="44053"/>
          </a:xfrm>
          <a:custGeom>
            <a:avLst/>
            <a:gdLst>
              <a:gd name="T0" fmla="*/ 9934459 w 99"/>
              <a:gd name="T1" fmla="*/ 2652379 h 51"/>
              <a:gd name="T2" fmla="*/ 10871795 w 99"/>
              <a:gd name="T3" fmla="*/ 1326765 h 51"/>
              <a:gd name="T4" fmla="*/ 11621663 w 99"/>
              <a:gd name="T5" fmla="*/ 0 h 51"/>
              <a:gd name="T6" fmla="*/ 12184064 w 99"/>
              <a:gd name="T7" fmla="*/ 0 h 51"/>
              <a:gd name="T8" fmla="*/ 12933933 w 99"/>
              <a:gd name="T9" fmla="*/ 1326765 h 51"/>
              <a:gd name="T10" fmla="*/ 13870835 w 99"/>
              <a:gd name="T11" fmla="*/ 6632674 h 51"/>
              <a:gd name="T12" fmla="*/ 14808174 w 99"/>
              <a:gd name="T13" fmla="*/ 14590962 h 51"/>
              <a:gd name="T14" fmla="*/ 15558042 w 99"/>
              <a:gd name="T15" fmla="*/ 23876017 h 51"/>
              <a:gd name="T16" fmla="*/ 16307910 w 99"/>
              <a:gd name="T17" fmla="*/ 33161067 h 51"/>
              <a:gd name="T18" fmla="*/ 17057346 w 99"/>
              <a:gd name="T19" fmla="*/ 37140209 h 51"/>
              <a:gd name="T20" fmla="*/ 17432280 w 99"/>
              <a:gd name="T21" fmla="*/ 39792596 h 51"/>
              <a:gd name="T22" fmla="*/ 17994681 w 99"/>
              <a:gd name="T23" fmla="*/ 42446126 h 51"/>
              <a:gd name="T24" fmla="*/ 18557082 w 99"/>
              <a:gd name="T25" fmla="*/ 45098503 h 51"/>
              <a:gd name="T26" fmla="*/ 18557082 w 99"/>
              <a:gd name="T27" fmla="*/ 49077646 h 51"/>
              <a:gd name="T28" fmla="*/ 18182148 w 99"/>
              <a:gd name="T29" fmla="*/ 53056789 h 51"/>
              <a:gd name="T30" fmla="*/ 17807214 w 99"/>
              <a:gd name="T31" fmla="*/ 57035931 h 51"/>
              <a:gd name="T32" fmla="*/ 17057346 w 99"/>
              <a:gd name="T33" fmla="*/ 59689461 h 51"/>
              <a:gd name="T34" fmla="*/ 16120443 w 99"/>
              <a:gd name="T35" fmla="*/ 62341839 h 51"/>
              <a:gd name="T36" fmla="*/ 15183108 w 99"/>
              <a:gd name="T37" fmla="*/ 63668604 h 51"/>
              <a:gd name="T38" fmla="*/ 13870835 w 99"/>
              <a:gd name="T39" fmla="*/ 66320981 h 51"/>
              <a:gd name="T40" fmla="*/ 12746466 w 99"/>
              <a:gd name="T41" fmla="*/ 66320981 h 51"/>
              <a:gd name="T42" fmla="*/ 9746992 w 99"/>
              <a:gd name="T43" fmla="*/ 67647746 h 51"/>
              <a:gd name="T44" fmla="*/ 6747950 w 99"/>
              <a:gd name="T45" fmla="*/ 64995368 h 51"/>
              <a:gd name="T46" fmla="*/ 5061180 w 99"/>
              <a:gd name="T47" fmla="*/ 63668604 h 51"/>
              <a:gd name="T48" fmla="*/ 3373975 w 99"/>
              <a:gd name="T49" fmla="*/ 59689461 h 51"/>
              <a:gd name="T50" fmla="*/ 1687204 w 99"/>
              <a:gd name="T51" fmla="*/ 57035931 h 51"/>
              <a:gd name="T52" fmla="*/ 187467 w 99"/>
              <a:gd name="T53" fmla="*/ 53056789 h 51"/>
              <a:gd name="T54" fmla="*/ 0 w 99"/>
              <a:gd name="T55" fmla="*/ 51731176 h 51"/>
              <a:gd name="T56" fmla="*/ 187467 w 99"/>
              <a:gd name="T57" fmla="*/ 49077646 h 51"/>
              <a:gd name="T58" fmla="*/ 562401 w 99"/>
              <a:gd name="T59" fmla="*/ 46425268 h 51"/>
              <a:gd name="T60" fmla="*/ 1124803 w 99"/>
              <a:gd name="T61" fmla="*/ 43771739 h 51"/>
              <a:gd name="T62" fmla="*/ 2624107 w 99"/>
              <a:gd name="T63" fmla="*/ 38465831 h 51"/>
              <a:gd name="T64" fmla="*/ 4686246 w 99"/>
              <a:gd name="T65" fmla="*/ 31834302 h 51"/>
              <a:gd name="T66" fmla="*/ 6560483 w 99"/>
              <a:gd name="T67" fmla="*/ 25201630 h 51"/>
              <a:gd name="T68" fmla="*/ 8435156 w 99"/>
              <a:gd name="T69" fmla="*/ 15916575 h 51"/>
              <a:gd name="T70" fmla="*/ 8997557 w 99"/>
              <a:gd name="T71" fmla="*/ 13264197 h 51"/>
              <a:gd name="T72" fmla="*/ 9559525 w 99"/>
              <a:gd name="T73" fmla="*/ 9285052 h 51"/>
              <a:gd name="T74" fmla="*/ 9746992 w 99"/>
              <a:gd name="T75" fmla="*/ 6632674 h 51"/>
              <a:gd name="T76" fmla="*/ 9934459 w 99"/>
              <a:gd name="T77" fmla="*/ 2652379 h 51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99"/>
              <a:gd name="T118" fmla="*/ 0 h 51"/>
              <a:gd name="T119" fmla="*/ 99 w 99"/>
              <a:gd name="T120" fmla="*/ 51 h 51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99" h="51">
                <a:moveTo>
                  <a:pt x="53" y="2"/>
                </a:moveTo>
                <a:lnTo>
                  <a:pt x="58" y="1"/>
                </a:lnTo>
                <a:lnTo>
                  <a:pt x="62" y="0"/>
                </a:lnTo>
                <a:lnTo>
                  <a:pt x="65" y="0"/>
                </a:lnTo>
                <a:lnTo>
                  <a:pt x="69" y="1"/>
                </a:lnTo>
                <a:lnTo>
                  <a:pt x="74" y="5"/>
                </a:lnTo>
                <a:lnTo>
                  <a:pt x="79" y="11"/>
                </a:lnTo>
                <a:lnTo>
                  <a:pt x="83" y="18"/>
                </a:lnTo>
                <a:lnTo>
                  <a:pt x="87" y="25"/>
                </a:lnTo>
                <a:lnTo>
                  <a:pt x="91" y="28"/>
                </a:lnTo>
                <a:lnTo>
                  <a:pt x="93" y="30"/>
                </a:lnTo>
                <a:lnTo>
                  <a:pt x="96" y="32"/>
                </a:lnTo>
                <a:lnTo>
                  <a:pt x="99" y="34"/>
                </a:lnTo>
                <a:lnTo>
                  <a:pt x="99" y="37"/>
                </a:lnTo>
                <a:lnTo>
                  <a:pt x="97" y="40"/>
                </a:lnTo>
                <a:lnTo>
                  <a:pt x="95" y="43"/>
                </a:lnTo>
                <a:lnTo>
                  <a:pt x="91" y="45"/>
                </a:lnTo>
                <a:lnTo>
                  <a:pt x="86" y="47"/>
                </a:lnTo>
                <a:lnTo>
                  <a:pt x="81" y="48"/>
                </a:lnTo>
                <a:lnTo>
                  <a:pt x="74" y="50"/>
                </a:lnTo>
                <a:lnTo>
                  <a:pt x="68" y="50"/>
                </a:lnTo>
                <a:lnTo>
                  <a:pt x="52" y="51"/>
                </a:lnTo>
                <a:lnTo>
                  <a:pt x="36" y="49"/>
                </a:lnTo>
                <a:lnTo>
                  <a:pt x="27" y="48"/>
                </a:lnTo>
                <a:lnTo>
                  <a:pt x="18" y="45"/>
                </a:lnTo>
                <a:lnTo>
                  <a:pt x="9" y="43"/>
                </a:lnTo>
                <a:lnTo>
                  <a:pt x="1" y="40"/>
                </a:lnTo>
                <a:lnTo>
                  <a:pt x="0" y="39"/>
                </a:lnTo>
                <a:lnTo>
                  <a:pt x="1" y="37"/>
                </a:lnTo>
                <a:lnTo>
                  <a:pt x="3" y="35"/>
                </a:lnTo>
                <a:lnTo>
                  <a:pt x="6" y="33"/>
                </a:lnTo>
                <a:lnTo>
                  <a:pt x="14" y="29"/>
                </a:lnTo>
                <a:lnTo>
                  <a:pt x="25" y="24"/>
                </a:lnTo>
                <a:lnTo>
                  <a:pt x="35" y="19"/>
                </a:lnTo>
                <a:lnTo>
                  <a:pt x="45" y="12"/>
                </a:lnTo>
                <a:lnTo>
                  <a:pt x="48" y="10"/>
                </a:lnTo>
                <a:lnTo>
                  <a:pt x="51" y="7"/>
                </a:lnTo>
                <a:lnTo>
                  <a:pt x="52" y="5"/>
                </a:lnTo>
                <a:lnTo>
                  <a:pt x="53" y="2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523" name="Freeform 521"/>
          <p:cNvSpPr>
            <a:spLocks/>
          </p:cNvSpPr>
          <p:nvPr userDrawn="1">
            <p:custDataLst>
              <p:tags r:id="rId358"/>
            </p:custDataLst>
          </p:nvPr>
        </p:nvSpPr>
        <p:spPr bwMode="auto">
          <a:xfrm>
            <a:off x="4937125" y="1182291"/>
            <a:ext cx="228600" cy="122634"/>
          </a:xfrm>
          <a:custGeom>
            <a:avLst/>
            <a:gdLst>
              <a:gd name="T0" fmla="*/ 59723382 w 525"/>
              <a:gd name="T1" fmla="*/ 7463717 h 311"/>
              <a:gd name="T2" fmla="*/ 64842714 w 525"/>
              <a:gd name="T3" fmla="*/ 5804939 h 311"/>
              <a:gd name="T4" fmla="*/ 72995239 w 525"/>
              <a:gd name="T5" fmla="*/ 5528388 h 311"/>
              <a:gd name="T6" fmla="*/ 77356054 w 525"/>
              <a:gd name="T7" fmla="*/ 4699261 h 311"/>
              <a:gd name="T8" fmla="*/ 80958353 w 525"/>
              <a:gd name="T9" fmla="*/ 1934804 h 311"/>
              <a:gd name="T10" fmla="*/ 97453250 w 525"/>
              <a:gd name="T11" fmla="*/ 1658779 h 311"/>
              <a:gd name="T12" fmla="*/ 99538952 w 525"/>
              <a:gd name="T13" fmla="*/ 5251837 h 311"/>
              <a:gd name="T14" fmla="*/ 88732056 w 525"/>
              <a:gd name="T15" fmla="*/ 12992105 h 311"/>
              <a:gd name="T16" fmla="*/ 74322425 w 525"/>
              <a:gd name="T17" fmla="*/ 20179274 h 311"/>
              <a:gd name="T18" fmla="*/ 67497085 w 525"/>
              <a:gd name="T19" fmla="*/ 22114077 h 311"/>
              <a:gd name="T20" fmla="*/ 60861157 w 525"/>
              <a:gd name="T21" fmla="*/ 22943204 h 311"/>
              <a:gd name="T22" fmla="*/ 52898029 w 525"/>
              <a:gd name="T23" fmla="*/ 27919014 h 311"/>
              <a:gd name="T24" fmla="*/ 46262101 w 525"/>
              <a:gd name="T25" fmla="*/ 33447400 h 311"/>
              <a:gd name="T26" fmla="*/ 41332181 w 525"/>
              <a:gd name="T27" fmla="*/ 35658762 h 311"/>
              <a:gd name="T28" fmla="*/ 35454769 w 525"/>
              <a:gd name="T29" fmla="*/ 34000501 h 311"/>
              <a:gd name="T30" fmla="*/ 33748325 w 525"/>
              <a:gd name="T31" fmla="*/ 37870117 h 311"/>
              <a:gd name="T32" fmla="*/ 33179655 w 525"/>
              <a:gd name="T33" fmla="*/ 40081997 h 311"/>
              <a:gd name="T34" fmla="*/ 35075510 w 525"/>
              <a:gd name="T35" fmla="*/ 40911123 h 311"/>
              <a:gd name="T36" fmla="*/ 34886099 w 525"/>
              <a:gd name="T37" fmla="*/ 43399028 h 311"/>
              <a:gd name="T38" fmla="*/ 33369067 w 525"/>
              <a:gd name="T39" fmla="*/ 46162959 h 311"/>
              <a:gd name="T40" fmla="*/ 34127583 w 525"/>
              <a:gd name="T41" fmla="*/ 49479990 h 311"/>
              <a:gd name="T42" fmla="*/ 30714695 w 525"/>
              <a:gd name="T43" fmla="*/ 53626674 h 311"/>
              <a:gd name="T44" fmla="*/ 27302236 w 525"/>
              <a:gd name="T45" fmla="*/ 56390604 h 311"/>
              <a:gd name="T46" fmla="*/ 26733132 w 525"/>
              <a:gd name="T47" fmla="*/ 58878509 h 311"/>
              <a:gd name="T48" fmla="*/ 27302236 w 525"/>
              <a:gd name="T49" fmla="*/ 63025193 h 311"/>
              <a:gd name="T50" fmla="*/ 30904542 w 525"/>
              <a:gd name="T51" fmla="*/ 68277028 h 311"/>
              <a:gd name="T52" fmla="*/ 36213285 w 525"/>
              <a:gd name="T53" fmla="*/ 73805430 h 311"/>
              <a:gd name="T54" fmla="*/ 48537214 w 525"/>
              <a:gd name="T55" fmla="*/ 82927924 h 311"/>
              <a:gd name="T56" fmla="*/ 46072254 w 525"/>
              <a:gd name="T57" fmla="*/ 85968405 h 311"/>
              <a:gd name="T58" fmla="*/ 35834027 w 525"/>
              <a:gd name="T59" fmla="*/ 85415303 h 311"/>
              <a:gd name="T60" fmla="*/ 27491648 w 525"/>
              <a:gd name="T61" fmla="*/ 85139278 h 311"/>
              <a:gd name="T62" fmla="*/ 24458018 w 525"/>
              <a:gd name="T63" fmla="*/ 84033601 h 311"/>
              <a:gd name="T64" fmla="*/ 23320679 w 525"/>
              <a:gd name="T65" fmla="*/ 82374822 h 311"/>
              <a:gd name="T66" fmla="*/ 22751575 w 525"/>
              <a:gd name="T67" fmla="*/ 77952114 h 311"/>
              <a:gd name="T68" fmla="*/ 21993494 w 525"/>
              <a:gd name="T69" fmla="*/ 76846437 h 311"/>
              <a:gd name="T70" fmla="*/ 18011937 w 525"/>
              <a:gd name="T71" fmla="*/ 76569886 h 311"/>
              <a:gd name="T72" fmla="*/ 15167719 w 525"/>
              <a:gd name="T73" fmla="*/ 81822247 h 311"/>
              <a:gd name="T74" fmla="*/ 8342376 w 525"/>
              <a:gd name="T75" fmla="*/ 77952114 h 311"/>
              <a:gd name="T76" fmla="*/ 0 w 525"/>
              <a:gd name="T77" fmla="*/ 68000477 h 311"/>
              <a:gd name="T78" fmla="*/ 3412888 w 525"/>
              <a:gd name="T79" fmla="*/ 66065673 h 311"/>
              <a:gd name="T80" fmla="*/ 6446519 w 525"/>
              <a:gd name="T81" fmla="*/ 61366414 h 311"/>
              <a:gd name="T82" fmla="*/ 5308744 w 525"/>
              <a:gd name="T83" fmla="*/ 58878509 h 311"/>
              <a:gd name="T84" fmla="*/ 6446519 w 525"/>
              <a:gd name="T85" fmla="*/ 55284927 h 311"/>
              <a:gd name="T86" fmla="*/ 7583859 w 525"/>
              <a:gd name="T87" fmla="*/ 51967895 h 311"/>
              <a:gd name="T88" fmla="*/ 6446519 w 525"/>
              <a:gd name="T89" fmla="*/ 49479990 h 311"/>
              <a:gd name="T90" fmla="*/ 25405946 w 525"/>
              <a:gd name="T91" fmla="*/ 49479990 h 311"/>
              <a:gd name="T92" fmla="*/ 24837276 w 525"/>
              <a:gd name="T93" fmla="*/ 48927414 h 311"/>
              <a:gd name="T94" fmla="*/ 17064009 w 525"/>
              <a:gd name="T95" fmla="*/ 45886408 h 311"/>
              <a:gd name="T96" fmla="*/ 10238231 w 525"/>
              <a:gd name="T97" fmla="*/ 40911123 h 311"/>
              <a:gd name="T98" fmla="*/ 15926235 w 525"/>
              <a:gd name="T99" fmla="*/ 37040990 h 311"/>
              <a:gd name="T100" fmla="*/ 22751575 w 525"/>
              <a:gd name="T101" fmla="*/ 30683470 h 311"/>
              <a:gd name="T102" fmla="*/ 21045566 w 525"/>
              <a:gd name="T103" fmla="*/ 28471590 h 311"/>
              <a:gd name="T104" fmla="*/ 18959864 w 525"/>
              <a:gd name="T105" fmla="*/ 22114077 h 311"/>
              <a:gd name="T106" fmla="*/ 24078760 w 525"/>
              <a:gd name="T107" fmla="*/ 21008400 h 311"/>
              <a:gd name="T108" fmla="*/ 34886099 w 525"/>
              <a:gd name="T109" fmla="*/ 16032586 h 311"/>
              <a:gd name="T110" fmla="*/ 48157956 w 525"/>
              <a:gd name="T111" fmla="*/ 9675074 h 311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525"/>
              <a:gd name="T169" fmla="*/ 0 h 311"/>
              <a:gd name="T170" fmla="*/ 525 w 525"/>
              <a:gd name="T171" fmla="*/ 311 h 311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525" h="311">
                <a:moveTo>
                  <a:pt x="273" y="31"/>
                </a:moveTo>
                <a:lnTo>
                  <a:pt x="307" y="31"/>
                </a:lnTo>
                <a:lnTo>
                  <a:pt x="315" y="27"/>
                </a:lnTo>
                <a:lnTo>
                  <a:pt x="324" y="24"/>
                </a:lnTo>
                <a:lnTo>
                  <a:pt x="333" y="22"/>
                </a:lnTo>
                <a:lnTo>
                  <a:pt x="342" y="21"/>
                </a:lnTo>
                <a:lnTo>
                  <a:pt x="359" y="20"/>
                </a:lnTo>
                <a:lnTo>
                  <a:pt x="377" y="20"/>
                </a:lnTo>
                <a:lnTo>
                  <a:pt x="385" y="20"/>
                </a:lnTo>
                <a:lnTo>
                  <a:pt x="393" y="20"/>
                </a:lnTo>
                <a:lnTo>
                  <a:pt x="401" y="19"/>
                </a:lnTo>
                <a:lnTo>
                  <a:pt x="408" y="17"/>
                </a:lnTo>
                <a:lnTo>
                  <a:pt x="415" y="15"/>
                </a:lnTo>
                <a:lnTo>
                  <a:pt x="421" y="11"/>
                </a:lnTo>
                <a:lnTo>
                  <a:pt x="427" y="7"/>
                </a:lnTo>
                <a:lnTo>
                  <a:pt x="433" y="0"/>
                </a:lnTo>
                <a:lnTo>
                  <a:pt x="512" y="0"/>
                </a:lnTo>
                <a:lnTo>
                  <a:pt x="514" y="6"/>
                </a:lnTo>
                <a:lnTo>
                  <a:pt x="519" y="12"/>
                </a:lnTo>
                <a:lnTo>
                  <a:pt x="523" y="17"/>
                </a:lnTo>
                <a:lnTo>
                  <a:pt x="525" y="19"/>
                </a:lnTo>
                <a:lnTo>
                  <a:pt x="511" y="26"/>
                </a:lnTo>
                <a:lnTo>
                  <a:pt x="491" y="36"/>
                </a:lnTo>
                <a:lnTo>
                  <a:pt x="468" y="47"/>
                </a:lnTo>
                <a:lnTo>
                  <a:pt x="443" y="57"/>
                </a:lnTo>
                <a:lnTo>
                  <a:pt x="418" y="66"/>
                </a:lnTo>
                <a:lnTo>
                  <a:pt x="392" y="73"/>
                </a:lnTo>
                <a:lnTo>
                  <a:pt x="379" y="76"/>
                </a:lnTo>
                <a:lnTo>
                  <a:pt x="368" y="78"/>
                </a:lnTo>
                <a:lnTo>
                  <a:pt x="356" y="80"/>
                </a:lnTo>
                <a:lnTo>
                  <a:pt x="346" y="80"/>
                </a:lnTo>
                <a:lnTo>
                  <a:pt x="333" y="81"/>
                </a:lnTo>
                <a:lnTo>
                  <a:pt x="321" y="83"/>
                </a:lnTo>
                <a:lnTo>
                  <a:pt x="309" y="86"/>
                </a:lnTo>
                <a:lnTo>
                  <a:pt x="299" y="90"/>
                </a:lnTo>
                <a:lnTo>
                  <a:pt x="279" y="101"/>
                </a:lnTo>
                <a:lnTo>
                  <a:pt x="262" y="111"/>
                </a:lnTo>
                <a:lnTo>
                  <a:pt x="253" y="116"/>
                </a:lnTo>
                <a:lnTo>
                  <a:pt x="244" y="121"/>
                </a:lnTo>
                <a:lnTo>
                  <a:pt x="235" y="124"/>
                </a:lnTo>
                <a:lnTo>
                  <a:pt x="226" y="127"/>
                </a:lnTo>
                <a:lnTo>
                  <a:pt x="218" y="129"/>
                </a:lnTo>
                <a:lnTo>
                  <a:pt x="208" y="129"/>
                </a:lnTo>
                <a:lnTo>
                  <a:pt x="198" y="127"/>
                </a:lnTo>
                <a:lnTo>
                  <a:pt x="187" y="123"/>
                </a:lnTo>
                <a:lnTo>
                  <a:pt x="186" y="128"/>
                </a:lnTo>
                <a:lnTo>
                  <a:pt x="183" y="133"/>
                </a:lnTo>
                <a:lnTo>
                  <a:pt x="178" y="137"/>
                </a:lnTo>
                <a:lnTo>
                  <a:pt x="174" y="142"/>
                </a:lnTo>
                <a:lnTo>
                  <a:pt x="174" y="144"/>
                </a:lnTo>
                <a:lnTo>
                  <a:pt x="175" y="145"/>
                </a:lnTo>
                <a:lnTo>
                  <a:pt x="177" y="146"/>
                </a:lnTo>
                <a:lnTo>
                  <a:pt x="180" y="147"/>
                </a:lnTo>
                <a:lnTo>
                  <a:pt x="185" y="148"/>
                </a:lnTo>
                <a:lnTo>
                  <a:pt x="187" y="148"/>
                </a:lnTo>
                <a:lnTo>
                  <a:pt x="186" y="152"/>
                </a:lnTo>
                <a:lnTo>
                  <a:pt x="184" y="157"/>
                </a:lnTo>
                <a:lnTo>
                  <a:pt x="181" y="160"/>
                </a:lnTo>
                <a:lnTo>
                  <a:pt x="178" y="164"/>
                </a:lnTo>
                <a:lnTo>
                  <a:pt x="176" y="167"/>
                </a:lnTo>
                <a:lnTo>
                  <a:pt x="175" y="171"/>
                </a:lnTo>
                <a:lnTo>
                  <a:pt x="176" y="175"/>
                </a:lnTo>
                <a:lnTo>
                  <a:pt x="180" y="179"/>
                </a:lnTo>
                <a:lnTo>
                  <a:pt x="175" y="185"/>
                </a:lnTo>
                <a:lnTo>
                  <a:pt x="168" y="190"/>
                </a:lnTo>
                <a:lnTo>
                  <a:pt x="162" y="194"/>
                </a:lnTo>
                <a:lnTo>
                  <a:pt x="155" y="197"/>
                </a:lnTo>
                <a:lnTo>
                  <a:pt x="150" y="201"/>
                </a:lnTo>
                <a:lnTo>
                  <a:pt x="144" y="204"/>
                </a:lnTo>
                <a:lnTo>
                  <a:pt x="143" y="207"/>
                </a:lnTo>
                <a:lnTo>
                  <a:pt x="141" y="209"/>
                </a:lnTo>
                <a:lnTo>
                  <a:pt x="141" y="213"/>
                </a:lnTo>
                <a:lnTo>
                  <a:pt x="140" y="216"/>
                </a:lnTo>
                <a:lnTo>
                  <a:pt x="141" y="222"/>
                </a:lnTo>
                <a:lnTo>
                  <a:pt x="144" y="228"/>
                </a:lnTo>
                <a:lnTo>
                  <a:pt x="149" y="234"/>
                </a:lnTo>
                <a:lnTo>
                  <a:pt x="155" y="241"/>
                </a:lnTo>
                <a:lnTo>
                  <a:pt x="163" y="247"/>
                </a:lnTo>
                <a:lnTo>
                  <a:pt x="172" y="254"/>
                </a:lnTo>
                <a:lnTo>
                  <a:pt x="181" y="260"/>
                </a:lnTo>
                <a:lnTo>
                  <a:pt x="191" y="267"/>
                </a:lnTo>
                <a:lnTo>
                  <a:pt x="213" y="279"/>
                </a:lnTo>
                <a:lnTo>
                  <a:pt x="235" y="290"/>
                </a:lnTo>
                <a:lnTo>
                  <a:pt x="256" y="300"/>
                </a:lnTo>
                <a:lnTo>
                  <a:pt x="273" y="308"/>
                </a:lnTo>
                <a:lnTo>
                  <a:pt x="258" y="310"/>
                </a:lnTo>
                <a:lnTo>
                  <a:pt x="243" y="311"/>
                </a:lnTo>
                <a:lnTo>
                  <a:pt x="229" y="311"/>
                </a:lnTo>
                <a:lnTo>
                  <a:pt x="214" y="310"/>
                </a:lnTo>
                <a:lnTo>
                  <a:pt x="189" y="309"/>
                </a:lnTo>
                <a:lnTo>
                  <a:pt x="167" y="308"/>
                </a:lnTo>
                <a:lnTo>
                  <a:pt x="155" y="308"/>
                </a:lnTo>
                <a:lnTo>
                  <a:pt x="145" y="308"/>
                </a:lnTo>
                <a:lnTo>
                  <a:pt x="138" y="307"/>
                </a:lnTo>
                <a:lnTo>
                  <a:pt x="131" y="305"/>
                </a:lnTo>
                <a:lnTo>
                  <a:pt x="129" y="304"/>
                </a:lnTo>
                <a:lnTo>
                  <a:pt x="127" y="302"/>
                </a:lnTo>
                <a:lnTo>
                  <a:pt x="124" y="300"/>
                </a:lnTo>
                <a:lnTo>
                  <a:pt x="123" y="298"/>
                </a:lnTo>
                <a:lnTo>
                  <a:pt x="121" y="292"/>
                </a:lnTo>
                <a:lnTo>
                  <a:pt x="120" y="284"/>
                </a:lnTo>
                <a:lnTo>
                  <a:pt x="120" y="282"/>
                </a:lnTo>
                <a:lnTo>
                  <a:pt x="119" y="280"/>
                </a:lnTo>
                <a:lnTo>
                  <a:pt x="118" y="279"/>
                </a:lnTo>
                <a:lnTo>
                  <a:pt x="116" y="278"/>
                </a:lnTo>
                <a:lnTo>
                  <a:pt x="111" y="277"/>
                </a:lnTo>
                <a:lnTo>
                  <a:pt x="106" y="276"/>
                </a:lnTo>
                <a:lnTo>
                  <a:pt x="95" y="277"/>
                </a:lnTo>
                <a:lnTo>
                  <a:pt x="87" y="278"/>
                </a:lnTo>
                <a:lnTo>
                  <a:pt x="84" y="287"/>
                </a:lnTo>
                <a:lnTo>
                  <a:pt x="80" y="296"/>
                </a:lnTo>
                <a:lnTo>
                  <a:pt x="66" y="291"/>
                </a:lnTo>
                <a:lnTo>
                  <a:pt x="55" y="287"/>
                </a:lnTo>
                <a:lnTo>
                  <a:pt x="44" y="282"/>
                </a:lnTo>
                <a:lnTo>
                  <a:pt x="35" y="276"/>
                </a:lnTo>
                <a:lnTo>
                  <a:pt x="19" y="263"/>
                </a:lnTo>
                <a:lnTo>
                  <a:pt x="0" y="246"/>
                </a:lnTo>
                <a:lnTo>
                  <a:pt x="8" y="244"/>
                </a:lnTo>
                <a:lnTo>
                  <a:pt x="13" y="242"/>
                </a:lnTo>
                <a:lnTo>
                  <a:pt x="18" y="239"/>
                </a:lnTo>
                <a:lnTo>
                  <a:pt x="22" y="237"/>
                </a:lnTo>
                <a:lnTo>
                  <a:pt x="29" y="230"/>
                </a:lnTo>
                <a:lnTo>
                  <a:pt x="34" y="222"/>
                </a:lnTo>
                <a:lnTo>
                  <a:pt x="31" y="219"/>
                </a:lnTo>
                <a:lnTo>
                  <a:pt x="29" y="216"/>
                </a:lnTo>
                <a:lnTo>
                  <a:pt x="28" y="213"/>
                </a:lnTo>
                <a:lnTo>
                  <a:pt x="28" y="211"/>
                </a:lnTo>
                <a:lnTo>
                  <a:pt x="30" y="205"/>
                </a:lnTo>
                <a:lnTo>
                  <a:pt x="34" y="200"/>
                </a:lnTo>
                <a:lnTo>
                  <a:pt x="38" y="196"/>
                </a:lnTo>
                <a:lnTo>
                  <a:pt x="40" y="191"/>
                </a:lnTo>
                <a:lnTo>
                  <a:pt x="40" y="188"/>
                </a:lnTo>
                <a:lnTo>
                  <a:pt x="39" y="185"/>
                </a:lnTo>
                <a:lnTo>
                  <a:pt x="37" y="182"/>
                </a:lnTo>
                <a:lnTo>
                  <a:pt x="34" y="179"/>
                </a:lnTo>
                <a:lnTo>
                  <a:pt x="73" y="179"/>
                </a:lnTo>
                <a:lnTo>
                  <a:pt x="106" y="179"/>
                </a:lnTo>
                <a:lnTo>
                  <a:pt x="134" y="179"/>
                </a:lnTo>
                <a:lnTo>
                  <a:pt x="167" y="179"/>
                </a:lnTo>
                <a:lnTo>
                  <a:pt x="147" y="178"/>
                </a:lnTo>
                <a:lnTo>
                  <a:pt x="131" y="177"/>
                </a:lnTo>
                <a:lnTo>
                  <a:pt x="117" y="174"/>
                </a:lnTo>
                <a:lnTo>
                  <a:pt x="102" y="171"/>
                </a:lnTo>
                <a:lnTo>
                  <a:pt x="90" y="166"/>
                </a:lnTo>
                <a:lnTo>
                  <a:pt x="78" y="161"/>
                </a:lnTo>
                <a:lnTo>
                  <a:pt x="66" y="155"/>
                </a:lnTo>
                <a:lnTo>
                  <a:pt x="54" y="148"/>
                </a:lnTo>
                <a:lnTo>
                  <a:pt x="65" y="143"/>
                </a:lnTo>
                <a:lnTo>
                  <a:pt x="75" y="139"/>
                </a:lnTo>
                <a:lnTo>
                  <a:pt x="84" y="134"/>
                </a:lnTo>
                <a:lnTo>
                  <a:pt x="91" y="130"/>
                </a:lnTo>
                <a:lnTo>
                  <a:pt x="106" y="120"/>
                </a:lnTo>
                <a:lnTo>
                  <a:pt x="120" y="111"/>
                </a:lnTo>
                <a:lnTo>
                  <a:pt x="118" y="110"/>
                </a:lnTo>
                <a:lnTo>
                  <a:pt x="115" y="108"/>
                </a:lnTo>
                <a:lnTo>
                  <a:pt x="111" y="103"/>
                </a:lnTo>
                <a:lnTo>
                  <a:pt x="108" y="99"/>
                </a:lnTo>
                <a:lnTo>
                  <a:pt x="102" y="87"/>
                </a:lnTo>
                <a:lnTo>
                  <a:pt x="100" y="80"/>
                </a:lnTo>
                <a:lnTo>
                  <a:pt x="108" y="80"/>
                </a:lnTo>
                <a:lnTo>
                  <a:pt x="117" y="78"/>
                </a:lnTo>
                <a:lnTo>
                  <a:pt x="127" y="76"/>
                </a:lnTo>
                <a:lnTo>
                  <a:pt x="138" y="73"/>
                </a:lnTo>
                <a:lnTo>
                  <a:pt x="161" y="66"/>
                </a:lnTo>
                <a:lnTo>
                  <a:pt x="184" y="58"/>
                </a:lnTo>
                <a:lnTo>
                  <a:pt x="209" y="50"/>
                </a:lnTo>
                <a:lnTo>
                  <a:pt x="232" y="41"/>
                </a:lnTo>
                <a:lnTo>
                  <a:pt x="254" y="35"/>
                </a:lnTo>
                <a:lnTo>
                  <a:pt x="273" y="31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524" name="Freeform 522"/>
          <p:cNvSpPr>
            <a:spLocks/>
          </p:cNvSpPr>
          <p:nvPr userDrawn="1">
            <p:custDataLst>
              <p:tags r:id="rId359"/>
            </p:custDataLst>
          </p:nvPr>
        </p:nvSpPr>
        <p:spPr bwMode="auto">
          <a:xfrm>
            <a:off x="4729164" y="1415654"/>
            <a:ext cx="31750" cy="41672"/>
          </a:xfrm>
          <a:custGeom>
            <a:avLst/>
            <a:gdLst>
              <a:gd name="T0" fmla="*/ 7429902 w 79"/>
              <a:gd name="T1" fmla="*/ 0 h 38"/>
              <a:gd name="T2" fmla="*/ 8722408 w 79"/>
              <a:gd name="T3" fmla="*/ 2137675 h 38"/>
              <a:gd name="T4" fmla="*/ 10014512 w 79"/>
              <a:gd name="T5" fmla="*/ 6413025 h 38"/>
              <a:gd name="T6" fmla="*/ 10983489 w 79"/>
              <a:gd name="T7" fmla="*/ 14965186 h 38"/>
              <a:gd name="T8" fmla="*/ 11629742 w 79"/>
              <a:gd name="T9" fmla="*/ 25655024 h 38"/>
              <a:gd name="T10" fmla="*/ 12114030 w 79"/>
              <a:gd name="T11" fmla="*/ 36344856 h 38"/>
              <a:gd name="T12" fmla="*/ 12437157 w 79"/>
              <a:gd name="T13" fmla="*/ 47033226 h 38"/>
              <a:gd name="T14" fmla="*/ 12760283 w 79"/>
              <a:gd name="T15" fmla="*/ 57723069 h 38"/>
              <a:gd name="T16" fmla="*/ 12760283 w 79"/>
              <a:gd name="T17" fmla="*/ 68412901 h 38"/>
              <a:gd name="T18" fmla="*/ 12437157 w 79"/>
              <a:gd name="T19" fmla="*/ 72688249 h 38"/>
              <a:gd name="T20" fmla="*/ 12114030 w 79"/>
              <a:gd name="T21" fmla="*/ 74827385 h 38"/>
              <a:gd name="T22" fmla="*/ 11629742 w 79"/>
              <a:gd name="T23" fmla="*/ 76965059 h 38"/>
              <a:gd name="T24" fmla="*/ 10983489 w 79"/>
              <a:gd name="T25" fmla="*/ 79102733 h 38"/>
              <a:gd name="T26" fmla="*/ 9206696 w 79"/>
              <a:gd name="T27" fmla="*/ 81240407 h 38"/>
              <a:gd name="T28" fmla="*/ 7429902 w 79"/>
              <a:gd name="T29" fmla="*/ 81240407 h 38"/>
              <a:gd name="T30" fmla="*/ 6137797 w 79"/>
              <a:gd name="T31" fmla="*/ 79102733 h 38"/>
              <a:gd name="T32" fmla="*/ 4845693 w 79"/>
              <a:gd name="T33" fmla="*/ 76965059 h 38"/>
              <a:gd name="T34" fmla="*/ 3392026 w 79"/>
              <a:gd name="T35" fmla="*/ 74827385 h 38"/>
              <a:gd name="T36" fmla="*/ 2422645 w 79"/>
              <a:gd name="T37" fmla="*/ 68412901 h 38"/>
              <a:gd name="T38" fmla="*/ 1292104 w 79"/>
              <a:gd name="T39" fmla="*/ 61999879 h 38"/>
              <a:gd name="T40" fmla="*/ 646253 w 79"/>
              <a:gd name="T41" fmla="*/ 53447721 h 38"/>
              <a:gd name="T42" fmla="*/ 323127 w 79"/>
              <a:gd name="T43" fmla="*/ 47033226 h 38"/>
              <a:gd name="T44" fmla="*/ 161563 w 79"/>
              <a:gd name="T45" fmla="*/ 42757878 h 38"/>
              <a:gd name="T46" fmla="*/ 0 w 79"/>
              <a:gd name="T47" fmla="*/ 36344856 h 38"/>
              <a:gd name="T48" fmla="*/ 0 w 79"/>
              <a:gd name="T49" fmla="*/ 27792698 h 38"/>
              <a:gd name="T50" fmla="*/ 161563 w 79"/>
              <a:gd name="T51" fmla="*/ 23517344 h 38"/>
              <a:gd name="T52" fmla="*/ 646253 w 79"/>
              <a:gd name="T53" fmla="*/ 19240534 h 38"/>
              <a:gd name="T54" fmla="*/ 1615231 w 79"/>
              <a:gd name="T55" fmla="*/ 12827512 h 38"/>
              <a:gd name="T56" fmla="*/ 2745772 w 79"/>
              <a:gd name="T57" fmla="*/ 8552161 h 38"/>
              <a:gd name="T58" fmla="*/ 5168819 w 79"/>
              <a:gd name="T59" fmla="*/ 2137675 h 38"/>
              <a:gd name="T60" fmla="*/ 7429902 w 79"/>
              <a:gd name="T61" fmla="*/ 0 h 38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79"/>
              <a:gd name="T94" fmla="*/ 0 h 38"/>
              <a:gd name="T95" fmla="*/ 79 w 79"/>
              <a:gd name="T96" fmla="*/ 38 h 38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79" h="38">
                <a:moveTo>
                  <a:pt x="46" y="0"/>
                </a:moveTo>
                <a:lnTo>
                  <a:pt x="54" y="1"/>
                </a:lnTo>
                <a:lnTo>
                  <a:pt x="62" y="3"/>
                </a:lnTo>
                <a:lnTo>
                  <a:pt x="68" y="7"/>
                </a:lnTo>
                <a:lnTo>
                  <a:pt x="72" y="12"/>
                </a:lnTo>
                <a:lnTo>
                  <a:pt x="75" y="17"/>
                </a:lnTo>
                <a:lnTo>
                  <a:pt x="77" y="22"/>
                </a:lnTo>
                <a:lnTo>
                  <a:pt x="79" y="27"/>
                </a:lnTo>
                <a:lnTo>
                  <a:pt x="79" y="32"/>
                </a:lnTo>
                <a:lnTo>
                  <a:pt x="77" y="34"/>
                </a:lnTo>
                <a:lnTo>
                  <a:pt x="75" y="35"/>
                </a:lnTo>
                <a:lnTo>
                  <a:pt x="72" y="36"/>
                </a:lnTo>
                <a:lnTo>
                  <a:pt x="68" y="37"/>
                </a:lnTo>
                <a:lnTo>
                  <a:pt x="57" y="38"/>
                </a:lnTo>
                <a:lnTo>
                  <a:pt x="46" y="38"/>
                </a:lnTo>
                <a:lnTo>
                  <a:pt x="38" y="37"/>
                </a:lnTo>
                <a:lnTo>
                  <a:pt x="30" y="36"/>
                </a:lnTo>
                <a:lnTo>
                  <a:pt x="21" y="35"/>
                </a:lnTo>
                <a:lnTo>
                  <a:pt x="15" y="32"/>
                </a:lnTo>
                <a:lnTo>
                  <a:pt x="8" y="29"/>
                </a:lnTo>
                <a:lnTo>
                  <a:pt x="4" y="25"/>
                </a:lnTo>
                <a:lnTo>
                  <a:pt x="2" y="22"/>
                </a:lnTo>
                <a:lnTo>
                  <a:pt x="1" y="20"/>
                </a:lnTo>
                <a:lnTo>
                  <a:pt x="0" y="17"/>
                </a:lnTo>
                <a:lnTo>
                  <a:pt x="0" y="13"/>
                </a:lnTo>
                <a:lnTo>
                  <a:pt x="1" y="11"/>
                </a:lnTo>
                <a:lnTo>
                  <a:pt x="4" y="9"/>
                </a:lnTo>
                <a:lnTo>
                  <a:pt x="10" y="6"/>
                </a:lnTo>
                <a:lnTo>
                  <a:pt x="17" y="4"/>
                </a:lnTo>
                <a:lnTo>
                  <a:pt x="32" y="1"/>
                </a:lnTo>
                <a:lnTo>
                  <a:pt x="46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525" name="Freeform 523"/>
          <p:cNvSpPr>
            <a:spLocks/>
          </p:cNvSpPr>
          <p:nvPr userDrawn="1">
            <p:custDataLst>
              <p:tags r:id="rId360"/>
            </p:custDataLst>
          </p:nvPr>
        </p:nvSpPr>
        <p:spPr bwMode="auto">
          <a:xfrm>
            <a:off x="7034215" y="1638300"/>
            <a:ext cx="196850" cy="201216"/>
          </a:xfrm>
          <a:custGeom>
            <a:avLst/>
            <a:gdLst>
              <a:gd name="T0" fmla="*/ 4782297 w 459"/>
              <a:gd name="T1" fmla="*/ 12404252 h 511"/>
              <a:gd name="T2" fmla="*/ 2206950 w 459"/>
              <a:gd name="T3" fmla="*/ 6891484 h 511"/>
              <a:gd name="T4" fmla="*/ 0 w 459"/>
              <a:gd name="T5" fmla="*/ 0 h 511"/>
              <a:gd name="T6" fmla="*/ 4046362 w 459"/>
              <a:gd name="T7" fmla="*/ 1929469 h 511"/>
              <a:gd name="T8" fmla="*/ 6069756 w 459"/>
              <a:gd name="T9" fmla="*/ 1653830 h 511"/>
              <a:gd name="T10" fmla="*/ 17472906 w 459"/>
              <a:gd name="T11" fmla="*/ 18468824 h 511"/>
              <a:gd name="T12" fmla="*/ 26853513 w 459"/>
              <a:gd name="T13" fmla="*/ 33905093 h 511"/>
              <a:gd name="T14" fmla="*/ 39728107 w 459"/>
              <a:gd name="T15" fmla="*/ 54579023 h 511"/>
              <a:gd name="T16" fmla="*/ 47453288 w 459"/>
              <a:gd name="T17" fmla="*/ 65329441 h 511"/>
              <a:gd name="T18" fmla="*/ 55729992 w 459"/>
              <a:gd name="T19" fmla="*/ 73323493 h 511"/>
              <a:gd name="T20" fmla="*/ 68421037 w 459"/>
              <a:gd name="T21" fmla="*/ 85727741 h 511"/>
              <a:gd name="T22" fmla="*/ 73202904 w 459"/>
              <a:gd name="T23" fmla="*/ 92619224 h 511"/>
              <a:gd name="T24" fmla="*/ 67133579 w 459"/>
              <a:gd name="T25" fmla="*/ 88208486 h 511"/>
              <a:gd name="T26" fmla="*/ 59592381 w 459"/>
              <a:gd name="T27" fmla="*/ 81593167 h 511"/>
              <a:gd name="T28" fmla="*/ 57752971 w 459"/>
              <a:gd name="T29" fmla="*/ 82144444 h 511"/>
              <a:gd name="T30" fmla="*/ 57568987 w 459"/>
              <a:gd name="T31" fmla="*/ 85727741 h 511"/>
              <a:gd name="T32" fmla="*/ 58304923 w 459"/>
              <a:gd name="T33" fmla="*/ 92894862 h 511"/>
              <a:gd name="T34" fmla="*/ 59960349 w 459"/>
              <a:gd name="T35" fmla="*/ 98683266 h 511"/>
              <a:gd name="T36" fmla="*/ 64006709 w 459"/>
              <a:gd name="T37" fmla="*/ 106677301 h 511"/>
              <a:gd name="T38" fmla="*/ 72467397 w 459"/>
              <a:gd name="T39" fmla="*/ 116049528 h 511"/>
              <a:gd name="T40" fmla="*/ 80928085 w 459"/>
              <a:gd name="T41" fmla="*/ 126248670 h 511"/>
              <a:gd name="T42" fmla="*/ 82399099 w 459"/>
              <a:gd name="T43" fmla="*/ 131210159 h 511"/>
              <a:gd name="T44" fmla="*/ 78720707 w 459"/>
              <a:gd name="T45" fmla="*/ 129280691 h 511"/>
              <a:gd name="T46" fmla="*/ 72099429 w 459"/>
              <a:gd name="T47" fmla="*/ 127351223 h 511"/>
              <a:gd name="T48" fmla="*/ 72283413 w 459"/>
              <a:gd name="T49" fmla="*/ 136172174 h 511"/>
              <a:gd name="T50" fmla="*/ 73202904 w 459"/>
              <a:gd name="T51" fmla="*/ 140858057 h 511"/>
              <a:gd name="T52" fmla="*/ 71363494 w 459"/>
              <a:gd name="T53" fmla="*/ 135620897 h 511"/>
              <a:gd name="T54" fmla="*/ 66765611 w 459"/>
              <a:gd name="T55" fmla="*/ 128453776 h 511"/>
              <a:gd name="T56" fmla="*/ 63086790 w 459"/>
              <a:gd name="T57" fmla="*/ 122664847 h 511"/>
              <a:gd name="T58" fmla="*/ 62351283 w 459"/>
              <a:gd name="T59" fmla="*/ 118805911 h 511"/>
              <a:gd name="T60" fmla="*/ 60327888 w 459"/>
              <a:gd name="T61" fmla="*/ 113292620 h 511"/>
              <a:gd name="T62" fmla="*/ 57017464 w 459"/>
              <a:gd name="T63" fmla="*/ 105850387 h 511"/>
              <a:gd name="T64" fmla="*/ 54810072 w 459"/>
              <a:gd name="T65" fmla="*/ 101164011 h 511"/>
              <a:gd name="T66" fmla="*/ 51499648 w 459"/>
              <a:gd name="T67" fmla="*/ 98683266 h 511"/>
              <a:gd name="T68" fmla="*/ 48556763 w 459"/>
              <a:gd name="T69" fmla="*/ 94548692 h 511"/>
              <a:gd name="T70" fmla="*/ 45797861 w 459"/>
              <a:gd name="T71" fmla="*/ 86554656 h 511"/>
              <a:gd name="T72" fmla="*/ 45061926 w 459"/>
              <a:gd name="T73" fmla="*/ 80765727 h 511"/>
              <a:gd name="T74" fmla="*/ 43038960 w 459"/>
              <a:gd name="T75" fmla="*/ 77458068 h 511"/>
              <a:gd name="T76" fmla="*/ 35681747 w 459"/>
              <a:gd name="T77" fmla="*/ 67258909 h 511"/>
              <a:gd name="T78" fmla="*/ 31451403 w 459"/>
              <a:gd name="T79" fmla="*/ 60643590 h 511"/>
              <a:gd name="T80" fmla="*/ 29979960 w 459"/>
              <a:gd name="T81" fmla="*/ 55957214 h 511"/>
              <a:gd name="T82" fmla="*/ 28324963 w 459"/>
              <a:gd name="T83" fmla="*/ 51547002 h 511"/>
              <a:gd name="T84" fmla="*/ 21151727 w 459"/>
              <a:gd name="T85" fmla="*/ 42726052 h 511"/>
              <a:gd name="T86" fmla="*/ 12875019 w 459"/>
              <a:gd name="T87" fmla="*/ 35834569 h 511"/>
              <a:gd name="T88" fmla="*/ 8644675 w 459"/>
              <a:gd name="T89" fmla="*/ 30321795 h 511"/>
              <a:gd name="T90" fmla="*/ 6989247 w 459"/>
              <a:gd name="T91" fmla="*/ 25635419 h 511"/>
              <a:gd name="T92" fmla="*/ 6253311 w 459"/>
              <a:gd name="T93" fmla="*/ 20673930 h 511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459"/>
              <a:gd name="T142" fmla="*/ 0 h 511"/>
              <a:gd name="T143" fmla="*/ 459 w 459"/>
              <a:gd name="T144" fmla="*/ 511 h 511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459" h="511">
                <a:moveTo>
                  <a:pt x="33" y="68"/>
                </a:moveTo>
                <a:lnTo>
                  <a:pt x="29" y="56"/>
                </a:lnTo>
                <a:lnTo>
                  <a:pt x="26" y="45"/>
                </a:lnTo>
                <a:lnTo>
                  <a:pt x="22" y="38"/>
                </a:lnTo>
                <a:lnTo>
                  <a:pt x="16" y="31"/>
                </a:lnTo>
                <a:lnTo>
                  <a:pt x="12" y="25"/>
                </a:lnTo>
                <a:lnTo>
                  <a:pt x="6" y="18"/>
                </a:lnTo>
                <a:lnTo>
                  <a:pt x="3" y="10"/>
                </a:lnTo>
                <a:lnTo>
                  <a:pt x="0" y="0"/>
                </a:lnTo>
                <a:lnTo>
                  <a:pt x="6" y="2"/>
                </a:lnTo>
                <a:lnTo>
                  <a:pt x="16" y="5"/>
                </a:lnTo>
                <a:lnTo>
                  <a:pt x="22" y="7"/>
                </a:lnTo>
                <a:lnTo>
                  <a:pt x="26" y="8"/>
                </a:lnTo>
                <a:lnTo>
                  <a:pt x="29" y="8"/>
                </a:lnTo>
                <a:lnTo>
                  <a:pt x="33" y="6"/>
                </a:lnTo>
                <a:lnTo>
                  <a:pt x="59" y="31"/>
                </a:lnTo>
                <a:lnTo>
                  <a:pt x="80" y="50"/>
                </a:lnTo>
                <a:lnTo>
                  <a:pt x="95" y="67"/>
                </a:lnTo>
                <a:lnTo>
                  <a:pt x="107" y="80"/>
                </a:lnTo>
                <a:lnTo>
                  <a:pt x="125" y="102"/>
                </a:lnTo>
                <a:lnTo>
                  <a:pt x="146" y="123"/>
                </a:lnTo>
                <a:lnTo>
                  <a:pt x="172" y="149"/>
                </a:lnTo>
                <a:lnTo>
                  <a:pt x="195" y="175"/>
                </a:lnTo>
                <a:lnTo>
                  <a:pt x="216" y="198"/>
                </a:lnTo>
                <a:lnTo>
                  <a:pt x="239" y="222"/>
                </a:lnTo>
                <a:lnTo>
                  <a:pt x="248" y="230"/>
                </a:lnTo>
                <a:lnTo>
                  <a:pt x="258" y="237"/>
                </a:lnTo>
                <a:lnTo>
                  <a:pt x="269" y="245"/>
                </a:lnTo>
                <a:lnTo>
                  <a:pt x="280" y="252"/>
                </a:lnTo>
                <a:lnTo>
                  <a:pt x="303" y="266"/>
                </a:lnTo>
                <a:lnTo>
                  <a:pt x="327" y="281"/>
                </a:lnTo>
                <a:lnTo>
                  <a:pt x="350" y="295"/>
                </a:lnTo>
                <a:lnTo>
                  <a:pt x="372" y="311"/>
                </a:lnTo>
                <a:lnTo>
                  <a:pt x="382" y="318"/>
                </a:lnTo>
                <a:lnTo>
                  <a:pt x="391" y="327"/>
                </a:lnTo>
                <a:lnTo>
                  <a:pt x="398" y="336"/>
                </a:lnTo>
                <a:lnTo>
                  <a:pt x="405" y="345"/>
                </a:lnTo>
                <a:lnTo>
                  <a:pt x="387" y="334"/>
                </a:lnTo>
                <a:lnTo>
                  <a:pt x="365" y="320"/>
                </a:lnTo>
                <a:lnTo>
                  <a:pt x="343" y="306"/>
                </a:lnTo>
                <a:lnTo>
                  <a:pt x="326" y="295"/>
                </a:lnTo>
                <a:lnTo>
                  <a:pt x="324" y="296"/>
                </a:lnTo>
                <a:lnTo>
                  <a:pt x="318" y="296"/>
                </a:lnTo>
                <a:lnTo>
                  <a:pt x="316" y="297"/>
                </a:lnTo>
                <a:lnTo>
                  <a:pt x="314" y="298"/>
                </a:lnTo>
                <a:lnTo>
                  <a:pt x="313" y="300"/>
                </a:lnTo>
                <a:lnTo>
                  <a:pt x="311" y="301"/>
                </a:lnTo>
                <a:lnTo>
                  <a:pt x="313" y="311"/>
                </a:lnTo>
                <a:lnTo>
                  <a:pt x="313" y="320"/>
                </a:lnTo>
                <a:lnTo>
                  <a:pt x="315" y="328"/>
                </a:lnTo>
                <a:lnTo>
                  <a:pt x="317" y="337"/>
                </a:lnTo>
                <a:lnTo>
                  <a:pt x="319" y="344"/>
                </a:lnTo>
                <a:lnTo>
                  <a:pt x="322" y="351"/>
                </a:lnTo>
                <a:lnTo>
                  <a:pt x="326" y="358"/>
                </a:lnTo>
                <a:lnTo>
                  <a:pt x="329" y="364"/>
                </a:lnTo>
                <a:lnTo>
                  <a:pt x="338" y="375"/>
                </a:lnTo>
                <a:lnTo>
                  <a:pt x="348" y="387"/>
                </a:lnTo>
                <a:lnTo>
                  <a:pt x="359" y="396"/>
                </a:lnTo>
                <a:lnTo>
                  <a:pt x="370" y="405"/>
                </a:lnTo>
                <a:lnTo>
                  <a:pt x="394" y="421"/>
                </a:lnTo>
                <a:lnTo>
                  <a:pt x="418" y="438"/>
                </a:lnTo>
                <a:lnTo>
                  <a:pt x="430" y="448"/>
                </a:lnTo>
                <a:lnTo>
                  <a:pt x="440" y="458"/>
                </a:lnTo>
                <a:lnTo>
                  <a:pt x="450" y="468"/>
                </a:lnTo>
                <a:lnTo>
                  <a:pt x="459" y="480"/>
                </a:lnTo>
                <a:lnTo>
                  <a:pt x="448" y="476"/>
                </a:lnTo>
                <a:lnTo>
                  <a:pt x="437" y="473"/>
                </a:lnTo>
                <a:lnTo>
                  <a:pt x="432" y="471"/>
                </a:lnTo>
                <a:lnTo>
                  <a:pt x="428" y="469"/>
                </a:lnTo>
                <a:lnTo>
                  <a:pt x="426" y="466"/>
                </a:lnTo>
                <a:lnTo>
                  <a:pt x="425" y="462"/>
                </a:lnTo>
                <a:lnTo>
                  <a:pt x="392" y="462"/>
                </a:lnTo>
                <a:lnTo>
                  <a:pt x="392" y="475"/>
                </a:lnTo>
                <a:lnTo>
                  <a:pt x="393" y="488"/>
                </a:lnTo>
                <a:lnTo>
                  <a:pt x="393" y="494"/>
                </a:lnTo>
                <a:lnTo>
                  <a:pt x="395" y="501"/>
                </a:lnTo>
                <a:lnTo>
                  <a:pt x="396" y="506"/>
                </a:lnTo>
                <a:lnTo>
                  <a:pt x="398" y="511"/>
                </a:lnTo>
                <a:lnTo>
                  <a:pt x="395" y="505"/>
                </a:lnTo>
                <a:lnTo>
                  <a:pt x="392" y="498"/>
                </a:lnTo>
                <a:lnTo>
                  <a:pt x="388" y="492"/>
                </a:lnTo>
                <a:lnTo>
                  <a:pt x="383" y="486"/>
                </a:lnTo>
                <a:lnTo>
                  <a:pt x="374" y="476"/>
                </a:lnTo>
                <a:lnTo>
                  <a:pt x="363" y="466"/>
                </a:lnTo>
                <a:lnTo>
                  <a:pt x="354" y="458"/>
                </a:lnTo>
                <a:lnTo>
                  <a:pt x="346" y="449"/>
                </a:lnTo>
                <a:lnTo>
                  <a:pt x="343" y="445"/>
                </a:lnTo>
                <a:lnTo>
                  <a:pt x="340" y="439"/>
                </a:lnTo>
                <a:lnTo>
                  <a:pt x="339" y="435"/>
                </a:lnTo>
                <a:lnTo>
                  <a:pt x="339" y="431"/>
                </a:lnTo>
                <a:lnTo>
                  <a:pt x="337" y="425"/>
                </a:lnTo>
                <a:lnTo>
                  <a:pt x="333" y="419"/>
                </a:lnTo>
                <a:lnTo>
                  <a:pt x="328" y="411"/>
                </a:lnTo>
                <a:lnTo>
                  <a:pt x="321" y="403"/>
                </a:lnTo>
                <a:lnTo>
                  <a:pt x="316" y="394"/>
                </a:lnTo>
                <a:lnTo>
                  <a:pt x="310" y="384"/>
                </a:lnTo>
                <a:lnTo>
                  <a:pt x="307" y="376"/>
                </a:lnTo>
                <a:lnTo>
                  <a:pt x="305" y="369"/>
                </a:lnTo>
                <a:lnTo>
                  <a:pt x="298" y="367"/>
                </a:lnTo>
                <a:lnTo>
                  <a:pt x="292" y="365"/>
                </a:lnTo>
                <a:lnTo>
                  <a:pt x="285" y="362"/>
                </a:lnTo>
                <a:lnTo>
                  <a:pt x="280" y="358"/>
                </a:lnTo>
                <a:lnTo>
                  <a:pt x="274" y="353"/>
                </a:lnTo>
                <a:lnTo>
                  <a:pt x="269" y="348"/>
                </a:lnTo>
                <a:lnTo>
                  <a:pt x="264" y="343"/>
                </a:lnTo>
                <a:lnTo>
                  <a:pt x="261" y="337"/>
                </a:lnTo>
                <a:lnTo>
                  <a:pt x="254" y="325"/>
                </a:lnTo>
                <a:lnTo>
                  <a:pt x="249" y="314"/>
                </a:lnTo>
                <a:lnTo>
                  <a:pt x="247" y="304"/>
                </a:lnTo>
                <a:lnTo>
                  <a:pt x="246" y="295"/>
                </a:lnTo>
                <a:lnTo>
                  <a:pt x="245" y="293"/>
                </a:lnTo>
                <a:lnTo>
                  <a:pt x="242" y="289"/>
                </a:lnTo>
                <a:lnTo>
                  <a:pt x="239" y="285"/>
                </a:lnTo>
                <a:lnTo>
                  <a:pt x="234" y="281"/>
                </a:lnTo>
                <a:lnTo>
                  <a:pt x="221" y="269"/>
                </a:lnTo>
                <a:lnTo>
                  <a:pt x="208" y="257"/>
                </a:lnTo>
                <a:lnTo>
                  <a:pt x="194" y="244"/>
                </a:lnTo>
                <a:lnTo>
                  <a:pt x="181" y="232"/>
                </a:lnTo>
                <a:lnTo>
                  <a:pt x="175" y="226"/>
                </a:lnTo>
                <a:lnTo>
                  <a:pt x="171" y="220"/>
                </a:lnTo>
                <a:lnTo>
                  <a:pt x="168" y="214"/>
                </a:lnTo>
                <a:lnTo>
                  <a:pt x="165" y="209"/>
                </a:lnTo>
                <a:lnTo>
                  <a:pt x="163" y="203"/>
                </a:lnTo>
                <a:lnTo>
                  <a:pt x="161" y="197"/>
                </a:lnTo>
                <a:lnTo>
                  <a:pt x="158" y="192"/>
                </a:lnTo>
                <a:lnTo>
                  <a:pt x="154" y="187"/>
                </a:lnTo>
                <a:lnTo>
                  <a:pt x="146" y="178"/>
                </a:lnTo>
                <a:lnTo>
                  <a:pt x="137" y="170"/>
                </a:lnTo>
                <a:lnTo>
                  <a:pt x="115" y="155"/>
                </a:lnTo>
                <a:lnTo>
                  <a:pt x="92" y="143"/>
                </a:lnTo>
                <a:lnTo>
                  <a:pt x="81" y="136"/>
                </a:lnTo>
                <a:lnTo>
                  <a:pt x="70" y="130"/>
                </a:lnTo>
                <a:lnTo>
                  <a:pt x="60" y="122"/>
                </a:lnTo>
                <a:lnTo>
                  <a:pt x="51" y="114"/>
                </a:lnTo>
                <a:lnTo>
                  <a:pt x="47" y="110"/>
                </a:lnTo>
                <a:lnTo>
                  <a:pt x="44" y="104"/>
                </a:lnTo>
                <a:lnTo>
                  <a:pt x="40" y="99"/>
                </a:lnTo>
                <a:lnTo>
                  <a:pt x="38" y="93"/>
                </a:lnTo>
                <a:lnTo>
                  <a:pt x="36" y="88"/>
                </a:lnTo>
                <a:lnTo>
                  <a:pt x="34" y="81"/>
                </a:lnTo>
                <a:lnTo>
                  <a:pt x="34" y="75"/>
                </a:lnTo>
                <a:lnTo>
                  <a:pt x="33" y="68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grpSp>
        <p:nvGrpSpPr>
          <p:cNvPr id="386" name="Group 524"/>
          <p:cNvGrpSpPr>
            <a:grpSpLocks/>
          </p:cNvGrpSpPr>
          <p:nvPr userDrawn="1">
            <p:custDataLst>
              <p:tags r:id="rId361"/>
            </p:custDataLst>
          </p:nvPr>
        </p:nvGrpSpPr>
        <p:grpSpPr bwMode="auto">
          <a:xfrm>
            <a:off x="5824547" y="1604975"/>
            <a:ext cx="671513" cy="288131"/>
            <a:chOff x="4115" y="1551"/>
            <a:chExt cx="504" cy="244"/>
          </a:xfrm>
          <a:solidFill>
            <a:sysClr val="window" lastClr="FFFFFF">
              <a:lumMod val="85000"/>
            </a:sysClr>
          </a:solidFill>
        </p:grpSpPr>
        <p:sp>
          <p:nvSpPr>
            <p:cNvPr id="527" name="Freeform 525"/>
            <p:cNvSpPr>
              <a:spLocks/>
            </p:cNvSpPr>
            <p:nvPr/>
          </p:nvSpPr>
          <p:spPr bwMode="auto">
            <a:xfrm>
              <a:off x="4540" y="1551"/>
              <a:ext cx="79" cy="86"/>
            </a:xfrm>
            <a:custGeom>
              <a:avLst/>
              <a:gdLst>
                <a:gd name="T0" fmla="*/ 1 w 240"/>
                <a:gd name="T1" fmla="*/ 27 h 259"/>
                <a:gd name="T2" fmla="*/ 9 w 240"/>
                <a:gd name="T3" fmla="*/ 29 h 259"/>
                <a:gd name="T4" fmla="*/ 13 w 240"/>
                <a:gd name="T5" fmla="*/ 27 h 259"/>
                <a:gd name="T6" fmla="*/ 14 w 240"/>
                <a:gd name="T7" fmla="*/ 23 h 259"/>
                <a:gd name="T8" fmla="*/ 21 w 240"/>
                <a:gd name="T9" fmla="*/ 18 h 259"/>
                <a:gd name="T10" fmla="*/ 23 w 240"/>
                <a:gd name="T11" fmla="*/ 12 h 259"/>
                <a:gd name="T12" fmla="*/ 26 w 240"/>
                <a:gd name="T13" fmla="*/ 3 h 259"/>
                <a:gd name="T14" fmla="*/ 23 w 240"/>
                <a:gd name="T15" fmla="*/ 0 h 259"/>
                <a:gd name="T16" fmla="*/ 22 w 240"/>
                <a:gd name="T17" fmla="*/ 4 h 259"/>
                <a:gd name="T18" fmla="*/ 22 w 240"/>
                <a:gd name="T19" fmla="*/ 8 h 259"/>
                <a:gd name="T20" fmla="*/ 18 w 240"/>
                <a:gd name="T21" fmla="*/ 12 h 259"/>
                <a:gd name="T22" fmla="*/ 14 w 240"/>
                <a:gd name="T23" fmla="*/ 16 h 259"/>
                <a:gd name="T24" fmla="*/ 12 w 240"/>
                <a:gd name="T25" fmla="*/ 20 h 259"/>
                <a:gd name="T26" fmla="*/ 10 w 240"/>
                <a:gd name="T27" fmla="*/ 24 h 259"/>
                <a:gd name="T28" fmla="*/ 2 w 240"/>
                <a:gd name="T29" fmla="*/ 25 h 259"/>
                <a:gd name="T30" fmla="*/ 0 w 240"/>
                <a:gd name="T31" fmla="*/ 25 h 259"/>
                <a:gd name="T32" fmla="*/ 1 w 240"/>
                <a:gd name="T33" fmla="*/ 27 h 25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40"/>
                <a:gd name="T52" fmla="*/ 0 h 259"/>
                <a:gd name="T53" fmla="*/ 240 w 240"/>
                <a:gd name="T54" fmla="*/ 259 h 25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40" h="259">
                  <a:moveTo>
                    <a:pt x="13" y="247"/>
                  </a:moveTo>
                  <a:lnTo>
                    <a:pt x="79" y="259"/>
                  </a:lnTo>
                  <a:lnTo>
                    <a:pt x="120" y="240"/>
                  </a:lnTo>
                  <a:lnTo>
                    <a:pt x="133" y="210"/>
                  </a:lnTo>
                  <a:lnTo>
                    <a:pt x="192" y="161"/>
                  </a:lnTo>
                  <a:lnTo>
                    <a:pt x="212" y="111"/>
                  </a:lnTo>
                  <a:lnTo>
                    <a:pt x="240" y="26"/>
                  </a:lnTo>
                  <a:lnTo>
                    <a:pt x="212" y="0"/>
                  </a:lnTo>
                  <a:lnTo>
                    <a:pt x="206" y="32"/>
                  </a:lnTo>
                  <a:lnTo>
                    <a:pt x="199" y="74"/>
                  </a:lnTo>
                  <a:lnTo>
                    <a:pt x="166" y="105"/>
                  </a:lnTo>
                  <a:lnTo>
                    <a:pt x="133" y="149"/>
                  </a:lnTo>
                  <a:lnTo>
                    <a:pt x="113" y="179"/>
                  </a:lnTo>
                  <a:lnTo>
                    <a:pt x="93" y="216"/>
                  </a:lnTo>
                  <a:lnTo>
                    <a:pt x="20" y="222"/>
                  </a:lnTo>
                  <a:lnTo>
                    <a:pt x="0" y="222"/>
                  </a:lnTo>
                  <a:lnTo>
                    <a:pt x="13" y="247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28" name="Freeform 526"/>
            <p:cNvSpPr>
              <a:spLocks/>
            </p:cNvSpPr>
            <p:nvPr/>
          </p:nvSpPr>
          <p:spPr bwMode="auto">
            <a:xfrm>
              <a:off x="4115" y="1761"/>
              <a:ext cx="84" cy="34"/>
            </a:xfrm>
            <a:custGeom>
              <a:avLst/>
              <a:gdLst>
                <a:gd name="T0" fmla="*/ 4 w 259"/>
                <a:gd name="T1" fmla="*/ 11 h 104"/>
                <a:gd name="T2" fmla="*/ 3 w 259"/>
                <a:gd name="T3" fmla="*/ 9 h 104"/>
                <a:gd name="T4" fmla="*/ 6 w 259"/>
                <a:gd name="T5" fmla="*/ 7 h 104"/>
                <a:gd name="T6" fmla="*/ 7 w 259"/>
                <a:gd name="T7" fmla="*/ 5 h 104"/>
                <a:gd name="T8" fmla="*/ 13 w 259"/>
                <a:gd name="T9" fmla="*/ 5 h 104"/>
                <a:gd name="T10" fmla="*/ 18 w 259"/>
                <a:gd name="T11" fmla="*/ 5 h 104"/>
                <a:gd name="T12" fmla="*/ 26 w 259"/>
                <a:gd name="T13" fmla="*/ 3 h 104"/>
                <a:gd name="T14" fmla="*/ 27 w 259"/>
                <a:gd name="T15" fmla="*/ 1 h 104"/>
                <a:gd name="T16" fmla="*/ 26 w 259"/>
                <a:gd name="T17" fmla="*/ 0 h 104"/>
                <a:gd name="T18" fmla="*/ 21 w 259"/>
                <a:gd name="T19" fmla="*/ 1 h 104"/>
                <a:gd name="T20" fmla="*/ 16 w 259"/>
                <a:gd name="T21" fmla="*/ 1 h 104"/>
                <a:gd name="T22" fmla="*/ 11 w 259"/>
                <a:gd name="T23" fmla="*/ 1 h 104"/>
                <a:gd name="T24" fmla="*/ 6 w 259"/>
                <a:gd name="T25" fmla="*/ 2 h 104"/>
                <a:gd name="T26" fmla="*/ 3 w 259"/>
                <a:gd name="T27" fmla="*/ 5 h 104"/>
                <a:gd name="T28" fmla="*/ 0 w 259"/>
                <a:gd name="T29" fmla="*/ 7 h 104"/>
                <a:gd name="T30" fmla="*/ 0 w 259"/>
                <a:gd name="T31" fmla="*/ 11 h 104"/>
                <a:gd name="T32" fmla="*/ 4 w 259"/>
                <a:gd name="T33" fmla="*/ 11 h 10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59"/>
                <a:gd name="T52" fmla="*/ 0 h 104"/>
                <a:gd name="T53" fmla="*/ 259 w 259"/>
                <a:gd name="T54" fmla="*/ 104 h 104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59" h="104">
                  <a:moveTo>
                    <a:pt x="33" y="104"/>
                  </a:moveTo>
                  <a:lnTo>
                    <a:pt x="26" y="86"/>
                  </a:lnTo>
                  <a:lnTo>
                    <a:pt x="52" y="62"/>
                  </a:lnTo>
                  <a:lnTo>
                    <a:pt x="72" y="49"/>
                  </a:lnTo>
                  <a:lnTo>
                    <a:pt x="126" y="43"/>
                  </a:lnTo>
                  <a:lnTo>
                    <a:pt x="172" y="43"/>
                  </a:lnTo>
                  <a:lnTo>
                    <a:pt x="246" y="31"/>
                  </a:lnTo>
                  <a:lnTo>
                    <a:pt x="259" y="7"/>
                  </a:lnTo>
                  <a:lnTo>
                    <a:pt x="246" y="0"/>
                  </a:lnTo>
                  <a:lnTo>
                    <a:pt x="205" y="13"/>
                  </a:lnTo>
                  <a:lnTo>
                    <a:pt x="152" y="7"/>
                  </a:lnTo>
                  <a:lnTo>
                    <a:pt x="106" y="13"/>
                  </a:lnTo>
                  <a:lnTo>
                    <a:pt x="52" y="19"/>
                  </a:lnTo>
                  <a:lnTo>
                    <a:pt x="26" y="43"/>
                  </a:lnTo>
                  <a:lnTo>
                    <a:pt x="0" y="68"/>
                  </a:lnTo>
                  <a:lnTo>
                    <a:pt x="0" y="104"/>
                  </a:lnTo>
                  <a:lnTo>
                    <a:pt x="33" y="104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529" name="Freeform 527"/>
          <p:cNvSpPr>
            <a:spLocks/>
          </p:cNvSpPr>
          <p:nvPr userDrawn="1">
            <p:custDataLst>
              <p:tags r:id="rId362"/>
            </p:custDataLst>
          </p:nvPr>
        </p:nvSpPr>
        <p:spPr bwMode="auto">
          <a:xfrm>
            <a:off x="4919671" y="2166950"/>
            <a:ext cx="530225" cy="383381"/>
          </a:xfrm>
          <a:custGeom>
            <a:avLst/>
            <a:gdLst>
              <a:gd name="T0" fmla="*/ 174039103 w 1227"/>
              <a:gd name="T1" fmla="*/ 127045524 h 979"/>
              <a:gd name="T2" fmla="*/ 174039103 w 1227"/>
              <a:gd name="T3" fmla="*/ 120502590 h 979"/>
              <a:gd name="T4" fmla="*/ 173665742 w 1227"/>
              <a:gd name="T5" fmla="*/ 112323793 h 979"/>
              <a:gd name="T6" fmla="*/ 169557472 w 1227"/>
              <a:gd name="T7" fmla="*/ 104962665 h 979"/>
              <a:gd name="T8" fmla="*/ 167876914 w 1227"/>
              <a:gd name="T9" fmla="*/ 100055073 h 979"/>
              <a:gd name="T10" fmla="*/ 152564351 w 1227"/>
              <a:gd name="T11" fmla="*/ 85060785 h 979"/>
              <a:gd name="T12" fmla="*/ 141733850 w 1227"/>
              <a:gd name="T13" fmla="*/ 71701838 h 979"/>
              <a:gd name="T14" fmla="*/ 140426654 w 1227"/>
              <a:gd name="T15" fmla="*/ 62432273 h 979"/>
              <a:gd name="T16" fmla="*/ 135571230 w 1227"/>
              <a:gd name="T17" fmla="*/ 59433624 h 979"/>
              <a:gd name="T18" fmla="*/ 129782402 w 1227"/>
              <a:gd name="T19" fmla="*/ 56434453 h 979"/>
              <a:gd name="T20" fmla="*/ 119138582 w 1227"/>
              <a:gd name="T21" fmla="*/ 53435282 h 979"/>
              <a:gd name="T22" fmla="*/ 111295377 w 1227"/>
              <a:gd name="T23" fmla="*/ 54798589 h 979"/>
              <a:gd name="T24" fmla="*/ 106440385 w 1227"/>
              <a:gd name="T25" fmla="*/ 55616782 h 979"/>
              <a:gd name="T26" fmla="*/ 98971000 w 1227"/>
              <a:gd name="T27" fmla="*/ 53162725 h 979"/>
              <a:gd name="T28" fmla="*/ 94302256 w 1227"/>
              <a:gd name="T29" fmla="*/ 48800769 h 979"/>
              <a:gd name="T30" fmla="*/ 90193986 w 1227"/>
              <a:gd name="T31" fmla="*/ 34896708 h 979"/>
              <a:gd name="T32" fmla="*/ 86832871 w 1227"/>
              <a:gd name="T33" fmla="*/ 28080687 h 979"/>
              <a:gd name="T34" fmla="*/ 80670682 w 1227"/>
              <a:gd name="T35" fmla="*/ 22082867 h 979"/>
              <a:gd name="T36" fmla="*/ 68159192 w 1227"/>
              <a:gd name="T37" fmla="*/ 16630679 h 979"/>
              <a:gd name="T38" fmla="*/ 56581524 w 1227"/>
              <a:gd name="T39" fmla="*/ 8723916 h 979"/>
              <a:gd name="T40" fmla="*/ 39961764 w 1227"/>
              <a:gd name="T41" fmla="*/ 2726093 h 979"/>
              <a:gd name="T42" fmla="*/ 30998502 w 1227"/>
              <a:gd name="T43" fmla="*/ 10359780 h 979"/>
              <a:gd name="T44" fmla="*/ 28197422 w 1227"/>
              <a:gd name="T45" fmla="*/ 16630679 h 979"/>
              <a:gd name="T46" fmla="*/ 28570790 w 1227"/>
              <a:gd name="T47" fmla="*/ 24536924 h 979"/>
              <a:gd name="T48" fmla="*/ 31558544 w 1227"/>
              <a:gd name="T49" fmla="*/ 32170608 h 979"/>
              <a:gd name="T50" fmla="*/ 28197422 w 1227"/>
              <a:gd name="T51" fmla="*/ 40894528 h 979"/>
              <a:gd name="T52" fmla="*/ 17739850 w 1227"/>
              <a:gd name="T53" fmla="*/ 50709190 h 979"/>
              <a:gd name="T54" fmla="*/ 10083781 w 1227"/>
              <a:gd name="T55" fmla="*/ 51799940 h 979"/>
              <a:gd name="T56" fmla="*/ 1680558 w 1227"/>
              <a:gd name="T57" fmla="*/ 49891519 h 979"/>
              <a:gd name="T58" fmla="*/ 0 w 1227"/>
              <a:gd name="T59" fmla="*/ 64340694 h 979"/>
              <a:gd name="T60" fmla="*/ 1680558 w 1227"/>
              <a:gd name="T61" fmla="*/ 73337702 h 979"/>
              <a:gd name="T62" fmla="*/ 4668313 w 1227"/>
              <a:gd name="T63" fmla="*/ 76881464 h 979"/>
              <a:gd name="T64" fmla="*/ 7469388 w 1227"/>
              <a:gd name="T65" fmla="*/ 83697478 h 979"/>
              <a:gd name="T66" fmla="*/ 15499251 w 1227"/>
              <a:gd name="T67" fmla="*/ 99237402 h 979"/>
              <a:gd name="T68" fmla="*/ 19047047 w 1227"/>
              <a:gd name="T69" fmla="*/ 112868906 h 979"/>
              <a:gd name="T70" fmla="*/ 22595275 w 1227"/>
              <a:gd name="T71" fmla="*/ 116413191 h 979"/>
              <a:gd name="T72" fmla="*/ 24835874 w 1227"/>
              <a:gd name="T73" fmla="*/ 119411840 h 979"/>
              <a:gd name="T74" fmla="*/ 27636948 w 1227"/>
              <a:gd name="T75" fmla="*/ 127863717 h 979"/>
              <a:gd name="T76" fmla="*/ 41829002 w 1227"/>
              <a:gd name="T77" fmla="*/ 148855859 h 979"/>
              <a:gd name="T78" fmla="*/ 46497746 w 1227"/>
              <a:gd name="T79" fmla="*/ 159488714 h 979"/>
              <a:gd name="T80" fmla="*/ 47804942 w 1227"/>
              <a:gd name="T81" fmla="*/ 170121047 h 979"/>
              <a:gd name="T82" fmla="*/ 49672180 w 1227"/>
              <a:gd name="T83" fmla="*/ 179663152 h 979"/>
              <a:gd name="T84" fmla="*/ 55834369 w 1227"/>
              <a:gd name="T85" fmla="*/ 191113678 h 979"/>
              <a:gd name="T86" fmla="*/ 67412037 w 1227"/>
              <a:gd name="T87" fmla="*/ 207471796 h 979"/>
              <a:gd name="T88" fmla="*/ 72454142 w 1227"/>
              <a:gd name="T89" fmla="*/ 221920971 h 979"/>
              <a:gd name="T90" fmla="*/ 79363486 w 1227"/>
              <a:gd name="T91" fmla="*/ 236370146 h 979"/>
              <a:gd name="T92" fmla="*/ 90193986 w 1227"/>
              <a:gd name="T93" fmla="*/ 255726913 h 979"/>
              <a:gd name="T94" fmla="*/ 98597206 w 1227"/>
              <a:gd name="T95" fmla="*/ 266904882 h 979"/>
              <a:gd name="T96" fmla="*/ 101398280 w 1227"/>
              <a:gd name="T97" fmla="*/ 259816312 h 979"/>
              <a:gd name="T98" fmla="*/ 101958754 w 1227"/>
              <a:gd name="T99" fmla="*/ 247820672 h 979"/>
              <a:gd name="T100" fmla="*/ 106440385 w 1227"/>
              <a:gd name="T101" fmla="*/ 244276387 h 979"/>
              <a:gd name="T102" fmla="*/ 112975935 w 1227"/>
              <a:gd name="T103" fmla="*/ 244003830 h 979"/>
              <a:gd name="T104" fmla="*/ 123246852 w 1227"/>
              <a:gd name="T105" fmla="*/ 247820672 h 979"/>
              <a:gd name="T106" fmla="*/ 132210114 w 1227"/>
              <a:gd name="T107" fmla="*/ 257090220 h 979"/>
              <a:gd name="T108" fmla="*/ 146962204 w 1227"/>
              <a:gd name="T109" fmla="*/ 228463905 h 979"/>
              <a:gd name="T110" fmla="*/ 223897950 w 1227"/>
              <a:gd name="T111" fmla="*/ 154581122 h 979"/>
              <a:gd name="T112" fmla="*/ 175532980 w 1227"/>
              <a:gd name="T113" fmla="*/ 127590638 h 979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227"/>
              <a:gd name="T172" fmla="*/ 0 h 979"/>
              <a:gd name="T173" fmla="*/ 1227 w 1227"/>
              <a:gd name="T174" fmla="*/ 979 h 979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227" h="979">
                <a:moveTo>
                  <a:pt x="940" y="468"/>
                </a:moveTo>
                <a:lnTo>
                  <a:pt x="937" y="468"/>
                </a:lnTo>
                <a:lnTo>
                  <a:pt x="935" y="467"/>
                </a:lnTo>
                <a:lnTo>
                  <a:pt x="932" y="466"/>
                </a:lnTo>
                <a:lnTo>
                  <a:pt x="931" y="465"/>
                </a:lnTo>
                <a:lnTo>
                  <a:pt x="930" y="461"/>
                </a:lnTo>
                <a:lnTo>
                  <a:pt x="930" y="456"/>
                </a:lnTo>
                <a:lnTo>
                  <a:pt x="932" y="442"/>
                </a:lnTo>
                <a:lnTo>
                  <a:pt x="933" y="425"/>
                </a:lnTo>
                <a:lnTo>
                  <a:pt x="933" y="420"/>
                </a:lnTo>
                <a:lnTo>
                  <a:pt x="932" y="416"/>
                </a:lnTo>
                <a:lnTo>
                  <a:pt x="930" y="412"/>
                </a:lnTo>
                <a:lnTo>
                  <a:pt x="928" y="407"/>
                </a:lnTo>
                <a:lnTo>
                  <a:pt x="921" y="400"/>
                </a:lnTo>
                <a:lnTo>
                  <a:pt x="915" y="392"/>
                </a:lnTo>
                <a:lnTo>
                  <a:pt x="908" y="385"/>
                </a:lnTo>
                <a:lnTo>
                  <a:pt x="903" y="378"/>
                </a:lnTo>
                <a:lnTo>
                  <a:pt x="902" y="373"/>
                </a:lnTo>
                <a:lnTo>
                  <a:pt x="901" y="370"/>
                </a:lnTo>
                <a:lnTo>
                  <a:pt x="899" y="367"/>
                </a:lnTo>
                <a:lnTo>
                  <a:pt x="901" y="363"/>
                </a:lnTo>
                <a:lnTo>
                  <a:pt x="865" y="344"/>
                </a:lnTo>
                <a:lnTo>
                  <a:pt x="838" y="328"/>
                </a:lnTo>
                <a:lnTo>
                  <a:pt x="817" y="312"/>
                </a:lnTo>
                <a:lnTo>
                  <a:pt x="801" y="300"/>
                </a:lnTo>
                <a:lnTo>
                  <a:pt x="779" y="280"/>
                </a:lnTo>
                <a:lnTo>
                  <a:pt x="761" y="264"/>
                </a:lnTo>
                <a:lnTo>
                  <a:pt x="759" y="263"/>
                </a:lnTo>
                <a:lnTo>
                  <a:pt x="757" y="258"/>
                </a:lnTo>
                <a:lnTo>
                  <a:pt x="756" y="252"/>
                </a:lnTo>
                <a:lnTo>
                  <a:pt x="754" y="245"/>
                </a:lnTo>
                <a:lnTo>
                  <a:pt x="752" y="229"/>
                </a:lnTo>
                <a:lnTo>
                  <a:pt x="748" y="216"/>
                </a:lnTo>
                <a:lnTo>
                  <a:pt x="740" y="218"/>
                </a:lnTo>
                <a:lnTo>
                  <a:pt x="733" y="218"/>
                </a:lnTo>
                <a:lnTo>
                  <a:pt x="726" y="218"/>
                </a:lnTo>
                <a:lnTo>
                  <a:pt x="718" y="217"/>
                </a:lnTo>
                <a:lnTo>
                  <a:pt x="711" y="215"/>
                </a:lnTo>
                <a:lnTo>
                  <a:pt x="703" y="212"/>
                </a:lnTo>
                <a:lnTo>
                  <a:pt x="695" y="207"/>
                </a:lnTo>
                <a:lnTo>
                  <a:pt x="688" y="203"/>
                </a:lnTo>
                <a:lnTo>
                  <a:pt x="667" y="199"/>
                </a:lnTo>
                <a:lnTo>
                  <a:pt x="650" y="197"/>
                </a:lnTo>
                <a:lnTo>
                  <a:pt x="638" y="196"/>
                </a:lnTo>
                <a:lnTo>
                  <a:pt x="630" y="196"/>
                </a:lnTo>
                <a:lnTo>
                  <a:pt x="617" y="199"/>
                </a:lnTo>
                <a:lnTo>
                  <a:pt x="602" y="203"/>
                </a:lnTo>
                <a:lnTo>
                  <a:pt x="596" y="201"/>
                </a:lnTo>
                <a:lnTo>
                  <a:pt x="591" y="201"/>
                </a:lnTo>
                <a:lnTo>
                  <a:pt x="584" y="202"/>
                </a:lnTo>
                <a:lnTo>
                  <a:pt x="578" y="203"/>
                </a:lnTo>
                <a:lnTo>
                  <a:pt x="570" y="204"/>
                </a:lnTo>
                <a:lnTo>
                  <a:pt x="563" y="205"/>
                </a:lnTo>
                <a:lnTo>
                  <a:pt x="556" y="204"/>
                </a:lnTo>
                <a:lnTo>
                  <a:pt x="548" y="203"/>
                </a:lnTo>
                <a:lnTo>
                  <a:pt x="530" y="195"/>
                </a:lnTo>
                <a:lnTo>
                  <a:pt x="517" y="190"/>
                </a:lnTo>
                <a:lnTo>
                  <a:pt x="513" y="187"/>
                </a:lnTo>
                <a:lnTo>
                  <a:pt x="509" y="183"/>
                </a:lnTo>
                <a:lnTo>
                  <a:pt x="505" y="179"/>
                </a:lnTo>
                <a:lnTo>
                  <a:pt x="502" y="173"/>
                </a:lnTo>
                <a:lnTo>
                  <a:pt x="493" y="152"/>
                </a:lnTo>
                <a:lnTo>
                  <a:pt x="487" y="136"/>
                </a:lnTo>
                <a:lnTo>
                  <a:pt x="483" y="128"/>
                </a:lnTo>
                <a:lnTo>
                  <a:pt x="479" y="121"/>
                </a:lnTo>
                <a:lnTo>
                  <a:pt x="476" y="115"/>
                </a:lnTo>
                <a:lnTo>
                  <a:pt x="470" y="109"/>
                </a:lnTo>
                <a:lnTo>
                  <a:pt x="465" y="103"/>
                </a:lnTo>
                <a:lnTo>
                  <a:pt x="459" y="96"/>
                </a:lnTo>
                <a:lnTo>
                  <a:pt x="451" y="91"/>
                </a:lnTo>
                <a:lnTo>
                  <a:pt x="443" y="86"/>
                </a:lnTo>
                <a:lnTo>
                  <a:pt x="432" y="81"/>
                </a:lnTo>
                <a:lnTo>
                  <a:pt x="420" y="77"/>
                </a:lnTo>
                <a:lnTo>
                  <a:pt x="405" y="72"/>
                </a:lnTo>
                <a:lnTo>
                  <a:pt x="389" y="68"/>
                </a:lnTo>
                <a:lnTo>
                  <a:pt x="365" y="61"/>
                </a:lnTo>
                <a:lnTo>
                  <a:pt x="346" y="55"/>
                </a:lnTo>
                <a:lnTo>
                  <a:pt x="332" y="48"/>
                </a:lnTo>
                <a:lnTo>
                  <a:pt x="317" y="40"/>
                </a:lnTo>
                <a:lnTo>
                  <a:pt x="303" y="32"/>
                </a:lnTo>
                <a:lnTo>
                  <a:pt x="287" y="23"/>
                </a:lnTo>
                <a:lnTo>
                  <a:pt x="265" y="13"/>
                </a:lnTo>
                <a:lnTo>
                  <a:pt x="236" y="0"/>
                </a:lnTo>
                <a:lnTo>
                  <a:pt x="214" y="10"/>
                </a:lnTo>
                <a:lnTo>
                  <a:pt x="186" y="24"/>
                </a:lnTo>
                <a:lnTo>
                  <a:pt x="178" y="28"/>
                </a:lnTo>
                <a:lnTo>
                  <a:pt x="171" y="33"/>
                </a:lnTo>
                <a:lnTo>
                  <a:pt x="166" y="38"/>
                </a:lnTo>
                <a:lnTo>
                  <a:pt x="160" y="44"/>
                </a:lnTo>
                <a:lnTo>
                  <a:pt x="156" y="49"/>
                </a:lnTo>
                <a:lnTo>
                  <a:pt x="153" y="55"/>
                </a:lnTo>
                <a:lnTo>
                  <a:pt x="151" y="61"/>
                </a:lnTo>
                <a:lnTo>
                  <a:pt x="149" y="68"/>
                </a:lnTo>
                <a:lnTo>
                  <a:pt x="151" y="75"/>
                </a:lnTo>
                <a:lnTo>
                  <a:pt x="152" y="82"/>
                </a:lnTo>
                <a:lnTo>
                  <a:pt x="153" y="90"/>
                </a:lnTo>
                <a:lnTo>
                  <a:pt x="156" y="97"/>
                </a:lnTo>
                <a:lnTo>
                  <a:pt x="159" y="105"/>
                </a:lnTo>
                <a:lnTo>
                  <a:pt x="164" y="112"/>
                </a:lnTo>
                <a:lnTo>
                  <a:pt x="169" y="118"/>
                </a:lnTo>
                <a:lnTo>
                  <a:pt x="177" y="123"/>
                </a:lnTo>
                <a:lnTo>
                  <a:pt x="171" y="129"/>
                </a:lnTo>
                <a:lnTo>
                  <a:pt x="163" y="139"/>
                </a:lnTo>
                <a:lnTo>
                  <a:pt x="151" y="150"/>
                </a:lnTo>
                <a:lnTo>
                  <a:pt x="136" y="162"/>
                </a:lnTo>
                <a:lnTo>
                  <a:pt x="120" y="173"/>
                </a:lnTo>
                <a:lnTo>
                  <a:pt x="102" y="182"/>
                </a:lnTo>
                <a:lnTo>
                  <a:pt x="95" y="186"/>
                </a:lnTo>
                <a:lnTo>
                  <a:pt x="86" y="188"/>
                </a:lnTo>
                <a:lnTo>
                  <a:pt x="78" y="190"/>
                </a:lnTo>
                <a:lnTo>
                  <a:pt x="70" y="191"/>
                </a:lnTo>
                <a:lnTo>
                  <a:pt x="54" y="190"/>
                </a:lnTo>
                <a:lnTo>
                  <a:pt x="37" y="187"/>
                </a:lnTo>
                <a:lnTo>
                  <a:pt x="22" y="183"/>
                </a:lnTo>
                <a:lnTo>
                  <a:pt x="10" y="179"/>
                </a:lnTo>
                <a:lnTo>
                  <a:pt x="9" y="183"/>
                </a:lnTo>
                <a:lnTo>
                  <a:pt x="6" y="193"/>
                </a:lnTo>
                <a:lnTo>
                  <a:pt x="2" y="208"/>
                </a:lnTo>
                <a:lnTo>
                  <a:pt x="0" y="226"/>
                </a:lnTo>
                <a:lnTo>
                  <a:pt x="0" y="236"/>
                </a:lnTo>
                <a:lnTo>
                  <a:pt x="0" y="245"/>
                </a:lnTo>
                <a:lnTo>
                  <a:pt x="2" y="253"/>
                </a:lnTo>
                <a:lnTo>
                  <a:pt x="5" y="261"/>
                </a:lnTo>
                <a:lnTo>
                  <a:pt x="9" y="269"/>
                </a:lnTo>
                <a:lnTo>
                  <a:pt x="14" y="276"/>
                </a:lnTo>
                <a:lnTo>
                  <a:pt x="18" y="278"/>
                </a:lnTo>
                <a:lnTo>
                  <a:pt x="21" y="280"/>
                </a:lnTo>
                <a:lnTo>
                  <a:pt x="25" y="282"/>
                </a:lnTo>
                <a:lnTo>
                  <a:pt x="30" y="283"/>
                </a:lnTo>
                <a:lnTo>
                  <a:pt x="32" y="291"/>
                </a:lnTo>
                <a:lnTo>
                  <a:pt x="35" y="299"/>
                </a:lnTo>
                <a:lnTo>
                  <a:pt x="40" y="307"/>
                </a:lnTo>
                <a:lnTo>
                  <a:pt x="44" y="315"/>
                </a:lnTo>
                <a:lnTo>
                  <a:pt x="56" y="331"/>
                </a:lnTo>
                <a:lnTo>
                  <a:pt x="69" y="347"/>
                </a:lnTo>
                <a:lnTo>
                  <a:pt x="83" y="364"/>
                </a:lnTo>
                <a:lnTo>
                  <a:pt x="92" y="383"/>
                </a:lnTo>
                <a:lnTo>
                  <a:pt x="97" y="393"/>
                </a:lnTo>
                <a:lnTo>
                  <a:pt x="100" y="403"/>
                </a:lnTo>
                <a:lnTo>
                  <a:pt x="102" y="414"/>
                </a:lnTo>
                <a:lnTo>
                  <a:pt x="103" y="425"/>
                </a:lnTo>
                <a:lnTo>
                  <a:pt x="110" y="425"/>
                </a:lnTo>
                <a:lnTo>
                  <a:pt x="117" y="426"/>
                </a:lnTo>
                <a:lnTo>
                  <a:pt x="121" y="427"/>
                </a:lnTo>
                <a:lnTo>
                  <a:pt x="124" y="429"/>
                </a:lnTo>
                <a:lnTo>
                  <a:pt x="128" y="431"/>
                </a:lnTo>
                <a:lnTo>
                  <a:pt x="131" y="435"/>
                </a:lnTo>
                <a:lnTo>
                  <a:pt x="133" y="438"/>
                </a:lnTo>
                <a:lnTo>
                  <a:pt x="135" y="441"/>
                </a:lnTo>
                <a:lnTo>
                  <a:pt x="139" y="450"/>
                </a:lnTo>
                <a:lnTo>
                  <a:pt x="143" y="459"/>
                </a:lnTo>
                <a:lnTo>
                  <a:pt x="148" y="469"/>
                </a:lnTo>
                <a:lnTo>
                  <a:pt x="156" y="480"/>
                </a:lnTo>
                <a:lnTo>
                  <a:pt x="184" y="504"/>
                </a:lnTo>
                <a:lnTo>
                  <a:pt x="216" y="536"/>
                </a:lnTo>
                <a:lnTo>
                  <a:pt x="224" y="546"/>
                </a:lnTo>
                <a:lnTo>
                  <a:pt x="232" y="556"/>
                </a:lnTo>
                <a:lnTo>
                  <a:pt x="238" y="565"/>
                </a:lnTo>
                <a:lnTo>
                  <a:pt x="244" y="575"/>
                </a:lnTo>
                <a:lnTo>
                  <a:pt x="249" y="585"/>
                </a:lnTo>
                <a:lnTo>
                  <a:pt x="253" y="595"/>
                </a:lnTo>
                <a:lnTo>
                  <a:pt x="255" y="606"/>
                </a:lnTo>
                <a:lnTo>
                  <a:pt x="256" y="616"/>
                </a:lnTo>
                <a:lnTo>
                  <a:pt x="256" y="624"/>
                </a:lnTo>
                <a:lnTo>
                  <a:pt x="257" y="631"/>
                </a:lnTo>
                <a:lnTo>
                  <a:pt x="258" y="638"/>
                </a:lnTo>
                <a:lnTo>
                  <a:pt x="260" y="645"/>
                </a:lnTo>
                <a:lnTo>
                  <a:pt x="266" y="659"/>
                </a:lnTo>
                <a:lnTo>
                  <a:pt x="272" y="670"/>
                </a:lnTo>
                <a:lnTo>
                  <a:pt x="280" y="681"/>
                </a:lnTo>
                <a:lnTo>
                  <a:pt x="289" y="691"/>
                </a:lnTo>
                <a:lnTo>
                  <a:pt x="299" y="701"/>
                </a:lnTo>
                <a:lnTo>
                  <a:pt x="310" y="710"/>
                </a:lnTo>
                <a:lnTo>
                  <a:pt x="331" y="730"/>
                </a:lnTo>
                <a:lnTo>
                  <a:pt x="352" y="750"/>
                </a:lnTo>
                <a:lnTo>
                  <a:pt x="361" y="761"/>
                </a:lnTo>
                <a:lnTo>
                  <a:pt x="369" y="774"/>
                </a:lnTo>
                <a:lnTo>
                  <a:pt x="377" y="787"/>
                </a:lnTo>
                <a:lnTo>
                  <a:pt x="382" y="801"/>
                </a:lnTo>
                <a:lnTo>
                  <a:pt x="388" y="814"/>
                </a:lnTo>
                <a:lnTo>
                  <a:pt x="394" y="827"/>
                </a:lnTo>
                <a:lnTo>
                  <a:pt x="401" y="838"/>
                </a:lnTo>
                <a:lnTo>
                  <a:pt x="409" y="848"/>
                </a:lnTo>
                <a:lnTo>
                  <a:pt x="425" y="867"/>
                </a:lnTo>
                <a:lnTo>
                  <a:pt x="443" y="886"/>
                </a:lnTo>
                <a:lnTo>
                  <a:pt x="459" y="905"/>
                </a:lnTo>
                <a:lnTo>
                  <a:pt x="476" y="925"/>
                </a:lnTo>
                <a:lnTo>
                  <a:pt x="483" y="938"/>
                </a:lnTo>
                <a:lnTo>
                  <a:pt x="490" y="950"/>
                </a:lnTo>
                <a:lnTo>
                  <a:pt x="496" y="964"/>
                </a:lnTo>
                <a:lnTo>
                  <a:pt x="502" y="979"/>
                </a:lnTo>
                <a:lnTo>
                  <a:pt x="528" y="979"/>
                </a:lnTo>
                <a:lnTo>
                  <a:pt x="535" y="973"/>
                </a:lnTo>
                <a:lnTo>
                  <a:pt x="539" y="966"/>
                </a:lnTo>
                <a:lnTo>
                  <a:pt x="541" y="960"/>
                </a:lnTo>
                <a:lnTo>
                  <a:pt x="543" y="953"/>
                </a:lnTo>
                <a:lnTo>
                  <a:pt x="543" y="938"/>
                </a:lnTo>
                <a:lnTo>
                  <a:pt x="541" y="918"/>
                </a:lnTo>
                <a:lnTo>
                  <a:pt x="543" y="913"/>
                </a:lnTo>
                <a:lnTo>
                  <a:pt x="546" y="909"/>
                </a:lnTo>
                <a:lnTo>
                  <a:pt x="551" y="905"/>
                </a:lnTo>
                <a:lnTo>
                  <a:pt x="557" y="901"/>
                </a:lnTo>
                <a:lnTo>
                  <a:pt x="563" y="898"/>
                </a:lnTo>
                <a:lnTo>
                  <a:pt x="570" y="896"/>
                </a:lnTo>
                <a:lnTo>
                  <a:pt x="577" y="894"/>
                </a:lnTo>
                <a:lnTo>
                  <a:pt x="582" y="893"/>
                </a:lnTo>
                <a:lnTo>
                  <a:pt x="594" y="894"/>
                </a:lnTo>
                <a:lnTo>
                  <a:pt x="605" y="895"/>
                </a:lnTo>
                <a:lnTo>
                  <a:pt x="616" y="896"/>
                </a:lnTo>
                <a:lnTo>
                  <a:pt x="626" y="898"/>
                </a:lnTo>
                <a:lnTo>
                  <a:pt x="644" y="902"/>
                </a:lnTo>
                <a:lnTo>
                  <a:pt x="660" y="909"/>
                </a:lnTo>
                <a:lnTo>
                  <a:pt x="674" y="916"/>
                </a:lnTo>
                <a:lnTo>
                  <a:pt x="686" y="924"/>
                </a:lnTo>
                <a:lnTo>
                  <a:pt x="697" y="934"/>
                </a:lnTo>
                <a:lnTo>
                  <a:pt x="708" y="943"/>
                </a:lnTo>
                <a:lnTo>
                  <a:pt x="729" y="916"/>
                </a:lnTo>
                <a:lnTo>
                  <a:pt x="756" y="881"/>
                </a:lnTo>
                <a:lnTo>
                  <a:pt x="778" y="851"/>
                </a:lnTo>
                <a:lnTo>
                  <a:pt x="787" y="838"/>
                </a:lnTo>
                <a:lnTo>
                  <a:pt x="1033" y="789"/>
                </a:lnTo>
                <a:lnTo>
                  <a:pt x="1146" y="763"/>
                </a:lnTo>
                <a:lnTo>
                  <a:pt x="1227" y="616"/>
                </a:lnTo>
                <a:lnTo>
                  <a:pt x="1199" y="567"/>
                </a:lnTo>
                <a:lnTo>
                  <a:pt x="1173" y="591"/>
                </a:lnTo>
                <a:lnTo>
                  <a:pt x="1000" y="573"/>
                </a:lnTo>
                <a:lnTo>
                  <a:pt x="940" y="480"/>
                </a:lnTo>
                <a:lnTo>
                  <a:pt x="940" y="468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530" name="Freeform 528"/>
          <p:cNvSpPr>
            <a:spLocks/>
          </p:cNvSpPr>
          <p:nvPr userDrawn="1">
            <p:custDataLst>
              <p:tags r:id="rId363"/>
            </p:custDataLst>
          </p:nvPr>
        </p:nvSpPr>
        <p:spPr bwMode="auto">
          <a:xfrm>
            <a:off x="4356101" y="1825240"/>
            <a:ext cx="57150" cy="42863"/>
          </a:xfrm>
          <a:custGeom>
            <a:avLst/>
            <a:gdLst>
              <a:gd name="T0" fmla="*/ 22370699 w 146"/>
              <a:gd name="T1" fmla="*/ 8960555 h 81"/>
              <a:gd name="T2" fmla="*/ 21144714 w 146"/>
              <a:gd name="T3" fmla="*/ 11947173 h 81"/>
              <a:gd name="T4" fmla="*/ 19919121 w 146"/>
              <a:gd name="T5" fmla="*/ 14436372 h 81"/>
              <a:gd name="T6" fmla="*/ 18846581 w 146"/>
              <a:gd name="T7" fmla="*/ 17422988 h 81"/>
              <a:gd name="T8" fmla="*/ 18080536 w 146"/>
              <a:gd name="T9" fmla="*/ 20410309 h 81"/>
              <a:gd name="T10" fmla="*/ 16548056 w 146"/>
              <a:gd name="T11" fmla="*/ 26383546 h 81"/>
              <a:gd name="T12" fmla="*/ 15015967 w 146"/>
              <a:gd name="T13" fmla="*/ 31860066 h 81"/>
              <a:gd name="T14" fmla="*/ 14249922 w 146"/>
              <a:gd name="T15" fmla="*/ 34348559 h 81"/>
              <a:gd name="T16" fmla="*/ 13023938 w 146"/>
              <a:gd name="T17" fmla="*/ 36340342 h 81"/>
              <a:gd name="T18" fmla="*/ 11644898 w 146"/>
              <a:gd name="T19" fmla="*/ 38331419 h 81"/>
              <a:gd name="T20" fmla="*/ 10112809 w 146"/>
              <a:gd name="T21" fmla="*/ 39824374 h 81"/>
              <a:gd name="T22" fmla="*/ 8120780 w 146"/>
              <a:gd name="T23" fmla="*/ 40322496 h 81"/>
              <a:gd name="T24" fmla="*/ 5975697 w 146"/>
              <a:gd name="T25" fmla="*/ 39824374 h 81"/>
              <a:gd name="T26" fmla="*/ 3217623 w 146"/>
              <a:gd name="T27" fmla="*/ 38331419 h 81"/>
              <a:gd name="T28" fmla="*/ 0 w 146"/>
              <a:gd name="T29" fmla="*/ 36837758 h 81"/>
              <a:gd name="T30" fmla="*/ 0 w 146"/>
              <a:gd name="T31" fmla="*/ 30863822 h 81"/>
              <a:gd name="T32" fmla="*/ 0 w 146"/>
              <a:gd name="T33" fmla="*/ 24392469 h 81"/>
              <a:gd name="T34" fmla="*/ 0 w 146"/>
              <a:gd name="T35" fmla="*/ 16925571 h 81"/>
              <a:gd name="T36" fmla="*/ 0 w 146"/>
              <a:gd name="T37" fmla="*/ 8960555 h 81"/>
              <a:gd name="T38" fmla="*/ 2145082 w 146"/>
              <a:gd name="T39" fmla="*/ 8960555 h 81"/>
              <a:gd name="T40" fmla="*/ 3371067 w 146"/>
              <a:gd name="T41" fmla="*/ 8960555 h 81"/>
              <a:gd name="T42" fmla="*/ 4750104 w 146"/>
              <a:gd name="T43" fmla="*/ 8960555 h 81"/>
              <a:gd name="T44" fmla="*/ 6129141 w 146"/>
              <a:gd name="T45" fmla="*/ 8960555 h 81"/>
              <a:gd name="T46" fmla="*/ 7967727 w 146"/>
              <a:gd name="T47" fmla="*/ 8960555 h 81"/>
              <a:gd name="T48" fmla="*/ 9653260 w 146"/>
              <a:gd name="T49" fmla="*/ 7965016 h 81"/>
              <a:gd name="T50" fmla="*/ 11185349 w 146"/>
              <a:gd name="T51" fmla="*/ 6969478 h 81"/>
              <a:gd name="T52" fmla="*/ 12717438 w 146"/>
              <a:gd name="T53" fmla="*/ 5475816 h 81"/>
              <a:gd name="T54" fmla="*/ 15475515 w 146"/>
              <a:gd name="T55" fmla="*/ 2489200 h 81"/>
              <a:gd name="T56" fmla="*/ 18387032 w 146"/>
              <a:gd name="T57" fmla="*/ 0 h 81"/>
              <a:gd name="T58" fmla="*/ 19766069 w 146"/>
              <a:gd name="T59" fmla="*/ 1991078 h 81"/>
              <a:gd name="T60" fmla="*/ 20685166 w 146"/>
              <a:gd name="T61" fmla="*/ 4480277 h 81"/>
              <a:gd name="T62" fmla="*/ 21604654 w 146"/>
              <a:gd name="T63" fmla="*/ 6969478 h 81"/>
              <a:gd name="T64" fmla="*/ 22370699 w 146"/>
              <a:gd name="T65" fmla="*/ 8960555 h 8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46"/>
              <a:gd name="T100" fmla="*/ 0 h 81"/>
              <a:gd name="T101" fmla="*/ 146 w 146"/>
              <a:gd name="T102" fmla="*/ 81 h 81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46" h="81">
                <a:moveTo>
                  <a:pt x="146" y="18"/>
                </a:moveTo>
                <a:lnTo>
                  <a:pt x="138" y="24"/>
                </a:lnTo>
                <a:lnTo>
                  <a:pt x="130" y="29"/>
                </a:lnTo>
                <a:lnTo>
                  <a:pt x="123" y="35"/>
                </a:lnTo>
                <a:lnTo>
                  <a:pt x="118" y="41"/>
                </a:lnTo>
                <a:lnTo>
                  <a:pt x="108" y="53"/>
                </a:lnTo>
                <a:lnTo>
                  <a:pt x="98" y="64"/>
                </a:lnTo>
                <a:lnTo>
                  <a:pt x="93" y="69"/>
                </a:lnTo>
                <a:lnTo>
                  <a:pt x="85" y="73"/>
                </a:lnTo>
                <a:lnTo>
                  <a:pt x="76" y="77"/>
                </a:lnTo>
                <a:lnTo>
                  <a:pt x="66" y="80"/>
                </a:lnTo>
                <a:lnTo>
                  <a:pt x="53" y="81"/>
                </a:lnTo>
                <a:lnTo>
                  <a:pt x="39" y="80"/>
                </a:lnTo>
                <a:lnTo>
                  <a:pt x="21" y="77"/>
                </a:lnTo>
                <a:lnTo>
                  <a:pt x="0" y="74"/>
                </a:lnTo>
                <a:lnTo>
                  <a:pt x="0" y="62"/>
                </a:lnTo>
                <a:lnTo>
                  <a:pt x="0" y="49"/>
                </a:lnTo>
                <a:lnTo>
                  <a:pt x="0" y="34"/>
                </a:lnTo>
                <a:lnTo>
                  <a:pt x="0" y="18"/>
                </a:lnTo>
                <a:lnTo>
                  <a:pt x="14" y="18"/>
                </a:lnTo>
                <a:lnTo>
                  <a:pt x="22" y="18"/>
                </a:lnTo>
                <a:lnTo>
                  <a:pt x="31" y="18"/>
                </a:lnTo>
                <a:lnTo>
                  <a:pt x="40" y="18"/>
                </a:lnTo>
                <a:lnTo>
                  <a:pt x="52" y="18"/>
                </a:lnTo>
                <a:lnTo>
                  <a:pt x="63" y="16"/>
                </a:lnTo>
                <a:lnTo>
                  <a:pt x="73" y="14"/>
                </a:lnTo>
                <a:lnTo>
                  <a:pt x="83" y="11"/>
                </a:lnTo>
                <a:lnTo>
                  <a:pt x="101" y="5"/>
                </a:lnTo>
                <a:lnTo>
                  <a:pt x="120" y="0"/>
                </a:lnTo>
                <a:lnTo>
                  <a:pt x="129" y="4"/>
                </a:lnTo>
                <a:lnTo>
                  <a:pt x="135" y="9"/>
                </a:lnTo>
                <a:lnTo>
                  <a:pt x="141" y="14"/>
                </a:lnTo>
                <a:lnTo>
                  <a:pt x="146" y="18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531" name="Freeform 529"/>
          <p:cNvSpPr>
            <a:spLocks/>
          </p:cNvSpPr>
          <p:nvPr userDrawn="1">
            <p:custDataLst>
              <p:tags r:id="rId364"/>
            </p:custDataLst>
          </p:nvPr>
        </p:nvSpPr>
        <p:spPr bwMode="auto">
          <a:xfrm>
            <a:off x="4095759" y="1984784"/>
            <a:ext cx="15875" cy="42863"/>
          </a:xfrm>
          <a:custGeom>
            <a:avLst/>
            <a:gdLst>
              <a:gd name="T0" fmla="*/ 7412223 w 34"/>
              <a:gd name="T1" fmla="*/ 66655559 h 49"/>
              <a:gd name="T2" fmla="*/ 7412223 w 34"/>
              <a:gd name="T3" fmla="*/ 46250682 h 49"/>
              <a:gd name="T4" fmla="*/ 7412223 w 34"/>
              <a:gd name="T5" fmla="*/ 34007748 h 49"/>
              <a:gd name="T6" fmla="*/ 7194175 w 34"/>
              <a:gd name="T7" fmla="*/ 28566836 h 49"/>
              <a:gd name="T8" fmla="*/ 7194175 w 34"/>
              <a:gd name="T9" fmla="*/ 23125924 h 49"/>
              <a:gd name="T10" fmla="*/ 6758080 w 34"/>
              <a:gd name="T11" fmla="*/ 20404885 h 49"/>
              <a:gd name="T12" fmla="*/ 6540032 w 34"/>
              <a:gd name="T13" fmla="*/ 16323906 h 49"/>
              <a:gd name="T14" fmla="*/ 5450260 w 34"/>
              <a:gd name="T15" fmla="*/ 10882994 h 49"/>
              <a:gd name="T16" fmla="*/ 4578070 w 34"/>
              <a:gd name="T17" fmla="*/ 0 h 49"/>
              <a:gd name="T18" fmla="*/ 1743915 w 34"/>
              <a:gd name="T19" fmla="*/ 0 h 49"/>
              <a:gd name="T20" fmla="*/ 0 w 34"/>
              <a:gd name="T21" fmla="*/ 0 h 49"/>
              <a:gd name="T22" fmla="*/ 654143 w 34"/>
              <a:gd name="T23" fmla="*/ 14963969 h 49"/>
              <a:gd name="T24" fmla="*/ 1525867 w 34"/>
              <a:gd name="T25" fmla="*/ 27206900 h 49"/>
              <a:gd name="T26" fmla="*/ 2180011 w 34"/>
              <a:gd name="T27" fmla="*/ 36728786 h 49"/>
              <a:gd name="T28" fmla="*/ 3052202 w 34"/>
              <a:gd name="T29" fmla="*/ 46250682 h 49"/>
              <a:gd name="T30" fmla="*/ 4141974 w 34"/>
              <a:gd name="T31" fmla="*/ 53052697 h 49"/>
              <a:gd name="T32" fmla="*/ 5232213 w 34"/>
              <a:gd name="T33" fmla="*/ 58493608 h 49"/>
              <a:gd name="T34" fmla="*/ 6321984 w 34"/>
              <a:gd name="T35" fmla="*/ 62574583 h 49"/>
              <a:gd name="T36" fmla="*/ 7412223 w 34"/>
              <a:gd name="T37" fmla="*/ 66655559 h 4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34"/>
              <a:gd name="T58" fmla="*/ 0 h 49"/>
              <a:gd name="T59" fmla="*/ 34 w 34"/>
              <a:gd name="T60" fmla="*/ 49 h 49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34" h="49">
                <a:moveTo>
                  <a:pt x="34" y="49"/>
                </a:moveTo>
                <a:lnTo>
                  <a:pt x="34" y="34"/>
                </a:lnTo>
                <a:lnTo>
                  <a:pt x="34" y="25"/>
                </a:lnTo>
                <a:lnTo>
                  <a:pt x="33" y="21"/>
                </a:lnTo>
                <a:lnTo>
                  <a:pt x="33" y="17"/>
                </a:lnTo>
                <a:lnTo>
                  <a:pt x="31" y="15"/>
                </a:lnTo>
                <a:lnTo>
                  <a:pt x="30" y="12"/>
                </a:lnTo>
                <a:lnTo>
                  <a:pt x="25" y="8"/>
                </a:lnTo>
                <a:lnTo>
                  <a:pt x="21" y="0"/>
                </a:lnTo>
                <a:lnTo>
                  <a:pt x="8" y="0"/>
                </a:lnTo>
                <a:lnTo>
                  <a:pt x="0" y="0"/>
                </a:lnTo>
                <a:lnTo>
                  <a:pt x="3" y="11"/>
                </a:lnTo>
                <a:lnTo>
                  <a:pt x="7" y="20"/>
                </a:lnTo>
                <a:lnTo>
                  <a:pt x="10" y="27"/>
                </a:lnTo>
                <a:lnTo>
                  <a:pt x="14" y="34"/>
                </a:lnTo>
                <a:lnTo>
                  <a:pt x="19" y="39"/>
                </a:lnTo>
                <a:lnTo>
                  <a:pt x="24" y="43"/>
                </a:lnTo>
                <a:lnTo>
                  <a:pt x="29" y="46"/>
                </a:lnTo>
                <a:lnTo>
                  <a:pt x="34" y="49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532" name="Freeform 530"/>
          <p:cNvSpPr>
            <a:spLocks/>
          </p:cNvSpPr>
          <p:nvPr userDrawn="1">
            <p:custDataLst>
              <p:tags r:id="rId365"/>
            </p:custDataLst>
          </p:nvPr>
        </p:nvSpPr>
        <p:spPr bwMode="auto">
          <a:xfrm>
            <a:off x="3725864" y="2244340"/>
            <a:ext cx="28575" cy="42863"/>
          </a:xfrm>
          <a:custGeom>
            <a:avLst/>
            <a:gdLst>
              <a:gd name="T0" fmla="*/ 13608844 w 60"/>
              <a:gd name="T1" fmla="*/ 0 h 74"/>
              <a:gd name="T2" fmla="*/ 12701588 w 60"/>
              <a:gd name="T3" fmla="*/ 2385626 h 74"/>
              <a:gd name="T4" fmla="*/ 11567637 w 60"/>
              <a:gd name="T5" fmla="*/ 5964451 h 74"/>
              <a:gd name="T6" fmla="*/ 10887076 w 60"/>
              <a:gd name="T7" fmla="*/ 8946291 h 74"/>
              <a:gd name="T8" fmla="*/ 10433686 w 60"/>
              <a:gd name="T9" fmla="*/ 12525115 h 74"/>
              <a:gd name="T10" fmla="*/ 9299259 w 60"/>
              <a:gd name="T11" fmla="*/ 18489568 h 74"/>
              <a:gd name="T12" fmla="*/ 8392003 w 60"/>
              <a:gd name="T13" fmla="*/ 25050231 h 74"/>
              <a:gd name="T14" fmla="*/ 7938613 w 60"/>
              <a:gd name="T15" fmla="*/ 28032848 h 74"/>
              <a:gd name="T16" fmla="*/ 7258050 w 60"/>
              <a:gd name="T17" fmla="*/ 30418473 h 74"/>
              <a:gd name="T18" fmla="*/ 6577489 w 60"/>
              <a:gd name="T19" fmla="*/ 33401084 h 74"/>
              <a:gd name="T20" fmla="*/ 5670233 w 60"/>
              <a:gd name="T21" fmla="*/ 35786709 h 74"/>
              <a:gd name="T22" fmla="*/ 4536282 w 60"/>
              <a:gd name="T23" fmla="*/ 38768548 h 74"/>
              <a:gd name="T24" fmla="*/ 3402330 w 60"/>
              <a:gd name="T25" fmla="*/ 41154946 h 74"/>
              <a:gd name="T26" fmla="*/ 1814513 w 60"/>
              <a:gd name="T27" fmla="*/ 42943586 h 74"/>
              <a:gd name="T28" fmla="*/ 0 w 60"/>
              <a:gd name="T29" fmla="*/ 44136784 h 74"/>
              <a:gd name="T30" fmla="*/ 1133951 w 60"/>
              <a:gd name="T31" fmla="*/ 35786709 h 74"/>
              <a:gd name="T32" fmla="*/ 2721769 w 60"/>
              <a:gd name="T33" fmla="*/ 28032848 h 74"/>
              <a:gd name="T34" fmla="*/ 4309587 w 60"/>
              <a:gd name="T35" fmla="*/ 20278980 h 74"/>
              <a:gd name="T36" fmla="*/ 6124099 w 60"/>
              <a:gd name="T37" fmla="*/ 13718317 h 74"/>
              <a:gd name="T38" fmla="*/ 8165308 w 60"/>
              <a:gd name="T39" fmla="*/ 8350078 h 74"/>
              <a:gd name="T40" fmla="*/ 9753125 w 60"/>
              <a:gd name="T41" fmla="*/ 3578826 h 74"/>
              <a:gd name="T42" fmla="*/ 10887076 w 60"/>
              <a:gd name="T43" fmla="*/ 1789413 h 74"/>
              <a:gd name="T44" fmla="*/ 11794332 w 60"/>
              <a:gd name="T45" fmla="*/ 596213 h 74"/>
              <a:gd name="T46" fmla="*/ 12701588 w 60"/>
              <a:gd name="T47" fmla="*/ 0 h 74"/>
              <a:gd name="T48" fmla="*/ 13608844 w 60"/>
              <a:gd name="T49" fmla="*/ 0 h 74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60"/>
              <a:gd name="T76" fmla="*/ 0 h 74"/>
              <a:gd name="T77" fmla="*/ 60 w 60"/>
              <a:gd name="T78" fmla="*/ 74 h 74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60" h="74">
                <a:moveTo>
                  <a:pt x="60" y="0"/>
                </a:moveTo>
                <a:lnTo>
                  <a:pt x="56" y="4"/>
                </a:lnTo>
                <a:lnTo>
                  <a:pt x="51" y="10"/>
                </a:lnTo>
                <a:lnTo>
                  <a:pt x="48" y="15"/>
                </a:lnTo>
                <a:lnTo>
                  <a:pt x="46" y="21"/>
                </a:lnTo>
                <a:lnTo>
                  <a:pt x="41" y="31"/>
                </a:lnTo>
                <a:lnTo>
                  <a:pt x="37" y="42"/>
                </a:lnTo>
                <a:lnTo>
                  <a:pt x="35" y="47"/>
                </a:lnTo>
                <a:lnTo>
                  <a:pt x="32" y="51"/>
                </a:lnTo>
                <a:lnTo>
                  <a:pt x="29" y="56"/>
                </a:lnTo>
                <a:lnTo>
                  <a:pt x="25" y="60"/>
                </a:lnTo>
                <a:lnTo>
                  <a:pt x="20" y="65"/>
                </a:lnTo>
                <a:lnTo>
                  <a:pt x="15" y="69"/>
                </a:lnTo>
                <a:lnTo>
                  <a:pt x="8" y="72"/>
                </a:lnTo>
                <a:lnTo>
                  <a:pt x="0" y="74"/>
                </a:lnTo>
                <a:lnTo>
                  <a:pt x="5" y="60"/>
                </a:lnTo>
                <a:lnTo>
                  <a:pt x="12" y="47"/>
                </a:lnTo>
                <a:lnTo>
                  <a:pt x="19" y="34"/>
                </a:lnTo>
                <a:lnTo>
                  <a:pt x="27" y="23"/>
                </a:lnTo>
                <a:lnTo>
                  <a:pt x="36" y="14"/>
                </a:lnTo>
                <a:lnTo>
                  <a:pt x="43" y="6"/>
                </a:lnTo>
                <a:lnTo>
                  <a:pt x="48" y="3"/>
                </a:lnTo>
                <a:lnTo>
                  <a:pt x="52" y="1"/>
                </a:lnTo>
                <a:lnTo>
                  <a:pt x="56" y="0"/>
                </a:lnTo>
                <a:lnTo>
                  <a:pt x="60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533" name="Freeform 531"/>
          <p:cNvSpPr>
            <a:spLocks/>
          </p:cNvSpPr>
          <p:nvPr userDrawn="1">
            <p:custDataLst>
              <p:tags r:id="rId366"/>
            </p:custDataLst>
          </p:nvPr>
        </p:nvSpPr>
        <p:spPr bwMode="auto">
          <a:xfrm>
            <a:off x="3667128" y="2256246"/>
            <a:ext cx="23812" cy="45244"/>
          </a:xfrm>
          <a:custGeom>
            <a:avLst/>
            <a:gdLst>
              <a:gd name="T0" fmla="*/ 3336720 w 47"/>
              <a:gd name="T1" fmla="*/ 14376118 h 45"/>
              <a:gd name="T2" fmla="*/ 5646991 w 47"/>
              <a:gd name="T3" fmla="*/ 14376118 h 45"/>
              <a:gd name="T4" fmla="*/ 7187171 w 47"/>
              <a:gd name="T5" fmla="*/ 10782087 h 45"/>
              <a:gd name="T6" fmla="*/ 8213619 w 47"/>
              <a:gd name="T7" fmla="*/ 8985743 h 45"/>
              <a:gd name="T8" fmla="*/ 8983711 w 47"/>
              <a:gd name="T9" fmla="*/ 5391714 h 45"/>
              <a:gd name="T10" fmla="*/ 9497442 w 47"/>
              <a:gd name="T11" fmla="*/ 1797685 h 45"/>
              <a:gd name="T12" fmla="*/ 10010667 w 47"/>
              <a:gd name="T13" fmla="*/ 0 h 45"/>
              <a:gd name="T14" fmla="*/ 11037116 w 47"/>
              <a:gd name="T15" fmla="*/ 1797685 h 45"/>
              <a:gd name="T16" fmla="*/ 12064071 w 47"/>
              <a:gd name="T17" fmla="*/ 3594030 h 45"/>
              <a:gd name="T18" fmla="*/ 11807206 w 47"/>
              <a:gd name="T19" fmla="*/ 12579774 h 45"/>
              <a:gd name="T20" fmla="*/ 11807206 w 47"/>
              <a:gd name="T21" fmla="*/ 19767831 h 45"/>
              <a:gd name="T22" fmla="*/ 11293981 w 47"/>
              <a:gd name="T23" fmla="*/ 26955892 h 45"/>
              <a:gd name="T24" fmla="*/ 11037116 w 47"/>
              <a:gd name="T25" fmla="*/ 34145289 h 45"/>
              <a:gd name="T26" fmla="*/ 9497442 w 47"/>
              <a:gd name="T27" fmla="*/ 46723728 h 45"/>
              <a:gd name="T28" fmla="*/ 7700395 w 47"/>
              <a:gd name="T29" fmla="*/ 57507154 h 45"/>
              <a:gd name="T30" fmla="*/ 6160215 w 47"/>
              <a:gd name="T31" fmla="*/ 68289238 h 45"/>
              <a:gd name="T32" fmla="*/ 4106810 w 47"/>
              <a:gd name="T33" fmla="*/ 75477295 h 45"/>
              <a:gd name="T34" fmla="*/ 1796539 w 47"/>
              <a:gd name="T35" fmla="*/ 80869007 h 45"/>
              <a:gd name="T36" fmla="*/ 0 w 47"/>
              <a:gd name="T37" fmla="*/ 80869007 h 45"/>
              <a:gd name="T38" fmla="*/ 513225 w 47"/>
              <a:gd name="T39" fmla="*/ 68289238 h 45"/>
              <a:gd name="T40" fmla="*/ 1540180 w 47"/>
              <a:gd name="T41" fmla="*/ 46723728 h 45"/>
              <a:gd name="T42" fmla="*/ 2823495 w 47"/>
              <a:gd name="T43" fmla="*/ 26955892 h 45"/>
              <a:gd name="T44" fmla="*/ 3336720 w 47"/>
              <a:gd name="T45" fmla="*/ 14376118 h 45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47"/>
              <a:gd name="T70" fmla="*/ 0 h 45"/>
              <a:gd name="T71" fmla="*/ 47 w 47"/>
              <a:gd name="T72" fmla="*/ 45 h 45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47" h="45">
                <a:moveTo>
                  <a:pt x="13" y="8"/>
                </a:moveTo>
                <a:lnTo>
                  <a:pt x="22" y="8"/>
                </a:lnTo>
                <a:lnTo>
                  <a:pt x="28" y="6"/>
                </a:lnTo>
                <a:lnTo>
                  <a:pt x="32" y="5"/>
                </a:lnTo>
                <a:lnTo>
                  <a:pt x="35" y="3"/>
                </a:lnTo>
                <a:lnTo>
                  <a:pt x="37" y="1"/>
                </a:lnTo>
                <a:lnTo>
                  <a:pt x="39" y="0"/>
                </a:lnTo>
                <a:lnTo>
                  <a:pt x="43" y="1"/>
                </a:lnTo>
                <a:lnTo>
                  <a:pt x="47" y="2"/>
                </a:lnTo>
                <a:lnTo>
                  <a:pt x="46" y="7"/>
                </a:lnTo>
                <a:lnTo>
                  <a:pt x="46" y="11"/>
                </a:lnTo>
                <a:lnTo>
                  <a:pt x="44" y="15"/>
                </a:lnTo>
                <a:lnTo>
                  <a:pt x="43" y="19"/>
                </a:lnTo>
                <a:lnTo>
                  <a:pt x="37" y="26"/>
                </a:lnTo>
                <a:lnTo>
                  <a:pt x="30" y="32"/>
                </a:lnTo>
                <a:lnTo>
                  <a:pt x="24" y="38"/>
                </a:lnTo>
                <a:lnTo>
                  <a:pt x="16" y="42"/>
                </a:lnTo>
                <a:lnTo>
                  <a:pt x="7" y="45"/>
                </a:lnTo>
                <a:lnTo>
                  <a:pt x="0" y="45"/>
                </a:lnTo>
                <a:lnTo>
                  <a:pt x="2" y="38"/>
                </a:lnTo>
                <a:lnTo>
                  <a:pt x="6" y="26"/>
                </a:lnTo>
                <a:lnTo>
                  <a:pt x="11" y="15"/>
                </a:lnTo>
                <a:lnTo>
                  <a:pt x="13" y="8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534" name="Freeform 532"/>
          <p:cNvSpPr>
            <a:spLocks/>
          </p:cNvSpPr>
          <p:nvPr userDrawn="1">
            <p:custDataLst>
              <p:tags r:id="rId367"/>
            </p:custDataLst>
          </p:nvPr>
        </p:nvSpPr>
        <p:spPr bwMode="auto">
          <a:xfrm>
            <a:off x="3641725" y="2251484"/>
            <a:ext cx="6350" cy="42863"/>
          </a:xfrm>
          <a:custGeom>
            <a:avLst/>
            <a:gdLst>
              <a:gd name="T0" fmla="*/ 357798 w 26"/>
              <a:gd name="T1" fmla="*/ 90725611 h 36"/>
              <a:gd name="T2" fmla="*/ 298206 w 26"/>
              <a:gd name="T3" fmla="*/ 75604680 h 36"/>
              <a:gd name="T4" fmla="*/ 179021 w 26"/>
              <a:gd name="T5" fmla="*/ 50403116 h 36"/>
              <a:gd name="T6" fmla="*/ 59592 w 26"/>
              <a:gd name="T7" fmla="*/ 25201558 h 36"/>
              <a:gd name="T8" fmla="*/ 0 w 26"/>
              <a:gd name="T9" fmla="*/ 0 h 36"/>
              <a:gd name="T10" fmla="*/ 1550865 w 26"/>
              <a:gd name="T11" fmla="*/ 0 h 36"/>
              <a:gd name="T12" fmla="*/ 1491273 w 26"/>
              <a:gd name="T13" fmla="*/ 30241875 h 36"/>
              <a:gd name="T14" fmla="*/ 1431681 w 26"/>
              <a:gd name="T15" fmla="*/ 57962800 h 36"/>
              <a:gd name="T16" fmla="*/ 1371844 w 26"/>
              <a:gd name="T17" fmla="*/ 68043421 h 36"/>
              <a:gd name="T18" fmla="*/ 1371844 w 26"/>
              <a:gd name="T19" fmla="*/ 78124042 h 36"/>
              <a:gd name="T20" fmla="*/ 1431681 w 26"/>
              <a:gd name="T21" fmla="*/ 85685301 h 36"/>
              <a:gd name="T22" fmla="*/ 1550865 w 26"/>
              <a:gd name="T23" fmla="*/ 90725611 h 36"/>
              <a:gd name="T24" fmla="*/ 357798 w 26"/>
              <a:gd name="T25" fmla="*/ 90725611 h 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6"/>
              <a:gd name="T40" fmla="*/ 0 h 36"/>
              <a:gd name="T41" fmla="*/ 26 w 26"/>
              <a:gd name="T42" fmla="*/ 36 h 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6" h="36">
                <a:moveTo>
                  <a:pt x="6" y="36"/>
                </a:moveTo>
                <a:lnTo>
                  <a:pt x="5" y="30"/>
                </a:lnTo>
                <a:lnTo>
                  <a:pt x="3" y="20"/>
                </a:lnTo>
                <a:lnTo>
                  <a:pt x="1" y="10"/>
                </a:lnTo>
                <a:lnTo>
                  <a:pt x="0" y="0"/>
                </a:lnTo>
                <a:lnTo>
                  <a:pt x="26" y="0"/>
                </a:lnTo>
                <a:lnTo>
                  <a:pt x="25" y="12"/>
                </a:lnTo>
                <a:lnTo>
                  <a:pt x="24" y="23"/>
                </a:lnTo>
                <a:lnTo>
                  <a:pt x="23" y="27"/>
                </a:lnTo>
                <a:lnTo>
                  <a:pt x="23" y="31"/>
                </a:lnTo>
                <a:lnTo>
                  <a:pt x="24" y="34"/>
                </a:lnTo>
                <a:lnTo>
                  <a:pt x="26" y="36"/>
                </a:lnTo>
                <a:lnTo>
                  <a:pt x="6" y="36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535" name="Freeform 533"/>
          <p:cNvSpPr>
            <a:spLocks/>
          </p:cNvSpPr>
          <p:nvPr userDrawn="1">
            <p:custDataLst>
              <p:tags r:id="rId368"/>
            </p:custDataLst>
          </p:nvPr>
        </p:nvSpPr>
        <p:spPr bwMode="auto">
          <a:xfrm>
            <a:off x="4913322" y="2047887"/>
            <a:ext cx="174625" cy="119063"/>
          </a:xfrm>
          <a:custGeom>
            <a:avLst/>
            <a:gdLst>
              <a:gd name="T0" fmla="*/ 4833448 w 405"/>
              <a:gd name="T1" fmla="*/ 44763819 h 302"/>
              <a:gd name="T2" fmla="*/ 5205550 w 405"/>
              <a:gd name="T3" fmla="*/ 43105881 h 302"/>
              <a:gd name="T4" fmla="*/ 5577221 w 405"/>
              <a:gd name="T5" fmla="*/ 42553410 h 302"/>
              <a:gd name="T6" fmla="*/ 5205550 w 405"/>
              <a:gd name="T7" fmla="*/ 41724441 h 302"/>
              <a:gd name="T8" fmla="*/ 3346332 w 405"/>
              <a:gd name="T9" fmla="*/ 39514032 h 302"/>
              <a:gd name="T10" fmla="*/ 1115444 w 405"/>
              <a:gd name="T11" fmla="*/ 35092689 h 302"/>
              <a:gd name="T12" fmla="*/ 371671 w 405"/>
              <a:gd name="T13" fmla="*/ 32053302 h 302"/>
              <a:gd name="T14" fmla="*/ 929609 w 405"/>
              <a:gd name="T15" fmla="*/ 30947835 h 302"/>
              <a:gd name="T16" fmla="*/ 1115444 w 405"/>
              <a:gd name="T17" fmla="*/ 28737426 h 302"/>
              <a:gd name="T18" fmla="*/ 3160497 w 405"/>
              <a:gd name="T19" fmla="*/ 26802990 h 302"/>
              <a:gd name="T20" fmla="*/ 6320994 w 405"/>
              <a:gd name="T21" fmla="*/ 25698048 h 302"/>
              <a:gd name="T22" fmla="*/ 8737718 w 405"/>
              <a:gd name="T23" fmla="*/ 24316083 h 302"/>
              <a:gd name="T24" fmla="*/ 10596935 w 405"/>
              <a:gd name="T25" fmla="*/ 22658145 h 302"/>
              <a:gd name="T26" fmla="*/ 12456152 w 405"/>
              <a:gd name="T27" fmla="*/ 19342269 h 302"/>
              <a:gd name="T28" fmla="*/ 13943266 w 405"/>
              <a:gd name="T29" fmla="*/ 14368450 h 302"/>
              <a:gd name="T30" fmla="*/ 15616651 w 405"/>
              <a:gd name="T31" fmla="*/ 12987010 h 302"/>
              <a:gd name="T32" fmla="*/ 17661272 w 405"/>
              <a:gd name="T33" fmla="*/ 14368450 h 302"/>
              <a:gd name="T34" fmla="*/ 21751376 w 405"/>
              <a:gd name="T35" fmla="*/ 14921447 h 302"/>
              <a:gd name="T36" fmla="*/ 31418706 w 405"/>
              <a:gd name="T37" fmla="*/ 12710512 h 302"/>
              <a:gd name="T38" fmla="*/ 39413080 w 405"/>
              <a:gd name="T39" fmla="*/ 11881543 h 302"/>
              <a:gd name="T40" fmla="*/ 43502753 w 405"/>
              <a:gd name="T41" fmla="*/ 11329072 h 302"/>
              <a:gd name="T42" fmla="*/ 49080403 w 405"/>
              <a:gd name="T43" fmla="*/ 9671134 h 302"/>
              <a:gd name="T44" fmla="*/ 59119411 w 405"/>
              <a:gd name="T45" fmla="*/ 4697318 h 302"/>
              <a:gd name="T46" fmla="*/ 66741682 w 405"/>
              <a:gd name="T47" fmla="*/ 1105468 h 302"/>
              <a:gd name="T48" fmla="*/ 69158405 w 405"/>
              <a:gd name="T49" fmla="*/ 828969 h 302"/>
              <a:gd name="T50" fmla="*/ 71575559 w 405"/>
              <a:gd name="T51" fmla="*/ 828969 h 302"/>
              <a:gd name="T52" fmla="*/ 73992282 w 405"/>
              <a:gd name="T53" fmla="*/ 276498 h 302"/>
              <a:gd name="T54" fmla="*/ 73434345 w 405"/>
              <a:gd name="T55" fmla="*/ 2210410 h 302"/>
              <a:gd name="T56" fmla="*/ 66927517 w 405"/>
              <a:gd name="T57" fmla="*/ 11329072 h 302"/>
              <a:gd name="T58" fmla="*/ 63952857 w 405"/>
              <a:gd name="T59" fmla="*/ 15750416 h 302"/>
              <a:gd name="T60" fmla="*/ 63023680 w 405"/>
              <a:gd name="T61" fmla="*/ 17684331 h 302"/>
              <a:gd name="T62" fmla="*/ 63023680 w 405"/>
              <a:gd name="T63" fmla="*/ 26527017 h 302"/>
              <a:gd name="T64" fmla="*/ 62651578 w 405"/>
              <a:gd name="T65" fmla="*/ 41171970 h 302"/>
              <a:gd name="T66" fmla="*/ 62279907 w 405"/>
              <a:gd name="T67" fmla="*/ 49737633 h 302"/>
              <a:gd name="T68" fmla="*/ 60606525 w 405"/>
              <a:gd name="T69" fmla="*/ 54711447 h 302"/>
              <a:gd name="T70" fmla="*/ 56702688 w 405"/>
              <a:gd name="T71" fmla="*/ 58027323 h 302"/>
              <a:gd name="T72" fmla="*/ 49266238 w 405"/>
              <a:gd name="T73" fmla="*/ 62724639 h 302"/>
              <a:gd name="T74" fmla="*/ 19706324 w 405"/>
              <a:gd name="T75" fmla="*/ 83448882 h 302"/>
              <a:gd name="T76" fmla="*/ 10596935 w 405"/>
              <a:gd name="T77" fmla="*/ 71843315 h 302"/>
              <a:gd name="T78" fmla="*/ 13013658 w 405"/>
              <a:gd name="T79" fmla="*/ 63001137 h 302"/>
              <a:gd name="T80" fmla="*/ 15058714 w 405"/>
              <a:gd name="T81" fmla="*/ 57750825 h 302"/>
              <a:gd name="T82" fmla="*/ 15988322 w 405"/>
              <a:gd name="T83" fmla="*/ 47527224 h 302"/>
              <a:gd name="T84" fmla="*/ 13199494 w 405"/>
              <a:gd name="T85" fmla="*/ 47803722 h 302"/>
              <a:gd name="T86" fmla="*/ 10596935 w 405"/>
              <a:gd name="T87" fmla="*/ 46698255 h 302"/>
              <a:gd name="T88" fmla="*/ 7622275 w 405"/>
              <a:gd name="T89" fmla="*/ 45592788 h 302"/>
              <a:gd name="T90" fmla="*/ 4833448 w 405"/>
              <a:gd name="T91" fmla="*/ 45869286 h 302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405"/>
              <a:gd name="T139" fmla="*/ 0 h 302"/>
              <a:gd name="T140" fmla="*/ 405 w 405"/>
              <a:gd name="T141" fmla="*/ 302 h 302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405" h="302">
                <a:moveTo>
                  <a:pt x="26" y="166"/>
                </a:moveTo>
                <a:lnTo>
                  <a:pt x="26" y="162"/>
                </a:lnTo>
                <a:lnTo>
                  <a:pt x="27" y="158"/>
                </a:lnTo>
                <a:lnTo>
                  <a:pt x="28" y="156"/>
                </a:lnTo>
                <a:lnTo>
                  <a:pt x="29" y="155"/>
                </a:lnTo>
                <a:lnTo>
                  <a:pt x="30" y="154"/>
                </a:lnTo>
                <a:lnTo>
                  <a:pt x="33" y="154"/>
                </a:lnTo>
                <a:lnTo>
                  <a:pt x="28" y="151"/>
                </a:lnTo>
                <a:lnTo>
                  <a:pt x="23" y="147"/>
                </a:lnTo>
                <a:lnTo>
                  <a:pt x="18" y="143"/>
                </a:lnTo>
                <a:lnTo>
                  <a:pt x="14" y="138"/>
                </a:lnTo>
                <a:lnTo>
                  <a:pt x="6" y="127"/>
                </a:lnTo>
                <a:lnTo>
                  <a:pt x="0" y="117"/>
                </a:lnTo>
                <a:lnTo>
                  <a:pt x="2" y="116"/>
                </a:lnTo>
                <a:lnTo>
                  <a:pt x="4" y="115"/>
                </a:lnTo>
                <a:lnTo>
                  <a:pt x="5" y="112"/>
                </a:lnTo>
                <a:lnTo>
                  <a:pt x="5" y="110"/>
                </a:lnTo>
                <a:lnTo>
                  <a:pt x="6" y="104"/>
                </a:lnTo>
                <a:lnTo>
                  <a:pt x="6" y="98"/>
                </a:lnTo>
                <a:lnTo>
                  <a:pt x="17" y="97"/>
                </a:lnTo>
                <a:lnTo>
                  <a:pt x="26" y="95"/>
                </a:lnTo>
                <a:lnTo>
                  <a:pt x="34" y="93"/>
                </a:lnTo>
                <a:lnTo>
                  <a:pt x="41" y="91"/>
                </a:lnTo>
                <a:lnTo>
                  <a:pt x="47" y="88"/>
                </a:lnTo>
                <a:lnTo>
                  <a:pt x="52" y="85"/>
                </a:lnTo>
                <a:lnTo>
                  <a:pt x="57" y="82"/>
                </a:lnTo>
                <a:lnTo>
                  <a:pt x="60" y="78"/>
                </a:lnTo>
                <a:lnTo>
                  <a:pt x="67" y="70"/>
                </a:lnTo>
                <a:lnTo>
                  <a:pt x="71" y="61"/>
                </a:lnTo>
                <a:lnTo>
                  <a:pt x="75" y="52"/>
                </a:lnTo>
                <a:lnTo>
                  <a:pt x="80" y="43"/>
                </a:lnTo>
                <a:lnTo>
                  <a:pt x="84" y="47"/>
                </a:lnTo>
                <a:lnTo>
                  <a:pt x="89" y="50"/>
                </a:lnTo>
                <a:lnTo>
                  <a:pt x="95" y="52"/>
                </a:lnTo>
                <a:lnTo>
                  <a:pt x="102" y="53"/>
                </a:lnTo>
                <a:lnTo>
                  <a:pt x="117" y="54"/>
                </a:lnTo>
                <a:lnTo>
                  <a:pt x="135" y="52"/>
                </a:lnTo>
                <a:lnTo>
                  <a:pt x="169" y="46"/>
                </a:lnTo>
                <a:lnTo>
                  <a:pt x="200" y="43"/>
                </a:lnTo>
                <a:lnTo>
                  <a:pt x="212" y="43"/>
                </a:lnTo>
                <a:lnTo>
                  <a:pt x="223" y="42"/>
                </a:lnTo>
                <a:lnTo>
                  <a:pt x="234" y="41"/>
                </a:lnTo>
                <a:lnTo>
                  <a:pt x="245" y="39"/>
                </a:lnTo>
                <a:lnTo>
                  <a:pt x="264" y="35"/>
                </a:lnTo>
                <a:lnTo>
                  <a:pt x="283" y="29"/>
                </a:lnTo>
                <a:lnTo>
                  <a:pt x="318" y="17"/>
                </a:lnTo>
                <a:lnTo>
                  <a:pt x="352" y="6"/>
                </a:lnTo>
                <a:lnTo>
                  <a:pt x="359" y="4"/>
                </a:lnTo>
                <a:lnTo>
                  <a:pt x="365" y="3"/>
                </a:lnTo>
                <a:lnTo>
                  <a:pt x="372" y="3"/>
                </a:lnTo>
                <a:lnTo>
                  <a:pt x="378" y="3"/>
                </a:lnTo>
                <a:lnTo>
                  <a:pt x="385" y="3"/>
                </a:lnTo>
                <a:lnTo>
                  <a:pt x="392" y="2"/>
                </a:lnTo>
                <a:lnTo>
                  <a:pt x="398" y="1"/>
                </a:lnTo>
                <a:lnTo>
                  <a:pt x="405" y="0"/>
                </a:lnTo>
                <a:lnTo>
                  <a:pt x="395" y="8"/>
                </a:lnTo>
                <a:lnTo>
                  <a:pt x="372" y="29"/>
                </a:lnTo>
                <a:lnTo>
                  <a:pt x="360" y="41"/>
                </a:lnTo>
                <a:lnTo>
                  <a:pt x="349" y="52"/>
                </a:lnTo>
                <a:lnTo>
                  <a:pt x="344" y="57"/>
                </a:lnTo>
                <a:lnTo>
                  <a:pt x="341" y="61"/>
                </a:lnTo>
                <a:lnTo>
                  <a:pt x="339" y="64"/>
                </a:lnTo>
                <a:lnTo>
                  <a:pt x="339" y="68"/>
                </a:lnTo>
                <a:lnTo>
                  <a:pt x="339" y="96"/>
                </a:lnTo>
                <a:lnTo>
                  <a:pt x="338" y="132"/>
                </a:lnTo>
                <a:lnTo>
                  <a:pt x="337" y="149"/>
                </a:lnTo>
                <a:lnTo>
                  <a:pt x="336" y="165"/>
                </a:lnTo>
                <a:lnTo>
                  <a:pt x="335" y="180"/>
                </a:lnTo>
                <a:lnTo>
                  <a:pt x="332" y="191"/>
                </a:lnTo>
                <a:lnTo>
                  <a:pt x="326" y="198"/>
                </a:lnTo>
                <a:lnTo>
                  <a:pt x="317" y="204"/>
                </a:lnTo>
                <a:lnTo>
                  <a:pt x="305" y="210"/>
                </a:lnTo>
                <a:lnTo>
                  <a:pt x="293" y="215"/>
                </a:lnTo>
                <a:lnTo>
                  <a:pt x="265" y="227"/>
                </a:lnTo>
                <a:lnTo>
                  <a:pt x="239" y="241"/>
                </a:lnTo>
                <a:lnTo>
                  <a:pt x="106" y="302"/>
                </a:lnTo>
                <a:lnTo>
                  <a:pt x="53" y="271"/>
                </a:lnTo>
                <a:lnTo>
                  <a:pt x="57" y="260"/>
                </a:lnTo>
                <a:lnTo>
                  <a:pt x="64" y="240"/>
                </a:lnTo>
                <a:lnTo>
                  <a:pt x="70" y="228"/>
                </a:lnTo>
                <a:lnTo>
                  <a:pt x="75" y="218"/>
                </a:lnTo>
                <a:lnTo>
                  <a:pt x="81" y="209"/>
                </a:lnTo>
                <a:lnTo>
                  <a:pt x="86" y="203"/>
                </a:lnTo>
                <a:lnTo>
                  <a:pt x="86" y="172"/>
                </a:lnTo>
                <a:lnTo>
                  <a:pt x="79" y="173"/>
                </a:lnTo>
                <a:lnTo>
                  <a:pt x="71" y="173"/>
                </a:lnTo>
                <a:lnTo>
                  <a:pt x="63" y="171"/>
                </a:lnTo>
                <a:lnTo>
                  <a:pt x="57" y="169"/>
                </a:lnTo>
                <a:lnTo>
                  <a:pt x="49" y="167"/>
                </a:lnTo>
                <a:lnTo>
                  <a:pt x="41" y="165"/>
                </a:lnTo>
                <a:lnTo>
                  <a:pt x="34" y="165"/>
                </a:lnTo>
                <a:lnTo>
                  <a:pt x="26" y="166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536" name="Freeform 534"/>
          <p:cNvSpPr>
            <a:spLocks/>
          </p:cNvSpPr>
          <p:nvPr userDrawn="1">
            <p:custDataLst>
              <p:tags r:id="rId369"/>
            </p:custDataLst>
          </p:nvPr>
        </p:nvSpPr>
        <p:spPr bwMode="auto">
          <a:xfrm>
            <a:off x="7007226" y="2333638"/>
            <a:ext cx="42862" cy="59531"/>
          </a:xfrm>
          <a:custGeom>
            <a:avLst/>
            <a:gdLst>
              <a:gd name="T0" fmla="*/ 18371512 w 100"/>
              <a:gd name="T1" fmla="*/ 262194 h 155"/>
              <a:gd name="T2" fmla="*/ 18371512 w 100"/>
              <a:gd name="T3" fmla="*/ 7867342 h 155"/>
              <a:gd name="T4" fmla="*/ 18371512 w 100"/>
              <a:gd name="T5" fmla="*/ 14423204 h 155"/>
              <a:gd name="T6" fmla="*/ 18371512 w 100"/>
              <a:gd name="T7" fmla="*/ 20455193 h 155"/>
              <a:gd name="T8" fmla="*/ 18371512 w 100"/>
              <a:gd name="T9" fmla="*/ 25962280 h 155"/>
              <a:gd name="T10" fmla="*/ 18004184 w 100"/>
              <a:gd name="T11" fmla="*/ 28584727 h 155"/>
              <a:gd name="T12" fmla="*/ 17269101 w 100"/>
              <a:gd name="T13" fmla="*/ 30944468 h 155"/>
              <a:gd name="T14" fmla="*/ 16350569 w 100"/>
              <a:gd name="T15" fmla="*/ 33566922 h 155"/>
              <a:gd name="T16" fmla="*/ 15064709 w 100"/>
              <a:gd name="T17" fmla="*/ 35927175 h 155"/>
              <a:gd name="T18" fmla="*/ 13411090 w 100"/>
              <a:gd name="T19" fmla="*/ 37763041 h 155"/>
              <a:gd name="T20" fmla="*/ 11390148 w 100"/>
              <a:gd name="T21" fmla="*/ 39336714 h 155"/>
              <a:gd name="T22" fmla="*/ 10471615 w 100"/>
              <a:gd name="T23" fmla="*/ 39861101 h 155"/>
              <a:gd name="T24" fmla="*/ 9369634 w 100"/>
              <a:gd name="T25" fmla="*/ 40385488 h 155"/>
              <a:gd name="T26" fmla="*/ 8451101 w 100"/>
              <a:gd name="T27" fmla="*/ 40647681 h 155"/>
              <a:gd name="T28" fmla="*/ 7164813 w 100"/>
              <a:gd name="T29" fmla="*/ 40647681 h 155"/>
              <a:gd name="T30" fmla="*/ 6430157 w 100"/>
              <a:gd name="T31" fmla="*/ 40385488 h 155"/>
              <a:gd name="T32" fmla="*/ 5511625 w 100"/>
              <a:gd name="T33" fmla="*/ 40123295 h 155"/>
              <a:gd name="T34" fmla="*/ 4776541 w 100"/>
              <a:gd name="T35" fmla="*/ 39598908 h 155"/>
              <a:gd name="T36" fmla="*/ 4041887 w 100"/>
              <a:gd name="T37" fmla="*/ 39074009 h 155"/>
              <a:gd name="T38" fmla="*/ 2755598 w 100"/>
              <a:gd name="T39" fmla="*/ 37238655 h 155"/>
              <a:gd name="T40" fmla="*/ 1653616 w 100"/>
              <a:gd name="T41" fmla="*/ 35140595 h 155"/>
              <a:gd name="T42" fmla="*/ 918533 w 100"/>
              <a:gd name="T43" fmla="*/ 32518140 h 155"/>
              <a:gd name="T44" fmla="*/ 367327 w 100"/>
              <a:gd name="T45" fmla="*/ 29633500 h 155"/>
              <a:gd name="T46" fmla="*/ 0 w 100"/>
              <a:gd name="T47" fmla="*/ 27011054 h 155"/>
              <a:gd name="T48" fmla="*/ 0 w 100"/>
              <a:gd name="T49" fmla="*/ 24388607 h 155"/>
              <a:gd name="T50" fmla="*/ 0 w 100"/>
              <a:gd name="T51" fmla="*/ 20192488 h 155"/>
              <a:gd name="T52" fmla="*/ 0 w 100"/>
              <a:gd name="T53" fmla="*/ 17045655 h 155"/>
              <a:gd name="T54" fmla="*/ 0 w 100"/>
              <a:gd name="T55" fmla="*/ 14685397 h 155"/>
              <a:gd name="T56" fmla="*/ 0 w 100"/>
              <a:gd name="T57" fmla="*/ 13112237 h 155"/>
              <a:gd name="T58" fmla="*/ 2755598 w 100"/>
              <a:gd name="T59" fmla="*/ 13112237 h 155"/>
              <a:gd name="T60" fmla="*/ 4776541 w 100"/>
              <a:gd name="T61" fmla="*/ 13112237 h 155"/>
              <a:gd name="T62" fmla="*/ 4776541 w 100"/>
              <a:gd name="T63" fmla="*/ 10489790 h 155"/>
              <a:gd name="T64" fmla="*/ 4960419 w 100"/>
              <a:gd name="T65" fmla="*/ 8129535 h 155"/>
              <a:gd name="T66" fmla="*/ 5327747 w 100"/>
              <a:gd name="T67" fmla="*/ 6031475 h 155"/>
              <a:gd name="T68" fmla="*/ 5695074 w 100"/>
              <a:gd name="T69" fmla="*/ 4458315 h 155"/>
              <a:gd name="T70" fmla="*/ 6430157 w 100"/>
              <a:gd name="T71" fmla="*/ 3146834 h 155"/>
              <a:gd name="T72" fmla="*/ 7164813 w 100"/>
              <a:gd name="T73" fmla="*/ 1835867 h 155"/>
              <a:gd name="T74" fmla="*/ 7716018 w 100"/>
              <a:gd name="T75" fmla="*/ 1048774 h 155"/>
              <a:gd name="T76" fmla="*/ 8818429 w 100"/>
              <a:gd name="T77" fmla="*/ 524387 h 155"/>
              <a:gd name="T78" fmla="*/ 10839371 w 100"/>
              <a:gd name="T79" fmla="*/ 0 h 155"/>
              <a:gd name="T80" fmla="*/ 13043763 w 100"/>
              <a:gd name="T81" fmla="*/ 0 h 155"/>
              <a:gd name="T82" fmla="*/ 15432036 w 100"/>
              <a:gd name="T83" fmla="*/ 0 h 155"/>
              <a:gd name="T84" fmla="*/ 18371512 w 100"/>
              <a:gd name="T85" fmla="*/ 262194 h 15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100"/>
              <a:gd name="T130" fmla="*/ 0 h 155"/>
              <a:gd name="T131" fmla="*/ 100 w 100"/>
              <a:gd name="T132" fmla="*/ 155 h 155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100" h="155">
                <a:moveTo>
                  <a:pt x="100" y="1"/>
                </a:moveTo>
                <a:lnTo>
                  <a:pt x="100" y="30"/>
                </a:lnTo>
                <a:lnTo>
                  <a:pt x="100" y="55"/>
                </a:lnTo>
                <a:lnTo>
                  <a:pt x="100" y="78"/>
                </a:lnTo>
                <a:lnTo>
                  <a:pt x="100" y="99"/>
                </a:lnTo>
                <a:lnTo>
                  <a:pt x="98" y="109"/>
                </a:lnTo>
                <a:lnTo>
                  <a:pt x="94" y="118"/>
                </a:lnTo>
                <a:lnTo>
                  <a:pt x="89" y="128"/>
                </a:lnTo>
                <a:lnTo>
                  <a:pt x="82" y="137"/>
                </a:lnTo>
                <a:lnTo>
                  <a:pt x="73" y="144"/>
                </a:lnTo>
                <a:lnTo>
                  <a:pt x="62" y="150"/>
                </a:lnTo>
                <a:lnTo>
                  <a:pt x="57" y="152"/>
                </a:lnTo>
                <a:lnTo>
                  <a:pt x="51" y="154"/>
                </a:lnTo>
                <a:lnTo>
                  <a:pt x="46" y="155"/>
                </a:lnTo>
                <a:lnTo>
                  <a:pt x="39" y="155"/>
                </a:lnTo>
                <a:lnTo>
                  <a:pt x="35" y="154"/>
                </a:lnTo>
                <a:lnTo>
                  <a:pt x="30" y="153"/>
                </a:lnTo>
                <a:lnTo>
                  <a:pt x="26" y="151"/>
                </a:lnTo>
                <a:lnTo>
                  <a:pt x="22" y="149"/>
                </a:lnTo>
                <a:lnTo>
                  <a:pt x="15" y="142"/>
                </a:lnTo>
                <a:lnTo>
                  <a:pt x="9" y="134"/>
                </a:lnTo>
                <a:lnTo>
                  <a:pt x="5" y="124"/>
                </a:lnTo>
                <a:lnTo>
                  <a:pt x="2" y="113"/>
                </a:lnTo>
                <a:lnTo>
                  <a:pt x="0" y="103"/>
                </a:lnTo>
                <a:lnTo>
                  <a:pt x="0" y="93"/>
                </a:lnTo>
                <a:lnTo>
                  <a:pt x="0" y="77"/>
                </a:lnTo>
                <a:lnTo>
                  <a:pt x="0" y="65"/>
                </a:lnTo>
                <a:lnTo>
                  <a:pt x="0" y="56"/>
                </a:lnTo>
                <a:lnTo>
                  <a:pt x="0" y="50"/>
                </a:lnTo>
                <a:lnTo>
                  <a:pt x="15" y="50"/>
                </a:lnTo>
                <a:lnTo>
                  <a:pt x="26" y="50"/>
                </a:lnTo>
                <a:lnTo>
                  <a:pt x="26" y="40"/>
                </a:lnTo>
                <a:lnTo>
                  <a:pt x="27" y="31"/>
                </a:lnTo>
                <a:lnTo>
                  <a:pt x="29" y="23"/>
                </a:lnTo>
                <a:lnTo>
                  <a:pt x="31" y="17"/>
                </a:lnTo>
                <a:lnTo>
                  <a:pt x="35" y="12"/>
                </a:lnTo>
                <a:lnTo>
                  <a:pt x="39" y="7"/>
                </a:lnTo>
                <a:lnTo>
                  <a:pt x="42" y="4"/>
                </a:lnTo>
                <a:lnTo>
                  <a:pt x="48" y="2"/>
                </a:lnTo>
                <a:lnTo>
                  <a:pt x="59" y="0"/>
                </a:lnTo>
                <a:lnTo>
                  <a:pt x="71" y="0"/>
                </a:lnTo>
                <a:lnTo>
                  <a:pt x="84" y="0"/>
                </a:lnTo>
                <a:lnTo>
                  <a:pt x="100" y="1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grpSp>
        <p:nvGrpSpPr>
          <p:cNvPr id="393" name="Group 535"/>
          <p:cNvGrpSpPr>
            <a:grpSpLocks/>
          </p:cNvGrpSpPr>
          <p:nvPr userDrawn="1">
            <p:custDataLst>
              <p:tags r:id="rId370"/>
            </p:custDataLst>
          </p:nvPr>
        </p:nvGrpSpPr>
        <p:grpSpPr bwMode="auto">
          <a:xfrm>
            <a:off x="4654552" y="1934768"/>
            <a:ext cx="482600" cy="151209"/>
            <a:chOff x="3289" y="1830"/>
            <a:chExt cx="363" cy="128"/>
          </a:xfrm>
          <a:solidFill>
            <a:sysClr val="window" lastClr="FFFFFF">
              <a:lumMod val="85000"/>
            </a:sysClr>
          </a:solidFill>
        </p:grpSpPr>
        <p:sp>
          <p:nvSpPr>
            <p:cNvPr id="538" name="Freeform 536"/>
            <p:cNvSpPr>
              <a:spLocks/>
            </p:cNvSpPr>
            <p:nvPr/>
          </p:nvSpPr>
          <p:spPr bwMode="auto">
            <a:xfrm>
              <a:off x="3289" y="1871"/>
              <a:ext cx="4" cy="3"/>
            </a:xfrm>
            <a:custGeom>
              <a:avLst/>
              <a:gdLst>
                <a:gd name="T0" fmla="*/ 1 w 13"/>
                <a:gd name="T1" fmla="*/ 0 h 7"/>
                <a:gd name="T2" fmla="*/ 1 w 13"/>
                <a:gd name="T3" fmla="*/ 0 h 7"/>
                <a:gd name="T4" fmla="*/ 1 w 13"/>
                <a:gd name="T5" fmla="*/ 0 h 7"/>
                <a:gd name="T6" fmla="*/ 0 w 13"/>
                <a:gd name="T7" fmla="*/ 1 h 7"/>
                <a:gd name="T8" fmla="*/ 0 w 13"/>
                <a:gd name="T9" fmla="*/ 1 h 7"/>
                <a:gd name="T10" fmla="*/ 1 w 13"/>
                <a:gd name="T11" fmla="*/ 0 h 7"/>
                <a:gd name="T12" fmla="*/ 1 w 13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3"/>
                <a:gd name="T22" fmla="*/ 0 h 7"/>
                <a:gd name="T23" fmla="*/ 13 w 13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3" h="7">
                  <a:moveTo>
                    <a:pt x="13" y="0"/>
                  </a:moveTo>
                  <a:lnTo>
                    <a:pt x="12" y="1"/>
                  </a:lnTo>
                  <a:lnTo>
                    <a:pt x="9" y="3"/>
                  </a:lnTo>
                  <a:lnTo>
                    <a:pt x="4" y="5"/>
                  </a:lnTo>
                  <a:lnTo>
                    <a:pt x="0" y="7"/>
                  </a:lnTo>
                  <a:lnTo>
                    <a:pt x="7" y="3"/>
                  </a:lnTo>
                  <a:lnTo>
                    <a:pt x="13" y="0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39" name="Freeform 537"/>
            <p:cNvSpPr>
              <a:spLocks/>
            </p:cNvSpPr>
            <p:nvPr/>
          </p:nvSpPr>
          <p:spPr bwMode="auto">
            <a:xfrm>
              <a:off x="3324" y="1937"/>
              <a:ext cx="10" cy="3"/>
            </a:xfrm>
            <a:custGeom>
              <a:avLst/>
              <a:gdLst>
                <a:gd name="T0" fmla="*/ 0 w 34"/>
                <a:gd name="T1" fmla="*/ 1 h 8"/>
                <a:gd name="T2" fmla="*/ 1 w 34"/>
                <a:gd name="T3" fmla="*/ 1 h 8"/>
                <a:gd name="T4" fmla="*/ 1 w 34"/>
                <a:gd name="T5" fmla="*/ 0 h 8"/>
                <a:gd name="T6" fmla="*/ 2 w 34"/>
                <a:gd name="T7" fmla="*/ 0 h 8"/>
                <a:gd name="T8" fmla="*/ 3 w 34"/>
                <a:gd name="T9" fmla="*/ 0 h 8"/>
                <a:gd name="T10" fmla="*/ 3 w 34"/>
                <a:gd name="T11" fmla="*/ 0 h 8"/>
                <a:gd name="T12" fmla="*/ 2 w 34"/>
                <a:gd name="T13" fmla="*/ 1 h 8"/>
                <a:gd name="T14" fmla="*/ 2 w 34"/>
                <a:gd name="T15" fmla="*/ 1 h 8"/>
                <a:gd name="T16" fmla="*/ 1 w 34"/>
                <a:gd name="T17" fmla="*/ 1 h 8"/>
                <a:gd name="T18" fmla="*/ 1 w 34"/>
                <a:gd name="T19" fmla="*/ 1 h 8"/>
                <a:gd name="T20" fmla="*/ 1 w 34"/>
                <a:gd name="T21" fmla="*/ 1 h 8"/>
                <a:gd name="T22" fmla="*/ 0 w 34"/>
                <a:gd name="T23" fmla="*/ 1 h 8"/>
                <a:gd name="T24" fmla="*/ 0 w 34"/>
                <a:gd name="T25" fmla="*/ 1 h 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4"/>
                <a:gd name="T40" fmla="*/ 0 h 8"/>
                <a:gd name="T41" fmla="*/ 34 w 34"/>
                <a:gd name="T42" fmla="*/ 8 h 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4" h="8">
                  <a:moveTo>
                    <a:pt x="0" y="6"/>
                  </a:moveTo>
                  <a:lnTo>
                    <a:pt x="7" y="5"/>
                  </a:lnTo>
                  <a:lnTo>
                    <a:pt x="15" y="3"/>
                  </a:lnTo>
                  <a:lnTo>
                    <a:pt x="25" y="1"/>
                  </a:lnTo>
                  <a:lnTo>
                    <a:pt x="34" y="0"/>
                  </a:lnTo>
                  <a:lnTo>
                    <a:pt x="31" y="2"/>
                  </a:lnTo>
                  <a:lnTo>
                    <a:pt x="27" y="4"/>
                  </a:lnTo>
                  <a:lnTo>
                    <a:pt x="22" y="6"/>
                  </a:lnTo>
                  <a:lnTo>
                    <a:pt x="18" y="7"/>
                  </a:lnTo>
                  <a:lnTo>
                    <a:pt x="12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0" y="6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40" name="Freeform 538"/>
            <p:cNvSpPr>
              <a:spLocks/>
            </p:cNvSpPr>
            <p:nvPr/>
          </p:nvSpPr>
          <p:spPr bwMode="auto">
            <a:xfrm>
              <a:off x="3343" y="1948"/>
              <a:ext cx="4" cy="8"/>
            </a:xfrm>
            <a:custGeom>
              <a:avLst/>
              <a:gdLst>
                <a:gd name="T0" fmla="*/ 0 w 13"/>
                <a:gd name="T1" fmla="*/ 3 h 24"/>
                <a:gd name="T2" fmla="*/ 0 w 13"/>
                <a:gd name="T3" fmla="*/ 0 h 24"/>
                <a:gd name="T4" fmla="*/ 1 w 13"/>
                <a:gd name="T5" fmla="*/ 1 h 24"/>
                <a:gd name="T6" fmla="*/ 0 w 13"/>
                <a:gd name="T7" fmla="*/ 3 h 2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3"/>
                <a:gd name="T13" fmla="*/ 0 h 24"/>
                <a:gd name="T14" fmla="*/ 13 w 13"/>
                <a:gd name="T15" fmla="*/ 24 h 2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3" h="24">
                  <a:moveTo>
                    <a:pt x="0" y="24"/>
                  </a:moveTo>
                  <a:lnTo>
                    <a:pt x="0" y="0"/>
                  </a:lnTo>
                  <a:lnTo>
                    <a:pt x="13" y="12"/>
                  </a:lnTo>
                  <a:lnTo>
                    <a:pt x="0" y="24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41" name="Freeform 539"/>
            <p:cNvSpPr>
              <a:spLocks/>
            </p:cNvSpPr>
            <p:nvPr/>
          </p:nvSpPr>
          <p:spPr bwMode="auto">
            <a:xfrm>
              <a:off x="3313" y="1834"/>
              <a:ext cx="34" cy="23"/>
            </a:xfrm>
            <a:custGeom>
              <a:avLst/>
              <a:gdLst>
                <a:gd name="T0" fmla="*/ 0 w 107"/>
                <a:gd name="T1" fmla="*/ 1 h 69"/>
                <a:gd name="T2" fmla="*/ 0 w 107"/>
                <a:gd name="T3" fmla="*/ 3 h 69"/>
                <a:gd name="T4" fmla="*/ 0 w 107"/>
                <a:gd name="T5" fmla="*/ 5 h 69"/>
                <a:gd name="T6" fmla="*/ 0 w 107"/>
                <a:gd name="T7" fmla="*/ 7 h 69"/>
                <a:gd name="T8" fmla="*/ 0 w 107"/>
                <a:gd name="T9" fmla="*/ 8 h 69"/>
                <a:gd name="T10" fmla="*/ 2 w 107"/>
                <a:gd name="T11" fmla="*/ 7 h 69"/>
                <a:gd name="T12" fmla="*/ 5 w 107"/>
                <a:gd name="T13" fmla="*/ 6 h 69"/>
                <a:gd name="T14" fmla="*/ 9 w 107"/>
                <a:gd name="T15" fmla="*/ 6 h 69"/>
                <a:gd name="T16" fmla="*/ 11 w 107"/>
                <a:gd name="T17" fmla="*/ 5 h 69"/>
                <a:gd name="T18" fmla="*/ 10 w 107"/>
                <a:gd name="T19" fmla="*/ 4 h 69"/>
                <a:gd name="T20" fmla="*/ 10 w 107"/>
                <a:gd name="T21" fmla="*/ 4 h 69"/>
                <a:gd name="T22" fmla="*/ 9 w 107"/>
                <a:gd name="T23" fmla="*/ 3 h 69"/>
                <a:gd name="T24" fmla="*/ 8 w 107"/>
                <a:gd name="T25" fmla="*/ 3 h 69"/>
                <a:gd name="T26" fmla="*/ 7 w 107"/>
                <a:gd name="T27" fmla="*/ 3 h 69"/>
                <a:gd name="T28" fmla="*/ 7 w 107"/>
                <a:gd name="T29" fmla="*/ 2 h 69"/>
                <a:gd name="T30" fmla="*/ 6 w 107"/>
                <a:gd name="T31" fmla="*/ 2 h 69"/>
                <a:gd name="T32" fmla="*/ 6 w 107"/>
                <a:gd name="T33" fmla="*/ 1 h 69"/>
                <a:gd name="T34" fmla="*/ 6 w 107"/>
                <a:gd name="T35" fmla="*/ 1 h 69"/>
                <a:gd name="T36" fmla="*/ 6 w 107"/>
                <a:gd name="T37" fmla="*/ 0 h 69"/>
                <a:gd name="T38" fmla="*/ 5 w 107"/>
                <a:gd name="T39" fmla="*/ 0 h 69"/>
                <a:gd name="T40" fmla="*/ 4 w 107"/>
                <a:gd name="T41" fmla="*/ 0 h 69"/>
                <a:gd name="T42" fmla="*/ 2 w 107"/>
                <a:gd name="T43" fmla="*/ 1 h 69"/>
                <a:gd name="T44" fmla="*/ 0 w 107"/>
                <a:gd name="T45" fmla="*/ 1 h 69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07"/>
                <a:gd name="T70" fmla="*/ 0 h 69"/>
                <a:gd name="T71" fmla="*/ 107 w 107"/>
                <a:gd name="T72" fmla="*/ 69 h 69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07" h="69">
                  <a:moveTo>
                    <a:pt x="0" y="13"/>
                  </a:moveTo>
                  <a:lnTo>
                    <a:pt x="0" y="27"/>
                  </a:lnTo>
                  <a:lnTo>
                    <a:pt x="0" y="45"/>
                  </a:lnTo>
                  <a:lnTo>
                    <a:pt x="0" y="62"/>
                  </a:lnTo>
                  <a:lnTo>
                    <a:pt x="0" y="69"/>
                  </a:lnTo>
                  <a:lnTo>
                    <a:pt x="16" y="66"/>
                  </a:lnTo>
                  <a:lnTo>
                    <a:pt x="49" y="58"/>
                  </a:lnTo>
                  <a:lnTo>
                    <a:pt x="85" y="50"/>
                  </a:lnTo>
                  <a:lnTo>
                    <a:pt x="107" y="44"/>
                  </a:lnTo>
                  <a:lnTo>
                    <a:pt x="101" y="38"/>
                  </a:lnTo>
                  <a:lnTo>
                    <a:pt x="94" y="34"/>
                  </a:lnTo>
                  <a:lnTo>
                    <a:pt x="86" y="30"/>
                  </a:lnTo>
                  <a:lnTo>
                    <a:pt x="78" y="27"/>
                  </a:lnTo>
                  <a:lnTo>
                    <a:pt x="72" y="23"/>
                  </a:lnTo>
                  <a:lnTo>
                    <a:pt x="65" y="18"/>
                  </a:lnTo>
                  <a:lnTo>
                    <a:pt x="63" y="15"/>
                  </a:lnTo>
                  <a:lnTo>
                    <a:pt x="62" y="11"/>
                  </a:lnTo>
                  <a:lnTo>
                    <a:pt x="61" y="7"/>
                  </a:lnTo>
                  <a:lnTo>
                    <a:pt x="61" y="0"/>
                  </a:lnTo>
                  <a:lnTo>
                    <a:pt x="54" y="1"/>
                  </a:lnTo>
                  <a:lnTo>
                    <a:pt x="38" y="4"/>
                  </a:lnTo>
                  <a:lnTo>
                    <a:pt x="18" y="9"/>
                  </a:lnTo>
                  <a:lnTo>
                    <a:pt x="0" y="13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42" name="Freeform 540"/>
            <p:cNvSpPr>
              <a:spLocks/>
            </p:cNvSpPr>
            <p:nvPr/>
          </p:nvSpPr>
          <p:spPr bwMode="auto">
            <a:xfrm>
              <a:off x="3302" y="1830"/>
              <a:ext cx="350" cy="128"/>
            </a:xfrm>
            <a:custGeom>
              <a:avLst/>
              <a:gdLst>
                <a:gd name="T0" fmla="*/ 106 w 1070"/>
                <a:gd name="T1" fmla="*/ 14 h 382"/>
                <a:gd name="T2" fmla="*/ 104 w 1070"/>
                <a:gd name="T3" fmla="*/ 12 h 382"/>
                <a:gd name="T4" fmla="*/ 103 w 1070"/>
                <a:gd name="T5" fmla="*/ 6 h 382"/>
                <a:gd name="T6" fmla="*/ 100 w 1070"/>
                <a:gd name="T7" fmla="*/ 4 h 382"/>
                <a:gd name="T8" fmla="*/ 87 w 1070"/>
                <a:gd name="T9" fmla="*/ 2 h 382"/>
                <a:gd name="T10" fmla="*/ 78 w 1070"/>
                <a:gd name="T11" fmla="*/ 6 h 382"/>
                <a:gd name="T12" fmla="*/ 73 w 1070"/>
                <a:gd name="T13" fmla="*/ 7 h 382"/>
                <a:gd name="T14" fmla="*/ 68 w 1070"/>
                <a:gd name="T15" fmla="*/ 7 h 382"/>
                <a:gd name="T16" fmla="*/ 65 w 1070"/>
                <a:gd name="T17" fmla="*/ 5 h 382"/>
                <a:gd name="T18" fmla="*/ 60 w 1070"/>
                <a:gd name="T19" fmla="*/ 4 h 382"/>
                <a:gd name="T20" fmla="*/ 56 w 1070"/>
                <a:gd name="T21" fmla="*/ 2 h 382"/>
                <a:gd name="T22" fmla="*/ 52 w 1070"/>
                <a:gd name="T23" fmla="*/ 2 h 382"/>
                <a:gd name="T24" fmla="*/ 50 w 1070"/>
                <a:gd name="T25" fmla="*/ 0 h 382"/>
                <a:gd name="T26" fmla="*/ 42 w 1070"/>
                <a:gd name="T27" fmla="*/ 2 h 382"/>
                <a:gd name="T28" fmla="*/ 32 w 1070"/>
                <a:gd name="T29" fmla="*/ 3 h 382"/>
                <a:gd name="T30" fmla="*/ 27 w 1070"/>
                <a:gd name="T31" fmla="*/ 5 h 382"/>
                <a:gd name="T32" fmla="*/ 15 w 1070"/>
                <a:gd name="T33" fmla="*/ 7 h 382"/>
                <a:gd name="T34" fmla="*/ 19 w 1070"/>
                <a:gd name="T35" fmla="*/ 8 h 382"/>
                <a:gd name="T36" fmla="*/ 18 w 1070"/>
                <a:gd name="T37" fmla="*/ 10 h 382"/>
                <a:gd name="T38" fmla="*/ 12 w 1070"/>
                <a:gd name="T39" fmla="*/ 10 h 382"/>
                <a:gd name="T40" fmla="*/ 5 w 1070"/>
                <a:gd name="T41" fmla="*/ 10 h 382"/>
                <a:gd name="T42" fmla="*/ 1 w 1070"/>
                <a:gd name="T43" fmla="*/ 12 h 382"/>
                <a:gd name="T44" fmla="*/ 0 w 1070"/>
                <a:gd name="T45" fmla="*/ 16 h 382"/>
                <a:gd name="T46" fmla="*/ 2 w 1070"/>
                <a:gd name="T47" fmla="*/ 19 h 382"/>
                <a:gd name="T48" fmla="*/ 2 w 1070"/>
                <a:gd name="T49" fmla="*/ 22 h 382"/>
                <a:gd name="T50" fmla="*/ 2 w 1070"/>
                <a:gd name="T51" fmla="*/ 23 h 382"/>
                <a:gd name="T52" fmla="*/ 5 w 1070"/>
                <a:gd name="T53" fmla="*/ 26 h 382"/>
                <a:gd name="T54" fmla="*/ 6 w 1070"/>
                <a:gd name="T55" fmla="*/ 29 h 382"/>
                <a:gd name="T56" fmla="*/ 8 w 1070"/>
                <a:gd name="T57" fmla="*/ 30 h 382"/>
                <a:gd name="T58" fmla="*/ 10 w 1070"/>
                <a:gd name="T59" fmla="*/ 33 h 382"/>
                <a:gd name="T60" fmla="*/ 22 w 1070"/>
                <a:gd name="T61" fmla="*/ 40 h 382"/>
                <a:gd name="T62" fmla="*/ 27 w 1070"/>
                <a:gd name="T63" fmla="*/ 42 h 382"/>
                <a:gd name="T64" fmla="*/ 28 w 1070"/>
                <a:gd name="T65" fmla="*/ 40 h 382"/>
                <a:gd name="T66" fmla="*/ 30 w 1070"/>
                <a:gd name="T67" fmla="*/ 38 h 382"/>
                <a:gd name="T68" fmla="*/ 32 w 1070"/>
                <a:gd name="T69" fmla="*/ 36 h 382"/>
                <a:gd name="T70" fmla="*/ 36 w 1070"/>
                <a:gd name="T71" fmla="*/ 36 h 382"/>
                <a:gd name="T72" fmla="*/ 39 w 1070"/>
                <a:gd name="T73" fmla="*/ 40 h 382"/>
                <a:gd name="T74" fmla="*/ 43 w 1070"/>
                <a:gd name="T75" fmla="*/ 42 h 382"/>
                <a:gd name="T76" fmla="*/ 48 w 1070"/>
                <a:gd name="T77" fmla="*/ 40 h 382"/>
                <a:gd name="T78" fmla="*/ 53 w 1070"/>
                <a:gd name="T79" fmla="*/ 38 h 382"/>
                <a:gd name="T80" fmla="*/ 56 w 1070"/>
                <a:gd name="T81" fmla="*/ 37 h 382"/>
                <a:gd name="T82" fmla="*/ 60 w 1070"/>
                <a:gd name="T83" fmla="*/ 37 h 382"/>
                <a:gd name="T84" fmla="*/ 61 w 1070"/>
                <a:gd name="T85" fmla="*/ 41 h 382"/>
                <a:gd name="T86" fmla="*/ 63 w 1070"/>
                <a:gd name="T87" fmla="*/ 42 h 382"/>
                <a:gd name="T88" fmla="*/ 66 w 1070"/>
                <a:gd name="T89" fmla="*/ 41 h 382"/>
                <a:gd name="T90" fmla="*/ 69 w 1070"/>
                <a:gd name="T91" fmla="*/ 38 h 382"/>
                <a:gd name="T92" fmla="*/ 80 w 1070"/>
                <a:gd name="T93" fmla="*/ 37 h 382"/>
                <a:gd name="T94" fmla="*/ 89 w 1070"/>
                <a:gd name="T95" fmla="*/ 36 h 382"/>
                <a:gd name="T96" fmla="*/ 98 w 1070"/>
                <a:gd name="T97" fmla="*/ 32 h 382"/>
                <a:gd name="T98" fmla="*/ 103 w 1070"/>
                <a:gd name="T99" fmla="*/ 32 h 382"/>
                <a:gd name="T100" fmla="*/ 108 w 1070"/>
                <a:gd name="T101" fmla="*/ 33 h 382"/>
                <a:gd name="T102" fmla="*/ 113 w 1070"/>
                <a:gd name="T103" fmla="*/ 35 h 382"/>
                <a:gd name="T104" fmla="*/ 113 w 1070"/>
                <a:gd name="T105" fmla="*/ 30 h 382"/>
                <a:gd name="T106" fmla="*/ 110 w 1070"/>
                <a:gd name="T107" fmla="*/ 24 h 382"/>
                <a:gd name="T108" fmla="*/ 109 w 1070"/>
                <a:gd name="T109" fmla="*/ 19 h 38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70"/>
                <a:gd name="T166" fmla="*/ 0 h 382"/>
                <a:gd name="T167" fmla="*/ 1070 w 1070"/>
                <a:gd name="T168" fmla="*/ 382 h 382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70" h="382">
                  <a:moveTo>
                    <a:pt x="1011" y="142"/>
                  </a:moveTo>
                  <a:lnTo>
                    <a:pt x="1011" y="136"/>
                  </a:lnTo>
                  <a:lnTo>
                    <a:pt x="1011" y="123"/>
                  </a:lnTo>
                  <a:lnTo>
                    <a:pt x="1000" y="125"/>
                  </a:lnTo>
                  <a:lnTo>
                    <a:pt x="992" y="124"/>
                  </a:lnTo>
                  <a:lnTo>
                    <a:pt x="984" y="122"/>
                  </a:lnTo>
                  <a:lnTo>
                    <a:pt x="980" y="119"/>
                  </a:lnTo>
                  <a:lnTo>
                    <a:pt x="976" y="114"/>
                  </a:lnTo>
                  <a:lnTo>
                    <a:pt x="972" y="109"/>
                  </a:lnTo>
                  <a:lnTo>
                    <a:pt x="970" y="103"/>
                  </a:lnTo>
                  <a:lnTo>
                    <a:pt x="969" y="96"/>
                  </a:lnTo>
                  <a:lnTo>
                    <a:pt x="967" y="82"/>
                  </a:lnTo>
                  <a:lnTo>
                    <a:pt x="966" y="68"/>
                  </a:lnTo>
                  <a:lnTo>
                    <a:pt x="965" y="62"/>
                  </a:lnTo>
                  <a:lnTo>
                    <a:pt x="962" y="57"/>
                  </a:lnTo>
                  <a:lnTo>
                    <a:pt x="960" y="53"/>
                  </a:lnTo>
                  <a:lnTo>
                    <a:pt x="957" y="50"/>
                  </a:lnTo>
                  <a:lnTo>
                    <a:pt x="950" y="44"/>
                  </a:lnTo>
                  <a:lnTo>
                    <a:pt x="944" y="40"/>
                  </a:lnTo>
                  <a:lnTo>
                    <a:pt x="936" y="36"/>
                  </a:lnTo>
                  <a:lnTo>
                    <a:pt x="928" y="33"/>
                  </a:lnTo>
                  <a:lnTo>
                    <a:pt x="912" y="28"/>
                  </a:lnTo>
                  <a:lnTo>
                    <a:pt x="894" y="25"/>
                  </a:lnTo>
                  <a:lnTo>
                    <a:pt x="857" y="22"/>
                  </a:lnTo>
                  <a:lnTo>
                    <a:pt x="817" y="19"/>
                  </a:lnTo>
                  <a:lnTo>
                    <a:pt x="799" y="29"/>
                  </a:lnTo>
                  <a:lnTo>
                    <a:pt x="769" y="43"/>
                  </a:lnTo>
                  <a:lnTo>
                    <a:pt x="752" y="50"/>
                  </a:lnTo>
                  <a:lnTo>
                    <a:pt x="734" y="56"/>
                  </a:lnTo>
                  <a:lnTo>
                    <a:pt x="726" y="58"/>
                  </a:lnTo>
                  <a:lnTo>
                    <a:pt x="719" y="60"/>
                  </a:lnTo>
                  <a:lnTo>
                    <a:pt x="711" y="61"/>
                  </a:lnTo>
                  <a:lnTo>
                    <a:pt x="704" y="62"/>
                  </a:lnTo>
                  <a:lnTo>
                    <a:pt x="692" y="63"/>
                  </a:lnTo>
                  <a:lnTo>
                    <a:pt x="678" y="65"/>
                  </a:lnTo>
                  <a:lnTo>
                    <a:pt x="664" y="67"/>
                  </a:lnTo>
                  <a:lnTo>
                    <a:pt x="652" y="68"/>
                  </a:lnTo>
                  <a:lnTo>
                    <a:pt x="644" y="68"/>
                  </a:lnTo>
                  <a:lnTo>
                    <a:pt x="637" y="67"/>
                  </a:lnTo>
                  <a:lnTo>
                    <a:pt x="632" y="65"/>
                  </a:lnTo>
                  <a:lnTo>
                    <a:pt x="626" y="63"/>
                  </a:lnTo>
                  <a:lnTo>
                    <a:pt x="622" y="59"/>
                  </a:lnTo>
                  <a:lnTo>
                    <a:pt x="618" y="55"/>
                  </a:lnTo>
                  <a:lnTo>
                    <a:pt x="614" y="50"/>
                  </a:lnTo>
                  <a:lnTo>
                    <a:pt x="612" y="44"/>
                  </a:lnTo>
                  <a:lnTo>
                    <a:pt x="601" y="45"/>
                  </a:lnTo>
                  <a:lnTo>
                    <a:pt x="591" y="44"/>
                  </a:lnTo>
                  <a:lnTo>
                    <a:pt x="581" y="42"/>
                  </a:lnTo>
                  <a:lnTo>
                    <a:pt x="571" y="40"/>
                  </a:lnTo>
                  <a:lnTo>
                    <a:pt x="560" y="37"/>
                  </a:lnTo>
                  <a:lnTo>
                    <a:pt x="549" y="34"/>
                  </a:lnTo>
                  <a:lnTo>
                    <a:pt x="537" y="32"/>
                  </a:lnTo>
                  <a:lnTo>
                    <a:pt x="525" y="32"/>
                  </a:lnTo>
                  <a:lnTo>
                    <a:pt x="525" y="25"/>
                  </a:lnTo>
                  <a:lnTo>
                    <a:pt x="525" y="19"/>
                  </a:lnTo>
                  <a:lnTo>
                    <a:pt x="512" y="22"/>
                  </a:lnTo>
                  <a:lnTo>
                    <a:pt x="499" y="25"/>
                  </a:lnTo>
                  <a:lnTo>
                    <a:pt x="493" y="25"/>
                  </a:lnTo>
                  <a:lnTo>
                    <a:pt x="488" y="23"/>
                  </a:lnTo>
                  <a:lnTo>
                    <a:pt x="483" y="21"/>
                  </a:lnTo>
                  <a:lnTo>
                    <a:pt x="477" y="17"/>
                  </a:lnTo>
                  <a:lnTo>
                    <a:pt x="473" y="13"/>
                  </a:lnTo>
                  <a:lnTo>
                    <a:pt x="468" y="9"/>
                  </a:lnTo>
                  <a:lnTo>
                    <a:pt x="466" y="5"/>
                  </a:lnTo>
                  <a:lnTo>
                    <a:pt x="465" y="0"/>
                  </a:lnTo>
                  <a:lnTo>
                    <a:pt x="456" y="5"/>
                  </a:lnTo>
                  <a:lnTo>
                    <a:pt x="445" y="9"/>
                  </a:lnTo>
                  <a:lnTo>
                    <a:pt x="432" y="12"/>
                  </a:lnTo>
                  <a:lnTo>
                    <a:pt x="419" y="14"/>
                  </a:lnTo>
                  <a:lnTo>
                    <a:pt x="390" y="16"/>
                  </a:lnTo>
                  <a:lnTo>
                    <a:pt x="360" y="19"/>
                  </a:lnTo>
                  <a:lnTo>
                    <a:pt x="343" y="20"/>
                  </a:lnTo>
                  <a:lnTo>
                    <a:pt x="329" y="21"/>
                  </a:lnTo>
                  <a:lnTo>
                    <a:pt x="313" y="23"/>
                  </a:lnTo>
                  <a:lnTo>
                    <a:pt x="299" y="26"/>
                  </a:lnTo>
                  <a:lnTo>
                    <a:pt x="286" y="30"/>
                  </a:lnTo>
                  <a:lnTo>
                    <a:pt x="274" y="35"/>
                  </a:lnTo>
                  <a:lnTo>
                    <a:pt x="267" y="38"/>
                  </a:lnTo>
                  <a:lnTo>
                    <a:pt x="262" y="41"/>
                  </a:lnTo>
                  <a:lnTo>
                    <a:pt x="257" y="45"/>
                  </a:lnTo>
                  <a:lnTo>
                    <a:pt x="253" y="50"/>
                  </a:lnTo>
                  <a:lnTo>
                    <a:pt x="147" y="50"/>
                  </a:lnTo>
                  <a:lnTo>
                    <a:pt x="145" y="54"/>
                  </a:lnTo>
                  <a:lnTo>
                    <a:pt x="142" y="58"/>
                  </a:lnTo>
                  <a:lnTo>
                    <a:pt x="138" y="61"/>
                  </a:lnTo>
                  <a:lnTo>
                    <a:pt x="133" y="62"/>
                  </a:lnTo>
                  <a:lnTo>
                    <a:pt x="143" y="65"/>
                  </a:lnTo>
                  <a:lnTo>
                    <a:pt x="153" y="68"/>
                  </a:lnTo>
                  <a:lnTo>
                    <a:pt x="163" y="70"/>
                  </a:lnTo>
                  <a:lnTo>
                    <a:pt x="173" y="75"/>
                  </a:lnTo>
                  <a:lnTo>
                    <a:pt x="173" y="79"/>
                  </a:lnTo>
                  <a:lnTo>
                    <a:pt x="172" y="83"/>
                  </a:lnTo>
                  <a:lnTo>
                    <a:pt x="170" y="86"/>
                  </a:lnTo>
                  <a:lnTo>
                    <a:pt x="167" y="88"/>
                  </a:lnTo>
                  <a:lnTo>
                    <a:pt x="164" y="90"/>
                  </a:lnTo>
                  <a:lnTo>
                    <a:pt x="161" y="91"/>
                  </a:lnTo>
                  <a:lnTo>
                    <a:pt x="158" y="92"/>
                  </a:lnTo>
                  <a:lnTo>
                    <a:pt x="153" y="93"/>
                  </a:lnTo>
                  <a:lnTo>
                    <a:pt x="133" y="94"/>
                  </a:lnTo>
                  <a:lnTo>
                    <a:pt x="114" y="93"/>
                  </a:lnTo>
                  <a:lnTo>
                    <a:pt x="108" y="93"/>
                  </a:lnTo>
                  <a:lnTo>
                    <a:pt x="94" y="93"/>
                  </a:lnTo>
                  <a:lnTo>
                    <a:pt x="74" y="93"/>
                  </a:lnTo>
                  <a:lnTo>
                    <a:pt x="53" y="93"/>
                  </a:lnTo>
                  <a:lnTo>
                    <a:pt x="42" y="94"/>
                  </a:lnTo>
                  <a:lnTo>
                    <a:pt x="31" y="95"/>
                  </a:lnTo>
                  <a:lnTo>
                    <a:pt x="22" y="99"/>
                  </a:lnTo>
                  <a:lnTo>
                    <a:pt x="15" y="104"/>
                  </a:lnTo>
                  <a:lnTo>
                    <a:pt x="11" y="107"/>
                  </a:lnTo>
                  <a:lnTo>
                    <a:pt x="8" y="110"/>
                  </a:lnTo>
                  <a:lnTo>
                    <a:pt x="6" y="114"/>
                  </a:lnTo>
                  <a:lnTo>
                    <a:pt x="4" y="119"/>
                  </a:lnTo>
                  <a:lnTo>
                    <a:pt x="2" y="130"/>
                  </a:lnTo>
                  <a:lnTo>
                    <a:pt x="0" y="142"/>
                  </a:lnTo>
                  <a:lnTo>
                    <a:pt x="0" y="147"/>
                  </a:lnTo>
                  <a:lnTo>
                    <a:pt x="2" y="151"/>
                  </a:lnTo>
                  <a:lnTo>
                    <a:pt x="4" y="154"/>
                  </a:lnTo>
                  <a:lnTo>
                    <a:pt x="5" y="157"/>
                  </a:lnTo>
                  <a:lnTo>
                    <a:pt x="10" y="162"/>
                  </a:lnTo>
                  <a:lnTo>
                    <a:pt x="16" y="167"/>
                  </a:lnTo>
                  <a:lnTo>
                    <a:pt x="20" y="173"/>
                  </a:lnTo>
                  <a:lnTo>
                    <a:pt x="22" y="179"/>
                  </a:lnTo>
                  <a:lnTo>
                    <a:pt x="24" y="183"/>
                  </a:lnTo>
                  <a:lnTo>
                    <a:pt x="24" y="188"/>
                  </a:lnTo>
                  <a:lnTo>
                    <a:pt x="22" y="193"/>
                  </a:lnTo>
                  <a:lnTo>
                    <a:pt x="20" y="198"/>
                  </a:lnTo>
                  <a:lnTo>
                    <a:pt x="19" y="200"/>
                  </a:lnTo>
                  <a:lnTo>
                    <a:pt x="19" y="203"/>
                  </a:lnTo>
                  <a:lnTo>
                    <a:pt x="20" y="206"/>
                  </a:lnTo>
                  <a:lnTo>
                    <a:pt x="21" y="210"/>
                  </a:lnTo>
                  <a:lnTo>
                    <a:pt x="25" y="217"/>
                  </a:lnTo>
                  <a:lnTo>
                    <a:pt x="30" y="224"/>
                  </a:lnTo>
                  <a:lnTo>
                    <a:pt x="37" y="230"/>
                  </a:lnTo>
                  <a:lnTo>
                    <a:pt x="44" y="235"/>
                  </a:lnTo>
                  <a:lnTo>
                    <a:pt x="49" y="237"/>
                  </a:lnTo>
                  <a:lnTo>
                    <a:pt x="52" y="239"/>
                  </a:lnTo>
                  <a:lnTo>
                    <a:pt x="56" y="241"/>
                  </a:lnTo>
                  <a:lnTo>
                    <a:pt x="60" y="241"/>
                  </a:lnTo>
                  <a:lnTo>
                    <a:pt x="59" y="250"/>
                  </a:lnTo>
                  <a:lnTo>
                    <a:pt x="56" y="259"/>
                  </a:lnTo>
                  <a:lnTo>
                    <a:pt x="52" y="266"/>
                  </a:lnTo>
                  <a:lnTo>
                    <a:pt x="47" y="271"/>
                  </a:lnTo>
                  <a:lnTo>
                    <a:pt x="56" y="271"/>
                  </a:lnTo>
                  <a:lnTo>
                    <a:pt x="66" y="271"/>
                  </a:lnTo>
                  <a:lnTo>
                    <a:pt x="74" y="271"/>
                  </a:lnTo>
                  <a:lnTo>
                    <a:pt x="81" y="271"/>
                  </a:lnTo>
                  <a:lnTo>
                    <a:pt x="82" y="275"/>
                  </a:lnTo>
                  <a:lnTo>
                    <a:pt x="84" y="280"/>
                  </a:lnTo>
                  <a:lnTo>
                    <a:pt x="89" y="284"/>
                  </a:lnTo>
                  <a:lnTo>
                    <a:pt x="96" y="290"/>
                  </a:lnTo>
                  <a:lnTo>
                    <a:pt x="112" y="302"/>
                  </a:lnTo>
                  <a:lnTo>
                    <a:pt x="131" y="313"/>
                  </a:lnTo>
                  <a:lnTo>
                    <a:pt x="170" y="334"/>
                  </a:lnTo>
                  <a:lnTo>
                    <a:pt x="193" y="345"/>
                  </a:lnTo>
                  <a:lnTo>
                    <a:pt x="205" y="352"/>
                  </a:lnTo>
                  <a:lnTo>
                    <a:pt x="218" y="360"/>
                  </a:lnTo>
                  <a:lnTo>
                    <a:pt x="226" y="364"/>
                  </a:lnTo>
                  <a:lnTo>
                    <a:pt x="234" y="367"/>
                  </a:lnTo>
                  <a:lnTo>
                    <a:pt x="243" y="370"/>
                  </a:lnTo>
                  <a:lnTo>
                    <a:pt x="253" y="370"/>
                  </a:lnTo>
                  <a:lnTo>
                    <a:pt x="255" y="370"/>
                  </a:lnTo>
                  <a:lnTo>
                    <a:pt x="257" y="367"/>
                  </a:lnTo>
                  <a:lnTo>
                    <a:pt x="261" y="365"/>
                  </a:lnTo>
                  <a:lnTo>
                    <a:pt x="264" y="361"/>
                  </a:lnTo>
                  <a:lnTo>
                    <a:pt x="267" y="358"/>
                  </a:lnTo>
                  <a:lnTo>
                    <a:pt x="271" y="355"/>
                  </a:lnTo>
                  <a:lnTo>
                    <a:pt x="275" y="353"/>
                  </a:lnTo>
                  <a:lnTo>
                    <a:pt x="279" y="352"/>
                  </a:lnTo>
                  <a:lnTo>
                    <a:pt x="277" y="344"/>
                  </a:lnTo>
                  <a:lnTo>
                    <a:pt x="277" y="338"/>
                  </a:lnTo>
                  <a:lnTo>
                    <a:pt x="278" y="332"/>
                  </a:lnTo>
                  <a:lnTo>
                    <a:pt x="280" y="326"/>
                  </a:lnTo>
                  <a:lnTo>
                    <a:pt x="284" y="322"/>
                  </a:lnTo>
                  <a:lnTo>
                    <a:pt x="289" y="318"/>
                  </a:lnTo>
                  <a:lnTo>
                    <a:pt x="297" y="316"/>
                  </a:lnTo>
                  <a:lnTo>
                    <a:pt x="306" y="315"/>
                  </a:lnTo>
                  <a:lnTo>
                    <a:pt x="316" y="315"/>
                  </a:lnTo>
                  <a:lnTo>
                    <a:pt x="323" y="317"/>
                  </a:lnTo>
                  <a:lnTo>
                    <a:pt x="329" y="320"/>
                  </a:lnTo>
                  <a:lnTo>
                    <a:pt x="334" y="323"/>
                  </a:lnTo>
                  <a:lnTo>
                    <a:pt x="343" y="332"/>
                  </a:lnTo>
                  <a:lnTo>
                    <a:pt x="350" y="342"/>
                  </a:lnTo>
                  <a:lnTo>
                    <a:pt x="353" y="347"/>
                  </a:lnTo>
                  <a:lnTo>
                    <a:pt x="357" y="353"/>
                  </a:lnTo>
                  <a:lnTo>
                    <a:pt x="362" y="358"/>
                  </a:lnTo>
                  <a:lnTo>
                    <a:pt x="367" y="362"/>
                  </a:lnTo>
                  <a:lnTo>
                    <a:pt x="373" y="365"/>
                  </a:lnTo>
                  <a:lnTo>
                    <a:pt x="380" y="368"/>
                  </a:lnTo>
                  <a:lnTo>
                    <a:pt x="389" y="370"/>
                  </a:lnTo>
                  <a:lnTo>
                    <a:pt x="399" y="370"/>
                  </a:lnTo>
                  <a:lnTo>
                    <a:pt x="409" y="370"/>
                  </a:lnTo>
                  <a:lnTo>
                    <a:pt x="418" y="369"/>
                  </a:lnTo>
                  <a:lnTo>
                    <a:pt x="425" y="367"/>
                  </a:lnTo>
                  <a:lnTo>
                    <a:pt x="433" y="365"/>
                  </a:lnTo>
                  <a:lnTo>
                    <a:pt x="447" y="359"/>
                  </a:lnTo>
                  <a:lnTo>
                    <a:pt x="459" y="352"/>
                  </a:lnTo>
                  <a:lnTo>
                    <a:pt x="472" y="345"/>
                  </a:lnTo>
                  <a:lnTo>
                    <a:pt x="483" y="339"/>
                  </a:lnTo>
                  <a:lnTo>
                    <a:pt x="488" y="336"/>
                  </a:lnTo>
                  <a:lnTo>
                    <a:pt x="493" y="335"/>
                  </a:lnTo>
                  <a:lnTo>
                    <a:pt x="499" y="333"/>
                  </a:lnTo>
                  <a:lnTo>
                    <a:pt x="506" y="333"/>
                  </a:lnTo>
                  <a:lnTo>
                    <a:pt x="512" y="332"/>
                  </a:lnTo>
                  <a:lnTo>
                    <a:pt x="521" y="329"/>
                  </a:lnTo>
                  <a:lnTo>
                    <a:pt x="525" y="327"/>
                  </a:lnTo>
                  <a:lnTo>
                    <a:pt x="529" y="325"/>
                  </a:lnTo>
                  <a:lnTo>
                    <a:pt x="531" y="323"/>
                  </a:lnTo>
                  <a:lnTo>
                    <a:pt x="532" y="321"/>
                  </a:lnTo>
                  <a:lnTo>
                    <a:pt x="565" y="321"/>
                  </a:lnTo>
                  <a:lnTo>
                    <a:pt x="564" y="326"/>
                  </a:lnTo>
                  <a:lnTo>
                    <a:pt x="563" y="333"/>
                  </a:lnTo>
                  <a:lnTo>
                    <a:pt x="564" y="341"/>
                  </a:lnTo>
                  <a:lnTo>
                    <a:pt x="565" y="349"/>
                  </a:lnTo>
                  <a:lnTo>
                    <a:pt x="566" y="358"/>
                  </a:lnTo>
                  <a:lnTo>
                    <a:pt x="567" y="367"/>
                  </a:lnTo>
                  <a:lnTo>
                    <a:pt x="567" y="375"/>
                  </a:lnTo>
                  <a:lnTo>
                    <a:pt x="565" y="382"/>
                  </a:lnTo>
                  <a:lnTo>
                    <a:pt x="575" y="381"/>
                  </a:lnTo>
                  <a:lnTo>
                    <a:pt x="582" y="379"/>
                  </a:lnTo>
                  <a:lnTo>
                    <a:pt x="590" y="377"/>
                  </a:lnTo>
                  <a:lnTo>
                    <a:pt x="596" y="375"/>
                  </a:lnTo>
                  <a:lnTo>
                    <a:pt x="601" y="372"/>
                  </a:lnTo>
                  <a:lnTo>
                    <a:pt x="605" y="369"/>
                  </a:lnTo>
                  <a:lnTo>
                    <a:pt x="610" y="366"/>
                  </a:lnTo>
                  <a:lnTo>
                    <a:pt x="613" y="362"/>
                  </a:lnTo>
                  <a:lnTo>
                    <a:pt x="623" y="345"/>
                  </a:lnTo>
                  <a:lnTo>
                    <a:pt x="632" y="327"/>
                  </a:lnTo>
                  <a:lnTo>
                    <a:pt x="636" y="331"/>
                  </a:lnTo>
                  <a:lnTo>
                    <a:pt x="641" y="334"/>
                  </a:lnTo>
                  <a:lnTo>
                    <a:pt x="647" y="336"/>
                  </a:lnTo>
                  <a:lnTo>
                    <a:pt x="654" y="337"/>
                  </a:lnTo>
                  <a:lnTo>
                    <a:pt x="669" y="338"/>
                  </a:lnTo>
                  <a:lnTo>
                    <a:pt x="687" y="336"/>
                  </a:lnTo>
                  <a:lnTo>
                    <a:pt x="721" y="330"/>
                  </a:lnTo>
                  <a:lnTo>
                    <a:pt x="752" y="327"/>
                  </a:lnTo>
                  <a:lnTo>
                    <a:pt x="767" y="327"/>
                  </a:lnTo>
                  <a:lnTo>
                    <a:pt x="781" y="325"/>
                  </a:lnTo>
                  <a:lnTo>
                    <a:pt x="794" y="324"/>
                  </a:lnTo>
                  <a:lnTo>
                    <a:pt x="808" y="321"/>
                  </a:lnTo>
                  <a:lnTo>
                    <a:pt x="831" y="315"/>
                  </a:lnTo>
                  <a:lnTo>
                    <a:pt x="853" y="307"/>
                  </a:lnTo>
                  <a:lnTo>
                    <a:pt x="873" y="299"/>
                  </a:lnTo>
                  <a:lnTo>
                    <a:pt x="895" y="290"/>
                  </a:lnTo>
                  <a:lnTo>
                    <a:pt x="906" y="287"/>
                  </a:lnTo>
                  <a:lnTo>
                    <a:pt x="918" y="283"/>
                  </a:lnTo>
                  <a:lnTo>
                    <a:pt x="930" y="280"/>
                  </a:lnTo>
                  <a:lnTo>
                    <a:pt x="944" y="278"/>
                  </a:lnTo>
                  <a:lnTo>
                    <a:pt x="951" y="279"/>
                  </a:lnTo>
                  <a:lnTo>
                    <a:pt x="961" y="284"/>
                  </a:lnTo>
                  <a:lnTo>
                    <a:pt x="967" y="286"/>
                  </a:lnTo>
                  <a:lnTo>
                    <a:pt x="972" y="288"/>
                  </a:lnTo>
                  <a:lnTo>
                    <a:pt x="979" y="289"/>
                  </a:lnTo>
                  <a:lnTo>
                    <a:pt x="983" y="290"/>
                  </a:lnTo>
                  <a:lnTo>
                    <a:pt x="995" y="290"/>
                  </a:lnTo>
                  <a:lnTo>
                    <a:pt x="1005" y="293"/>
                  </a:lnTo>
                  <a:lnTo>
                    <a:pt x="1015" y="295"/>
                  </a:lnTo>
                  <a:lnTo>
                    <a:pt x="1024" y="300"/>
                  </a:lnTo>
                  <a:lnTo>
                    <a:pt x="1034" y="303"/>
                  </a:lnTo>
                  <a:lnTo>
                    <a:pt x="1045" y="306"/>
                  </a:lnTo>
                  <a:lnTo>
                    <a:pt x="1056" y="308"/>
                  </a:lnTo>
                  <a:lnTo>
                    <a:pt x="1070" y="309"/>
                  </a:lnTo>
                  <a:lnTo>
                    <a:pt x="1068" y="297"/>
                  </a:lnTo>
                  <a:lnTo>
                    <a:pt x="1063" y="286"/>
                  </a:lnTo>
                  <a:lnTo>
                    <a:pt x="1060" y="276"/>
                  </a:lnTo>
                  <a:lnTo>
                    <a:pt x="1056" y="268"/>
                  </a:lnTo>
                  <a:lnTo>
                    <a:pt x="1047" y="254"/>
                  </a:lnTo>
                  <a:lnTo>
                    <a:pt x="1038" y="241"/>
                  </a:lnTo>
                  <a:lnTo>
                    <a:pt x="1034" y="233"/>
                  </a:lnTo>
                  <a:lnTo>
                    <a:pt x="1030" y="226"/>
                  </a:lnTo>
                  <a:lnTo>
                    <a:pt x="1026" y="219"/>
                  </a:lnTo>
                  <a:lnTo>
                    <a:pt x="1024" y="211"/>
                  </a:lnTo>
                  <a:lnTo>
                    <a:pt x="1021" y="202"/>
                  </a:lnTo>
                  <a:lnTo>
                    <a:pt x="1018" y="192"/>
                  </a:lnTo>
                  <a:lnTo>
                    <a:pt x="1017" y="179"/>
                  </a:lnTo>
                  <a:lnTo>
                    <a:pt x="1017" y="167"/>
                  </a:lnTo>
                  <a:lnTo>
                    <a:pt x="1014" y="152"/>
                  </a:lnTo>
                  <a:lnTo>
                    <a:pt x="1011" y="142"/>
                  </a:lnTo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1219004">
                <a:defRPr/>
              </a:pPr>
              <a:endParaRPr lang="en-US" sz="2400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543" name="Freeform 541"/>
          <p:cNvSpPr>
            <a:spLocks/>
          </p:cNvSpPr>
          <p:nvPr userDrawn="1">
            <p:custDataLst>
              <p:tags r:id="rId371"/>
            </p:custDataLst>
          </p:nvPr>
        </p:nvSpPr>
        <p:spPr bwMode="auto">
          <a:xfrm>
            <a:off x="2643197" y="2799165"/>
            <a:ext cx="100013" cy="91678"/>
          </a:xfrm>
          <a:custGeom>
            <a:avLst/>
            <a:gdLst>
              <a:gd name="T0" fmla="*/ 12337887 w 226"/>
              <a:gd name="T1" fmla="*/ 62779788 h 237"/>
              <a:gd name="T2" fmla="*/ 13316775 w 226"/>
              <a:gd name="T3" fmla="*/ 63045925 h 237"/>
              <a:gd name="T4" fmla="*/ 14687753 w 226"/>
              <a:gd name="T5" fmla="*/ 62513652 h 237"/>
              <a:gd name="T6" fmla="*/ 16254328 w 226"/>
              <a:gd name="T7" fmla="*/ 62248032 h 237"/>
              <a:gd name="T8" fmla="*/ 17429701 w 226"/>
              <a:gd name="T9" fmla="*/ 61184003 h 237"/>
              <a:gd name="T10" fmla="*/ 18800233 w 226"/>
              <a:gd name="T11" fmla="*/ 59321565 h 237"/>
              <a:gd name="T12" fmla="*/ 19387920 w 226"/>
              <a:gd name="T13" fmla="*/ 56927371 h 237"/>
              <a:gd name="T14" fmla="*/ 24088087 w 226"/>
              <a:gd name="T15" fmla="*/ 55597722 h 237"/>
              <a:gd name="T16" fmla="*/ 32509098 w 226"/>
              <a:gd name="T17" fmla="*/ 54533177 h 237"/>
              <a:gd name="T18" fmla="*/ 38188153 w 226"/>
              <a:gd name="T19" fmla="*/ 52671255 h 237"/>
              <a:gd name="T20" fmla="*/ 40930102 w 226"/>
              <a:gd name="T21" fmla="*/ 50809334 h 237"/>
              <a:gd name="T22" fmla="*/ 43084363 w 226"/>
              <a:gd name="T23" fmla="*/ 48149003 h 237"/>
              <a:gd name="T24" fmla="*/ 44063252 w 226"/>
              <a:gd name="T25" fmla="*/ 44690780 h 237"/>
              <a:gd name="T26" fmla="*/ 44259295 w 226"/>
              <a:gd name="T27" fmla="*/ 40700800 h 237"/>
              <a:gd name="T28" fmla="*/ 43671608 w 226"/>
              <a:gd name="T29" fmla="*/ 37242577 h 237"/>
              <a:gd name="T30" fmla="*/ 42105033 w 226"/>
              <a:gd name="T31" fmla="*/ 32719802 h 237"/>
              <a:gd name="T32" fmla="*/ 39755171 w 226"/>
              <a:gd name="T33" fmla="*/ 26601764 h 237"/>
              <a:gd name="T34" fmla="*/ 38384196 w 226"/>
              <a:gd name="T35" fmla="*/ 22345648 h 237"/>
              <a:gd name="T36" fmla="*/ 37796509 w 226"/>
              <a:gd name="T37" fmla="*/ 19685318 h 237"/>
              <a:gd name="T38" fmla="*/ 38188153 w 226"/>
              <a:gd name="T39" fmla="*/ 15694818 h 237"/>
              <a:gd name="T40" fmla="*/ 39167484 w 226"/>
              <a:gd name="T41" fmla="*/ 11438702 h 237"/>
              <a:gd name="T42" fmla="*/ 41713389 w 226"/>
              <a:gd name="T43" fmla="*/ 6650312 h 237"/>
              <a:gd name="T44" fmla="*/ 41713389 w 226"/>
              <a:gd name="T45" fmla="*/ 3724360 h 237"/>
              <a:gd name="T46" fmla="*/ 37404866 w 226"/>
              <a:gd name="T47" fmla="*/ 1861922 h 237"/>
              <a:gd name="T48" fmla="*/ 30158793 w 226"/>
              <a:gd name="T49" fmla="*/ 532273 h 237"/>
              <a:gd name="T50" fmla="*/ 3916881 w 226"/>
              <a:gd name="T51" fmla="*/ 1596302 h 237"/>
              <a:gd name="T52" fmla="*/ 3525237 w 226"/>
              <a:gd name="T53" fmla="*/ 8246613 h 237"/>
              <a:gd name="T54" fmla="*/ 1958219 w 226"/>
              <a:gd name="T55" fmla="*/ 14364653 h 237"/>
              <a:gd name="T56" fmla="*/ 587687 w 226"/>
              <a:gd name="T57" fmla="*/ 21015483 h 237"/>
              <a:gd name="T58" fmla="*/ 0 w 226"/>
              <a:gd name="T59" fmla="*/ 29527715 h 237"/>
              <a:gd name="T60" fmla="*/ 587687 w 226"/>
              <a:gd name="T61" fmla="*/ 34582247 h 237"/>
              <a:gd name="T62" fmla="*/ 1958219 w 226"/>
              <a:gd name="T63" fmla="*/ 38838363 h 237"/>
              <a:gd name="T64" fmla="*/ 5875100 w 226"/>
              <a:gd name="T65" fmla="*/ 46020945 h 237"/>
              <a:gd name="T66" fmla="*/ 9987582 w 226"/>
              <a:gd name="T67" fmla="*/ 52937392 h 237"/>
              <a:gd name="T68" fmla="*/ 11162956 w 226"/>
              <a:gd name="T69" fmla="*/ 57459644 h 237"/>
              <a:gd name="T70" fmla="*/ 11946243 w 226"/>
              <a:gd name="T71" fmla="*/ 62248032 h 237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226"/>
              <a:gd name="T109" fmla="*/ 0 h 237"/>
              <a:gd name="T110" fmla="*/ 226 w 226"/>
              <a:gd name="T111" fmla="*/ 237 h 237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226" h="237">
                <a:moveTo>
                  <a:pt x="61" y="234"/>
                </a:moveTo>
                <a:lnTo>
                  <a:pt x="63" y="236"/>
                </a:lnTo>
                <a:lnTo>
                  <a:pt x="65" y="237"/>
                </a:lnTo>
                <a:lnTo>
                  <a:pt x="68" y="237"/>
                </a:lnTo>
                <a:lnTo>
                  <a:pt x="70" y="237"/>
                </a:lnTo>
                <a:lnTo>
                  <a:pt x="75" y="235"/>
                </a:lnTo>
                <a:lnTo>
                  <a:pt x="80" y="234"/>
                </a:lnTo>
                <a:lnTo>
                  <a:pt x="83" y="234"/>
                </a:lnTo>
                <a:lnTo>
                  <a:pt x="86" y="232"/>
                </a:lnTo>
                <a:lnTo>
                  <a:pt x="89" y="230"/>
                </a:lnTo>
                <a:lnTo>
                  <a:pt x="92" y="227"/>
                </a:lnTo>
                <a:lnTo>
                  <a:pt x="96" y="223"/>
                </a:lnTo>
                <a:lnTo>
                  <a:pt x="98" y="219"/>
                </a:lnTo>
                <a:lnTo>
                  <a:pt x="99" y="214"/>
                </a:lnTo>
                <a:lnTo>
                  <a:pt x="100" y="209"/>
                </a:lnTo>
                <a:lnTo>
                  <a:pt x="123" y="209"/>
                </a:lnTo>
                <a:lnTo>
                  <a:pt x="145" y="208"/>
                </a:lnTo>
                <a:lnTo>
                  <a:pt x="166" y="205"/>
                </a:lnTo>
                <a:lnTo>
                  <a:pt x="186" y="201"/>
                </a:lnTo>
                <a:lnTo>
                  <a:pt x="195" y="198"/>
                </a:lnTo>
                <a:lnTo>
                  <a:pt x="202" y="195"/>
                </a:lnTo>
                <a:lnTo>
                  <a:pt x="209" y="191"/>
                </a:lnTo>
                <a:lnTo>
                  <a:pt x="215" y="186"/>
                </a:lnTo>
                <a:lnTo>
                  <a:pt x="220" y="181"/>
                </a:lnTo>
                <a:lnTo>
                  <a:pt x="223" y="175"/>
                </a:lnTo>
                <a:lnTo>
                  <a:pt x="225" y="168"/>
                </a:lnTo>
                <a:lnTo>
                  <a:pt x="226" y="161"/>
                </a:lnTo>
                <a:lnTo>
                  <a:pt x="226" y="153"/>
                </a:lnTo>
                <a:lnTo>
                  <a:pt x="225" y="147"/>
                </a:lnTo>
                <a:lnTo>
                  <a:pt x="223" y="140"/>
                </a:lnTo>
                <a:lnTo>
                  <a:pt x="221" y="134"/>
                </a:lnTo>
                <a:lnTo>
                  <a:pt x="215" y="123"/>
                </a:lnTo>
                <a:lnTo>
                  <a:pt x="210" y="112"/>
                </a:lnTo>
                <a:lnTo>
                  <a:pt x="203" y="100"/>
                </a:lnTo>
                <a:lnTo>
                  <a:pt x="198" y="90"/>
                </a:lnTo>
                <a:lnTo>
                  <a:pt x="196" y="84"/>
                </a:lnTo>
                <a:lnTo>
                  <a:pt x="195" y="79"/>
                </a:lnTo>
                <a:lnTo>
                  <a:pt x="193" y="74"/>
                </a:lnTo>
                <a:lnTo>
                  <a:pt x="193" y="68"/>
                </a:lnTo>
                <a:lnTo>
                  <a:pt x="195" y="59"/>
                </a:lnTo>
                <a:lnTo>
                  <a:pt x="197" y="51"/>
                </a:lnTo>
                <a:lnTo>
                  <a:pt x="200" y="43"/>
                </a:lnTo>
                <a:lnTo>
                  <a:pt x="204" y="36"/>
                </a:lnTo>
                <a:lnTo>
                  <a:pt x="213" y="25"/>
                </a:lnTo>
                <a:lnTo>
                  <a:pt x="220" y="19"/>
                </a:lnTo>
                <a:lnTo>
                  <a:pt x="213" y="14"/>
                </a:lnTo>
                <a:lnTo>
                  <a:pt x="203" y="11"/>
                </a:lnTo>
                <a:lnTo>
                  <a:pt x="191" y="7"/>
                </a:lnTo>
                <a:lnTo>
                  <a:pt x="179" y="5"/>
                </a:lnTo>
                <a:lnTo>
                  <a:pt x="154" y="2"/>
                </a:lnTo>
                <a:lnTo>
                  <a:pt x="133" y="0"/>
                </a:lnTo>
                <a:lnTo>
                  <a:pt x="20" y="6"/>
                </a:lnTo>
                <a:lnTo>
                  <a:pt x="20" y="19"/>
                </a:lnTo>
                <a:lnTo>
                  <a:pt x="18" y="31"/>
                </a:lnTo>
                <a:lnTo>
                  <a:pt x="14" y="42"/>
                </a:lnTo>
                <a:lnTo>
                  <a:pt x="10" y="54"/>
                </a:lnTo>
                <a:lnTo>
                  <a:pt x="7" y="66"/>
                </a:lnTo>
                <a:lnTo>
                  <a:pt x="3" y="79"/>
                </a:lnTo>
                <a:lnTo>
                  <a:pt x="1" y="93"/>
                </a:lnTo>
                <a:lnTo>
                  <a:pt x="0" y="111"/>
                </a:lnTo>
                <a:lnTo>
                  <a:pt x="1" y="121"/>
                </a:lnTo>
                <a:lnTo>
                  <a:pt x="3" y="130"/>
                </a:lnTo>
                <a:lnTo>
                  <a:pt x="6" y="138"/>
                </a:lnTo>
                <a:lnTo>
                  <a:pt x="10" y="146"/>
                </a:lnTo>
                <a:lnTo>
                  <a:pt x="19" y="159"/>
                </a:lnTo>
                <a:lnTo>
                  <a:pt x="30" y="173"/>
                </a:lnTo>
                <a:lnTo>
                  <a:pt x="41" y="185"/>
                </a:lnTo>
                <a:lnTo>
                  <a:pt x="51" y="199"/>
                </a:lnTo>
                <a:lnTo>
                  <a:pt x="55" y="207"/>
                </a:lnTo>
                <a:lnTo>
                  <a:pt x="57" y="216"/>
                </a:lnTo>
                <a:lnTo>
                  <a:pt x="59" y="225"/>
                </a:lnTo>
                <a:lnTo>
                  <a:pt x="61" y="234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544" name="Freeform 542"/>
          <p:cNvSpPr>
            <a:spLocks/>
          </p:cNvSpPr>
          <p:nvPr userDrawn="1">
            <p:custDataLst>
              <p:tags r:id="rId372"/>
            </p:custDataLst>
          </p:nvPr>
        </p:nvSpPr>
        <p:spPr bwMode="auto">
          <a:xfrm>
            <a:off x="6588127" y="2376488"/>
            <a:ext cx="207962" cy="344091"/>
          </a:xfrm>
          <a:custGeom>
            <a:avLst/>
            <a:gdLst>
              <a:gd name="T0" fmla="*/ 54324199 w 478"/>
              <a:gd name="T1" fmla="*/ 29966459 h 875"/>
              <a:gd name="T2" fmla="*/ 47320928 w 478"/>
              <a:gd name="T3" fmla="*/ 37938890 h 875"/>
              <a:gd name="T4" fmla="*/ 37667230 w 478"/>
              <a:gd name="T5" fmla="*/ 54159531 h 875"/>
              <a:gd name="T6" fmla="*/ 37477976 w 478"/>
              <a:gd name="T7" fmla="*/ 58558127 h 875"/>
              <a:gd name="T8" fmla="*/ 38992444 w 478"/>
              <a:gd name="T9" fmla="*/ 65706305 h 875"/>
              <a:gd name="T10" fmla="*/ 41831690 w 478"/>
              <a:gd name="T11" fmla="*/ 72853974 h 875"/>
              <a:gd name="T12" fmla="*/ 45427952 w 478"/>
              <a:gd name="T13" fmla="*/ 79177382 h 875"/>
              <a:gd name="T14" fmla="*/ 49024215 w 478"/>
              <a:gd name="T15" fmla="*/ 82751208 h 875"/>
              <a:gd name="T16" fmla="*/ 52810166 w 478"/>
              <a:gd name="T17" fmla="*/ 90448882 h 875"/>
              <a:gd name="T18" fmla="*/ 55838666 w 478"/>
              <a:gd name="T19" fmla="*/ 99246598 h 875"/>
              <a:gd name="T20" fmla="*/ 57731221 w 478"/>
              <a:gd name="T21" fmla="*/ 101445634 h 875"/>
              <a:gd name="T22" fmla="*/ 82905928 w 478"/>
              <a:gd name="T23" fmla="*/ 137185471 h 875"/>
              <a:gd name="T24" fmla="*/ 89152618 w 478"/>
              <a:gd name="T25" fmla="*/ 161928590 h 875"/>
              <a:gd name="T26" fmla="*/ 90477396 w 478"/>
              <a:gd name="T27" fmla="*/ 177873959 h 875"/>
              <a:gd name="T28" fmla="*/ 90098888 w 478"/>
              <a:gd name="T29" fmla="*/ 188870711 h 875"/>
              <a:gd name="T30" fmla="*/ 90477396 w 478"/>
              <a:gd name="T31" fmla="*/ 194644097 h 875"/>
              <a:gd name="T32" fmla="*/ 84609650 w 478"/>
              <a:gd name="T33" fmla="*/ 197393154 h 875"/>
              <a:gd name="T34" fmla="*/ 79498920 w 478"/>
              <a:gd name="T35" fmla="*/ 201517002 h 875"/>
              <a:gd name="T36" fmla="*/ 74009681 w 478"/>
              <a:gd name="T37" fmla="*/ 207840409 h 875"/>
              <a:gd name="T38" fmla="*/ 69088205 w 478"/>
              <a:gd name="T39" fmla="*/ 216912874 h 875"/>
              <a:gd name="T40" fmla="*/ 65870451 w 478"/>
              <a:gd name="T41" fmla="*/ 215812832 h 875"/>
              <a:gd name="T42" fmla="*/ 60381213 w 478"/>
              <a:gd name="T43" fmla="*/ 216912874 h 875"/>
              <a:gd name="T44" fmla="*/ 59245688 w 478"/>
              <a:gd name="T45" fmla="*/ 221036722 h 875"/>
              <a:gd name="T46" fmla="*/ 54702707 w 478"/>
              <a:gd name="T47" fmla="*/ 230383935 h 875"/>
              <a:gd name="T48" fmla="*/ 48456452 w 478"/>
              <a:gd name="T49" fmla="*/ 238631630 h 875"/>
              <a:gd name="T50" fmla="*/ 45238698 w 478"/>
              <a:gd name="T51" fmla="*/ 240555917 h 875"/>
              <a:gd name="T52" fmla="*/ 43913920 w 478"/>
              <a:gd name="T53" fmla="*/ 238631630 h 875"/>
              <a:gd name="T54" fmla="*/ 42588706 w 478"/>
              <a:gd name="T55" fmla="*/ 232033474 h 875"/>
              <a:gd name="T56" fmla="*/ 43724230 w 478"/>
              <a:gd name="T57" fmla="*/ 219936679 h 875"/>
              <a:gd name="T58" fmla="*/ 47888690 w 478"/>
              <a:gd name="T59" fmla="*/ 213063775 h 875"/>
              <a:gd name="T60" fmla="*/ 52431658 w 478"/>
              <a:gd name="T61" fmla="*/ 208939927 h 875"/>
              <a:gd name="T62" fmla="*/ 55838666 w 478"/>
              <a:gd name="T63" fmla="*/ 207015640 h 875"/>
              <a:gd name="T64" fmla="*/ 57731221 w 478"/>
              <a:gd name="T65" fmla="*/ 204266583 h 875"/>
              <a:gd name="T66" fmla="*/ 59434943 w 478"/>
              <a:gd name="T67" fmla="*/ 196293636 h 875"/>
              <a:gd name="T68" fmla="*/ 62463443 w 478"/>
              <a:gd name="T69" fmla="*/ 188595962 h 875"/>
              <a:gd name="T70" fmla="*/ 69088205 w 478"/>
              <a:gd name="T71" fmla="*/ 176774441 h 875"/>
              <a:gd name="T72" fmla="*/ 70224165 w 478"/>
              <a:gd name="T73" fmla="*/ 147357487 h 875"/>
              <a:gd name="T74" fmla="*/ 68898951 w 478"/>
              <a:gd name="T75" fmla="*/ 130587315 h 875"/>
              <a:gd name="T76" fmla="*/ 64545673 w 478"/>
              <a:gd name="T77" fmla="*/ 117391527 h 875"/>
              <a:gd name="T78" fmla="*/ 56217175 w 478"/>
              <a:gd name="T79" fmla="*/ 103645194 h 875"/>
              <a:gd name="T80" fmla="*/ 41453182 w 478"/>
              <a:gd name="T81" fmla="*/ 84675495 h 875"/>
              <a:gd name="T82" fmla="*/ 30474705 w 478"/>
              <a:gd name="T83" fmla="*/ 70104917 h 875"/>
              <a:gd name="T84" fmla="*/ 20442492 w 478"/>
              <a:gd name="T85" fmla="*/ 54434280 h 875"/>
              <a:gd name="T86" fmla="*/ 13628472 w 478"/>
              <a:gd name="T87" fmla="*/ 40138450 h 875"/>
              <a:gd name="T88" fmla="*/ 7949980 w 478"/>
              <a:gd name="T89" fmla="*/ 28591668 h 875"/>
              <a:gd name="T90" fmla="*/ 8706996 w 478"/>
              <a:gd name="T91" fmla="*/ 11271505 h 875"/>
              <a:gd name="T92" fmla="*/ 24417698 w 478"/>
              <a:gd name="T93" fmla="*/ 5223368 h 875"/>
              <a:gd name="T94" fmla="*/ 28013960 w 478"/>
              <a:gd name="T95" fmla="*/ 1374791 h 875"/>
              <a:gd name="T96" fmla="*/ 33124697 w 478"/>
              <a:gd name="T97" fmla="*/ 4398598 h 875"/>
              <a:gd name="T98" fmla="*/ 41831690 w 478"/>
              <a:gd name="T99" fmla="*/ 9622490 h 875"/>
              <a:gd name="T100" fmla="*/ 50917190 w 478"/>
              <a:gd name="T101" fmla="*/ 18419686 h 875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478"/>
              <a:gd name="T154" fmla="*/ 0 h 875"/>
              <a:gd name="T155" fmla="*/ 478 w 478"/>
              <a:gd name="T156" fmla="*/ 875 h 875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478" h="875">
                <a:moveTo>
                  <a:pt x="299" y="104"/>
                </a:moveTo>
                <a:lnTo>
                  <a:pt x="295" y="106"/>
                </a:lnTo>
                <a:lnTo>
                  <a:pt x="287" y="109"/>
                </a:lnTo>
                <a:lnTo>
                  <a:pt x="277" y="116"/>
                </a:lnTo>
                <a:lnTo>
                  <a:pt x="264" y="126"/>
                </a:lnTo>
                <a:lnTo>
                  <a:pt x="250" y="138"/>
                </a:lnTo>
                <a:lnTo>
                  <a:pt x="233" y="154"/>
                </a:lnTo>
                <a:lnTo>
                  <a:pt x="217" y="173"/>
                </a:lnTo>
                <a:lnTo>
                  <a:pt x="199" y="197"/>
                </a:lnTo>
                <a:lnTo>
                  <a:pt x="197" y="201"/>
                </a:lnTo>
                <a:lnTo>
                  <a:pt x="197" y="207"/>
                </a:lnTo>
                <a:lnTo>
                  <a:pt x="198" y="213"/>
                </a:lnTo>
                <a:lnTo>
                  <a:pt x="199" y="221"/>
                </a:lnTo>
                <a:lnTo>
                  <a:pt x="202" y="229"/>
                </a:lnTo>
                <a:lnTo>
                  <a:pt x="206" y="239"/>
                </a:lnTo>
                <a:lnTo>
                  <a:pt x="210" y="248"/>
                </a:lnTo>
                <a:lnTo>
                  <a:pt x="214" y="256"/>
                </a:lnTo>
                <a:lnTo>
                  <a:pt x="221" y="265"/>
                </a:lnTo>
                <a:lnTo>
                  <a:pt x="226" y="273"/>
                </a:lnTo>
                <a:lnTo>
                  <a:pt x="233" y="281"/>
                </a:lnTo>
                <a:lnTo>
                  <a:pt x="240" y="288"/>
                </a:lnTo>
                <a:lnTo>
                  <a:pt x="246" y="294"/>
                </a:lnTo>
                <a:lnTo>
                  <a:pt x="253" y="298"/>
                </a:lnTo>
                <a:lnTo>
                  <a:pt x="259" y="301"/>
                </a:lnTo>
                <a:lnTo>
                  <a:pt x="266" y="302"/>
                </a:lnTo>
                <a:lnTo>
                  <a:pt x="271" y="314"/>
                </a:lnTo>
                <a:lnTo>
                  <a:pt x="279" y="329"/>
                </a:lnTo>
                <a:lnTo>
                  <a:pt x="286" y="346"/>
                </a:lnTo>
                <a:lnTo>
                  <a:pt x="292" y="357"/>
                </a:lnTo>
                <a:lnTo>
                  <a:pt x="295" y="361"/>
                </a:lnTo>
                <a:lnTo>
                  <a:pt x="298" y="365"/>
                </a:lnTo>
                <a:lnTo>
                  <a:pt x="302" y="367"/>
                </a:lnTo>
                <a:lnTo>
                  <a:pt x="305" y="369"/>
                </a:lnTo>
                <a:lnTo>
                  <a:pt x="313" y="372"/>
                </a:lnTo>
                <a:lnTo>
                  <a:pt x="319" y="376"/>
                </a:lnTo>
                <a:lnTo>
                  <a:pt x="438" y="499"/>
                </a:lnTo>
                <a:lnTo>
                  <a:pt x="453" y="535"/>
                </a:lnTo>
                <a:lnTo>
                  <a:pt x="466" y="571"/>
                </a:lnTo>
                <a:lnTo>
                  <a:pt x="471" y="589"/>
                </a:lnTo>
                <a:lnTo>
                  <a:pt x="475" y="607"/>
                </a:lnTo>
                <a:lnTo>
                  <a:pt x="477" y="627"/>
                </a:lnTo>
                <a:lnTo>
                  <a:pt x="478" y="647"/>
                </a:lnTo>
                <a:lnTo>
                  <a:pt x="477" y="666"/>
                </a:lnTo>
                <a:lnTo>
                  <a:pt x="476" y="680"/>
                </a:lnTo>
                <a:lnTo>
                  <a:pt x="476" y="687"/>
                </a:lnTo>
                <a:lnTo>
                  <a:pt x="476" y="693"/>
                </a:lnTo>
                <a:lnTo>
                  <a:pt x="476" y="700"/>
                </a:lnTo>
                <a:lnTo>
                  <a:pt x="478" y="708"/>
                </a:lnTo>
                <a:lnTo>
                  <a:pt x="467" y="711"/>
                </a:lnTo>
                <a:lnTo>
                  <a:pt x="457" y="714"/>
                </a:lnTo>
                <a:lnTo>
                  <a:pt x="447" y="718"/>
                </a:lnTo>
                <a:lnTo>
                  <a:pt x="437" y="722"/>
                </a:lnTo>
                <a:lnTo>
                  <a:pt x="428" y="727"/>
                </a:lnTo>
                <a:lnTo>
                  <a:pt x="420" y="733"/>
                </a:lnTo>
                <a:lnTo>
                  <a:pt x="412" y="739"/>
                </a:lnTo>
                <a:lnTo>
                  <a:pt x="404" y="744"/>
                </a:lnTo>
                <a:lnTo>
                  <a:pt x="391" y="756"/>
                </a:lnTo>
                <a:lnTo>
                  <a:pt x="380" y="767"/>
                </a:lnTo>
                <a:lnTo>
                  <a:pt x="371" y="778"/>
                </a:lnTo>
                <a:lnTo>
                  <a:pt x="365" y="789"/>
                </a:lnTo>
                <a:lnTo>
                  <a:pt x="360" y="786"/>
                </a:lnTo>
                <a:lnTo>
                  <a:pt x="354" y="785"/>
                </a:lnTo>
                <a:lnTo>
                  <a:pt x="348" y="785"/>
                </a:lnTo>
                <a:lnTo>
                  <a:pt x="342" y="786"/>
                </a:lnTo>
                <a:lnTo>
                  <a:pt x="330" y="788"/>
                </a:lnTo>
                <a:lnTo>
                  <a:pt x="319" y="789"/>
                </a:lnTo>
                <a:lnTo>
                  <a:pt x="318" y="793"/>
                </a:lnTo>
                <a:lnTo>
                  <a:pt x="316" y="798"/>
                </a:lnTo>
                <a:lnTo>
                  <a:pt x="313" y="804"/>
                </a:lnTo>
                <a:lnTo>
                  <a:pt x="310" y="810"/>
                </a:lnTo>
                <a:lnTo>
                  <a:pt x="300" y="824"/>
                </a:lnTo>
                <a:lnTo>
                  <a:pt x="289" y="838"/>
                </a:lnTo>
                <a:lnTo>
                  <a:pt x="276" y="853"/>
                </a:lnTo>
                <a:lnTo>
                  <a:pt x="263" y="864"/>
                </a:lnTo>
                <a:lnTo>
                  <a:pt x="256" y="868"/>
                </a:lnTo>
                <a:lnTo>
                  <a:pt x="250" y="872"/>
                </a:lnTo>
                <a:lnTo>
                  <a:pt x="244" y="874"/>
                </a:lnTo>
                <a:lnTo>
                  <a:pt x="239" y="875"/>
                </a:lnTo>
                <a:lnTo>
                  <a:pt x="236" y="874"/>
                </a:lnTo>
                <a:lnTo>
                  <a:pt x="234" y="872"/>
                </a:lnTo>
                <a:lnTo>
                  <a:pt x="232" y="868"/>
                </a:lnTo>
                <a:lnTo>
                  <a:pt x="230" y="864"/>
                </a:lnTo>
                <a:lnTo>
                  <a:pt x="226" y="854"/>
                </a:lnTo>
                <a:lnTo>
                  <a:pt x="225" y="844"/>
                </a:lnTo>
                <a:lnTo>
                  <a:pt x="226" y="830"/>
                </a:lnTo>
                <a:lnTo>
                  <a:pt x="229" y="816"/>
                </a:lnTo>
                <a:lnTo>
                  <a:pt x="231" y="800"/>
                </a:lnTo>
                <a:lnTo>
                  <a:pt x="232" y="782"/>
                </a:lnTo>
                <a:lnTo>
                  <a:pt x="244" y="779"/>
                </a:lnTo>
                <a:lnTo>
                  <a:pt x="253" y="775"/>
                </a:lnTo>
                <a:lnTo>
                  <a:pt x="262" y="770"/>
                </a:lnTo>
                <a:lnTo>
                  <a:pt x="269" y="765"/>
                </a:lnTo>
                <a:lnTo>
                  <a:pt x="277" y="760"/>
                </a:lnTo>
                <a:lnTo>
                  <a:pt x="285" y="756"/>
                </a:lnTo>
                <a:lnTo>
                  <a:pt x="289" y="754"/>
                </a:lnTo>
                <a:lnTo>
                  <a:pt x="295" y="753"/>
                </a:lnTo>
                <a:lnTo>
                  <a:pt x="300" y="752"/>
                </a:lnTo>
                <a:lnTo>
                  <a:pt x="305" y="752"/>
                </a:lnTo>
                <a:lnTo>
                  <a:pt x="305" y="743"/>
                </a:lnTo>
                <a:lnTo>
                  <a:pt x="308" y="733"/>
                </a:lnTo>
                <a:lnTo>
                  <a:pt x="311" y="723"/>
                </a:lnTo>
                <a:lnTo>
                  <a:pt x="314" y="714"/>
                </a:lnTo>
                <a:lnTo>
                  <a:pt x="319" y="705"/>
                </a:lnTo>
                <a:lnTo>
                  <a:pt x="324" y="695"/>
                </a:lnTo>
                <a:lnTo>
                  <a:pt x="330" y="686"/>
                </a:lnTo>
                <a:lnTo>
                  <a:pt x="336" y="677"/>
                </a:lnTo>
                <a:lnTo>
                  <a:pt x="349" y="659"/>
                </a:lnTo>
                <a:lnTo>
                  <a:pt x="365" y="643"/>
                </a:lnTo>
                <a:lnTo>
                  <a:pt x="378" y="629"/>
                </a:lnTo>
                <a:lnTo>
                  <a:pt x="392" y="616"/>
                </a:lnTo>
                <a:lnTo>
                  <a:pt x="371" y="536"/>
                </a:lnTo>
                <a:lnTo>
                  <a:pt x="371" y="514"/>
                </a:lnTo>
                <a:lnTo>
                  <a:pt x="368" y="493"/>
                </a:lnTo>
                <a:lnTo>
                  <a:pt x="364" y="475"/>
                </a:lnTo>
                <a:lnTo>
                  <a:pt x="357" y="458"/>
                </a:lnTo>
                <a:lnTo>
                  <a:pt x="349" y="442"/>
                </a:lnTo>
                <a:lnTo>
                  <a:pt x="341" y="427"/>
                </a:lnTo>
                <a:lnTo>
                  <a:pt x="331" y="414"/>
                </a:lnTo>
                <a:lnTo>
                  <a:pt x="321" y="402"/>
                </a:lnTo>
                <a:lnTo>
                  <a:pt x="297" y="377"/>
                </a:lnTo>
                <a:lnTo>
                  <a:pt x="271" y="355"/>
                </a:lnTo>
                <a:lnTo>
                  <a:pt x="245" y="332"/>
                </a:lnTo>
                <a:lnTo>
                  <a:pt x="219" y="308"/>
                </a:lnTo>
                <a:lnTo>
                  <a:pt x="199" y="292"/>
                </a:lnTo>
                <a:lnTo>
                  <a:pt x="179" y="273"/>
                </a:lnTo>
                <a:lnTo>
                  <a:pt x="161" y="255"/>
                </a:lnTo>
                <a:lnTo>
                  <a:pt x="142" y="237"/>
                </a:lnTo>
                <a:lnTo>
                  <a:pt x="124" y="217"/>
                </a:lnTo>
                <a:lnTo>
                  <a:pt x="108" y="198"/>
                </a:lnTo>
                <a:lnTo>
                  <a:pt x="92" y="179"/>
                </a:lnTo>
                <a:lnTo>
                  <a:pt x="79" y="160"/>
                </a:lnTo>
                <a:lnTo>
                  <a:pt x="72" y="146"/>
                </a:lnTo>
                <a:lnTo>
                  <a:pt x="63" y="133"/>
                </a:lnTo>
                <a:lnTo>
                  <a:pt x="53" y="118"/>
                </a:lnTo>
                <a:lnTo>
                  <a:pt x="42" y="104"/>
                </a:lnTo>
                <a:lnTo>
                  <a:pt x="21" y="77"/>
                </a:lnTo>
                <a:lnTo>
                  <a:pt x="0" y="49"/>
                </a:lnTo>
                <a:lnTo>
                  <a:pt x="46" y="41"/>
                </a:lnTo>
                <a:lnTo>
                  <a:pt x="91" y="32"/>
                </a:lnTo>
                <a:lnTo>
                  <a:pt x="111" y="26"/>
                </a:lnTo>
                <a:lnTo>
                  <a:pt x="129" y="19"/>
                </a:lnTo>
                <a:lnTo>
                  <a:pt x="136" y="15"/>
                </a:lnTo>
                <a:lnTo>
                  <a:pt x="143" y="11"/>
                </a:lnTo>
                <a:lnTo>
                  <a:pt x="148" y="5"/>
                </a:lnTo>
                <a:lnTo>
                  <a:pt x="153" y="0"/>
                </a:lnTo>
                <a:lnTo>
                  <a:pt x="163" y="9"/>
                </a:lnTo>
                <a:lnTo>
                  <a:pt x="175" y="16"/>
                </a:lnTo>
                <a:lnTo>
                  <a:pt x="186" y="21"/>
                </a:lnTo>
                <a:lnTo>
                  <a:pt x="198" y="26"/>
                </a:lnTo>
                <a:lnTo>
                  <a:pt x="221" y="35"/>
                </a:lnTo>
                <a:lnTo>
                  <a:pt x="239" y="43"/>
                </a:lnTo>
                <a:lnTo>
                  <a:pt x="256" y="55"/>
                </a:lnTo>
                <a:lnTo>
                  <a:pt x="269" y="67"/>
                </a:lnTo>
                <a:lnTo>
                  <a:pt x="282" y="82"/>
                </a:lnTo>
                <a:lnTo>
                  <a:pt x="299" y="104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545" name="Freeform 543"/>
          <p:cNvSpPr>
            <a:spLocks/>
          </p:cNvSpPr>
          <p:nvPr userDrawn="1">
            <p:custDataLst>
              <p:tags r:id="rId373"/>
            </p:custDataLst>
          </p:nvPr>
        </p:nvSpPr>
        <p:spPr bwMode="auto">
          <a:xfrm>
            <a:off x="6675439" y="2890844"/>
            <a:ext cx="25400" cy="42863"/>
          </a:xfrm>
          <a:custGeom>
            <a:avLst/>
            <a:gdLst>
              <a:gd name="T0" fmla="*/ 10934916 w 59"/>
              <a:gd name="T1" fmla="*/ 20391491 h 31"/>
              <a:gd name="T2" fmla="*/ 10564248 w 59"/>
              <a:gd name="T3" fmla="*/ 37385323 h 31"/>
              <a:gd name="T4" fmla="*/ 9822913 w 59"/>
              <a:gd name="T5" fmla="*/ 50979645 h 31"/>
              <a:gd name="T6" fmla="*/ 9081577 w 59"/>
              <a:gd name="T7" fmla="*/ 64573982 h 31"/>
              <a:gd name="T8" fmla="*/ 8340242 w 59"/>
              <a:gd name="T9" fmla="*/ 81567807 h 31"/>
              <a:gd name="T10" fmla="*/ 7413357 w 59"/>
              <a:gd name="T11" fmla="*/ 91764471 h 31"/>
              <a:gd name="T12" fmla="*/ 6672020 w 59"/>
              <a:gd name="T13" fmla="*/ 98561632 h 31"/>
              <a:gd name="T14" fmla="*/ 5560017 w 59"/>
              <a:gd name="T15" fmla="*/ 105358793 h 31"/>
              <a:gd name="T16" fmla="*/ 4818682 w 59"/>
              <a:gd name="T17" fmla="*/ 105358793 h 31"/>
              <a:gd name="T18" fmla="*/ 3892228 w 59"/>
              <a:gd name="T19" fmla="*/ 105358793 h 31"/>
              <a:gd name="T20" fmla="*/ 3150892 w 59"/>
              <a:gd name="T21" fmla="*/ 101959291 h 31"/>
              <a:gd name="T22" fmla="*/ 2594675 w 59"/>
              <a:gd name="T23" fmla="*/ 98561632 h 31"/>
              <a:gd name="T24" fmla="*/ 2038888 w 59"/>
              <a:gd name="T25" fmla="*/ 91764471 h 31"/>
              <a:gd name="T26" fmla="*/ 741336 w 59"/>
              <a:gd name="T27" fmla="*/ 67973485 h 31"/>
              <a:gd name="T28" fmla="*/ 0 w 59"/>
              <a:gd name="T29" fmla="*/ 40784825 h 31"/>
              <a:gd name="T30" fmla="*/ 185549 w 59"/>
              <a:gd name="T31" fmla="*/ 30588162 h 31"/>
              <a:gd name="T32" fmla="*/ 556217 w 59"/>
              <a:gd name="T33" fmla="*/ 20391491 h 31"/>
              <a:gd name="T34" fmla="*/ 926885 w 59"/>
              <a:gd name="T35" fmla="*/ 13594326 h 31"/>
              <a:gd name="T36" fmla="*/ 1482671 w 59"/>
              <a:gd name="T37" fmla="*/ 10196667 h 31"/>
              <a:gd name="T38" fmla="*/ 2965342 w 59"/>
              <a:gd name="T39" fmla="*/ 3399503 h 31"/>
              <a:gd name="T40" fmla="*/ 4448014 w 59"/>
              <a:gd name="T41" fmla="*/ 0 h 31"/>
              <a:gd name="T42" fmla="*/ 6301353 w 59"/>
              <a:gd name="T43" fmla="*/ 0 h 31"/>
              <a:gd name="T44" fmla="*/ 7784025 w 59"/>
              <a:gd name="T45" fmla="*/ 6797163 h 31"/>
              <a:gd name="T46" fmla="*/ 9452245 w 59"/>
              <a:gd name="T47" fmla="*/ 13594326 h 31"/>
              <a:gd name="T48" fmla="*/ 10934916 w 59"/>
              <a:gd name="T49" fmla="*/ 20391491 h 3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59"/>
              <a:gd name="T76" fmla="*/ 0 h 31"/>
              <a:gd name="T77" fmla="*/ 59 w 59"/>
              <a:gd name="T78" fmla="*/ 31 h 31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546" name="Freeform 544"/>
          <p:cNvSpPr>
            <a:spLocks/>
          </p:cNvSpPr>
          <p:nvPr userDrawn="1">
            <p:custDataLst>
              <p:tags r:id="rId374"/>
            </p:custDataLst>
          </p:nvPr>
        </p:nvSpPr>
        <p:spPr bwMode="auto">
          <a:xfrm>
            <a:off x="5367347" y="2334828"/>
            <a:ext cx="174625" cy="203597"/>
          </a:xfrm>
          <a:custGeom>
            <a:avLst/>
            <a:gdLst>
              <a:gd name="T0" fmla="*/ 38308525 w 399"/>
              <a:gd name="T1" fmla="*/ 2196851 h 518"/>
              <a:gd name="T2" fmla="*/ 38691913 w 399"/>
              <a:gd name="T3" fmla="*/ 6041863 h 518"/>
              <a:gd name="T4" fmla="*/ 39841199 w 399"/>
              <a:gd name="T5" fmla="*/ 9886876 h 518"/>
              <a:gd name="T6" fmla="*/ 40990485 w 399"/>
              <a:gd name="T7" fmla="*/ 13457281 h 518"/>
              <a:gd name="T8" fmla="*/ 42905669 w 399"/>
              <a:gd name="T9" fmla="*/ 17302296 h 518"/>
              <a:gd name="T10" fmla="*/ 45012548 w 399"/>
              <a:gd name="T11" fmla="*/ 20597571 h 518"/>
              <a:gd name="T12" fmla="*/ 47694069 w 399"/>
              <a:gd name="T13" fmla="*/ 23618763 h 518"/>
              <a:gd name="T14" fmla="*/ 50567284 w 399"/>
              <a:gd name="T15" fmla="*/ 26090219 h 518"/>
              <a:gd name="T16" fmla="*/ 60527922 w 399"/>
              <a:gd name="T17" fmla="*/ 29111412 h 518"/>
              <a:gd name="T18" fmla="*/ 69913466 w 399"/>
              <a:gd name="T19" fmla="*/ 32681817 h 518"/>
              <a:gd name="T20" fmla="*/ 72786681 w 399"/>
              <a:gd name="T21" fmla="*/ 34878674 h 518"/>
              <a:gd name="T22" fmla="*/ 75084815 w 399"/>
              <a:gd name="T23" fmla="*/ 37625261 h 518"/>
              <a:gd name="T24" fmla="*/ 76234101 w 399"/>
              <a:gd name="T25" fmla="*/ 41470272 h 518"/>
              <a:gd name="T26" fmla="*/ 76234101 w 399"/>
              <a:gd name="T27" fmla="*/ 47786739 h 518"/>
              <a:gd name="T28" fmla="*/ 74701866 w 399"/>
              <a:gd name="T29" fmla="*/ 54927549 h 518"/>
              <a:gd name="T30" fmla="*/ 70679365 w 399"/>
              <a:gd name="T31" fmla="*/ 65638239 h 518"/>
              <a:gd name="T32" fmla="*/ 65890965 w 399"/>
              <a:gd name="T33" fmla="*/ 75799734 h 518"/>
              <a:gd name="T34" fmla="*/ 62826057 w 399"/>
              <a:gd name="T35" fmla="*/ 83215150 h 518"/>
              <a:gd name="T36" fmla="*/ 60144535 w 399"/>
              <a:gd name="T37" fmla="*/ 90630042 h 518"/>
              <a:gd name="T38" fmla="*/ 58803993 w 399"/>
              <a:gd name="T39" fmla="*/ 98869276 h 518"/>
              <a:gd name="T40" fmla="*/ 56888357 w 399"/>
              <a:gd name="T41" fmla="*/ 103538106 h 518"/>
              <a:gd name="T42" fmla="*/ 51333621 w 399"/>
              <a:gd name="T43" fmla="*/ 106284168 h 518"/>
              <a:gd name="T44" fmla="*/ 47119864 w 399"/>
              <a:gd name="T45" fmla="*/ 109579967 h 518"/>
              <a:gd name="T46" fmla="*/ 45012548 w 399"/>
              <a:gd name="T47" fmla="*/ 112051947 h 518"/>
              <a:gd name="T48" fmla="*/ 43480312 w 399"/>
              <a:gd name="T49" fmla="*/ 114523403 h 518"/>
              <a:gd name="T50" fmla="*/ 42905669 w 399"/>
              <a:gd name="T51" fmla="*/ 117269989 h 518"/>
              <a:gd name="T52" fmla="*/ 40798791 w 399"/>
              <a:gd name="T53" fmla="*/ 120290658 h 518"/>
              <a:gd name="T54" fmla="*/ 36009953 w 399"/>
              <a:gd name="T55" fmla="*/ 123586456 h 518"/>
              <a:gd name="T56" fmla="*/ 33137176 w 399"/>
              <a:gd name="T57" fmla="*/ 125234094 h 518"/>
              <a:gd name="T58" fmla="*/ 31796197 w 399"/>
              <a:gd name="T59" fmla="*/ 128255286 h 518"/>
              <a:gd name="T60" fmla="*/ 30263961 w 399"/>
              <a:gd name="T61" fmla="*/ 132100297 h 518"/>
              <a:gd name="T62" fmla="*/ 27965382 w 399"/>
              <a:gd name="T63" fmla="*/ 134571753 h 518"/>
              <a:gd name="T64" fmla="*/ 25092167 w 399"/>
              <a:gd name="T65" fmla="*/ 135670702 h 518"/>
              <a:gd name="T66" fmla="*/ 19537431 w 399"/>
              <a:gd name="T67" fmla="*/ 136769127 h 518"/>
              <a:gd name="T68" fmla="*/ 13982691 w 399"/>
              <a:gd name="T69" fmla="*/ 138416797 h 518"/>
              <a:gd name="T70" fmla="*/ 10534833 w 399"/>
              <a:gd name="T71" fmla="*/ 140614171 h 518"/>
              <a:gd name="T72" fmla="*/ 8810904 w 399"/>
              <a:gd name="T73" fmla="*/ 141163383 h 518"/>
              <a:gd name="T74" fmla="*/ 8236261 w 399"/>
              <a:gd name="T75" fmla="*/ 138966010 h 518"/>
              <a:gd name="T76" fmla="*/ 7278669 w 399"/>
              <a:gd name="T77" fmla="*/ 136494521 h 518"/>
              <a:gd name="T78" fmla="*/ 6512331 w 399"/>
              <a:gd name="T79" fmla="*/ 133747935 h 518"/>
              <a:gd name="T80" fmla="*/ 6321075 w 399"/>
              <a:gd name="T81" fmla="*/ 128529892 h 518"/>
              <a:gd name="T82" fmla="*/ 5554738 w 399"/>
              <a:gd name="T83" fmla="*/ 122213425 h 518"/>
              <a:gd name="T84" fmla="*/ 3256165 w 399"/>
              <a:gd name="T85" fmla="*/ 114798009 h 518"/>
              <a:gd name="T86" fmla="*/ 0 w 399"/>
              <a:gd name="T87" fmla="*/ 98320064 h 518"/>
              <a:gd name="T88" fmla="*/ 37159239 w 399"/>
              <a:gd name="T89" fmla="*/ 50807931 h 518"/>
              <a:gd name="T90" fmla="*/ 38308525 w 399"/>
              <a:gd name="T91" fmla="*/ 0 h 518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399"/>
              <a:gd name="T139" fmla="*/ 0 h 518"/>
              <a:gd name="T140" fmla="*/ 399 w 399"/>
              <a:gd name="T141" fmla="*/ 518 h 518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399" h="518">
                <a:moveTo>
                  <a:pt x="200" y="0"/>
                </a:moveTo>
                <a:lnTo>
                  <a:pt x="200" y="8"/>
                </a:lnTo>
                <a:lnTo>
                  <a:pt x="201" y="15"/>
                </a:lnTo>
                <a:lnTo>
                  <a:pt x="202" y="22"/>
                </a:lnTo>
                <a:lnTo>
                  <a:pt x="205" y="29"/>
                </a:lnTo>
                <a:lnTo>
                  <a:pt x="208" y="36"/>
                </a:lnTo>
                <a:lnTo>
                  <a:pt x="211" y="42"/>
                </a:lnTo>
                <a:lnTo>
                  <a:pt x="214" y="49"/>
                </a:lnTo>
                <a:lnTo>
                  <a:pt x="219" y="56"/>
                </a:lnTo>
                <a:lnTo>
                  <a:pt x="224" y="63"/>
                </a:lnTo>
                <a:lnTo>
                  <a:pt x="230" y="69"/>
                </a:lnTo>
                <a:lnTo>
                  <a:pt x="235" y="75"/>
                </a:lnTo>
                <a:lnTo>
                  <a:pt x="242" y="81"/>
                </a:lnTo>
                <a:lnTo>
                  <a:pt x="249" y="86"/>
                </a:lnTo>
                <a:lnTo>
                  <a:pt x="256" y="91"/>
                </a:lnTo>
                <a:lnTo>
                  <a:pt x="264" y="95"/>
                </a:lnTo>
                <a:lnTo>
                  <a:pt x="273" y="98"/>
                </a:lnTo>
                <a:lnTo>
                  <a:pt x="316" y="106"/>
                </a:lnTo>
                <a:lnTo>
                  <a:pt x="356" y="116"/>
                </a:lnTo>
                <a:lnTo>
                  <a:pt x="365" y="119"/>
                </a:lnTo>
                <a:lnTo>
                  <a:pt x="374" y="123"/>
                </a:lnTo>
                <a:lnTo>
                  <a:pt x="380" y="127"/>
                </a:lnTo>
                <a:lnTo>
                  <a:pt x="387" y="132"/>
                </a:lnTo>
                <a:lnTo>
                  <a:pt x="392" y="137"/>
                </a:lnTo>
                <a:lnTo>
                  <a:pt x="396" y="144"/>
                </a:lnTo>
                <a:lnTo>
                  <a:pt x="398" y="151"/>
                </a:lnTo>
                <a:lnTo>
                  <a:pt x="399" y="160"/>
                </a:lnTo>
                <a:lnTo>
                  <a:pt x="398" y="174"/>
                </a:lnTo>
                <a:lnTo>
                  <a:pt x="396" y="187"/>
                </a:lnTo>
                <a:lnTo>
                  <a:pt x="390" y="200"/>
                </a:lnTo>
                <a:lnTo>
                  <a:pt x="385" y="213"/>
                </a:lnTo>
                <a:lnTo>
                  <a:pt x="369" y="239"/>
                </a:lnTo>
                <a:lnTo>
                  <a:pt x="353" y="263"/>
                </a:lnTo>
                <a:lnTo>
                  <a:pt x="344" y="276"/>
                </a:lnTo>
                <a:lnTo>
                  <a:pt x="335" y="290"/>
                </a:lnTo>
                <a:lnTo>
                  <a:pt x="328" y="303"/>
                </a:lnTo>
                <a:lnTo>
                  <a:pt x="321" y="316"/>
                </a:lnTo>
                <a:lnTo>
                  <a:pt x="314" y="330"/>
                </a:lnTo>
                <a:lnTo>
                  <a:pt x="310" y="345"/>
                </a:lnTo>
                <a:lnTo>
                  <a:pt x="307" y="360"/>
                </a:lnTo>
                <a:lnTo>
                  <a:pt x="306" y="376"/>
                </a:lnTo>
                <a:lnTo>
                  <a:pt x="297" y="377"/>
                </a:lnTo>
                <a:lnTo>
                  <a:pt x="284" y="381"/>
                </a:lnTo>
                <a:lnTo>
                  <a:pt x="268" y="387"/>
                </a:lnTo>
                <a:lnTo>
                  <a:pt x="254" y="395"/>
                </a:lnTo>
                <a:lnTo>
                  <a:pt x="246" y="399"/>
                </a:lnTo>
                <a:lnTo>
                  <a:pt x="241" y="403"/>
                </a:lnTo>
                <a:lnTo>
                  <a:pt x="235" y="408"/>
                </a:lnTo>
                <a:lnTo>
                  <a:pt x="231" y="413"/>
                </a:lnTo>
                <a:lnTo>
                  <a:pt x="227" y="417"/>
                </a:lnTo>
                <a:lnTo>
                  <a:pt x="225" y="422"/>
                </a:lnTo>
                <a:lnTo>
                  <a:pt x="224" y="427"/>
                </a:lnTo>
                <a:lnTo>
                  <a:pt x="227" y="431"/>
                </a:lnTo>
                <a:lnTo>
                  <a:pt x="213" y="438"/>
                </a:lnTo>
                <a:lnTo>
                  <a:pt x="197" y="446"/>
                </a:lnTo>
                <a:lnTo>
                  <a:pt x="188" y="450"/>
                </a:lnTo>
                <a:lnTo>
                  <a:pt x="179" y="454"/>
                </a:lnTo>
                <a:lnTo>
                  <a:pt x="173" y="456"/>
                </a:lnTo>
                <a:lnTo>
                  <a:pt x="166" y="456"/>
                </a:lnTo>
                <a:lnTo>
                  <a:pt x="166" y="467"/>
                </a:lnTo>
                <a:lnTo>
                  <a:pt x="163" y="475"/>
                </a:lnTo>
                <a:lnTo>
                  <a:pt x="158" y="481"/>
                </a:lnTo>
                <a:lnTo>
                  <a:pt x="153" y="486"/>
                </a:lnTo>
                <a:lnTo>
                  <a:pt x="146" y="490"/>
                </a:lnTo>
                <a:lnTo>
                  <a:pt x="139" y="493"/>
                </a:lnTo>
                <a:lnTo>
                  <a:pt x="131" y="494"/>
                </a:lnTo>
                <a:lnTo>
                  <a:pt x="122" y="496"/>
                </a:lnTo>
                <a:lnTo>
                  <a:pt x="102" y="498"/>
                </a:lnTo>
                <a:lnTo>
                  <a:pt x="83" y="501"/>
                </a:lnTo>
                <a:lnTo>
                  <a:pt x="73" y="504"/>
                </a:lnTo>
                <a:lnTo>
                  <a:pt x="64" y="507"/>
                </a:lnTo>
                <a:lnTo>
                  <a:pt x="55" y="512"/>
                </a:lnTo>
                <a:lnTo>
                  <a:pt x="46" y="518"/>
                </a:lnTo>
                <a:lnTo>
                  <a:pt x="46" y="514"/>
                </a:lnTo>
                <a:lnTo>
                  <a:pt x="45" y="510"/>
                </a:lnTo>
                <a:lnTo>
                  <a:pt x="43" y="506"/>
                </a:lnTo>
                <a:lnTo>
                  <a:pt x="40" y="501"/>
                </a:lnTo>
                <a:lnTo>
                  <a:pt x="38" y="497"/>
                </a:lnTo>
                <a:lnTo>
                  <a:pt x="36" y="492"/>
                </a:lnTo>
                <a:lnTo>
                  <a:pt x="34" y="487"/>
                </a:lnTo>
                <a:lnTo>
                  <a:pt x="33" y="481"/>
                </a:lnTo>
                <a:lnTo>
                  <a:pt x="33" y="468"/>
                </a:lnTo>
                <a:lnTo>
                  <a:pt x="31" y="456"/>
                </a:lnTo>
                <a:lnTo>
                  <a:pt x="29" y="445"/>
                </a:lnTo>
                <a:lnTo>
                  <a:pt x="26" y="436"/>
                </a:lnTo>
                <a:lnTo>
                  <a:pt x="17" y="418"/>
                </a:lnTo>
                <a:lnTo>
                  <a:pt x="7" y="401"/>
                </a:lnTo>
                <a:lnTo>
                  <a:pt x="0" y="358"/>
                </a:lnTo>
                <a:lnTo>
                  <a:pt x="113" y="332"/>
                </a:lnTo>
                <a:lnTo>
                  <a:pt x="194" y="185"/>
                </a:lnTo>
                <a:lnTo>
                  <a:pt x="166" y="136"/>
                </a:lnTo>
                <a:lnTo>
                  <a:pt x="200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547" name="Freeform 545"/>
          <p:cNvSpPr>
            <a:spLocks/>
          </p:cNvSpPr>
          <p:nvPr userDrawn="1">
            <p:custDataLst>
              <p:tags r:id="rId375"/>
            </p:custDataLst>
          </p:nvPr>
        </p:nvSpPr>
        <p:spPr bwMode="auto">
          <a:xfrm>
            <a:off x="4094164" y="2375308"/>
            <a:ext cx="376238" cy="289322"/>
          </a:xfrm>
          <a:custGeom>
            <a:avLst/>
            <a:gdLst>
              <a:gd name="T0" fmla="*/ 43601467 w 866"/>
              <a:gd name="T1" fmla="*/ 73373505 h 740"/>
              <a:gd name="T2" fmla="*/ 46243822 w 866"/>
              <a:gd name="T3" fmla="*/ 71742879 h 740"/>
              <a:gd name="T4" fmla="*/ 51340411 w 866"/>
              <a:gd name="T5" fmla="*/ 73917220 h 740"/>
              <a:gd name="T6" fmla="*/ 123443447 w 866"/>
              <a:gd name="T7" fmla="*/ 271597 h 740"/>
              <a:gd name="T8" fmla="*/ 128162061 w 866"/>
              <a:gd name="T9" fmla="*/ 1630626 h 740"/>
              <a:gd name="T10" fmla="*/ 134201852 w 866"/>
              <a:gd name="T11" fmla="*/ 5706671 h 740"/>
              <a:gd name="T12" fmla="*/ 137788277 w 866"/>
              <a:gd name="T13" fmla="*/ 9511641 h 740"/>
              <a:gd name="T14" fmla="*/ 143450961 w 866"/>
              <a:gd name="T15" fmla="*/ 15489907 h 740"/>
              <a:gd name="T16" fmla="*/ 149302199 w 866"/>
              <a:gd name="T17" fmla="*/ 16033623 h 740"/>
              <a:gd name="T18" fmla="*/ 156852155 w 866"/>
              <a:gd name="T19" fmla="*/ 11685461 h 740"/>
              <a:gd name="T20" fmla="*/ 161193662 w 866"/>
              <a:gd name="T21" fmla="*/ 45111218 h 740"/>
              <a:gd name="T22" fmla="*/ 163458475 w 866"/>
              <a:gd name="T23" fmla="*/ 55709244 h 740"/>
              <a:gd name="T24" fmla="*/ 160438580 w 866"/>
              <a:gd name="T25" fmla="*/ 81797710 h 740"/>
              <a:gd name="T26" fmla="*/ 160061039 w 866"/>
              <a:gd name="T27" fmla="*/ 102179491 h 740"/>
              <a:gd name="T28" fmla="*/ 157418250 w 866"/>
              <a:gd name="T29" fmla="*/ 114408142 h 740"/>
              <a:gd name="T30" fmla="*/ 151378459 w 866"/>
              <a:gd name="T31" fmla="*/ 126908912 h 740"/>
              <a:gd name="T32" fmla="*/ 146659845 w 866"/>
              <a:gd name="T33" fmla="*/ 135605236 h 740"/>
              <a:gd name="T34" fmla="*/ 143073420 w 866"/>
              <a:gd name="T35" fmla="*/ 154084304 h 740"/>
              <a:gd name="T36" fmla="*/ 134201852 w 866"/>
              <a:gd name="T37" fmla="*/ 170933236 h 740"/>
              <a:gd name="T38" fmla="*/ 128350614 w 866"/>
              <a:gd name="T39" fmla="*/ 175552995 h 740"/>
              <a:gd name="T40" fmla="*/ 121555740 w 866"/>
              <a:gd name="T41" fmla="*/ 173378654 h 740"/>
              <a:gd name="T42" fmla="*/ 115326961 w 866"/>
              <a:gd name="T43" fmla="*/ 169846326 h 740"/>
              <a:gd name="T44" fmla="*/ 106833342 w 866"/>
              <a:gd name="T45" fmla="*/ 172020146 h 740"/>
              <a:gd name="T46" fmla="*/ 100038034 w 866"/>
              <a:gd name="T47" fmla="*/ 179085844 h 740"/>
              <a:gd name="T48" fmla="*/ 96451609 w 866"/>
              <a:gd name="T49" fmla="*/ 184792513 h 740"/>
              <a:gd name="T50" fmla="*/ 92676631 w 866"/>
              <a:gd name="T51" fmla="*/ 185879424 h 740"/>
              <a:gd name="T52" fmla="*/ 88713099 w 866"/>
              <a:gd name="T53" fmla="*/ 181531262 h 740"/>
              <a:gd name="T54" fmla="*/ 84183039 w 866"/>
              <a:gd name="T55" fmla="*/ 173650772 h 740"/>
              <a:gd name="T56" fmla="*/ 79464425 w 866"/>
              <a:gd name="T57" fmla="*/ 172563862 h 740"/>
              <a:gd name="T58" fmla="*/ 76444095 w 866"/>
              <a:gd name="T59" fmla="*/ 175824592 h 740"/>
              <a:gd name="T60" fmla="*/ 72480563 w 866"/>
              <a:gd name="T61" fmla="*/ 177183621 h 740"/>
              <a:gd name="T62" fmla="*/ 66062796 w 866"/>
              <a:gd name="T63" fmla="*/ 173378654 h 740"/>
              <a:gd name="T64" fmla="*/ 57757757 w 866"/>
              <a:gd name="T65" fmla="*/ 165226046 h 740"/>
              <a:gd name="T66" fmla="*/ 51151423 w 866"/>
              <a:gd name="T67" fmla="*/ 164139136 h 740"/>
              <a:gd name="T68" fmla="*/ 44734091 w 866"/>
              <a:gd name="T69" fmla="*/ 168487297 h 740"/>
              <a:gd name="T70" fmla="*/ 39448948 w 866"/>
              <a:gd name="T71" fmla="*/ 177455218 h 740"/>
              <a:gd name="T72" fmla="*/ 35862523 w 866"/>
              <a:gd name="T73" fmla="*/ 188053765 h 740"/>
              <a:gd name="T74" fmla="*/ 33597710 w 866"/>
              <a:gd name="T75" fmla="*/ 195391060 h 740"/>
              <a:gd name="T76" fmla="*/ 28124007 w 866"/>
              <a:gd name="T77" fmla="*/ 190771301 h 740"/>
              <a:gd name="T78" fmla="*/ 18874897 w 866"/>
              <a:gd name="T79" fmla="*/ 201097729 h 740"/>
              <a:gd name="T80" fmla="*/ 12457562 w 866"/>
              <a:gd name="T81" fmla="*/ 189955988 h 740"/>
              <a:gd name="T82" fmla="*/ 12080020 w 866"/>
              <a:gd name="T83" fmla="*/ 175009280 h 740"/>
              <a:gd name="T84" fmla="*/ 9437666 w 866"/>
              <a:gd name="T85" fmla="*/ 166585074 h 740"/>
              <a:gd name="T86" fmla="*/ 3774980 w 866"/>
              <a:gd name="T87" fmla="*/ 159519376 h 740"/>
              <a:gd name="T88" fmla="*/ 943636 w 866"/>
              <a:gd name="T89" fmla="*/ 151638366 h 740"/>
              <a:gd name="T90" fmla="*/ 10003761 w 866"/>
              <a:gd name="T91" fmla="*/ 144029473 h 740"/>
              <a:gd name="T92" fmla="*/ 14345271 w 866"/>
              <a:gd name="T93" fmla="*/ 140768222 h 740"/>
              <a:gd name="T94" fmla="*/ 26236300 w 866"/>
              <a:gd name="T95" fmla="*/ 138594401 h 740"/>
              <a:gd name="T96" fmla="*/ 34352792 w 866"/>
              <a:gd name="T97" fmla="*/ 135876833 h 740"/>
              <a:gd name="T98" fmla="*/ 37938783 w 866"/>
              <a:gd name="T99" fmla="*/ 129082732 h 740"/>
              <a:gd name="T100" fmla="*/ 41336654 w 866"/>
              <a:gd name="T101" fmla="*/ 115223455 h 740"/>
              <a:gd name="T102" fmla="*/ 42280290 w 866"/>
              <a:gd name="T103" fmla="*/ 99733552 h 740"/>
              <a:gd name="T104" fmla="*/ 41336654 w 866"/>
              <a:gd name="T105" fmla="*/ 86961185 h 7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866"/>
              <a:gd name="T160" fmla="*/ 0 h 740"/>
              <a:gd name="T161" fmla="*/ 866 w 866"/>
              <a:gd name="T162" fmla="*/ 740 h 740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866" h="740">
                <a:moveTo>
                  <a:pt x="219" y="283"/>
                </a:moveTo>
                <a:lnTo>
                  <a:pt x="223" y="278"/>
                </a:lnTo>
                <a:lnTo>
                  <a:pt x="227" y="273"/>
                </a:lnTo>
                <a:lnTo>
                  <a:pt x="231" y="270"/>
                </a:lnTo>
                <a:lnTo>
                  <a:pt x="234" y="267"/>
                </a:lnTo>
                <a:lnTo>
                  <a:pt x="238" y="266"/>
                </a:lnTo>
                <a:lnTo>
                  <a:pt x="242" y="264"/>
                </a:lnTo>
                <a:lnTo>
                  <a:pt x="245" y="264"/>
                </a:lnTo>
                <a:lnTo>
                  <a:pt x="250" y="264"/>
                </a:lnTo>
                <a:lnTo>
                  <a:pt x="256" y="265"/>
                </a:lnTo>
                <a:lnTo>
                  <a:pt x="264" y="268"/>
                </a:lnTo>
                <a:lnTo>
                  <a:pt x="272" y="272"/>
                </a:lnTo>
                <a:lnTo>
                  <a:pt x="279" y="277"/>
                </a:lnTo>
                <a:lnTo>
                  <a:pt x="645" y="6"/>
                </a:lnTo>
                <a:lnTo>
                  <a:pt x="649" y="3"/>
                </a:lnTo>
                <a:lnTo>
                  <a:pt x="654" y="1"/>
                </a:lnTo>
                <a:lnTo>
                  <a:pt x="658" y="0"/>
                </a:lnTo>
                <a:lnTo>
                  <a:pt x="663" y="0"/>
                </a:lnTo>
                <a:lnTo>
                  <a:pt x="671" y="2"/>
                </a:lnTo>
                <a:lnTo>
                  <a:pt x="679" y="6"/>
                </a:lnTo>
                <a:lnTo>
                  <a:pt x="689" y="11"/>
                </a:lnTo>
                <a:lnTo>
                  <a:pt x="699" y="17"/>
                </a:lnTo>
                <a:lnTo>
                  <a:pt x="704" y="19"/>
                </a:lnTo>
                <a:lnTo>
                  <a:pt x="711" y="21"/>
                </a:lnTo>
                <a:lnTo>
                  <a:pt x="717" y="23"/>
                </a:lnTo>
                <a:lnTo>
                  <a:pt x="724" y="25"/>
                </a:lnTo>
                <a:lnTo>
                  <a:pt x="726" y="30"/>
                </a:lnTo>
                <a:lnTo>
                  <a:pt x="730" y="35"/>
                </a:lnTo>
                <a:lnTo>
                  <a:pt x="736" y="42"/>
                </a:lnTo>
                <a:lnTo>
                  <a:pt x="744" y="47"/>
                </a:lnTo>
                <a:lnTo>
                  <a:pt x="752" y="53"/>
                </a:lnTo>
                <a:lnTo>
                  <a:pt x="760" y="57"/>
                </a:lnTo>
                <a:lnTo>
                  <a:pt x="769" y="60"/>
                </a:lnTo>
                <a:lnTo>
                  <a:pt x="778" y="61"/>
                </a:lnTo>
                <a:lnTo>
                  <a:pt x="784" y="60"/>
                </a:lnTo>
                <a:lnTo>
                  <a:pt x="791" y="59"/>
                </a:lnTo>
                <a:lnTo>
                  <a:pt x="798" y="57"/>
                </a:lnTo>
                <a:lnTo>
                  <a:pt x="804" y="54"/>
                </a:lnTo>
                <a:lnTo>
                  <a:pt x="816" y="48"/>
                </a:lnTo>
                <a:lnTo>
                  <a:pt x="831" y="43"/>
                </a:lnTo>
                <a:lnTo>
                  <a:pt x="824" y="122"/>
                </a:lnTo>
                <a:lnTo>
                  <a:pt x="836" y="140"/>
                </a:lnTo>
                <a:lnTo>
                  <a:pt x="846" y="154"/>
                </a:lnTo>
                <a:lnTo>
                  <a:pt x="854" y="166"/>
                </a:lnTo>
                <a:lnTo>
                  <a:pt x="859" y="177"/>
                </a:lnTo>
                <a:lnTo>
                  <a:pt x="862" y="188"/>
                </a:lnTo>
                <a:lnTo>
                  <a:pt x="865" y="197"/>
                </a:lnTo>
                <a:lnTo>
                  <a:pt x="866" y="205"/>
                </a:lnTo>
                <a:lnTo>
                  <a:pt x="865" y="211"/>
                </a:lnTo>
                <a:lnTo>
                  <a:pt x="857" y="234"/>
                </a:lnTo>
                <a:lnTo>
                  <a:pt x="850" y="259"/>
                </a:lnTo>
                <a:lnTo>
                  <a:pt x="850" y="301"/>
                </a:lnTo>
                <a:lnTo>
                  <a:pt x="850" y="334"/>
                </a:lnTo>
                <a:lnTo>
                  <a:pt x="850" y="350"/>
                </a:lnTo>
                <a:lnTo>
                  <a:pt x="849" y="364"/>
                </a:lnTo>
                <a:lnTo>
                  <a:pt x="848" y="376"/>
                </a:lnTo>
                <a:lnTo>
                  <a:pt x="846" y="388"/>
                </a:lnTo>
                <a:lnTo>
                  <a:pt x="843" y="399"/>
                </a:lnTo>
                <a:lnTo>
                  <a:pt x="839" y="411"/>
                </a:lnTo>
                <a:lnTo>
                  <a:pt x="834" y="421"/>
                </a:lnTo>
                <a:lnTo>
                  <a:pt x="828" y="432"/>
                </a:lnTo>
                <a:lnTo>
                  <a:pt x="821" y="443"/>
                </a:lnTo>
                <a:lnTo>
                  <a:pt x="813" y="454"/>
                </a:lnTo>
                <a:lnTo>
                  <a:pt x="802" y="467"/>
                </a:lnTo>
                <a:lnTo>
                  <a:pt x="791" y="480"/>
                </a:lnTo>
                <a:lnTo>
                  <a:pt x="786" y="486"/>
                </a:lnTo>
                <a:lnTo>
                  <a:pt x="781" y="493"/>
                </a:lnTo>
                <a:lnTo>
                  <a:pt x="777" y="499"/>
                </a:lnTo>
                <a:lnTo>
                  <a:pt x="773" y="506"/>
                </a:lnTo>
                <a:lnTo>
                  <a:pt x="768" y="522"/>
                </a:lnTo>
                <a:lnTo>
                  <a:pt x="764" y="537"/>
                </a:lnTo>
                <a:lnTo>
                  <a:pt x="758" y="567"/>
                </a:lnTo>
                <a:lnTo>
                  <a:pt x="755" y="593"/>
                </a:lnTo>
                <a:lnTo>
                  <a:pt x="731" y="585"/>
                </a:lnTo>
                <a:lnTo>
                  <a:pt x="698" y="591"/>
                </a:lnTo>
                <a:lnTo>
                  <a:pt x="711" y="629"/>
                </a:lnTo>
                <a:lnTo>
                  <a:pt x="719" y="636"/>
                </a:lnTo>
                <a:lnTo>
                  <a:pt x="704" y="641"/>
                </a:lnTo>
                <a:lnTo>
                  <a:pt x="692" y="645"/>
                </a:lnTo>
                <a:lnTo>
                  <a:pt x="680" y="646"/>
                </a:lnTo>
                <a:lnTo>
                  <a:pt x="670" y="646"/>
                </a:lnTo>
                <a:lnTo>
                  <a:pt x="661" y="644"/>
                </a:lnTo>
                <a:lnTo>
                  <a:pt x="653" y="641"/>
                </a:lnTo>
                <a:lnTo>
                  <a:pt x="644" y="638"/>
                </a:lnTo>
                <a:lnTo>
                  <a:pt x="636" y="634"/>
                </a:lnTo>
                <a:lnTo>
                  <a:pt x="629" y="631"/>
                </a:lnTo>
                <a:lnTo>
                  <a:pt x="620" y="628"/>
                </a:lnTo>
                <a:lnTo>
                  <a:pt x="611" y="625"/>
                </a:lnTo>
                <a:lnTo>
                  <a:pt x="601" y="624"/>
                </a:lnTo>
                <a:lnTo>
                  <a:pt x="591" y="625"/>
                </a:lnTo>
                <a:lnTo>
                  <a:pt x="579" y="628"/>
                </a:lnTo>
                <a:lnTo>
                  <a:pt x="566" y="633"/>
                </a:lnTo>
                <a:lnTo>
                  <a:pt x="552" y="641"/>
                </a:lnTo>
                <a:lnTo>
                  <a:pt x="543" y="646"/>
                </a:lnTo>
                <a:lnTo>
                  <a:pt x="536" y="652"/>
                </a:lnTo>
                <a:lnTo>
                  <a:pt x="530" y="659"/>
                </a:lnTo>
                <a:lnTo>
                  <a:pt x="525" y="666"/>
                </a:lnTo>
                <a:lnTo>
                  <a:pt x="520" y="673"/>
                </a:lnTo>
                <a:lnTo>
                  <a:pt x="514" y="678"/>
                </a:lnTo>
                <a:lnTo>
                  <a:pt x="511" y="680"/>
                </a:lnTo>
                <a:lnTo>
                  <a:pt x="508" y="683"/>
                </a:lnTo>
                <a:lnTo>
                  <a:pt x="503" y="684"/>
                </a:lnTo>
                <a:lnTo>
                  <a:pt x="499" y="684"/>
                </a:lnTo>
                <a:lnTo>
                  <a:pt x="491" y="684"/>
                </a:lnTo>
                <a:lnTo>
                  <a:pt x="486" y="682"/>
                </a:lnTo>
                <a:lnTo>
                  <a:pt x="481" y="679"/>
                </a:lnTo>
                <a:lnTo>
                  <a:pt x="477" y="676"/>
                </a:lnTo>
                <a:lnTo>
                  <a:pt x="470" y="668"/>
                </a:lnTo>
                <a:lnTo>
                  <a:pt x="465" y="659"/>
                </a:lnTo>
                <a:lnTo>
                  <a:pt x="458" y="650"/>
                </a:lnTo>
                <a:lnTo>
                  <a:pt x="451" y="642"/>
                </a:lnTo>
                <a:lnTo>
                  <a:pt x="446" y="639"/>
                </a:lnTo>
                <a:lnTo>
                  <a:pt x="441" y="637"/>
                </a:lnTo>
                <a:lnTo>
                  <a:pt x="433" y="635"/>
                </a:lnTo>
                <a:lnTo>
                  <a:pt x="425" y="635"/>
                </a:lnTo>
                <a:lnTo>
                  <a:pt x="421" y="635"/>
                </a:lnTo>
                <a:lnTo>
                  <a:pt x="417" y="638"/>
                </a:lnTo>
                <a:lnTo>
                  <a:pt x="412" y="640"/>
                </a:lnTo>
                <a:lnTo>
                  <a:pt x="409" y="644"/>
                </a:lnTo>
                <a:lnTo>
                  <a:pt x="405" y="647"/>
                </a:lnTo>
                <a:lnTo>
                  <a:pt x="401" y="650"/>
                </a:lnTo>
                <a:lnTo>
                  <a:pt x="397" y="652"/>
                </a:lnTo>
                <a:lnTo>
                  <a:pt x="392" y="653"/>
                </a:lnTo>
                <a:lnTo>
                  <a:pt x="384" y="652"/>
                </a:lnTo>
                <a:lnTo>
                  <a:pt x="376" y="651"/>
                </a:lnTo>
                <a:lnTo>
                  <a:pt x="369" y="648"/>
                </a:lnTo>
                <a:lnTo>
                  <a:pt x="363" y="645"/>
                </a:lnTo>
                <a:lnTo>
                  <a:pt x="350" y="638"/>
                </a:lnTo>
                <a:lnTo>
                  <a:pt x="339" y="629"/>
                </a:lnTo>
                <a:lnTo>
                  <a:pt x="327" y="619"/>
                </a:lnTo>
                <a:lnTo>
                  <a:pt x="312" y="611"/>
                </a:lnTo>
                <a:lnTo>
                  <a:pt x="306" y="608"/>
                </a:lnTo>
                <a:lnTo>
                  <a:pt x="297" y="606"/>
                </a:lnTo>
                <a:lnTo>
                  <a:pt x="289" y="604"/>
                </a:lnTo>
                <a:lnTo>
                  <a:pt x="279" y="603"/>
                </a:lnTo>
                <a:lnTo>
                  <a:pt x="271" y="604"/>
                </a:lnTo>
                <a:lnTo>
                  <a:pt x="262" y="606"/>
                </a:lnTo>
                <a:lnTo>
                  <a:pt x="253" y="610"/>
                </a:lnTo>
                <a:lnTo>
                  <a:pt x="245" y="615"/>
                </a:lnTo>
                <a:lnTo>
                  <a:pt x="237" y="620"/>
                </a:lnTo>
                <a:lnTo>
                  <a:pt x="229" y="628"/>
                </a:lnTo>
                <a:lnTo>
                  <a:pt x="222" y="636"/>
                </a:lnTo>
                <a:lnTo>
                  <a:pt x="216" y="644"/>
                </a:lnTo>
                <a:lnTo>
                  <a:pt x="209" y="653"/>
                </a:lnTo>
                <a:lnTo>
                  <a:pt x="204" y="662"/>
                </a:lnTo>
                <a:lnTo>
                  <a:pt x="198" y="671"/>
                </a:lnTo>
                <a:lnTo>
                  <a:pt x="194" y="682"/>
                </a:lnTo>
                <a:lnTo>
                  <a:pt x="190" y="692"/>
                </a:lnTo>
                <a:lnTo>
                  <a:pt x="188" y="702"/>
                </a:lnTo>
                <a:lnTo>
                  <a:pt x="187" y="711"/>
                </a:lnTo>
                <a:lnTo>
                  <a:pt x="186" y="720"/>
                </a:lnTo>
                <a:lnTo>
                  <a:pt x="178" y="719"/>
                </a:lnTo>
                <a:lnTo>
                  <a:pt x="172" y="717"/>
                </a:lnTo>
                <a:lnTo>
                  <a:pt x="164" y="712"/>
                </a:lnTo>
                <a:lnTo>
                  <a:pt x="156" y="708"/>
                </a:lnTo>
                <a:lnTo>
                  <a:pt x="149" y="702"/>
                </a:lnTo>
                <a:lnTo>
                  <a:pt x="141" y="697"/>
                </a:lnTo>
                <a:lnTo>
                  <a:pt x="134" y="693"/>
                </a:lnTo>
                <a:lnTo>
                  <a:pt x="127" y="690"/>
                </a:lnTo>
                <a:lnTo>
                  <a:pt x="100" y="740"/>
                </a:lnTo>
                <a:lnTo>
                  <a:pt x="73" y="740"/>
                </a:lnTo>
                <a:lnTo>
                  <a:pt x="70" y="725"/>
                </a:lnTo>
                <a:lnTo>
                  <a:pt x="67" y="712"/>
                </a:lnTo>
                <a:lnTo>
                  <a:pt x="66" y="699"/>
                </a:lnTo>
                <a:lnTo>
                  <a:pt x="66" y="686"/>
                </a:lnTo>
                <a:lnTo>
                  <a:pt x="66" y="672"/>
                </a:lnTo>
                <a:lnTo>
                  <a:pt x="66" y="658"/>
                </a:lnTo>
                <a:lnTo>
                  <a:pt x="64" y="644"/>
                </a:lnTo>
                <a:lnTo>
                  <a:pt x="60" y="629"/>
                </a:lnTo>
                <a:lnTo>
                  <a:pt x="58" y="622"/>
                </a:lnTo>
                <a:lnTo>
                  <a:pt x="53" y="618"/>
                </a:lnTo>
                <a:lnTo>
                  <a:pt x="50" y="613"/>
                </a:lnTo>
                <a:lnTo>
                  <a:pt x="46" y="609"/>
                </a:lnTo>
                <a:lnTo>
                  <a:pt x="36" y="601"/>
                </a:lnTo>
                <a:lnTo>
                  <a:pt x="25" y="592"/>
                </a:lnTo>
                <a:lnTo>
                  <a:pt x="20" y="587"/>
                </a:lnTo>
                <a:lnTo>
                  <a:pt x="16" y="581"/>
                </a:lnTo>
                <a:lnTo>
                  <a:pt x="11" y="575"/>
                </a:lnTo>
                <a:lnTo>
                  <a:pt x="8" y="566"/>
                </a:lnTo>
                <a:lnTo>
                  <a:pt x="5" y="558"/>
                </a:lnTo>
                <a:lnTo>
                  <a:pt x="3" y="548"/>
                </a:lnTo>
                <a:lnTo>
                  <a:pt x="0" y="537"/>
                </a:lnTo>
                <a:lnTo>
                  <a:pt x="0" y="524"/>
                </a:lnTo>
                <a:lnTo>
                  <a:pt x="53" y="530"/>
                </a:lnTo>
                <a:lnTo>
                  <a:pt x="59" y="526"/>
                </a:lnTo>
                <a:lnTo>
                  <a:pt x="64" y="522"/>
                </a:lnTo>
                <a:lnTo>
                  <a:pt x="71" y="520"/>
                </a:lnTo>
                <a:lnTo>
                  <a:pt x="76" y="518"/>
                </a:lnTo>
                <a:lnTo>
                  <a:pt x="91" y="514"/>
                </a:lnTo>
                <a:lnTo>
                  <a:pt x="106" y="512"/>
                </a:lnTo>
                <a:lnTo>
                  <a:pt x="121" y="511"/>
                </a:lnTo>
                <a:lnTo>
                  <a:pt x="139" y="510"/>
                </a:lnTo>
                <a:lnTo>
                  <a:pt x="155" y="508"/>
                </a:lnTo>
                <a:lnTo>
                  <a:pt x="173" y="505"/>
                </a:lnTo>
                <a:lnTo>
                  <a:pt x="177" y="503"/>
                </a:lnTo>
                <a:lnTo>
                  <a:pt x="182" y="500"/>
                </a:lnTo>
                <a:lnTo>
                  <a:pt x="185" y="497"/>
                </a:lnTo>
                <a:lnTo>
                  <a:pt x="189" y="494"/>
                </a:lnTo>
                <a:lnTo>
                  <a:pt x="196" y="485"/>
                </a:lnTo>
                <a:lnTo>
                  <a:pt x="201" y="475"/>
                </a:lnTo>
                <a:lnTo>
                  <a:pt x="207" y="464"/>
                </a:lnTo>
                <a:lnTo>
                  <a:pt x="211" y="451"/>
                </a:lnTo>
                <a:lnTo>
                  <a:pt x="216" y="438"/>
                </a:lnTo>
                <a:lnTo>
                  <a:pt x="219" y="424"/>
                </a:lnTo>
                <a:lnTo>
                  <a:pt x="221" y="410"/>
                </a:lnTo>
                <a:lnTo>
                  <a:pt x="223" y="395"/>
                </a:lnTo>
                <a:lnTo>
                  <a:pt x="224" y="381"/>
                </a:lnTo>
                <a:lnTo>
                  <a:pt x="224" y="367"/>
                </a:lnTo>
                <a:lnTo>
                  <a:pt x="224" y="354"/>
                </a:lnTo>
                <a:lnTo>
                  <a:pt x="223" y="341"/>
                </a:lnTo>
                <a:lnTo>
                  <a:pt x="221" y="330"/>
                </a:lnTo>
                <a:lnTo>
                  <a:pt x="219" y="320"/>
                </a:lnTo>
                <a:lnTo>
                  <a:pt x="219" y="283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548" name="Freeform 546"/>
          <p:cNvSpPr>
            <a:spLocks/>
          </p:cNvSpPr>
          <p:nvPr userDrawn="1">
            <p:custDataLst>
              <p:tags r:id="rId376"/>
            </p:custDataLst>
          </p:nvPr>
        </p:nvSpPr>
        <p:spPr bwMode="auto">
          <a:xfrm>
            <a:off x="3763963" y="2088368"/>
            <a:ext cx="300038" cy="195263"/>
          </a:xfrm>
          <a:custGeom>
            <a:avLst/>
            <a:gdLst>
              <a:gd name="T0" fmla="*/ 120077630 w 697"/>
              <a:gd name="T1" fmla="*/ 14369758 h 500"/>
              <a:gd name="T2" fmla="*/ 121745272 w 697"/>
              <a:gd name="T3" fmla="*/ 43651849 h 500"/>
              <a:gd name="T4" fmla="*/ 122486543 w 697"/>
              <a:gd name="T5" fmla="*/ 45278515 h 500"/>
              <a:gd name="T6" fmla="*/ 125451623 w 697"/>
              <a:gd name="T7" fmla="*/ 47989799 h 500"/>
              <a:gd name="T8" fmla="*/ 128601806 w 697"/>
              <a:gd name="T9" fmla="*/ 51243132 h 500"/>
              <a:gd name="T10" fmla="*/ 129157543 w 697"/>
              <a:gd name="T11" fmla="*/ 53683652 h 500"/>
              <a:gd name="T12" fmla="*/ 128601806 w 697"/>
              <a:gd name="T13" fmla="*/ 57208270 h 500"/>
              <a:gd name="T14" fmla="*/ 126933733 w 697"/>
              <a:gd name="T15" fmla="*/ 58834936 h 500"/>
              <a:gd name="T16" fmla="*/ 121374637 w 697"/>
              <a:gd name="T17" fmla="*/ 59106221 h 500"/>
              <a:gd name="T18" fmla="*/ 112109595 w 697"/>
              <a:gd name="T19" fmla="*/ 61817505 h 500"/>
              <a:gd name="T20" fmla="*/ 105067960 w 697"/>
              <a:gd name="T21" fmla="*/ 67782122 h 500"/>
              <a:gd name="T22" fmla="*/ 101732244 w 697"/>
              <a:gd name="T23" fmla="*/ 72391374 h 500"/>
              <a:gd name="T24" fmla="*/ 99879500 w 697"/>
              <a:gd name="T25" fmla="*/ 78085227 h 500"/>
              <a:gd name="T26" fmla="*/ 96543784 w 697"/>
              <a:gd name="T27" fmla="*/ 81880608 h 500"/>
              <a:gd name="T28" fmla="*/ 90984689 w 697"/>
              <a:gd name="T29" fmla="*/ 87845746 h 500"/>
              <a:gd name="T30" fmla="*/ 84313689 w 697"/>
              <a:gd name="T31" fmla="*/ 95437029 h 500"/>
              <a:gd name="T32" fmla="*/ 77828221 w 697"/>
              <a:gd name="T33" fmla="*/ 100317549 h 500"/>
              <a:gd name="T34" fmla="*/ 68933410 w 697"/>
              <a:gd name="T35" fmla="*/ 102215500 h 500"/>
              <a:gd name="T36" fmla="*/ 63744950 w 697"/>
              <a:gd name="T37" fmla="*/ 103028834 h 500"/>
              <a:gd name="T38" fmla="*/ 58556490 w 697"/>
              <a:gd name="T39" fmla="*/ 107366784 h 500"/>
              <a:gd name="T40" fmla="*/ 53738221 w 697"/>
              <a:gd name="T41" fmla="*/ 113060637 h 500"/>
              <a:gd name="T42" fmla="*/ 49105929 w 697"/>
              <a:gd name="T43" fmla="*/ 115500637 h 500"/>
              <a:gd name="T44" fmla="*/ 926373 w 697"/>
              <a:gd name="T45" fmla="*/ 134479627 h 500"/>
              <a:gd name="T46" fmla="*/ 5929732 w 697"/>
              <a:gd name="T47" fmla="*/ 132039627 h 500"/>
              <a:gd name="T48" fmla="*/ 15750920 w 697"/>
              <a:gd name="T49" fmla="*/ 128243725 h 500"/>
              <a:gd name="T50" fmla="*/ 17233460 w 697"/>
              <a:gd name="T51" fmla="*/ 124447823 h 500"/>
              <a:gd name="T52" fmla="*/ 18345365 w 697"/>
              <a:gd name="T53" fmla="*/ 118754490 h 500"/>
              <a:gd name="T54" fmla="*/ 22051285 w 697"/>
              <a:gd name="T55" fmla="*/ 114416019 h 500"/>
              <a:gd name="T56" fmla="*/ 29648665 w 697"/>
              <a:gd name="T57" fmla="*/ 108180117 h 500"/>
              <a:gd name="T58" fmla="*/ 33540118 w 697"/>
              <a:gd name="T59" fmla="*/ 103570882 h 500"/>
              <a:gd name="T60" fmla="*/ 35578395 w 697"/>
              <a:gd name="T61" fmla="*/ 96792932 h 500"/>
              <a:gd name="T62" fmla="*/ 35763928 w 697"/>
              <a:gd name="T63" fmla="*/ 85676510 h 500"/>
              <a:gd name="T64" fmla="*/ 36134563 w 697"/>
              <a:gd name="T65" fmla="*/ 68866756 h 500"/>
              <a:gd name="T66" fmla="*/ 35578395 w 697"/>
              <a:gd name="T67" fmla="*/ 52056465 h 500"/>
              <a:gd name="T68" fmla="*/ 39655381 w 697"/>
              <a:gd name="T69" fmla="*/ 51243132 h 500"/>
              <a:gd name="T70" fmla="*/ 42249395 w 697"/>
              <a:gd name="T71" fmla="*/ 48531848 h 500"/>
              <a:gd name="T72" fmla="*/ 44658308 w 697"/>
              <a:gd name="T73" fmla="*/ 44736467 h 500"/>
              <a:gd name="T74" fmla="*/ 46697016 w 697"/>
              <a:gd name="T75" fmla="*/ 41211328 h 500"/>
              <a:gd name="T76" fmla="*/ 52070579 w 697"/>
              <a:gd name="T77" fmla="*/ 39584662 h 500"/>
              <a:gd name="T78" fmla="*/ 58185855 w 697"/>
              <a:gd name="T79" fmla="*/ 38771329 h 500"/>
              <a:gd name="T80" fmla="*/ 63003680 w 697"/>
              <a:gd name="T81" fmla="*/ 35517996 h 500"/>
              <a:gd name="T82" fmla="*/ 66709600 w 697"/>
              <a:gd name="T83" fmla="*/ 29282086 h 500"/>
              <a:gd name="T84" fmla="*/ 71898491 w 697"/>
              <a:gd name="T85" fmla="*/ 13014377 h 500"/>
              <a:gd name="T86" fmla="*/ 75419308 w 697"/>
              <a:gd name="T87" fmla="*/ 3253334 h 500"/>
              <a:gd name="T88" fmla="*/ 78939696 w 697"/>
              <a:gd name="T89" fmla="*/ 2169237 h 500"/>
              <a:gd name="T90" fmla="*/ 83201784 w 697"/>
              <a:gd name="T91" fmla="*/ 5422571 h 500"/>
              <a:gd name="T92" fmla="*/ 94876142 w 697"/>
              <a:gd name="T93" fmla="*/ 4880522 h 500"/>
              <a:gd name="T94" fmla="*/ 109330048 w 697"/>
              <a:gd name="T95" fmla="*/ 3524618 h 500"/>
              <a:gd name="T96" fmla="*/ 110627055 w 697"/>
              <a:gd name="T97" fmla="*/ 4609237 h 500"/>
              <a:gd name="T98" fmla="*/ 112109595 w 697"/>
              <a:gd name="T99" fmla="*/ 9760523 h 500"/>
              <a:gd name="T100" fmla="*/ 113221527 w 697"/>
              <a:gd name="T101" fmla="*/ 13827710 h 500"/>
              <a:gd name="T102" fmla="*/ 114518535 w 697"/>
              <a:gd name="T103" fmla="*/ 13556425 h 500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697"/>
              <a:gd name="T157" fmla="*/ 0 h 500"/>
              <a:gd name="T158" fmla="*/ 697 w 697"/>
              <a:gd name="T159" fmla="*/ 500 h 500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697" h="500">
                <a:moveTo>
                  <a:pt x="631" y="50"/>
                </a:moveTo>
                <a:lnTo>
                  <a:pt x="635" y="51"/>
                </a:lnTo>
                <a:lnTo>
                  <a:pt x="648" y="53"/>
                </a:lnTo>
                <a:lnTo>
                  <a:pt x="659" y="55"/>
                </a:lnTo>
                <a:lnTo>
                  <a:pt x="664" y="56"/>
                </a:lnTo>
                <a:lnTo>
                  <a:pt x="657" y="161"/>
                </a:lnTo>
                <a:lnTo>
                  <a:pt x="657" y="163"/>
                </a:lnTo>
                <a:lnTo>
                  <a:pt x="659" y="165"/>
                </a:lnTo>
                <a:lnTo>
                  <a:pt x="661" y="167"/>
                </a:lnTo>
                <a:lnTo>
                  <a:pt x="664" y="169"/>
                </a:lnTo>
                <a:lnTo>
                  <a:pt x="669" y="173"/>
                </a:lnTo>
                <a:lnTo>
                  <a:pt x="677" y="177"/>
                </a:lnTo>
                <a:lnTo>
                  <a:pt x="685" y="181"/>
                </a:lnTo>
                <a:lnTo>
                  <a:pt x="691" y="185"/>
                </a:lnTo>
                <a:lnTo>
                  <a:pt x="694" y="189"/>
                </a:lnTo>
                <a:lnTo>
                  <a:pt x="696" y="192"/>
                </a:lnTo>
                <a:lnTo>
                  <a:pt x="697" y="195"/>
                </a:lnTo>
                <a:lnTo>
                  <a:pt x="697" y="198"/>
                </a:lnTo>
                <a:lnTo>
                  <a:pt x="697" y="203"/>
                </a:lnTo>
                <a:lnTo>
                  <a:pt x="696" y="208"/>
                </a:lnTo>
                <a:lnTo>
                  <a:pt x="694" y="211"/>
                </a:lnTo>
                <a:lnTo>
                  <a:pt x="691" y="214"/>
                </a:lnTo>
                <a:lnTo>
                  <a:pt x="688" y="216"/>
                </a:lnTo>
                <a:lnTo>
                  <a:pt x="685" y="217"/>
                </a:lnTo>
                <a:lnTo>
                  <a:pt x="680" y="218"/>
                </a:lnTo>
                <a:lnTo>
                  <a:pt x="676" y="219"/>
                </a:lnTo>
                <a:lnTo>
                  <a:pt x="655" y="218"/>
                </a:lnTo>
                <a:lnTo>
                  <a:pt x="631" y="216"/>
                </a:lnTo>
                <a:lnTo>
                  <a:pt x="619" y="221"/>
                </a:lnTo>
                <a:lnTo>
                  <a:pt x="605" y="228"/>
                </a:lnTo>
                <a:lnTo>
                  <a:pt x="589" y="235"/>
                </a:lnTo>
                <a:lnTo>
                  <a:pt x="574" y="245"/>
                </a:lnTo>
                <a:lnTo>
                  <a:pt x="567" y="250"/>
                </a:lnTo>
                <a:lnTo>
                  <a:pt x="560" y="256"/>
                </a:lnTo>
                <a:lnTo>
                  <a:pt x="554" y="261"/>
                </a:lnTo>
                <a:lnTo>
                  <a:pt x="549" y="267"/>
                </a:lnTo>
                <a:lnTo>
                  <a:pt x="544" y="274"/>
                </a:lnTo>
                <a:lnTo>
                  <a:pt x="541" y="281"/>
                </a:lnTo>
                <a:lnTo>
                  <a:pt x="539" y="288"/>
                </a:lnTo>
                <a:lnTo>
                  <a:pt x="538" y="296"/>
                </a:lnTo>
                <a:lnTo>
                  <a:pt x="529" y="299"/>
                </a:lnTo>
                <a:lnTo>
                  <a:pt x="521" y="302"/>
                </a:lnTo>
                <a:lnTo>
                  <a:pt x="514" y="306"/>
                </a:lnTo>
                <a:lnTo>
                  <a:pt x="506" y="312"/>
                </a:lnTo>
                <a:lnTo>
                  <a:pt x="491" y="324"/>
                </a:lnTo>
                <a:lnTo>
                  <a:pt x="475" y="339"/>
                </a:lnTo>
                <a:lnTo>
                  <a:pt x="465" y="346"/>
                </a:lnTo>
                <a:lnTo>
                  <a:pt x="455" y="352"/>
                </a:lnTo>
                <a:lnTo>
                  <a:pt x="445" y="360"/>
                </a:lnTo>
                <a:lnTo>
                  <a:pt x="433" y="365"/>
                </a:lnTo>
                <a:lnTo>
                  <a:pt x="420" y="370"/>
                </a:lnTo>
                <a:lnTo>
                  <a:pt x="406" y="373"/>
                </a:lnTo>
                <a:lnTo>
                  <a:pt x="389" y="376"/>
                </a:lnTo>
                <a:lnTo>
                  <a:pt x="372" y="377"/>
                </a:lnTo>
                <a:lnTo>
                  <a:pt x="361" y="377"/>
                </a:lnTo>
                <a:lnTo>
                  <a:pt x="352" y="378"/>
                </a:lnTo>
                <a:lnTo>
                  <a:pt x="344" y="380"/>
                </a:lnTo>
                <a:lnTo>
                  <a:pt x="337" y="382"/>
                </a:lnTo>
                <a:lnTo>
                  <a:pt x="326" y="389"/>
                </a:lnTo>
                <a:lnTo>
                  <a:pt x="316" y="396"/>
                </a:lnTo>
                <a:lnTo>
                  <a:pt x="306" y="404"/>
                </a:lnTo>
                <a:lnTo>
                  <a:pt x="296" y="413"/>
                </a:lnTo>
                <a:lnTo>
                  <a:pt x="290" y="417"/>
                </a:lnTo>
                <a:lnTo>
                  <a:pt x="283" y="420"/>
                </a:lnTo>
                <a:lnTo>
                  <a:pt x="274" y="423"/>
                </a:lnTo>
                <a:lnTo>
                  <a:pt x="265" y="426"/>
                </a:lnTo>
                <a:lnTo>
                  <a:pt x="272" y="494"/>
                </a:lnTo>
                <a:lnTo>
                  <a:pt x="0" y="500"/>
                </a:lnTo>
                <a:lnTo>
                  <a:pt x="5" y="496"/>
                </a:lnTo>
                <a:lnTo>
                  <a:pt x="13" y="492"/>
                </a:lnTo>
                <a:lnTo>
                  <a:pt x="22" y="490"/>
                </a:lnTo>
                <a:lnTo>
                  <a:pt x="32" y="487"/>
                </a:lnTo>
                <a:lnTo>
                  <a:pt x="55" y="483"/>
                </a:lnTo>
                <a:lnTo>
                  <a:pt x="80" y="475"/>
                </a:lnTo>
                <a:lnTo>
                  <a:pt x="85" y="473"/>
                </a:lnTo>
                <a:lnTo>
                  <a:pt x="90" y="469"/>
                </a:lnTo>
                <a:lnTo>
                  <a:pt x="92" y="465"/>
                </a:lnTo>
                <a:lnTo>
                  <a:pt x="93" y="459"/>
                </a:lnTo>
                <a:lnTo>
                  <a:pt x="93" y="451"/>
                </a:lnTo>
                <a:lnTo>
                  <a:pt x="93" y="444"/>
                </a:lnTo>
                <a:lnTo>
                  <a:pt x="99" y="438"/>
                </a:lnTo>
                <a:lnTo>
                  <a:pt x="104" y="432"/>
                </a:lnTo>
                <a:lnTo>
                  <a:pt x="112" y="427"/>
                </a:lnTo>
                <a:lnTo>
                  <a:pt x="119" y="422"/>
                </a:lnTo>
                <a:lnTo>
                  <a:pt x="136" y="414"/>
                </a:lnTo>
                <a:lnTo>
                  <a:pt x="152" y="404"/>
                </a:lnTo>
                <a:lnTo>
                  <a:pt x="160" y="399"/>
                </a:lnTo>
                <a:lnTo>
                  <a:pt x="168" y="394"/>
                </a:lnTo>
                <a:lnTo>
                  <a:pt x="174" y="388"/>
                </a:lnTo>
                <a:lnTo>
                  <a:pt x="181" y="382"/>
                </a:lnTo>
                <a:lnTo>
                  <a:pt x="185" y="375"/>
                </a:lnTo>
                <a:lnTo>
                  <a:pt x="189" y="366"/>
                </a:lnTo>
                <a:lnTo>
                  <a:pt x="192" y="357"/>
                </a:lnTo>
                <a:lnTo>
                  <a:pt x="192" y="345"/>
                </a:lnTo>
                <a:lnTo>
                  <a:pt x="193" y="332"/>
                </a:lnTo>
                <a:lnTo>
                  <a:pt x="193" y="316"/>
                </a:lnTo>
                <a:lnTo>
                  <a:pt x="194" y="296"/>
                </a:lnTo>
                <a:lnTo>
                  <a:pt x="195" y="275"/>
                </a:lnTo>
                <a:lnTo>
                  <a:pt x="195" y="254"/>
                </a:lnTo>
                <a:lnTo>
                  <a:pt x="195" y="232"/>
                </a:lnTo>
                <a:lnTo>
                  <a:pt x="194" y="211"/>
                </a:lnTo>
                <a:lnTo>
                  <a:pt x="192" y="192"/>
                </a:lnTo>
                <a:lnTo>
                  <a:pt x="201" y="192"/>
                </a:lnTo>
                <a:lnTo>
                  <a:pt x="207" y="190"/>
                </a:lnTo>
                <a:lnTo>
                  <a:pt x="214" y="189"/>
                </a:lnTo>
                <a:lnTo>
                  <a:pt x="219" y="185"/>
                </a:lnTo>
                <a:lnTo>
                  <a:pt x="224" y="182"/>
                </a:lnTo>
                <a:lnTo>
                  <a:pt x="228" y="179"/>
                </a:lnTo>
                <a:lnTo>
                  <a:pt x="232" y="176"/>
                </a:lnTo>
                <a:lnTo>
                  <a:pt x="236" y="172"/>
                </a:lnTo>
                <a:lnTo>
                  <a:pt x="241" y="165"/>
                </a:lnTo>
                <a:lnTo>
                  <a:pt x="247" y="158"/>
                </a:lnTo>
                <a:lnTo>
                  <a:pt x="249" y="155"/>
                </a:lnTo>
                <a:lnTo>
                  <a:pt x="252" y="152"/>
                </a:lnTo>
                <a:lnTo>
                  <a:pt x="256" y="150"/>
                </a:lnTo>
                <a:lnTo>
                  <a:pt x="259" y="149"/>
                </a:lnTo>
                <a:lnTo>
                  <a:pt x="281" y="146"/>
                </a:lnTo>
                <a:lnTo>
                  <a:pt x="297" y="145"/>
                </a:lnTo>
                <a:lnTo>
                  <a:pt x="306" y="144"/>
                </a:lnTo>
                <a:lnTo>
                  <a:pt x="314" y="143"/>
                </a:lnTo>
                <a:lnTo>
                  <a:pt x="323" y="140"/>
                </a:lnTo>
                <a:lnTo>
                  <a:pt x="331" y="137"/>
                </a:lnTo>
                <a:lnTo>
                  <a:pt x="340" y="131"/>
                </a:lnTo>
                <a:lnTo>
                  <a:pt x="348" y="124"/>
                </a:lnTo>
                <a:lnTo>
                  <a:pt x="354" y="116"/>
                </a:lnTo>
                <a:lnTo>
                  <a:pt x="360" y="108"/>
                </a:lnTo>
                <a:lnTo>
                  <a:pt x="371" y="89"/>
                </a:lnTo>
                <a:lnTo>
                  <a:pt x="380" y="68"/>
                </a:lnTo>
                <a:lnTo>
                  <a:pt x="388" y="48"/>
                </a:lnTo>
                <a:lnTo>
                  <a:pt x="397" y="29"/>
                </a:lnTo>
                <a:lnTo>
                  <a:pt x="402" y="21"/>
                </a:lnTo>
                <a:lnTo>
                  <a:pt x="407" y="12"/>
                </a:lnTo>
                <a:lnTo>
                  <a:pt x="413" y="6"/>
                </a:lnTo>
                <a:lnTo>
                  <a:pt x="418" y="0"/>
                </a:lnTo>
                <a:lnTo>
                  <a:pt x="426" y="8"/>
                </a:lnTo>
                <a:lnTo>
                  <a:pt x="433" y="14"/>
                </a:lnTo>
                <a:lnTo>
                  <a:pt x="441" y="17"/>
                </a:lnTo>
                <a:lnTo>
                  <a:pt x="449" y="20"/>
                </a:lnTo>
                <a:lnTo>
                  <a:pt x="465" y="20"/>
                </a:lnTo>
                <a:lnTo>
                  <a:pt x="485" y="20"/>
                </a:lnTo>
                <a:lnTo>
                  <a:pt x="512" y="18"/>
                </a:lnTo>
                <a:lnTo>
                  <a:pt x="543" y="16"/>
                </a:lnTo>
                <a:lnTo>
                  <a:pt x="571" y="14"/>
                </a:lnTo>
                <a:lnTo>
                  <a:pt x="590" y="13"/>
                </a:lnTo>
                <a:lnTo>
                  <a:pt x="594" y="13"/>
                </a:lnTo>
                <a:lnTo>
                  <a:pt x="595" y="15"/>
                </a:lnTo>
                <a:lnTo>
                  <a:pt x="597" y="17"/>
                </a:lnTo>
                <a:lnTo>
                  <a:pt x="599" y="21"/>
                </a:lnTo>
                <a:lnTo>
                  <a:pt x="601" y="28"/>
                </a:lnTo>
                <a:lnTo>
                  <a:pt x="605" y="36"/>
                </a:lnTo>
                <a:lnTo>
                  <a:pt x="607" y="44"/>
                </a:lnTo>
                <a:lnTo>
                  <a:pt x="609" y="49"/>
                </a:lnTo>
                <a:lnTo>
                  <a:pt x="611" y="51"/>
                </a:lnTo>
                <a:lnTo>
                  <a:pt x="613" y="52"/>
                </a:lnTo>
                <a:lnTo>
                  <a:pt x="615" y="51"/>
                </a:lnTo>
                <a:lnTo>
                  <a:pt x="618" y="50"/>
                </a:lnTo>
                <a:lnTo>
                  <a:pt x="631" y="5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549" name="Freeform 547"/>
          <p:cNvSpPr>
            <a:spLocks/>
          </p:cNvSpPr>
          <p:nvPr userDrawn="1">
            <p:custDataLst>
              <p:tags r:id="rId377"/>
            </p:custDataLst>
          </p:nvPr>
        </p:nvSpPr>
        <p:spPr bwMode="auto">
          <a:xfrm>
            <a:off x="4425960" y="1285878"/>
            <a:ext cx="236537" cy="69056"/>
          </a:xfrm>
          <a:custGeom>
            <a:avLst/>
            <a:gdLst>
              <a:gd name="T0" fmla="*/ 13888098 w 546"/>
              <a:gd name="T1" fmla="*/ 5381864 h 173"/>
              <a:gd name="T2" fmla="*/ 17641500 w 546"/>
              <a:gd name="T3" fmla="*/ 9631152 h 173"/>
              <a:gd name="T4" fmla="*/ 20644566 w 546"/>
              <a:gd name="T5" fmla="*/ 7648079 h 173"/>
              <a:gd name="T6" fmla="*/ 24773564 w 546"/>
              <a:gd name="T7" fmla="*/ 7648079 h 173"/>
              <a:gd name="T8" fmla="*/ 30216086 w 546"/>
              <a:gd name="T9" fmla="*/ 12463655 h 173"/>
              <a:gd name="T10" fmla="*/ 39224849 w 546"/>
              <a:gd name="T11" fmla="*/ 5381864 h 173"/>
              <a:gd name="T12" fmla="*/ 45605713 w 546"/>
              <a:gd name="T13" fmla="*/ 5381864 h 173"/>
              <a:gd name="T14" fmla="*/ 48796362 w 546"/>
              <a:gd name="T15" fmla="*/ 4532432 h 173"/>
              <a:gd name="T16" fmla="*/ 50485478 w 546"/>
              <a:gd name="T17" fmla="*/ 3965611 h 173"/>
              <a:gd name="T18" fmla="*/ 52362177 w 546"/>
              <a:gd name="T19" fmla="*/ 3115648 h 173"/>
              <a:gd name="T20" fmla="*/ 53675693 w 546"/>
              <a:gd name="T21" fmla="*/ 849964 h 173"/>
              <a:gd name="T22" fmla="*/ 60244588 w 546"/>
              <a:gd name="T23" fmla="*/ 1416252 h 173"/>
              <a:gd name="T24" fmla="*/ 62496887 w 546"/>
              <a:gd name="T25" fmla="*/ 3399324 h 173"/>
              <a:gd name="T26" fmla="*/ 65311936 w 546"/>
              <a:gd name="T27" fmla="*/ 1983072 h 173"/>
              <a:gd name="T28" fmla="*/ 66250285 w 546"/>
              <a:gd name="T29" fmla="*/ 0 h 173"/>
              <a:gd name="T30" fmla="*/ 68877751 w 546"/>
              <a:gd name="T31" fmla="*/ 1983072 h 173"/>
              <a:gd name="T32" fmla="*/ 73006750 w 546"/>
              <a:gd name="T33" fmla="*/ 1983072 h 173"/>
              <a:gd name="T34" fmla="*/ 81827496 w 546"/>
              <a:gd name="T35" fmla="*/ 283144 h 173"/>
              <a:gd name="T36" fmla="*/ 90460660 w 546"/>
              <a:gd name="T37" fmla="*/ 1699396 h 173"/>
              <a:gd name="T38" fmla="*/ 99093823 w 546"/>
              <a:gd name="T39" fmla="*/ 3399324 h 173"/>
              <a:gd name="T40" fmla="*/ 102284472 w 546"/>
              <a:gd name="T41" fmla="*/ 13879906 h 173"/>
              <a:gd name="T42" fmla="*/ 100782939 w 546"/>
              <a:gd name="T43" fmla="*/ 16996085 h 173"/>
              <a:gd name="T44" fmla="*/ 96278774 w 546"/>
              <a:gd name="T45" fmla="*/ 17562377 h 173"/>
              <a:gd name="T46" fmla="*/ 90648243 w 546"/>
              <a:gd name="T47" fmla="*/ 15296158 h 173"/>
              <a:gd name="T48" fmla="*/ 77510915 w 546"/>
              <a:gd name="T49" fmla="*/ 12463655 h 173"/>
              <a:gd name="T50" fmla="*/ 82202663 w 546"/>
              <a:gd name="T51" fmla="*/ 22944239 h 173"/>
              <a:gd name="T52" fmla="*/ 88396377 w 546"/>
              <a:gd name="T53" fmla="*/ 28892920 h 173"/>
              <a:gd name="T54" fmla="*/ 92524942 w 546"/>
              <a:gd name="T55" fmla="*/ 33708494 h 173"/>
              <a:gd name="T56" fmla="*/ 89146710 w 546"/>
              <a:gd name="T57" fmla="*/ 38524077 h 173"/>
              <a:gd name="T58" fmla="*/ 84267379 w 546"/>
              <a:gd name="T59" fmla="*/ 40223472 h 173"/>
              <a:gd name="T60" fmla="*/ 79950797 w 546"/>
              <a:gd name="T61" fmla="*/ 39940328 h 173"/>
              <a:gd name="T62" fmla="*/ 77323331 w 546"/>
              <a:gd name="T63" fmla="*/ 37957257 h 173"/>
              <a:gd name="T64" fmla="*/ 74883449 w 546"/>
              <a:gd name="T65" fmla="*/ 36824149 h 173"/>
              <a:gd name="T66" fmla="*/ 72255983 w 546"/>
              <a:gd name="T67" fmla="*/ 34274782 h 173"/>
              <a:gd name="T68" fmla="*/ 70379284 w 546"/>
              <a:gd name="T69" fmla="*/ 29459208 h 173"/>
              <a:gd name="T70" fmla="*/ 68502585 w 546"/>
              <a:gd name="T71" fmla="*/ 26060417 h 173"/>
              <a:gd name="T72" fmla="*/ 64561169 w 546"/>
              <a:gd name="T73" fmla="*/ 23794202 h 173"/>
              <a:gd name="T74" fmla="*/ 60995354 w 546"/>
              <a:gd name="T75" fmla="*/ 21527987 h 173"/>
              <a:gd name="T76" fmla="*/ 56866356 w 546"/>
              <a:gd name="T77" fmla="*/ 24644166 h 173"/>
              <a:gd name="T78" fmla="*/ 48420762 w 546"/>
              <a:gd name="T79" fmla="*/ 37957257 h 173"/>
              <a:gd name="T80" fmla="*/ 44291764 w 546"/>
              <a:gd name="T81" fmla="*/ 46172153 h 173"/>
              <a:gd name="T82" fmla="*/ 41289131 w 546"/>
              <a:gd name="T83" fmla="*/ 48721512 h 173"/>
              <a:gd name="T84" fmla="*/ 35283434 w 546"/>
              <a:gd name="T85" fmla="*/ 47305261 h 173"/>
              <a:gd name="T86" fmla="*/ 30966852 w 546"/>
              <a:gd name="T87" fmla="*/ 43905938 h 173"/>
              <a:gd name="T88" fmla="*/ 21207749 w 546"/>
              <a:gd name="T89" fmla="*/ 29742884 h 173"/>
              <a:gd name="T90" fmla="*/ 17829517 w 546"/>
              <a:gd name="T91" fmla="*/ 25777274 h 173"/>
              <a:gd name="T92" fmla="*/ 11260632 w 546"/>
              <a:gd name="T93" fmla="*/ 21527987 h 173"/>
              <a:gd name="T94" fmla="*/ 3002633 w 546"/>
              <a:gd name="T95" fmla="*/ 16429265 h 173"/>
              <a:gd name="T96" fmla="*/ 2064283 w 546"/>
              <a:gd name="T97" fmla="*/ 9631152 h 173"/>
              <a:gd name="T98" fmla="*/ 5254933 w 546"/>
              <a:gd name="T99" fmla="*/ 5381864 h 173"/>
              <a:gd name="T100" fmla="*/ 8820750 w 546"/>
              <a:gd name="T101" fmla="*/ 3399324 h 173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546"/>
              <a:gd name="T154" fmla="*/ 0 h 173"/>
              <a:gd name="T155" fmla="*/ 546 w 546"/>
              <a:gd name="T156" fmla="*/ 173 h 173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550" name="Freeform 548"/>
          <p:cNvSpPr>
            <a:spLocks/>
          </p:cNvSpPr>
          <p:nvPr userDrawn="1">
            <p:custDataLst>
              <p:tags r:id="rId378"/>
            </p:custDataLst>
          </p:nvPr>
        </p:nvSpPr>
        <p:spPr bwMode="auto">
          <a:xfrm>
            <a:off x="4937127" y="1273973"/>
            <a:ext cx="107950" cy="45244"/>
          </a:xfrm>
          <a:custGeom>
            <a:avLst/>
            <a:gdLst>
              <a:gd name="T0" fmla="*/ 5199153 w 246"/>
              <a:gd name="T1" fmla="*/ 74267252 h 42"/>
              <a:gd name="T2" fmla="*/ 6932496 w 246"/>
              <a:gd name="T3" fmla="*/ 74267252 h 42"/>
              <a:gd name="T4" fmla="*/ 8665402 w 246"/>
              <a:gd name="T5" fmla="*/ 72204712 h 42"/>
              <a:gd name="T6" fmla="*/ 10206103 w 246"/>
              <a:gd name="T7" fmla="*/ 68078197 h 42"/>
              <a:gd name="T8" fmla="*/ 11361080 w 246"/>
              <a:gd name="T9" fmla="*/ 63953117 h 42"/>
              <a:gd name="T10" fmla="*/ 12709138 w 246"/>
              <a:gd name="T11" fmla="*/ 61889141 h 42"/>
              <a:gd name="T12" fmla="*/ 13864554 w 246"/>
              <a:gd name="T13" fmla="*/ 59826601 h 42"/>
              <a:gd name="T14" fmla="*/ 15405258 w 246"/>
              <a:gd name="T15" fmla="*/ 59826601 h 42"/>
              <a:gd name="T16" fmla="*/ 16752877 w 246"/>
              <a:gd name="T17" fmla="*/ 61889141 h 42"/>
              <a:gd name="T18" fmla="*/ 16752877 w 246"/>
              <a:gd name="T19" fmla="*/ 86645363 h 42"/>
              <a:gd name="T20" fmla="*/ 29654661 w 246"/>
              <a:gd name="T21" fmla="*/ 86645363 h 42"/>
              <a:gd name="T22" fmla="*/ 29654661 w 246"/>
              <a:gd name="T23" fmla="*/ 80456307 h 42"/>
              <a:gd name="T24" fmla="*/ 30039946 w 246"/>
              <a:gd name="T25" fmla="*/ 74267252 h 42"/>
              <a:gd name="T26" fmla="*/ 30617873 w 246"/>
              <a:gd name="T27" fmla="*/ 68078197 h 42"/>
              <a:gd name="T28" fmla="*/ 31388004 w 246"/>
              <a:gd name="T29" fmla="*/ 63953117 h 42"/>
              <a:gd name="T30" fmla="*/ 33698836 w 246"/>
              <a:gd name="T31" fmla="*/ 53637546 h 42"/>
              <a:gd name="T32" fmla="*/ 36587156 w 246"/>
              <a:gd name="T33" fmla="*/ 47448490 h 42"/>
              <a:gd name="T34" fmla="*/ 42556438 w 246"/>
              <a:gd name="T35" fmla="*/ 35070368 h 42"/>
              <a:gd name="T36" fmla="*/ 47370744 w 246"/>
              <a:gd name="T37" fmla="*/ 24756233 h 42"/>
              <a:gd name="T38" fmla="*/ 40823534 w 246"/>
              <a:gd name="T39" fmla="*/ 26818773 h 42"/>
              <a:gd name="T40" fmla="*/ 35817025 w 246"/>
              <a:gd name="T41" fmla="*/ 28881313 h 42"/>
              <a:gd name="T42" fmla="*/ 34276324 w 246"/>
              <a:gd name="T43" fmla="*/ 30945289 h 42"/>
              <a:gd name="T44" fmla="*/ 32928266 w 246"/>
              <a:gd name="T45" fmla="*/ 30945289 h 42"/>
              <a:gd name="T46" fmla="*/ 32350778 w 246"/>
              <a:gd name="T47" fmla="*/ 28881313 h 42"/>
              <a:gd name="T48" fmla="*/ 32158135 w 246"/>
              <a:gd name="T49" fmla="*/ 24756233 h 42"/>
              <a:gd name="T50" fmla="*/ 30617873 w 246"/>
              <a:gd name="T51" fmla="*/ 33007828 h 42"/>
              <a:gd name="T52" fmla="*/ 29269815 w 246"/>
              <a:gd name="T53" fmla="*/ 35070368 h 42"/>
              <a:gd name="T54" fmla="*/ 28307035 w 246"/>
              <a:gd name="T55" fmla="*/ 35070368 h 42"/>
              <a:gd name="T56" fmla="*/ 27151619 w 246"/>
              <a:gd name="T57" fmla="*/ 30945289 h 42"/>
              <a:gd name="T58" fmla="*/ 26381488 w 246"/>
              <a:gd name="T59" fmla="*/ 24756233 h 42"/>
              <a:gd name="T60" fmla="*/ 25610919 w 246"/>
              <a:gd name="T61" fmla="*/ 18567172 h 42"/>
              <a:gd name="T62" fmla="*/ 24840788 w 246"/>
              <a:gd name="T63" fmla="*/ 10315574 h 42"/>
              <a:gd name="T64" fmla="*/ 24262860 w 246"/>
              <a:gd name="T65" fmla="*/ 0 h 42"/>
              <a:gd name="T66" fmla="*/ 23300087 w 246"/>
              <a:gd name="T67" fmla="*/ 4126517 h 42"/>
              <a:gd name="T68" fmla="*/ 21759825 w 246"/>
              <a:gd name="T69" fmla="*/ 8251598 h 42"/>
              <a:gd name="T70" fmla="*/ 19834279 w 246"/>
              <a:gd name="T71" fmla="*/ 10315574 h 42"/>
              <a:gd name="T72" fmla="*/ 17908293 w 246"/>
              <a:gd name="T73" fmla="*/ 10315574 h 42"/>
              <a:gd name="T74" fmla="*/ 14249839 w 246"/>
              <a:gd name="T75" fmla="*/ 12378117 h 42"/>
              <a:gd name="T76" fmla="*/ 11553722 w 246"/>
              <a:gd name="T77" fmla="*/ 12378117 h 42"/>
              <a:gd name="T78" fmla="*/ 11168876 w 246"/>
              <a:gd name="T79" fmla="*/ 18567172 h 42"/>
              <a:gd name="T80" fmla="*/ 10783591 w 246"/>
              <a:gd name="T81" fmla="*/ 24756233 h 42"/>
              <a:gd name="T82" fmla="*/ 10398307 w 246"/>
              <a:gd name="T83" fmla="*/ 30945289 h 42"/>
              <a:gd name="T84" fmla="*/ 9628176 w 246"/>
              <a:gd name="T85" fmla="*/ 35070368 h 42"/>
              <a:gd name="T86" fmla="*/ 8087475 w 246"/>
              <a:gd name="T87" fmla="*/ 41259424 h 42"/>
              <a:gd name="T88" fmla="*/ 6354569 w 246"/>
              <a:gd name="T89" fmla="*/ 45385939 h 42"/>
              <a:gd name="T90" fmla="*/ 2695678 w 246"/>
              <a:gd name="T91" fmla="*/ 49511030 h 42"/>
              <a:gd name="T92" fmla="*/ 0 w 246"/>
              <a:gd name="T93" fmla="*/ 49511030 h 42"/>
              <a:gd name="T94" fmla="*/ 192642 w 246"/>
              <a:gd name="T95" fmla="*/ 55700086 h 42"/>
              <a:gd name="T96" fmla="*/ 577489 w 246"/>
              <a:gd name="T97" fmla="*/ 59826601 h 42"/>
              <a:gd name="T98" fmla="*/ 962774 w 246"/>
              <a:gd name="T99" fmla="*/ 63953117 h 42"/>
              <a:gd name="T100" fmla="*/ 1732905 w 246"/>
              <a:gd name="T101" fmla="*/ 68078197 h 42"/>
              <a:gd name="T102" fmla="*/ 3273606 w 246"/>
              <a:gd name="T103" fmla="*/ 72204712 h 42"/>
              <a:gd name="T104" fmla="*/ 5199153 w 246"/>
              <a:gd name="T105" fmla="*/ 74267252 h 4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246"/>
              <a:gd name="T160" fmla="*/ 0 h 42"/>
              <a:gd name="T161" fmla="*/ 246 w 246"/>
              <a:gd name="T162" fmla="*/ 42 h 42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551" name="Freeform 549"/>
          <p:cNvSpPr>
            <a:spLocks/>
          </p:cNvSpPr>
          <p:nvPr userDrawn="1">
            <p:custDataLst>
              <p:tags r:id="rId379"/>
            </p:custDataLst>
          </p:nvPr>
        </p:nvSpPr>
        <p:spPr bwMode="auto">
          <a:xfrm>
            <a:off x="5080003" y="1260884"/>
            <a:ext cx="63500" cy="42863"/>
          </a:xfrm>
          <a:custGeom>
            <a:avLst/>
            <a:gdLst>
              <a:gd name="T0" fmla="*/ 18707355 w 149"/>
              <a:gd name="T1" fmla="*/ 0 h 61"/>
              <a:gd name="T2" fmla="*/ 21431887 w 149"/>
              <a:gd name="T3" fmla="*/ 877861 h 61"/>
              <a:gd name="T4" fmla="*/ 24337544 w 149"/>
              <a:gd name="T5" fmla="*/ 2633585 h 61"/>
              <a:gd name="T6" fmla="*/ 26335449 w 149"/>
              <a:gd name="T7" fmla="*/ 4388371 h 61"/>
              <a:gd name="T8" fmla="*/ 27062076 w 149"/>
              <a:gd name="T9" fmla="*/ 5266232 h 61"/>
              <a:gd name="T10" fmla="*/ 27062076 w 149"/>
              <a:gd name="T11" fmla="*/ 7021955 h 61"/>
              <a:gd name="T12" fmla="*/ 26698976 w 149"/>
              <a:gd name="T13" fmla="*/ 8777679 h 61"/>
              <a:gd name="T14" fmla="*/ 26335449 w 149"/>
              <a:gd name="T15" fmla="*/ 10533402 h 61"/>
              <a:gd name="T16" fmla="*/ 25609248 w 149"/>
              <a:gd name="T17" fmla="*/ 11411263 h 61"/>
              <a:gd name="T18" fmla="*/ 24882621 w 149"/>
              <a:gd name="T19" fmla="*/ 12288187 h 61"/>
              <a:gd name="T20" fmla="*/ 23974443 w 149"/>
              <a:gd name="T21" fmla="*/ 12288187 h 61"/>
              <a:gd name="T22" fmla="*/ 23066266 w 149"/>
              <a:gd name="T23" fmla="*/ 12288187 h 61"/>
              <a:gd name="T24" fmla="*/ 22339638 w 149"/>
              <a:gd name="T25" fmla="*/ 10533402 h 61"/>
              <a:gd name="T26" fmla="*/ 22339638 w 149"/>
              <a:gd name="T27" fmla="*/ 20188006 h 61"/>
              <a:gd name="T28" fmla="*/ 22339638 w 149"/>
              <a:gd name="T29" fmla="*/ 28965681 h 61"/>
              <a:gd name="T30" fmla="*/ 22339638 w 149"/>
              <a:gd name="T31" fmla="*/ 35987642 h 61"/>
              <a:gd name="T32" fmla="*/ 22339638 w 149"/>
              <a:gd name="T33" fmla="*/ 43009595 h 61"/>
              <a:gd name="T34" fmla="*/ 21068360 w 149"/>
              <a:gd name="T35" fmla="*/ 43887456 h 61"/>
              <a:gd name="T36" fmla="*/ 19797082 w 149"/>
              <a:gd name="T37" fmla="*/ 44765317 h 61"/>
              <a:gd name="T38" fmla="*/ 18888905 w 149"/>
              <a:gd name="T39" fmla="*/ 46521040 h 61"/>
              <a:gd name="T40" fmla="*/ 18162278 w 149"/>
              <a:gd name="T41" fmla="*/ 48276762 h 61"/>
              <a:gd name="T42" fmla="*/ 17072550 w 149"/>
              <a:gd name="T43" fmla="*/ 50031548 h 61"/>
              <a:gd name="T44" fmla="*/ 16164799 w 149"/>
              <a:gd name="T45" fmla="*/ 51787271 h 61"/>
              <a:gd name="T46" fmla="*/ 15074645 w 149"/>
              <a:gd name="T47" fmla="*/ 53542993 h 61"/>
              <a:gd name="T48" fmla="*/ 13803363 w 149"/>
              <a:gd name="T49" fmla="*/ 53542993 h 61"/>
              <a:gd name="T50" fmla="*/ 12168985 w 149"/>
              <a:gd name="T51" fmla="*/ 52665132 h 61"/>
              <a:gd name="T52" fmla="*/ 9626003 w 149"/>
              <a:gd name="T53" fmla="*/ 50031548 h 61"/>
              <a:gd name="T54" fmla="*/ 7083447 w 149"/>
              <a:gd name="T55" fmla="*/ 47398901 h 61"/>
              <a:gd name="T56" fmla="*/ 4540463 w 149"/>
              <a:gd name="T57" fmla="*/ 43009595 h 61"/>
              <a:gd name="T58" fmla="*/ 2179456 w 149"/>
              <a:gd name="T59" fmla="*/ 39499087 h 61"/>
              <a:gd name="T60" fmla="*/ 545077 w 149"/>
              <a:gd name="T61" fmla="*/ 35987642 h 61"/>
              <a:gd name="T62" fmla="*/ 181550 w 149"/>
              <a:gd name="T63" fmla="*/ 34232856 h 61"/>
              <a:gd name="T64" fmla="*/ 0 w 149"/>
              <a:gd name="T65" fmla="*/ 33354995 h 61"/>
              <a:gd name="T66" fmla="*/ 0 w 149"/>
              <a:gd name="T67" fmla="*/ 32477134 h 61"/>
              <a:gd name="T68" fmla="*/ 545077 w 149"/>
              <a:gd name="T69" fmla="*/ 32477134 h 61"/>
              <a:gd name="T70" fmla="*/ 3450734 w 149"/>
              <a:gd name="T71" fmla="*/ 31599272 h 61"/>
              <a:gd name="T72" fmla="*/ 6356818 w 149"/>
              <a:gd name="T73" fmla="*/ 30721411 h 61"/>
              <a:gd name="T74" fmla="*/ 8717825 w 149"/>
              <a:gd name="T75" fmla="*/ 28087820 h 61"/>
              <a:gd name="T76" fmla="*/ 10897281 w 149"/>
              <a:gd name="T77" fmla="*/ 23699451 h 61"/>
              <a:gd name="T78" fmla="*/ 13077162 w 149"/>
              <a:gd name="T79" fmla="*/ 19310144 h 61"/>
              <a:gd name="T80" fmla="*/ 14893095 w 149"/>
              <a:gd name="T81" fmla="*/ 14043910 h 61"/>
              <a:gd name="T82" fmla="*/ 16891000 w 149"/>
              <a:gd name="T83" fmla="*/ 7021955 h 61"/>
              <a:gd name="T84" fmla="*/ 18707355 w 149"/>
              <a:gd name="T85" fmla="*/ 0 h 61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149"/>
              <a:gd name="T130" fmla="*/ 0 h 61"/>
              <a:gd name="T131" fmla="*/ 149 w 149"/>
              <a:gd name="T132" fmla="*/ 61 h 61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  <p:sp>
        <p:nvSpPr>
          <p:cNvPr id="552" name="Freeform 550"/>
          <p:cNvSpPr>
            <a:spLocks/>
          </p:cNvSpPr>
          <p:nvPr userDrawn="1">
            <p:custDataLst>
              <p:tags r:id="rId380"/>
            </p:custDataLst>
          </p:nvPr>
        </p:nvSpPr>
        <p:spPr bwMode="auto">
          <a:xfrm>
            <a:off x="5116521" y="1266829"/>
            <a:ext cx="130175" cy="42863"/>
          </a:xfrm>
          <a:custGeom>
            <a:avLst/>
            <a:gdLst>
              <a:gd name="T0" fmla="*/ 25209539 w 299"/>
              <a:gd name="T1" fmla="*/ 42943586 h 74"/>
              <a:gd name="T2" fmla="*/ 29190113 w 299"/>
              <a:gd name="T3" fmla="*/ 38768548 h 74"/>
              <a:gd name="T4" fmla="*/ 33738835 w 299"/>
              <a:gd name="T5" fmla="*/ 32207885 h 74"/>
              <a:gd name="T6" fmla="*/ 37719402 w 299"/>
              <a:gd name="T7" fmla="*/ 25050231 h 74"/>
              <a:gd name="T8" fmla="*/ 39235787 w 299"/>
              <a:gd name="T9" fmla="*/ 23857804 h 74"/>
              <a:gd name="T10" fmla="*/ 39994198 w 299"/>
              <a:gd name="T11" fmla="*/ 27436635 h 74"/>
              <a:gd name="T12" fmla="*/ 41699969 w 299"/>
              <a:gd name="T13" fmla="*/ 30418473 h 74"/>
              <a:gd name="T14" fmla="*/ 46059306 w 299"/>
              <a:gd name="T15" fmla="*/ 32804099 h 74"/>
              <a:gd name="T16" fmla="*/ 50987668 w 299"/>
              <a:gd name="T17" fmla="*/ 32804099 h 74"/>
              <a:gd name="T18" fmla="*/ 54209825 w 299"/>
              <a:gd name="T19" fmla="*/ 32804099 h 74"/>
              <a:gd name="T20" fmla="*/ 55536825 w 299"/>
              <a:gd name="T21" fmla="*/ 27436635 h 74"/>
              <a:gd name="T22" fmla="*/ 56484621 w 299"/>
              <a:gd name="T23" fmla="*/ 18489568 h 74"/>
              <a:gd name="T24" fmla="*/ 52883259 w 299"/>
              <a:gd name="T25" fmla="*/ 14910744 h 74"/>
              <a:gd name="T26" fmla="*/ 46249126 w 299"/>
              <a:gd name="T27" fmla="*/ 14910744 h 74"/>
              <a:gd name="T28" fmla="*/ 42647764 w 299"/>
              <a:gd name="T29" fmla="*/ 14910744 h 74"/>
              <a:gd name="T30" fmla="*/ 40562788 w 299"/>
              <a:gd name="T31" fmla="*/ 16103943 h 74"/>
              <a:gd name="T32" fmla="*/ 38667197 w 299"/>
              <a:gd name="T33" fmla="*/ 19682767 h 74"/>
              <a:gd name="T34" fmla="*/ 32601654 w 299"/>
              <a:gd name="T35" fmla="*/ 22068392 h 74"/>
              <a:gd name="T36" fmla="*/ 33360065 w 299"/>
              <a:gd name="T37" fmla="*/ 16700156 h 74"/>
              <a:gd name="T38" fmla="*/ 34118040 w 299"/>
              <a:gd name="T39" fmla="*/ 12525115 h 74"/>
              <a:gd name="T40" fmla="*/ 36771606 w 299"/>
              <a:gd name="T41" fmla="*/ 7753865 h 74"/>
              <a:gd name="T42" fmla="*/ 39804378 w 299"/>
              <a:gd name="T43" fmla="*/ 5368238 h 74"/>
              <a:gd name="T44" fmla="*/ 42647764 w 299"/>
              <a:gd name="T45" fmla="*/ 0 h 74"/>
              <a:gd name="T46" fmla="*/ 35065835 w 299"/>
              <a:gd name="T47" fmla="*/ 1789413 h 74"/>
              <a:gd name="T48" fmla="*/ 29758703 w 299"/>
              <a:gd name="T49" fmla="*/ 6560666 h 74"/>
              <a:gd name="T50" fmla="*/ 25398924 w 299"/>
              <a:gd name="T51" fmla="*/ 14910744 h 74"/>
              <a:gd name="T52" fmla="*/ 21608177 w 299"/>
              <a:gd name="T53" fmla="*/ 23857804 h 74"/>
              <a:gd name="T54" fmla="*/ 18954611 w 299"/>
              <a:gd name="T55" fmla="*/ 31611672 h 74"/>
              <a:gd name="T56" fmla="*/ 16490430 w 299"/>
              <a:gd name="T57" fmla="*/ 35190496 h 74"/>
              <a:gd name="T58" fmla="*/ 12131089 w 299"/>
              <a:gd name="T59" fmla="*/ 37576122 h 74"/>
              <a:gd name="T60" fmla="*/ 6065545 w 299"/>
              <a:gd name="T61" fmla="*/ 38172335 h 74"/>
              <a:gd name="T62" fmla="*/ 2274362 w 299"/>
              <a:gd name="T63" fmla="*/ 39961747 h 74"/>
              <a:gd name="T64" fmla="*/ 379205 w 299"/>
              <a:gd name="T65" fmla="*/ 41751159 h 74"/>
              <a:gd name="T66" fmla="*/ 7392112 w 299"/>
              <a:gd name="T67" fmla="*/ 44136784 h 74"/>
              <a:gd name="T68" fmla="*/ 19333816 w 299"/>
              <a:gd name="T69" fmla="*/ 44136784 h 7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299"/>
              <a:gd name="T106" fmla="*/ 0 h 74"/>
              <a:gd name="T107" fmla="*/ 299 w 299"/>
              <a:gd name="T108" fmla="*/ 74 h 74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lIns="121901" tIns="60949" rIns="121901" bIns="60949"/>
          <a:lstStyle/>
          <a:p>
            <a:pPr defTabSz="1219004">
              <a:defRPr/>
            </a:pPr>
            <a:endParaRPr lang="en-US" sz="24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72988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128" y="10"/>
            <a:ext cx="8753475" cy="440890"/>
          </a:xfrm>
        </p:spPr>
        <p:txBody>
          <a:bodyPr/>
          <a:lstStyle>
            <a:lvl1pPr>
              <a:defRPr sz="3700"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7650" y="1076327"/>
            <a:ext cx="8737600" cy="2981325"/>
          </a:xfrm>
        </p:spPr>
        <p:txBody>
          <a:bodyPr/>
          <a:lstStyle>
            <a:lvl1pPr>
              <a:defRPr sz="3200" b="1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  <a:lvl2pPr>
              <a:defRPr sz="2700" b="1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249240" y="551969"/>
            <a:ext cx="8729662" cy="346249"/>
          </a:xfrm>
        </p:spPr>
        <p:txBody>
          <a:bodyPr anchor="ctr"/>
          <a:lstStyle>
            <a:lvl1pPr marL="0" indent="0">
              <a:buNone/>
              <a:defRPr sz="3200" b="1">
                <a:solidFill>
                  <a:srgbClr val="4E84C4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61938" y="4190528"/>
            <a:ext cx="8729662" cy="346249"/>
          </a:xfrm>
          <a:solidFill>
            <a:schemeClr val="bg1"/>
          </a:solidFill>
        </p:spPr>
        <p:txBody>
          <a:bodyPr anchor="ctr"/>
          <a:lstStyle>
            <a:lvl1pPr marL="0" indent="0">
              <a:buNone/>
              <a:defRPr sz="3200" b="1">
                <a:solidFill>
                  <a:srgbClr val="4E84C4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Rectangle 71"/>
          <p:cNvSpPr>
            <a:spLocks noGrp="1" noChangeArrowheads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- </a:t>
            </a:r>
            <a:fld id="{9611B98A-CE64-4E9E-B3BF-892CF0CB8E1B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prstClr val="black">
                    <a:tint val="75000"/>
                  </a:prstClr>
                </a:solidFill>
              </a:rPr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178139137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128" y="10"/>
            <a:ext cx="8753475" cy="440890"/>
          </a:xfrm>
        </p:spPr>
        <p:txBody>
          <a:bodyPr/>
          <a:lstStyle>
            <a:lvl1pPr>
              <a:defRPr sz="3700"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7650" y="1076327"/>
            <a:ext cx="8737600" cy="2981325"/>
          </a:xfrm>
        </p:spPr>
        <p:txBody>
          <a:bodyPr/>
          <a:lstStyle>
            <a:lvl1pPr>
              <a:defRPr sz="3200" b="1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  <a:lvl2pPr>
              <a:defRPr sz="2700" b="1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4" name="Rectangle 7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- </a:t>
            </a:r>
            <a:fld id="{B8E85F0C-8DE9-4182-8F2C-606555A12652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prstClr val="black">
                    <a:tint val="75000"/>
                  </a:prstClr>
                </a:solidFill>
              </a:rPr>
              <a:t> -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249240" y="551969"/>
            <a:ext cx="8729662" cy="346249"/>
          </a:xfrm>
        </p:spPr>
        <p:txBody>
          <a:bodyPr anchor="ctr" anchorCtr="0"/>
          <a:lstStyle>
            <a:lvl1pPr marL="0" indent="0">
              <a:buNone/>
              <a:defRPr sz="3200" b="1">
                <a:solidFill>
                  <a:srgbClr val="4E84C4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61938" y="4190528"/>
            <a:ext cx="8729662" cy="346249"/>
          </a:xfrm>
          <a:solidFill>
            <a:schemeClr val="bg1"/>
          </a:solidFill>
        </p:spPr>
        <p:txBody>
          <a:bodyPr anchor="ctr" anchorCtr="0"/>
          <a:lstStyle>
            <a:lvl1pPr marL="0" indent="0">
              <a:buNone/>
              <a:defRPr sz="3200" b="1">
                <a:solidFill>
                  <a:srgbClr val="4E84C4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646772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 rot="10800000" flipH="1">
            <a:off x="461965" y="478631"/>
            <a:ext cx="8242300" cy="1191"/>
          </a:xfrm>
          <a:prstGeom prst="line">
            <a:avLst/>
          </a:prstGeom>
          <a:ln w="3175">
            <a:solidFill>
              <a:srgbClr val="4E84C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5979"/>
            <a:ext cx="8229600" cy="344169"/>
          </a:xfrm>
          <a:prstGeom prst="rect">
            <a:avLst/>
          </a:prstGeom>
        </p:spPr>
        <p:txBody>
          <a:bodyPr/>
          <a:lstStyle>
            <a:lvl1pPr>
              <a:defRPr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57201" y="587830"/>
            <a:ext cx="8229600" cy="4016829"/>
          </a:xfrm>
          <a:prstGeom prst="rect">
            <a:avLst/>
          </a:prstGeom>
          <a:solidFill>
            <a:srgbClr val="FFFFCC"/>
          </a:solidFill>
          <a:ln w="3175">
            <a:solidFill>
              <a:srgbClr val="002060"/>
            </a:solidFill>
          </a:ln>
        </p:spPr>
        <p:txBody>
          <a:bodyPr anchor="ctr"/>
          <a:lstStyle>
            <a:lvl1pPr>
              <a:buClr>
                <a:srgbClr val="002060"/>
              </a:buClr>
              <a:defRPr sz="2000">
                <a:solidFill>
                  <a:srgbClr val="002060"/>
                </a:solidFill>
              </a:defRPr>
            </a:lvl1pPr>
            <a:lvl2pPr>
              <a:buClr>
                <a:srgbClr val="002060"/>
              </a:buClr>
              <a:buFont typeface="Wingdings" pitchFamily="2" charset="2"/>
              <a:buChar char="§"/>
              <a:defRPr sz="1900">
                <a:solidFill>
                  <a:srgbClr val="002060"/>
                </a:solidFill>
              </a:defRPr>
            </a:lvl2pPr>
            <a:lvl3pPr>
              <a:buClr>
                <a:srgbClr val="002060"/>
              </a:buClr>
              <a:defRPr sz="1600">
                <a:solidFill>
                  <a:srgbClr val="002060"/>
                </a:solidFill>
              </a:defRPr>
            </a:lvl3pPr>
            <a:lvl4pPr>
              <a:buClr>
                <a:srgbClr val="002060"/>
              </a:buClr>
              <a:buFont typeface="Wingdings" pitchFamily="2" charset="2"/>
              <a:buChar char="§"/>
              <a:defRPr sz="1500">
                <a:solidFill>
                  <a:srgbClr val="002060"/>
                </a:solidFill>
              </a:defRPr>
            </a:lvl4pPr>
            <a:lvl5pPr>
              <a:buClr>
                <a:srgbClr val="002060"/>
              </a:buClr>
              <a:defRPr sz="1500">
                <a:solidFill>
                  <a:srgbClr val="00206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60116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128" y="10"/>
            <a:ext cx="8753475" cy="440890"/>
          </a:xfrm>
        </p:spPr>
        <p:txBody>
          <a:bodyPr/>
          <a:lstStyle>
            <a:lvl1pPr>
              <a:defRPr sz="3700"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7650" y="1076327"/>
            <a:ext cx="8737600" cy="2981325"/>
          </a:xfrm>
        </p:spPr>
        <p:txBody>
          <a:bodyPr/>
          <a:lstStyle>
            <a:lvl1pPr>
              <a:defRPr sz="3200" b="1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  <a:lvl2pPr>
              <a:defRPr sz="2700" b="1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249240" y="551969"/>
            <a:ext cx="8729662" cy="346249"/>
          </a:xfrm>
        </p:spPr>
        <p:txBody>
          <a:bodyPr anchor="ctr"/>
          <a:lstStyle>
            <a:lvl1pPr marL="0" indent="0">
              <a:buNone/>
              <a:defRPr sz="3200" b="1">
                <a:solidFill>
                  <a:srgbClr val="4E84C4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61938" y="4190528"/>
            <a:ext cx="8729662" cy="346249"/>
          </a:xfrm>
          <a:solidFill>
            <a:schemeClr val="bg1"/>
          </a:solidFill>
        </p:spPr>
        <p:txBody>
          <a:bodyPr anchor="ctr"/>
          <a:lstStyle>
            <a:lvl1pPr marL="0" indent="0">
              <a:buNone/>
              <a:defRPr sz="3200" b="1">
                <a:solidFill>
                  <a:srgbClr val="4E84C4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Rectangle 11"/>
          <p:cNvSpPr>
            <a:spLocks noGrp="1" noChangeArrowheads="1"/>
          </p:cNvSpPr>
          <p:nvPr>
            <p:ph type="sldNum" sz="quarter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- </a:t>
            </a:r>
            <a:fld id="{223A59B6-7C08-4A38-9C89-CBAFF5020399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prstClr val="black">
                    <a:tint val="75000"/>
                  </a:prstClr>
                </a:solidFill>
              </a:rPr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355737135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Title and Diagram or Organizatio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28" y="40493"/>
            <a:ext cx="8753475" cy="358379"/>
          </a:xfrm>
        </p:spPr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martArt Placeholder 2"/>
          <p:cNvSpPr>
            <a:spLocks noGrp="1"/>
          </p:cNvSpPr>
          <p:nvPr>
            <p:ph type="dgm" idx="1"/>
          </p:nvPr>
        </p:nvSpPr>
        <p:spPr>
          <a:xfrm>
            <a:off x="973148" y="1152538"/>
            <a:ext cx="7223125" cy="992981"/>
          </a:xfrm>
        </p:spPr>
        <p:txBody>
          <a:bodyPr/>
          <a:lstStyle/>
          <a:p>
            <a:pPr lvl="0"/>
            <a:r>
              <a:rPr lang="en-US" noProof="0" smtClean="0"/>
              <a:t>Click icon to add SmartArt graphic</a:t>
            </a:r>
            <a:endParaRPr lang="en-US" noProof="0"/>
          </a:p>
        </p:txBody>
      </p:sp>
      <p:sp>
        <p:nvSpPr>
          <p:cNvPr id="4" name="Rectangle 7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- </a:t>
            </a:r>
            <a:fld id="{70E0CB09-5CB6-461B-A40F-DA4144A711D8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prstClr val="black">
                    <a:tint val="75000"/>
                  </a:prstClr>
                </a:solidFill>
              </a:rPr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203323676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74"/>
            <a:ext cx="2133600" cy="273844"/>
          </a:xfrm>
          <a:prstGeom prst="rect">
            <a:avLst/>
          </a:prstGeom>
        </p:spPr>
        <p:txBody>
          <a:bodyPr vert="horz" lIns="121901" tIns="60949" rIns="121901" bIns="60949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B438B5-5B0C-4FB3-91FF-D064EC06A55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56616" y="683514"/>
            <a:ext cx="8439912" cy="685800"/>
          </a:xfrm>
        </p:spPr>
        <p:txBody>
          <a:bodyPr>
            <a:noAutofit/>
          </a:bodyPr>
          <a:lstStyle>
            <a:lvl1pPr>
              <a:defRPr lang="en-US" sz="2900" b="0" kern="1200" noProof="0" dirty="0" smtClean="0">
                <a:solidFill>
                  <a:srgbClr val="4E84C4"/>
                </a:solidFill>
                <a:latin typeface="Myriad Pro" pitchFamily="34" charset="0"/>
                <a:ea typeface="+mn-ea"/>
                <a:cs typeface="+mn-cs"/>
              </a:defRPr>
            </a:lvl1pPr>
            <a:lvl2pPr>
              <a:defRPr lang="en-US" sz="2900" kern="1200" dirty="0" smtClean="0">
                <a:solidFill>
                  <a:srgbClr val="4E84C4"/>
                </a:solidFill>
                <a:latin typeface="Myriad Pro" pitchFamily="34" charset="0"/>
                <a:ea typeface="+mn-ea"/>
                <a:cs typeface="+mn-cs"/>
              </a:defRPr>
            </a:lvl2pPr>
          </a:lstStyle>
          <a:p>
            <a:pPr marL="457126" marR="0" lvl="0" indent="-457126" algn="l" defTabSz="1219004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4E84C4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en-US" smtClean="0"/>
              <a:t>Click to edit Master text styles</a:t>
            </a:r>
          </a:p>
          <a:p>
            <a:pPr marL="457126" marR="0" lvl="1" indent="-457126" algn="l" defTabSz="1219004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4E84C4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79862830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74"/>
            <a:ext cx="2133600" cy="273844"/>
          </a:xfrm>
          <a:prstGeom prst="rect">
            <a:avLst/>
          </a:prstGeom>
        </p:spPr>
        <p:txBody>
          <a:bodyPr vert="horz" lIns="121901" tIns="60949" rIns="121901" bIns="60949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B438B5-5B0C-4FB3-91FF-D064EC06A55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56616" y="683514"/>
            <a:ext cx="8439912" cy="685800"/>
          </a:xfrm>
        </p:spPr>
        <p:txBody>
          <a:bodyPr>
            <a:noAutofit/>
          </a:bodyPr>
          <a:lstStyle>
            <a:lvl1pPr>
              <a:defRPr lang="en-US" sz="2900" b="0" kern="1200" noProof="0" dirty="0" smtClean="0">
                <a:solidFill>
                  <a:srgbClr val="4E84C4"/>
                </a:solidFill>
                <a:latin typeface="Myriad Pro" pitchFamily="34" charset="0"/>
                <a:ea typeface="+mn-ea"/>
                <a:cs typeface="+mn-cs"/>
              </a:defRPr>
            </a:lvl1pPr>
            <a:lvl2pPr>
              <a:defRPr lang="en-US" sz="2900" kern="1200" dirty="0" smtClean="0">
                <a:solidFill>
                  <a:srgbClr val="4E84C4"/>
                </a:solidFill>
                <a:latin typeface="Myriad Pro" pitchFamily="34" charset="0"/>
                <a:ea typeface="+mn-ea"/>
                <a:cs typeface="+mn-cs"/>
              </a:defRPr>
            </a:lvl2pPr>
          </a:lstStyle>
          <a:p>
            <a:pPr marL="457126" marR="0" lvl="0" indent="-457126" algn="l" defTabSz="1219004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4E84C4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en-US" smtClean="0"/>
              <a:t>Click to edit Master text styles</a:t>
            </a:r>
          </a:p>
          <a:p>
            <a:pPr marL="457126" marR="0" lvl="1" indent="-457126" algn="l" defTabSz="1219004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4E84C4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2547954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74"/>
            <a:ext cx="2133600" cy="273844"/>
          </a:xfrm>
          <a:prstGeom prst="rect">
            <a:avLst/>
          </a:prstGeom>
        </p:spPr>
        <p:txBody>
          <a:bodyPr vert="horz" lIns="121901" tIns="60949" rIns="121901" bIns="60949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B438B5-5B0C-4FB3-91FF-D064EC06A55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56616" y="683514"/>
            <a:ext cx="8439912" cy="685800"/>
          </a:xfrm>
        </p:spPr>
        <p:txBody>
          <a:bodyPr>
            <a:noAutofit/>
          </a:bodyPr>
          <a:lstStyle>
            <a:lvl1pPr>
              <a:defRPr lang="en-US" sz="2900" b="0" kern="1200" noProof="0" dirty="0" smtClean="0">
                <a:solidFill>
                  <a:srgbClr val="4E84C4"/>
                </a:solidFill>
                <a:latin typeface="Myriad Pro" pitchFamily="34" charset="0"/>
                <a:ea typeface="+mn-ea"/>
                <a:cs typeface="+mn-cs"/>
              </a:defRPr>
            </a:lvl1pPr>
            <a:lvl2pPr>
              <a:defRPr lang="en-US" sz="2900" kern="1200" dirty="0" smtClean="0">
                <a:solidFill>
                  <a:srgbClr val="4E84C4"/>
                </a:solidFill>
                <a:latin typeface="Myriad Pro" pitchFamily="34" charset="0"/>
                <a:ea typeface="+mn-ea"/>
                <a:cs typeface="+mn-cs"/>
              </a:defRPr>
            </a:lvl2pPr>
          </a:lstStyle>
          <a:p>
            <a:pPr marL="457126" marR="0" lvl="0" indent="-457126" algn="l" defTabSz="1219004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4E84C4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en-US" smtClean="0"/>
              <a:t>Click to edit Master text styles</a:t>
            </a:r>
          </a:p>
          <a:p>
            <a:pPr marL="457126" marR="0" lvl="1" indent="-457126" algn="l" defTabSz="1219004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4E84C4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8304662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74"/>
            <a:ext cx="2133600" cy="273844"/>
          </a:xfrm>
          <a:prstGeom prst="rect">
            <a:avLst/>
          </a:prstGeom>
        </p:spPr>
        <p:txBody>
          <a:bodyPr vert="horz" lIns="121901" tIns="60949" rIns="121901" bIns="60949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B438B5-5B0C-4FB3-91FF-D064EC06A55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56616" y="683514"/>
            <a:ext cx="8439912" cy="685800"/>
          </a:xfrm>
        </p:spPr>
        <p:txBody>
          <a:bodyPr>
            <a:noAutofit/>
          </a:bodyPr>
          <a:lstStyle>
            <a:lvl1pPr>
              <a:defRPr lang="en-US" sz="2900" b="0" kern="1200" noProof="0" dirty="0" smtClean="0">
                <a:solidFill>
                  <a:srgbClr val="4E84C4"/>
                </a:solidFill>
                <a:latin typeface="Myriad Pro" pitchFamily="34" charset="0"/>
                <a:ea typeface="+mn-ea"/>
                <a:cs typeface="+mn-cs"/>
              </a:defRPr>
            </a:lvl1pPr>
            <a:lvl2pPr>
              <a:defRPr lang="en-US" sz="2900" kern="1200" dirty="0" smtClean="0">
                <a:solidFill>
                  <a:srgbClr val="4E84C4"/>
                </a:solidFill>
                <a:latin typeface="Myriad Pro" pitchFamily="34" charset="0"/>
                <a:ea typeface="+mn-ea"/>
                <a:cs typeface="+mn-cs"/>
              </a:defRPr>
            </a:lvl2pPr>
          </a:lstStyle>
          <a:p>
            <a:pPr marL="457126" marR="0" lvl="0" indent="-457126" algn="l" defTabSz="1219004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4E84C4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en-US" smtClean="0"/>
              <a:t>Click to edit Master text styles</a:t>
            </a:r>
          </a:p>
          <a:p>
            <a:pPr marL="457126" marR="0" lvl="1" indent="-457126" algn="l" defTabSz="1219004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4E84C4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726090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8458209" y="4943916"/>
            <a:ext cx="444955" cy="323143"/>
          </a:xfrm>
          <a:prstGeom prst="rect">
            <a:avLst/>
          </a:prstGeom>
          <a:noFill/>
        </p:spPr>
        <p:txBody>
          <a:bodyPr wrap="none" lIns="121901" tIns="60949" rIns="121901" bIns="60949" rtlCol="0">
            <a:spAutoFit/>
          </a:bodyPr>
          <a:lstStyle/>
          <a:p>
            <a:pPr defTabSz="1219004"/>
            <a:fld id="{0DAAE534-FC88-4366-A8B5-A140EDE10352}" type="slidenum">
              <a:rPr lang="en-US" sz="1300" b="1">
                <a:solidFill>
                  <a:prstClr val="black"/>
                </a:solidFill>
              </a:rPr>
              <a:pPr defTabSz="1219004"/>
              <a:t>‹#›</a:t>
            </a:fld>
            <a:endParaRPr lang="en-US" sz="1300" b="1" dirty="0">
              <a:solidFill>
                <a:prstClr val="black"/>
              </a:solidFill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4181987" y="4914903"/>
            <a:ext cx="1474083" cy="292366"/>
          </a:xfrm>
          <a:prstGeom prst="rect">
            <a:avLst/>
          </a:prstGeom>
          <a:noFill/>
        </p:spPr>
        <p:txBody>
          <a:bodyPr wrap="none" lIns="121901" tIns="60949" rIns="121901" bIns="60949" rtlCol="0">
            <a:spAutoFit/>
          </a:bodyPr>
          <a:lstStyle/>
          <a:p>
            <a:pPr defTabSz="1219004"/>
            <a:r>
              <a:rPr lang="en-US" sz="1100" dirty="0" smtClean="0">
                <a:solidFill>
                  <a:prstClr val="white">
                    <a:lumMod val="50000"/>
                  </a:prstClr>
                </a:solidFill>
              </a:rPr>
              <a:t>TCS – GE Confidential</a:t>
            </a:r>
            <a:endParaRPr lang="en-US" sz="1100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4162626"/>
      </p:ext>
    </p:extLst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18" y="841772"/>
            <a:ext cx="6858001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18" y="2701528"/>
            <a:ext cx="6858001" cy="124182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44B46F-C50C-472C-ABA0-C7ABA9413D04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0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4FA0C-746F-4F62-85E6-E4F9991900E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489118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889B96-EB9D-4B68-95C9-2276F624A34C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0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4FA0C-746F-4F62-85E6-E4F9991900E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853030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1282315"/>
            <a:ext cx="7886700" cy="2139553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7" y="3442145"/>
            <a:ext cx="7886700" cy="1125140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E82C58-19D4-43D0-B7DC-15431193E31C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0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4FA0C-746F-4F62-85E6-E4F9991900E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99045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09" t="20313" r="5391" b="9277"/>
          <a:stretch>
            <a:fillRect/>
          </a:stretch>
        </p:blipFill>
        <p:spPr bwMode="auto">
          <a:xfrm>
            <a:off x="0" y="-7138"/>
            <a:ext cx="9144000" cy="51506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4525" y="2400302"/>
            <a:ext cx="7772401" cy="457200"/>
          </a:xfrm>
        </p:spPr>
        <p:txBody>
          <a:bodyPr>
            <a:noAutofit/>
          </a:bodyPr>
          <a:lstStyle>
            <a:lvl1pPr algn="l">
              <a:defRPr sz="39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54522" y="2893981"/>
            <a:ext cx="7785100" cy="457200"/>
          </a:xfrm>
        </p:spPr>
        <p:txBody>
          <a:bodyPr>
            <a:noAutofit/>
          </a:bodyPr>
          <a:lstStyle>
            <a:lvl1pPr marL="0" indent="0" algn="l">
              <a:buNone/>
              <a:defRPr sz="3100">
                <a:solidFill>
                  <a:schemeClr val="bg1"/>
                </a:solidFill>
              </a:defRPr>
            </a:lvl1pPr>
            <a:lvl2pPr marL="456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0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0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40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00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6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2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80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3344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4" y="1369219"/>
            <a:ext cx="3886200" cy="326350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1" y="1369219"/>
            <a:ext cx="3886200" cy="326350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00FCD4-9C64-4489-8264-E200CA549EF2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0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4FA0C-746F-4F62-85E6-E4F9991900E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261799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2" y="273847"/>
            <a:ext cx="7886700" cy="99417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54" y="1260872"/>
            <a:ext cx="3868340" cy="6179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54" y="1878806"/>
            <a:ext cx="3868340" cy="276344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6" y="1260872"/>
            <a:ext cx="3887391" cy="6179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6" y="1878806"/>
            <a:ext cx="3887391" cy="276344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4D62D5-A762-452E-BBEC-012F24ABC79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0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4FA0C-746F-4F62-85E6-E4F9991900E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652105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D5679D-B939-4F65-A7FA-2202581DC7F4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0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4FA0C-746F-4F62-85E6-E4F9991900E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941741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3B9AD-FF05-4C4E-8635-573D6CED93A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0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4FA0C-746F-4F62-85E6-E4F9991900E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106163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53" y="342900"/>
            <a:ext cx="2949178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8" y="740581"/>
            <a:ext cx="4629150" cy="365521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53" y="1543050"/>
            <a:ext cx="2949178" cy="2858691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5C5F96-8EB3-4A76-9157-2A3266F0269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0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4FA0C-746F-4F62-85E6-E4F9991900E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955999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53" y="342900"/>
            <a:ext cx="2949178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8" y="740581"/>
            <a:ext cx="4629150" cy="3655219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53" y="1543050"/>
            <a:ext cx="2949178" cy="2858691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D06948-7ADC-43CE-B128-BA21BC95AE1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0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4FA0C-746F-4F62-85E6-E4F9991900E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569113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DE24DF-EA81-41B8-975D-FBF2C317CB7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0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4FA0C-746F-4F62-85E6-E4F9991900E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436641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273844"/>
            <a:ext cx="1971675" cy="4358879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62" y="273844"/>
            <a:ext cx="5800725" cy="435887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7F0B58-06BE-491B-B984-62F2C1D58632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0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4FA0C-746F-4F62-85E6-E4F9991900E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238013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6316" y="1597833"/>
            <a:ext cx="7771385" cy="110251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423" y="2914650"/>
            <a:ext cx="6401158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2851D5-4DCE-41BB-965C-2655FEE3333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0928301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9D6C70-3699-4BAE-B292-59689EBDFC1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6249336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>
            <a:lvl3pPr>
              <a:defRPr/>
            </a:lvl3pPr>
            <a:lvl4pPr>
              <a:defRPr sz="1600"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603970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122" y="3305189"/>
            <a:ext cx="7772579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122" y="2180035"/>
            <a:ext cx="7772579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EE137A-1E10-4A45-8996-EB309C737EDE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5545271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146" y="1203724"/>
            <a:ext cx="4056971" cy="339328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8704" y="1203724"/>
            <a:ext cx="4056971" cy="339328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93F2C3-23A6-40C8-8E0B-F067EECD820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8610791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49" y="205979"/>
            <a:ext cx="8229719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149" y="1151335"/>
            <a:ext cx="4040261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149" y="1631156"/>
            <a:ext cx="4040261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414" y="1151335"/>
            <a:ext cx="404145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414" y="1631156"/>
            <a:ext cx="404145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246D36-806A-488D-B65C-2B8B306C0E9E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749167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22C565-8057-424D-A41A-C629F5C1862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4731569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534DD9-A886-4729-98A0-4376F63C63D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0617889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43" y="204787"/>
            <a:ext cx="3007816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4767" y="204801"/>
            <a:ext cx="5112094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143" y="1076328"/>
            <a:ext cx="3007816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9681FC3-C3C0-4FAC-B8F5-F8DB55A0789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2130344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755" y="3600450"/>
            <a:ext cx="5485684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755" y="459581"/>
            <a:ext cx="5485684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755" y="4025503"/>
            <a:ext cx="5485684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B0616F-6872-4BFE-B901-448751608D6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9219665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9995A7-21DC-46A6-802E-37CA3572684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63379718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141" y="204788"/>
            <a:ext cx="2056535" cy="4392216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150" y="204788"/>
            <a:ext cx="6057407" cy="4392216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7F879F-4806-4E4D-A932-242421D038CF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418877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51" y="204788"/>
            <a:ext cx="8228525" cy="8572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8BB075-0F67-48B0-82CA-A85F5EA8503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6940976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27" y="2914655"/>
            <a:ext cx="7772401" cy="466725"/>
          </a:xfrm>
        </p:spPr>
        <p:txBody>
          <a:bodyPr anchor="t">
            <a:noAutofit/>
          </a:bodyPr>
          <a:lstStyle>
            <a:lvl1pPr algn="ctr">
              <a:defRPr sz="2800" b="0" cap="all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27" y="2180204"/>
            <a:ext cx="7772401" cy="563165"/>
          </a:xfrm>
        </p:spPr>
        <p:txBody>
          <a:bodyPr anchor="b">
            <a:noAutofit/>
          </a:bodyPr>
          <a:lstStyle>
            <a:lvl1pPr marL="0" indent="0" algn="ctr">
              <a:buNone/>
              <a:defRPr sz="2800">
                <a:solidFill>
                  <a:schemeClr val="tx1"/>
                </a:solidFill>
              </a:defRPr>
            </a:lvl1pPr>
            <a:lvl2pPr marL="45601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2pPr>
            <a:lvl3pPr marL="91202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6803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4pPr>
            <a:lvl5pPr marL="182403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5pPr>
            <a:lvl6pPr marL="22800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6pPr>
            <a:lvl7pPr marL="273606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7pPr>
            <a:lvl8pPr marL="3192076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8pPr>
            <a:lvl9pPr marL="364808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654759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wmf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2" Type="http://schemas.openxmlformats.org/officeDocument/2006/relationships/slideLayout" Target="../slideLayouts/slideLayout8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41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26" Type="http://schemas.openxmlformats.org/officeDocument/2006/relationships/image" Target="../media/image4.png"/><Relationship Id="rId3" Type="http://schemas.openxmlformats.org/officeDocument/2006/relationships/slideLayout" Target="../slideLayouts/slideLayout45.xml"/><Relationship Id="rId21" Type="http://schemas.openxmlformats.org/officeDocument/2006/relationships/slideLayout" Target="../slideLayouts/slideLayout63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5" Type="http://schemas.openxmlformats.org/officeDocument/2006/relationships/theme" Target="../theme/theme5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20" Type="http://schemas.openxmlformats.org/officeDocument/2006/relationships/slideLayout" Target="../slideLayouts/slideLayout62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24" Type="http://schemas.openxmlformats.org/officeDocument/2006/relationships/slideLayout" Target="../slideLayouts/slideLayout66.xml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23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52.xml"/><Relationship Id="rId19" Type="http://schemas.openxmlformats.org/officeDocument/2006/relationships/slideLayout" Target="../slideLayouts/slideLayout61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Relationship Id="rId22" Type="http://schemas.openxmlformats.org/officeDocument/2006/relationships/slideLayout" Target="../slideLayouts/slideLayout6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89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228601" y="228601"/>
            <a:ext cx="304800" cy="114300"/>
          </a:xfrm>
          <a:prstGeom prst="rect">
            <a:avLst/>
          </a:prstGeom>
          <a:solidFill>
            <a:srgbClr val="6DCFF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2" tIns="45696" rIns="91392" bIns="45696"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  <a:latin typeface="Calibri" pitchFamily="34" charset="0"/>
            </a:endParaRPr>
          </a:p>
        </p:txBody>
      </p:sp>
      <p:sp>
        <p:nvSpPr>
          <p:cNvPr id="81" name="Rectangle 80"/>
          <p:cNvSpPr/>
          <p:nvPr/>
        </p:nvSpPr>
        <p:spPr>
          <a:xfrm>
            <a:off x="0" y="7"/>
            <a:ext cx="9144000" cy="469106"/>
          </a:xfrm>
          <a:prstGeom prst="rect">
            <a:avLst/>
          </a:prstGeom>
          <a:gradFill flip="none" rotWithShape="1">
            <a:gsLst>
              <a:gs pos="10000">
                <a:srgbClr val="0067AC"/>
              </a:gs>
              <a:gs pos="100000">
                <a:srgbClr val="56BBED"/>
              </a:gs>
            </a:gsLst>
            <a:lin ang="9120000" scaled="0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2" tIns="45696" rIns="91392" bIns="45696"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  <a:latin typeface="Calibri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00113" y="32147"/>
            <a:ext cx="7543800" cy="365522"/>
          </a:xfrm>
          <a:prstGeom prst="rect">
            <a:avLst/>
          </a:prstGeom>
        </p:spPr>
        <p:txBody>
          <a:bodyPr vert="horz" lIns="91392" tIns="45696" rIns="91392" bIns="45696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50849" y="682232"/>
            <a:ext cx="8428037" cy="3394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endParaRPr lang="en-US" smtClean="0"/>
          </a:p>
        </p:txBody>
      </p:sp>
      <p:sp>
        <p:nvSpPr>
          <p:cNvPr id="9" name="Rectangle 71"/>
          <p:cNvSpPr txBox="1">
            <a:spLocks noChangeArrowheads="1"/>
          </p:cNvSpPr>
          <p:nvPr/>
        </p:nvSpPr>
        <p:spPr bwMode="auto">
          <a:xfrm>
            <a:off x="8229613" y="4806553"/>
            <a:ext cx="663575" cy="270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392" tIns="45696" rIns="91392" bIns="45696" anchor="ctr"/>
          <a:lstStyle>
            <a:lvl1pPr>
              <a:defRPr sz="1000">
                <a:solidFill>
                  <a:srgbClr val="4E84C4"/>
                </a:solidFill>
              </a:defRPr>
            </a:lvl1pPr>
          </a:lstStyle>
          <a:p>
            <a:pPr algn="r">
              <a:defRPr/>
            </a:pPr>
            <a:fld id="{7DCF4969-BFEF-4058-8B97-228673710C34}" type="slidenum">
              <a:rPr lang="en-US" sz="1200" smtClean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pPr algn="r">
                <a:defRPr/>
              </a:pPr>
              <a:t>‹#›</a:t>
            </a:fld>
            <a:r>
              <a:rPr lang="en-US" sz="1200" dirty="0" smtClean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 </a:t>
            </a:r>
            <a:endParaRPr lang="en-US" sz="1200" dirty="0">
              <a:solidFill>
                <a:prstClr val="black"/>
              </a:solidFill>
              <a:latin typeface="Calibri" pitchFamily="34" charset="0"/>
              <a:cs typeface="Calibri" pitchFamily="34" charset="0"/>
            </a:endParaRPr>
          </a:p>
        </p:txBody>
      </p:sp>
      <p:grpSp>
        <p:nvGrpSpPr>
          <p:cNvPr id="1031" name="Group 8"/>
          <p:cNvGrpSpPr>
            <a:grpSpLocks noChangeAspect="1"/>
          </p:cNvGrpSpPr>
          <p:nvPr/>
        </p:nvGrpSpPr>
        <p:grpSpPr bwMode="auto">
          <a:xfrm>
            <a:off x="425463" y="4862513"/>
            <a:ext cx="2422525" cy="209550"/>
            <a:chOff x="240" y="3744"/>
            <a:chExt cx="2055" cy="237"/>
          </a:xfrm>
        </p:grpSpPr>
        <p:sp>
          <p:nvSpPr>
            <p:cNvPr id="76" name="AutoShape 7"/>
            <p:cNvSpPr>
              <a:spLocks noChangeAspect="1" noChangeArrowheads="1" noTextEdit="1"/>
            </p:cNvSpPr>
            <p:nvPr userDrawn="1"/>
          </p:nvSpPr>
          <p:spPr bwMode="auto">
            <a:xfrm>
              <a:off x="240" y="3744"/>
              <a:ext cx="2055" cy="2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77" name="Freeform 9"/>
            <p:cNvSpPr>
              <a:spLocks noEditPoints="1"/>
            </p:cNvSpPr>
            <p:nvPr userDrawn="1"/>
          </p:nvSpPr>
          <p:spPr bwMode="auto">
            <a:xfrm>
              <a:off x="1355" y="3744"/>
              <a:ext cx="462" cy="79"/>
            </a:xfrm>
            <a:custGeom>
              <a:avLst/>
              <a:gdLst/>
              <a:ahLst/>
              <a:cxnLst>
                <a:cxn ang="0">
                  <a:pos x="3511" y="637"/>
                </a:cxn>
                <a:cxn ang="0">
                  <a:pos x="3625" y="591"/>
                </a:cxn>
                <a:cxn ang="0">
                  <a:pos x="3691" y="454"/>
                </a:cxn>
                <a:cxn ang="0">
                  <a:pos x="3616" y="313"/>
                </a:cxn>
                <a:cxn ang="0">
                  <a:pos x="3441" y="224"/>
                </a:cxn>
                <a:cxn ang="0">
                  <a:pos x="3415" y="147"/>
                </a:cxn>
                <a:cxn ang="0">
                  <a:pos x="3489" y="95"/>
                </a:cxn>
                <a:cxn ang="0">
                  <a:pos x="3666" y="31"/>
                </a:cxn>
                <a:cxn ang="0">
                  <a:pos x="3447" y="8"/>
                </a:cxn>
                <a:cxn ang="0">
                  <a:pos x="3301" y="142"/>
                </a:cxn>
                <a:cxn ang="0">
                  <a:pos x="3355" y="299"/>
                </a:cxn>
                <a:cxn ang="0">
                  <a:pos x="3534" y="392"/>
                </a:cxn>
                <a:cxn ang="0">
                  <a:pos x="3575" y="471"/>
                </a:cxn>
                <a:cxn ang="0">
                  <a:pos x="3511" y="540"/>
                </a:cxn>
                <a:cxn ang="0">
                  <a:pos x="3327" y="514"/>
                </a:cxn>
                <a:cxn ang="0">
                  <a:pos x="3216" y="537"/>
                </a:cxn>
                <a:cxn ang="0">
                  <a:pos x="2637" y="544"/>
                </a:cxn>
                <a:cxn ang="0">
                  <a:pos x="2502" y="526"/>
                </a:cxn>
                <a:cxn ang="0">
                  <a:pos x="2420" y="453"/>
                </a:cxn>
                <a:cxn ang="0">
                  <a:pos x="2390" y="282"/>
                </a:cxn>
                <a:cxn ang="0">
                  <a:pos x="2435" y="168"/>
                </a:cxn>
                <a:cxn ang="0">
                  <a:pos x="2538" y="102"/>
                </a:cxn>
                <a:cxn ang="0">
                  <a:pos x="2726" y="118"/>
                </a:cxn>
                <a:cxn ang="0">
                  <a:pos x="2566" y="2"/>
                </a:cxn>
                <a:cxn ang="0">
                  <a:pos x="2399" y="59"/>
                </a:cxn>
                <a:cxn ang="0">
                  <a:pos x="2293" y="190"/>
                </a:cxn>
                <a:cxn ang="0">
                  <a:pos x="2272" y="380"/>
                </a:cxn>
                <a:cxn ang="0">
                  <a:pos x="2333" y="534"/>
                </a:cxn>
                <a:cxn ang="0">
                  <a:pos x="2467" y="623"/>
                </a:cxn>
                <a:cxn ang="0">
                  <a:pos x="2684" y="632"/>
                </a:cxn>
                <a:cxn ang="0">
                  <a:pos x="1776" y="631"/>
                </a:cxn>
                <a:cxn ang="0">
                  <a:pos x="1717" y="518"/>
                </a:cxn>
                <a:cxn ang="0">
                  <a:pos x="1447" y="10"/>
                </a:cxn>
                <a:cxn ang="0">
                  <a:pos x="1210" y="97"/>
                </a:cxn>
                <a:cxn ang="0">
                  <a:pos x="1281" y="178"/>
                </a:cxn>
                <a:cxn ang="0">
                  <a:pos x="1231" y="277"/>
                </a:cxn>
                <a:cxn ang="0">
                  <a:pos x="1090" y="375"/>
                </a:cxn>
                <a:cxn ang="0">
                  <a:pos x="1233" y="415"/>
                </a:cxn>
                <a:cxn ang="0">
                  <a:pos x="1297" y="622"/>
                </a:cxn>
                <a:cxn ang="0">
                  <a:pos x="1362" y="436"/>
                </a:cxn>
                <a:cxn ang="0">
                  <a:pos x="1282" y="337"/>
                </a:cxn>
                <a:cxn ang="0">
                  <a:pos x="1374" y="258"/>
                </a:cxn>
                <a:cxn ang="0">
                  <a:pos x="1373" y="94"/>
                </a:cxn>
                <a:cxn ang="0">
                  <a:pos x="1263" y="17"/>
                </a:cxn>
                <a:cxn ang="0">
                  <a:pos x="995" y="15"/>
                </a:cxn>
                <a:cxn ang="0">
                  <a:pos x="879" y="537"/>
                </a:cxn>
                <a:cxn ang="0">
                  <a:pos x="118" y="637"/>
                </a:cxn>
                <a:cxn ang="0">
                  <a:pos x="303" y="613"/>
                </a:cxn>
                <a:cxn ang="0">
                  <a:pos x="388" y="526"/>
                </a:cxn>
                <a:cxn ang="0">
                  <a:pos x="373" y="355"/>
                </a:cxn>
                <a:cxn ang="0">
                  <a:pos x="190" y="247"/>
                </a:cxn>
                <a:cxn ang="0">
                  <a:pos x="125" y="177"/>
                </a:cxn>
                <a:cxn ang="0">
                  <a:pos x="163" y="107"/>
                </a:cxn>
                <a:cxn ang="0">
                  <a:pos x="317" y="108"/>
                </a:cxn>
                <a:cxn ang="0">
                  <a:pos x="254" y="1"/>
                </a:cxn>
                <a:cxn ang="0">
                  <a:pos x="44" y="77"/>
                </a:cxn>
                <a:cxn ang="0">
                  <a:pos x="29" y="253"/>
                </a:cxn>
                <a:cxn ang="0">
                  <a:pos x="178" y="359"/>
                </a:cxn>
                <a:cxn ang="0">
                  <a:pos x="284" y="437"/>
                </a:cxn>
                <a:cxn ang="0">
                  <a:pos x="259" y="524"/>
                </a:cxn>
                <a:cxn ang="0">
                  <a:pos x="112" y="540"/>
                </a:cxn>
              </a:cxnLst>
              <a:rect l="0" t="0" r="r" b="b"/>
              <a:pathLst>
                <a:path w="3691" h="641">
                  <a:moveTo>
                    <a:pt x="3288" y="601"/>
                  </a:moveTo>
                  <a:lnTo>
                    <a:pt x="3302" y="609"/>
                  </a:lnTo>
                  <a:lnTo>
                    <a:pt x="3319" y="616"/>
                  </a:lnTo>
                  <a:lnTo>
                    <a:pt x="3338" y="622"/>
                  </a:lnTo>
                  <a:lnTo>
                    <a:pt x="3360" y="629"/>
                  </a:lnTo>
                  <a:lnTo>
                    <a:pt x="3382" y="634"/>
                  </a:lnTo>
                  <a:lnTo>
                    <a:pt x="3406" y="637"/>
                  </a:lnTo>
                  <a:lnTo>
                    <a:pt x="3431" y="640"/>
                  </a:lnTo>
                  <a:lnTo>
                    <a:pt x="3455" y="641"/>
                  </a:lnTo>
                  <a:lnTo>
                    <a:pt x="3484" y="640"/>
                  </a:lnTo>
                  <a:lnTo>
                    <a:pt x="3511" y="637"/>
                  </a:lnTo>
                  <a:lnTo>
                    <a:pt x="3524" y="635"/>
                  </a:lnTo>
                  <a:lnTo>
                    <a:pt x="3536" y="632"/>
                  </a:lnTo>
                  <a:lnTo>
                    <a:pt x="3548" y="629"/>
                  </a:lnTo>
                  <a:lnTo>
                    <a:pt x="3559" y="625"/>
                  </a:lnTo>
                  <a:lnTo>
                    <a:pt x="3570" y="621"/>
                  </a:lnTo>
                  <a:lnTo>
                    <a:pt x="3581" y="617"/>
                  </a:lnTo>
                  <a:lnTo>
                    <a:pt x="3590" y="613"/>
                  </a:lnTo>
                  <a:lnTo>
                    <a:pt x="3600" y="608"/>
                  </a:lnTo>
                  <a:lnTo>
                    <a:pt x="3608" y="603"/>
                  </a:lnTo>
                  <a:lnTo>
                    <a:pt x="3618" y="597"/>
                  </a:lnTo>
                  <a:lnTo>
                    <a:pt x="3625" y="591"/>
                  </a:lnTo>
                  <a:lnTo>
                    <a:pt x="3633" y="584"/>
                  </a:lnTo>
                  <a:lnTo>
                    <a:pt x="3639" y="578"/>
                  </a:lnTo>
                  <a:lnTo>
                    <a:pt x="3646" y="571"/>
                  </a:lnTo>
                  <a:lnTo>
                    <a:pt x="3653" y="564"/>
                  </a:lnTo>
                  <a:lnTo>
                    <a:pt x="3658" y="557"/>
                  </a:lnTo>
                  <a:lnTo>
                    <a:pt x="3668" y="541"/>
                  </a:lnTo>
                  <a:lnTo>
                    <a:pt x="3676" y="526"/>
                  </a:lnTo>
                  <a:lnTo>
                    <a:pt x="3682" y="508"/>
                  </a:lnTo>
                  <a:lnTo>
                    <a:pt x="3687" y="491"/>
                  </a:lnTo>
                  <a:lnTo>
                    <a:pt x="3690" y="472"/>
                  </a:lnTo>
                  <a:lnTo>
                    <a:pt x="3691" y="454"/>
                  </a:lnTo>
                  <a:lnTo>
                    <a:pt x="3690" y="437"/>
                  </a:lnTo>
                  <a:lnTo>
                    <a:pt x="3688" y="422"/>
                  </a:lnTo>
                  <a:lnTo>
                    <a:pt x="3684" y="407"/>
                  </a:lnTo>
                  <a:lnTo>
                    <a:pt x="3680" y="393"/>
                  </a:lnTo>
                  <a:lnTo>
                    <a:pt x="3675" y="380"/>
                  </a:lnTo>
                  <a:lnTo>
                    <a:pt x="3668" y="367"/>
                  </a:lnTo>
                  <a:lnTo>
                    <a:pt x="3660" y="355"/>
                  </a:lnTo>
                  <a:lnTo>
                    <a:pt x="3651" y="344"/>
                  </a:lnTo>
                  <a:lnTo>
                    <a:pt x="3640" y="332"/>
                  </a:lnTo>
                  <a:lnTo>
                    <a:pt x="3629" y="322"/>
                  </a:lnTo>
                  <a:lnTo>
                    <a:pt x="3616" y="313"/>
                  </a:lnTo>
                  <a:lnTo>
                    <a:pt x="3601" y="303"/>
                  </a:lnTo>
                  <a:lnTo>
                    <a:pt x="3586" y="294"/>
                  </a:lnTo>
                  <a:lnTo>
                    <a:pt x="3568" y="286"/>
                  </a:lnTo>
                  <a:lnTo>
                    <a:pt x="3550" y="278"/>
                  </a:lnTo>
                  <a:lnTo>
                    <a:pt x="3530" y="270"/>
                  </a:lnTo>
                  <a:lnTo>
                    <a:pt x="3502" y="258"/>
                  </a:lnTo>
                  <a:lnTo>
                    <a:pt x="3477" y="247"/>
                  </a:lnTo>
                  <a:lnTo>
                    <a:pt x="3467" y="242"/>
                  </a:lnTo>
                  <a:lnTo>
                    <a:pt x="3457" y="236"/>
                  </a:lnTo>
                  <a:lnTo>
                    <a:pt x="3448" y="230"/>
                  </a:lnTo>
                  <a:lnTo>
                    <a:pt x="3441" y="224"/>
                  </a:lnTo>
                  <a:lnTo>
                    <a:pt x="3434" y="219"/>
                  </a:lnTo>
                  <a:lnTo>
                    <a:pt x="3428" y="213"/>
                  </a:lnTo>
                  <a:lnTo>
                    <a:pt x="3423" y="206"/>
                  </a:lnTo>
                  <a:lnTo>
                    <a:pt x="3419" y="200"/>
                  </a:lnTo>
                  <a:lnTo>
                    <a:pt x="3416" y="192"/>
                  </a:lnTo>
                  <a:lnTo>
                    <a:pt x="3414" y="184"/>
                  </a:lnTo>
                  <a:lnTo>
                    <a:pt x="3412" y="177"/>
                  </a:lnTo>
                  <a:lnTo>
                    <a:pt x="3412" y="168"/>
                  </a:lnTo>
                  <a:lnTo>
                    <a:pt x="3412" y="162"/>
                  </a:lnTo>
                  <a:lnTo>
                    <a:pt x="3413" y="154"/>
                  </a:lnTo>
                  <a:lnTo>
                    <a:pt x="3415" y="147"/>
                  </a:lnTo>
                  <a:lnTo>
                    <a:pt x="3418" y="141"/>
                  </a:lnTo>
                  <a:lnTo>
                    <a:pt x="3421" y="135"/>
                  </a:lnTo>
                  <a:lnTo>
                    <a:pt x="3426" y="129"/>
                  </a:lnTo>
                  <a:lnTo>
                    <a:pt x="3431" y="122"/>
                  </a:lnTo>
                  <a:lnTo>
                    <a:pt x="3437" y="117"/>
                  </a:lnTo>
                  <a:lnTo>
                    <a:pt x="3443" y="112"/>
                  </a:lnTo>
                  <a:lnTo>
                    <a:pt x="3450" y="107"/>
                  </a:lnTo>
                  <a:lnTo>
                    <a:pt x="3459" y="103"/>
                  </a:lnTo>
                  <a:lnTo>
                    <a:pt x="3469" y="100"/>
                  </a:lnTo>
                  <a:lnTo>
                    <a:pt x="3479" y="97"/>
                  </a:lnTo>
                  <a:lnTo>
                    <a:pt x="3489" y="95"/>
                  </a:lnTo>
                  <a:lnTo>
                    <a:pt x="3502" y="94"/>
                  </a:lnTo>
                  <a:lnTo>
                    <a:pt x="3515" y="94"/>
                  </a:lnTo>
                  <a:lnTo>
                    <a:pt x="3535" y="94"/>
                  </a:lnTo>
                  <a:lnTo>
                    <a:pt x="3555" y="96"/>
                  </a:lnTo>
                  <a:lnTo>
                    <a:pt x="3573" y="100"/>
                  </a:lnTo>
                  <a:lnTo>
                    <a:pt x="3590" y="104"/>
                  </a:lnTo>
                  <a:lnTo>
                    <a:pt x="3604" y="108"/>
                  </a:lnTo>
                  <a:lnTo>
                    <a:pt x="3618" y="113"/>
                  </a:lnTo>
                  <a:lnTo>
                    <a:pt x="3629" y="118"/>
                  </a:lnTo>
                  <a:lnTo>
                    <a:pt x="3638" y="122"/>
                  </a:lnTo>
                  <a:lnTo>
                    <a:pt x="3666" y="31"/>
                  </a:lnTo>
                  <a:lnTo>
                    <a:pt x="3653" y="25"/>
                  </a:lnTo>
                  <a:lnTo>
                    <a:pt x="3638" y="20"/>
                  </a:lnTo>
                  <a:lnTo>
                    <a:pt x="3622" y="14"/>
                  </a:lnTo>
                  <a:lnTo>
                    <a:pt x="3604" y="9"/>
                  </a:lnTo>
                  <a:lnTo>
                    <a:pt x="3585" y="6"/>
                  </a:lnTo>
                  <a:lnTo>
                    <a:pt x="3564" y="3"/>
                  </a:lnTo>
                  <a:lnTo>
                    <a:pt x="3542" y="1"/>
                  </a:lnTo>
                  <a:lnTo>
                    <a:pt x="3517" y="0"/>
                  </a:lnTo>
                  <a:lnTo>
                    <a:pt x="3492" y="1"/>
                  </a:lnTo>
                  <a:lnTo>
                    <a:pt x="3469" y="4"/>
                  </a:lnTo>
                  <a:lnTo>
                    <a:pt x="3447" y="8"/>
                  </a:lnTo>
                  <a:lnTo>
                    <a:pt x="3426" y="14"/>
                  </a:lnTo>
                  <a:lnTo>
                    <a:pt x="3406" y="22"/>
                  </a:lnTo>
                  <a:lnTo>
                    <a:pt x="3389" y="30"/>
                  </a:lnTo>
                  <a:lnTo>
                    <a:pt x="3372" y="40"/>
                  </a:lnTo>
                  <a:lnTo>
                    <a:pt x="3357" y="51"/>
                  </a:lnTo>
                  <a:lnTo>
                    <a:pt x="3343" y="64"/>
                  </a:lnTo>
                  <a:lnTo>
                    <a:pt x="3331" y="77"/>
                  </a:lnTo>
                  <a:lnTo>
                    <a:pt x="3322" y="93"/>
                  </a:lnTo>
                  <a:lnTo>
                    <a:pt x="3312" y="108"/>
                  </a:lnTo>
                  <a:lnTo>
                    <a:pt x="3306" y="124"/>
                  </a:lnTo>
                  <a:lnTo>
                    <a:pt x="3301" y="142"/>
                  </a:lnTo>
                  <a:lnTo>
                    <a:pt x="3298" y="159"/>
                  </a:lnTo>
                  <a:lnTo>
                    <a:pt x="3297" y="179"/>
                  </a:lnTo>
                  <a:lnTo>
                    <a:pt x="3298" y="194"/>
                  </a:lnTo>
                  <a:lnTo>
                    <a:pt x="3300" y="211"/>
                  </a:lnTo>
                  <a:lnTo>
                    <a:pt x="3304" y="225"/>
                  </a:lnTo>
                  <a:lnTo>
                    <a:pt x="3309" y="240"/>
                  </a:lnTo>
                  <a:lnTo>
                    <a:pt x="3316" y="253"/>
                  </a:lnTo>
                  <a:lnTo>
                    <a:pt x="3324" y="265"/>
                  </a:lnTo>
                  <a:lnTo>
                    <a:pt x="3333" y="277"/>
                  </a:lnTo>
                  <a:lnTo>
                    <a:pt x="3343" y="288"/>
                  </a:lnTo>
                  <a:lnTo>
                    <a:pt x="3355" y="299"/>
                  </a:lnTo>
                  <a:lnTo>
                    <a:pt x="3367" y="310"/>
                  </a:lnTo>
                  <a:lnTo>
                    <a:pt x="3381" y="319"/>
                  </a:lnTo>
                  <a:lnTo>
                    <a:pt x="3396" y="328"/>
                  </a:lnTo>
                  <a:lnTo>
                    <a:pt x="3412" y="336"/>
                  </a:lnTo>
                  <a:lnTo>
                    <a:pt x="3429" y="345"/>
                  </a:lnTo>
                  <a:lnTo>
                    <a:pt x="3447" y="352"/>
                  </a:lnTo>
                  <a:lnTo>
                    <a:pt x="3466" y="359"/>
                  </a:lnTo>
                  <a:lnTo>
                    <a:pt x="3492" y="369"/>
                  </a:lnTo>
                  <a:lnTo>
                    <a:pt x="3516" y="381"/>
                  </a:lnTo>
                  <a:lnTo>
                    <a:pt x="3525" y="386"/>
                  </a:lnTo>
                  <a:lnTo>
                    <a:pt x="3534" y="392"/>
                  </a:lnTo>
                  <a:lnTo>
                    <a:pt x="3543" y="397"/>
                  </a:lnTo>
                  <a:lnTo>
                    <a:pt x="3550" y="403"/>
                  </a:lnTo>
                  <a:lnTo>
                    <a:pt x="3556" y="409"/>
                  </a:lnTo>
                  <a:lnTo>
                    <a:pt x="3561" y="417"/>
                  </a:lnTo>
                  <a:lnTo>
                    <a:pt x="3565" y="423"/>
                  </a:lnTo>
                  <a:lnTo>
                    <a:pt x="3569" y="430"/>
                  </a:lnTo>
                  <a:lnTo>
                    <a:pt x="3571" y="437"/>
                  </a:lnTo>
                  <a:lnTo>
                    <a:pt x="3573" y="445"/>
                  </a:lnTo>
                  <a:lnTo>
                    <a:pt x="3575" y="454"/>
                  </a:lnTo>
                  <a:lnTo>
                    <a:pt x="3576" y="462"/>
                  </a:lnTo>
                  <a:lnTo>
                    <a:pt x="3575" y="471"/>
                  </a:lnTo>
                  <a:lnTo>
                    <a:pt x="3573" y="480"/>
                  </a:lnTo>
                  <a:lnTo>
                    <a:pt x="3571" y="489"/>
                  </a:lnTo>
                  <a:lnTo>
                    <a:pt x="3567" y="497"/>
                  </a:lnTo>
                  <a:lnTo>
                    <a:pt x="3563" y="504"/>
                  </a:lnTo>
                  <a:lnTo>
                    <a:pt x="3558" y="511"/>
                  </a:lnTo>
                  <a:lnTo>
                    <a:pt x="3553" y="517"/>
                  </a:lnTo>
                  <a:lnTo>
                    <a:pt x="3546" y="524"/>
                  </a:lnTo>
                  <a:lnTo>
                    <a:pt x="3539" y="529"/>
                  </a:lnTo>
                  <a:lnTo>
                    <a:pt x="3530" y="533"/>
                  </a:lnTo>
                  <a:lnTo>
                    <a:pt x="3521" y="537"/>
                  </a:lnTo>
                  <a:lnTo>
                    <a:pt x="3511" y="540"/>
                  </a:lnTo>
                  <a:lnTo>
                    <a:pt x="3500" y="543"/>
                  </a:lnTo>
                  <a:lnTo>
                    <a:pt x="3488" y="545"/>
                  </a:lnTo>
                  <a:lnTo>
                    <a:pt x="3476" y="546"/>
                  </a:lnTo>
                  <a:lnTo>
                    <a:pt x="3463" y="546"/>
                  </a:lnTo>
                  <a:lnTo>
                    <a:pt x="3441" y="546"/>
                  </a:lnTo>
                  <a:lnTo>
                    <a:pt x="3420" y="543"/>
                  </a:lnTo>
                  <a:lnTo>
                    <a:pt x="3400" y="540"/>
                  </a:lnTo>
                  <a:lnTo>
                    <a:pt x="3379" y="535"/>
                  </a:lnTo>
                  <a:lnTo>
                    <a:pt x="3361" y="529"/>
                  </a:lnTo>
                  <a:lnTo>
                    <a:pt x="3343" y="523"/>
                  </a:lnTo>
                  <a:lnTo>
                    <a:pt x="3327" y="514"/>
                  </a:lnTo>
                  <a:lnTo>
                    <a:pt x="3312" y="507"/>
                  </a:lnTo>
                  <a:lnTo>
                    <a:pt x="3288" y="601"/>
                  </a:lnTo>
                  <a:close/>
                  <a:moveTo>
                    <a:pt x="3188" y="263"/>
                  </a:moveTo>
                  <a:lnTo>
                    <a:pt x="2955" y="263"/>
                  </a:lnTo>
                  <a:lnTo>
                    <a:pt x="2955" y="104"/>
                  </a:lnTo>
                  <a:lnTo>
                    <a:pt x="3202" y="104"/>
                  </a:lnTo>
                  <a:lnTo>
                    <a:pt x="3202" y="10"/>
                  </a:lnTo>
                  <a:lnTo>
                    <a:pt x="2841" y="10"/>
                  </a:lnTo>
                  <a:lnTo>
                    <a:pt x="2841" y="631"/>
                  </a:lnTo>
                  <a:lnTo>
                    <a:pt x="3216" y="631"/>
                  </a:lnTo>
                  <a:lnTo>
                    <a:pt x="3216" y="537"/>
                  </a:lnTo>
                  <a:lnTo>
                    <a:pt x="2955" y="537"/>
                  </a:lnTo>
                  <a:lnTo>
                    <a:pt x="2955" y="355"/>
                  </a:lnTo>
                  <a:lnTo>
                    <a:pt x="3188" y="355"/>
                  </a:lnTo>
                  <a:lnTo>
                    <a:pt x="3188" y="263"/>
                  </a:lnTo>
                  <a:close/>
                  <a:moveTo>
                    <a:pt x="2727" y="523"/>
                  </a:moveTo>
                  <a:lnTo>
                    <a:pt x="2714" y="528"/>
                  </a:lnTo>
                  <a:lnTo>
                    <a:pt x="2701" y="532"/>
                  </a:lnTo>
                  <a:lnTo>
                    <a:pt x="2687" y="536"/>
                  </a:lnTo>
                  <a:lnTo>
                    <a:pt x="2671" y="539"/>
                  </a:lnTo>
                  <a:lnTo>
                    <a:pt x="2655" y="542"/>
                  </a:lnTo>
                  <a:lnTo>
                    <a:pt x="2637" y="544"/>
                  </a:lnTo>
                  <a:lnTo>
                    <a:pt x="2621" y="545"/>
                  </a:lnTo>
                  <a:lnTo>
                    <a:pt x="2604" y="545"/>
                  </a:lnTo>
                  <a:lnTo>
                    <a:pt x="2590" y="545"/>
                  </a:lnTo>
                  <a:lnTo>
                    <a:pt x="2579" y="544"/>
                  </a:lnTo>
                  <a:lnTo>
                    <a:pt x="2567" y="543"/>
                  </a:lnTo>
                  <a:lnTo>
                    <a:pt x="2555" y="541"/>
                  </a:lnTo>
                  <a:lnTo>
                    <a:pt x="2544" y="539"/>
                  </a:lnTo>
                  <a:lnTo>
                    <a:pt x="2533" y="537"/>
                  </a:lnTo>
                  <a:lnTo>
                    <a:pt x="2522" y="534"/>
                  </a:lnTo>
                  <a:lnTo>
                    <a:pt x="2512" y="530"/>
                  </a:lnTo>
                  <a:lnTo>
                    <a:pt x="2502" y="526"/>
                  </a:lnTo>
                  <a:lnTo>
                    <a:pt x="2493" y="522"/>
                  </a:lnTo>
                  <a:lnTo>
                    <a:pt x="2483" y="516"/>
                  </a:lnTo>
                  <a:lnTo>
                    <a:pt x="2475" y="511"/>
                  </a:lnTo>
                  <a:lnTo>
                    <a:pt x="2467" y="505"/>
                  </a:lnTo>
                  <a:lnTo>
                    <a:pt x="2459" y="499"/>
                  </a:lnTo>
                  <a:lnTo>
                    <a:pt x="2451" y="492"/>
                  </a:lnTo>
                  <a:lnTo>
                    <a:pt x="2444" y="486"/>
                  </a:lnTo>
                  <a:lnTo>
                    <a:pt x="2437" y="477"/>
                  </a:lnTo>
                  <a:lnTo>
                    <a:pt x="2431" y="470"/>
                  </a:lnTo>
                  <a:lnTo>
                    <a:pt x="2426" y="462"/>
                  </a:lnTo>
                  <a:lnTo>
                    <a:pt x="2420" y="453"/>
                  </a:lnTo>
                  <a:lnTo>
                    <a:pt x="2414" y="443"/>
                  </a:lnTo>
                  <a:lnTo>
                    <a:pt x="2410" y="434"/>
                  </a:lnTo>
                  <a:lnTo>
                    <a:pt x="2406" y="425"/>
                  </a:lnTo>
                  <a:lnTo>
                    <a:pt x="2402" y="415"/>
                  </a:lnTo>
                  <a:lnTo>
                    <a:pt x="2396" y="393"/>
                  </a:lnTo>
                  <a:lnTo>
                    <a:pt x="2391" y="371"/>
                  </a:lnTo>
                  <a:lnTo>
                    <a:pt x="2389" y="347"/>
                  </a:lnTo>
                  <a:lnTo>
                    <a:pt x="2388" y="322"/>
                  </a:lnTo>
                  <a:lnTo>
                    <a:pt x="2388" y="309"/>
                  </a:lnTo>
                  <a:lnTo>
                    <a:pt x="2389" y="295"/>
                  </a:lnTo>
                  <a:lnTo>
                    <a:pt x="2390" y="282"/>
                  </a:lnTo>
                  <a:lnTo>
                    <a:pt x="2392" y="270"/>
                  </a:lnTo>
                  <a:lnTo>
                    <a:pt x="2394" y="257"/>
                  </a:lnTo>
                  <a:lnTo>
                    <a:pt x="2397" y="246"/>
                  </a:lnTo>
                  <a:lnTo>
                    <a:pt x="2400" y="235"/>
                  </a:lnTo>
                  <a:lnTo>
                    <a:pt x="2403" y="223"/>
                  </a:lnTo>
                  <a:lnTo>
                    <a:pt x="2408" y="213"/>
                  </a:lnTo>
                  <a:lnTo>
                    <a:pt x="2412" y="203"/>
                  </a:lnTo>
                  <a:lnTo>
                    <a:pt x="2418" y="193"/>
                  </a:lnTo>
                  <a:lnTo>
                    <a:pt x="2423" y="184"/>
                  </a:lnTo>
                  <a:lnTo>
                    <a:pt x="2429" y="176"/>
                  </a:lnTo>
                  <a:lnTo>
                    <a:pt x="2435" y="168"/>
                  </a:lnTo>
                  <a:lnTo>
                    <a:pt x="2441" y="159"/>
                  </a:lnTo>
                  <a:lnTo>
                    <a:pt x="2448" y="152"/>
                  </a:lnTo>
                  <a:lnTo>
                    <a:pt x="2457" y="145"/>
                  </a:lnTo>
                  <a:lnTo>
                    <a:pt x="2464" y="139"/>
                  </a:lnTo>
                  <a:lnTo>
                    <a:pt x="2472" y="133"/>
                  </a:lnTo>
                  <a:lnTo>
                    <a:pt x="2480" y="127"/>
                  </a:lnTo>
                  <a:lnTo>
                    <a:pt x="2489" y="121"/>
                  </a:lnTo>
                  <a:lnTo>
                    <a:pt x="2499" y="117"/>
                  </a:lnTo>
                  <a:lnTo>
                    <a:pt x="2508" y="112"/>
                  </a:lnTo>
                  <a:lnTo>
                    <a:pt x="2517" y="109"/>
                  </a:lnTo>
                  <a:lnTo>
                    <a:pt x="2538" y="102"/>
                  </a:lnTo>
                  <a:lnTo>
                    <a:pt x="2559" y="98"/>
                  </a:lnTo>
                  <a:lnTo>
                    <a:pt x="2582" y="95"/>
                  </a:lnTo>
                  <a:lnTo>
                    <a:pt x="2605" y="94"/>
                  </a:lnTo>
                  <a:lnTo>
                    <a:pt x="2623" y="95"/>
                  </a:lnTo>
                  <a:lnTo>
                    <a:pt x="2641" y="96"/>
                  </a:lnTo>
                  <a:lnTo>
                    <a:pt x="2658" y="98"/>
                  </a:lnTo>
                  <a:lnTo>
                    <a:pt x="2673" y="101"/>
                  </a:lnTo>
                  <a:lnTo>
                    <a:pt x="2688" y="105"/>
                  </a:lnTo>
                  <a:lnTo>
                    <a:pt x="2701" y="109"/>
                  </a:lnTo>
                  <a:lnTo>
                    <a:pt x="2714" y="113"/>
                  </a:lnTo>
                  <a:lnTo>
                    <a:pt x="2726" y="118"/>
                  </a:lnTo>
                  <a:lnTo>
                    <a:pt x="2750" y="28"/>
                  </a:lnTo>
                  <a:lnTo>
                    <a:pt x="2740" y="24"/>
                  </a:lnTo>
                  <a:lnTo>
                    <a:pt x="2728" y="19"/>
                  </a:lnTo>
                  <a:lnTo>
                    <a:pt x="2712" y="13"/>
                  </a:lnTo>
                  <a:lnTo>
                    <a:pt x="2695" y="9"/>
                  </a:lnTo>
                  <a:lnTo>
                    <a:pt x="2674" y="6"/>
                  </a:lnTo>
                  <a:lnTo>
                    <a:pt x="2652" y="3"/>
                  </a:lnTo>
                  <a:lnTo>
                    <a:pt x="2627" y="1"/>
                  </a:lnTo>
                  <a:lnTo>
                    <a:pt x="2600" y="0"/>
                  </a:lnTo>
                  <a:lnTo>
                    <a:pt x="2583" y="1"/>
                  </a:lnTo>
                  <a:lnTo>
                    <a:pt x="2566" y="2"/>
                  </a:lnTo>
                  <a:lnTo>
                    <a:pt x="2548" y="4"/>
                  </a:lnTo>
                  <a:lnTo>
                    <a:pt x="2532" y="6"/>
                  </a:lnTo>
                  <a:lnTo>
                    <a:pt x="2515" y="9"/>
                  </a:lnTo>
                  <a:lnTo>
                    <a:pt x="2499" y="13"/>
                  </a:lnTo>
                  <a:lnTo>
                    <a:pt x="2483" y="17"/>
                  </a:lnTo>
                  <a:lnTo>
                    <a:pt x="2468" y="23"/>
                  </a:lnTo>
                  <a:lnTo>
                    <a:pt x="2454" y="29"/>
                  </a:lnTo>
                  <a:lnTo>
                    <a:pt x="2439" y="35"/>
                  </a:lnTo>
                  <a:lnTo>
                    <a:pt x="2426" y="42"/>
                  </a:lnTo>
                  <a:lnTo>
                    <a:pt x="2411" y="50"/>
                  </a:lnTo>
                  <a:lnTo>
                    <a:pt x="2399" y="59"/>
                  </a:lnTo>
                  <a:lnTo>
                    <a:pt x="2387" y="68"/>
                  </a:lnTo>
                  <a:lnTo>
                    <a:pt x="2374" y="77"/>
                  </a:lnTo>
                  <a:lnTo>
                    <a:pt x="2363" y="87"/>
                  </a:lnTo>
                  <a:lnTo>
                    <a:pt x="2352" y="99"/>
                  </a:lnTo>
                  <a:lnTo>
                    <a:pt x="2342" y="110"/>
                  </a:lnTo>
                  <a:lnTo>
                    <a:pt x="2332" y="122"/>
                  </a:lnTo>
                  <a:lnTo>
                    <a:pt x="2323" y="135"/>
                  </a:lnTo>
                  <a:lnTo>
                    <a:pt x="2315" y="148"/>
                  </a:lnTo>
                  <a:lnTo>
                    <a:pt x="2307" y="162"/>
                  </a:lnTo>
                  <a:lnTo>
                    <a:pt x="2300" y="176"/>
                  </a:lnTo>
                  <a:lnTo>
                    <a:pt x="2293" y="190"/>
                  </a:lnTo>
                  <a:lnTo>
                    <a:pt x="2288" y="206"/>
                  </a:lnTo>
                  <a:lnTo>
                    <a:pt x="2283" y="222"/>
                  </a:lnTo>
                  <a:lnTo>
                    <a:pt x="2278" y="239"/>
                  </a:lnTo>
                  <a:lnTo>
                    <a:pt x="2275" y="255"/>
                  </a:lnTo>
                  <a:lnTo>
                    <a:pt x="2272" y="273"/>
                  </a:lnTo>
                  <a:lnTo>
                    <a:pt x="2270" y="290"/>
                  </a:lnTo>
                  <a:lnTo>
                    <a:pt x="2269" y="309"/>
                  </a:lnTo>
                  <a:lnTo>
                    <a:pt x="2269" y="328"/>
                  </a:lnTo>
                  <a:lnTo>
                    <a:pt x="2269" y="346"/>
                  </a:lnTo>
                  <a:lnTo>
                    <a:pt x="2270" y="362"/>
                  </a:lnTo>
                  <a:lnTo>
                    <a:pt x="2272" y="380"/>
                  </a:lnTo>
                  <a:lnTo>
                    <a:pt x="2274" y="395"/>
                  </a:lnTo>
                  <a:lnTo>
                    <a:pt x="2277" y="412"/>
                  </a:lnTo>
                  <a:lnTo>
                    <a:pt x="2281" y="427"/>
                  </a:lnTo>
                  <a:lnTo>
                    <a:pt x="2285" y="441"/>
                  </a:lnTo>
                  <a:lnTo>
                    <a:pt x="2290" y="457"/>
                  </a:lnTo>
                  <a:lnTo>
                    <a:pt x="2295" y="470"/>
                  </a:lnTo>
                  <a:lnTo>
                    <a:pt x="2302" y="484"/>
                  </a:lnTo>
                  <a:lnTo>
                    <a:pt x="2309" y="497"/>
                  </a:lnTo>
                  <a:lnTo>
                    <a:pt x="2317" y="509"/>
                  </a:lnTo>
                  <a:lnTo>
                    <a:pt x="2325" y="522"/>
                  </a:lnTo>
                  <a:lnTo>
                    <a:pt x="2333" y="534"/>
                  </a:lnTo>
                  <a:lnTo>
                    <a:pt x="2343" y="544"/>
                  </a:lnTo>
                  <a:lnTo>
                    <a:pt x="2353" y="555"/>
                  </a:lnTo>
                  <a:lnTo>
                    <a:pt x="2363" y="565"/>
                  </a:lnTo>
                  <a:lnTo>
                    <a:pt x="2374" y="574"/>
                  </a:lnTo>
                  <a:lnTo>
                    <a:pt x="2386" y="583"/>
                  </a:lnTo>
                  <a:lnTo>
                    <a:pt x="2398" y="592"/>
                  </a:lnTo>
                  <a:lnTo>
                    <a:pt x="2411" y="599"/>
                  </a:lnTo>
                  <a:lnTo>
                    <a:pt x="2424" y="606"/>
                  </a:lnTo>
                  <a:lnTo>
                    <a:pt x="2438" y="612"/>
                  </a:lnTo>
                  <a:lnTo>
                    <a:pt x="2452" y="618"/>
                  </a:lnTo>
                  <a:lnTo>
                    <a:pt x="2467" y="623"/>
                  </a:lnTo>
                  <a:lnTo>
                    <a:pt x="2482" y="628"/>
                  </a:lnTo>
                  <a:lnTo>
                    <a:pt x="2499" y="632"/>
                  </a:lnTo>
                  <a:lnTo>
                    <a:pt x="2515" y="635"/>
                  </a:lnTo>
                  <a:lnTo>
                    <a:pt x="2532" y="637"/>
                  </a:lnTo>
                  <a:lnTo>
                    <a:pt x="2549" y="639"/>
                  </a:lnTo>
                  <a:lnTo>
                    <a:pt x="2567" y="640"/>
                  </a:lnTo>
                  <a:lnTo>
                    <a:pt x="2585" y="641"/>
                  </a:lnTo>
                  <a:lnTo>
                    <a:pt x="2612" y="640"/>
                  </a:lnTo>
                  <a:lnTo>
                    <a:pt x="2637" y="638"/>
                  </a:lnTo>
                  <a:lnTo>
                    <a:pt x="2661" y="635"/>
                  </a:lnTo>
                  <a:lnTo>
                    <a:pt x="2684" y="632"/>
                  </a:lnTo>
                  <a:lnTo>
                    <a:pt x="2702" y="628"/>
                  </a:lnTo>
                  <a:lnTo>
                    <a:pt x="2720" y="622"/>
                  </a:lnTo>
                  <a:lnTo>
                    <a:pt x="2734" y="617"/>
                  </a:lnTo>
                  <a:lnTo>
                    <a:pt x="2745" y="612"/>
                  </a:lnTo>
                  <a:lnTo>
                    <a:pt x="2727" y="523"/>
                  </a:lnTo>
                  <a:close/>
                  <a:moveTo>
                    <a:pt x="2058" y="10"/>
                  </a:moveTo>
                  <a:lnTo>
                    <a:pt x="2058" y="631"/>
                  </a:lnTo>
                  <a:lnTo>
                    <a:pt x="2171" y="631"/>
                  </a:lnTo>
                  <a:lnTo>
                    <a:pt x="2171" y="10"/>
                  </a:lnTo>
                  <a:lnTo>
                    <a:pt x="2058" y="10"/>
                  </a:lnTo>
                  <a:close/>
                  <a:moveTo>
                    <a:pt x="1776" y="631"/>
                  </a:moveTo>
                  <a:lnTo>
                    <a:pt x="1991" y="10"/>
                  </a:lnTo>
                  <a:lnTo>
                    <a:pt x="1871" y="10"/>
                  </a:lnTo>
                  <a:lnTo>
                    <a:pt x="1780" y="294"/>
                  </a:lnTo>
                  <a:lnTo>
                    <a:pt x="1771" y="322"/>
                  </a:lnTo>
                  <a:lnTo>
                    <a:pt x="1762" y="351"/>
                  </a:lnTo>
                  <a:lnTo>
                    <a:pt x="1754" y="379"/>
                  </a:lnTo>
                  <a:lnTo>
                    <a:pt x="1746" y="407"/>
                  </a:lnTo>
                  <a:lnTo>
                    <a:pt x="1738" y="435"/>
                  </a:lnTo>
                  <a:lnTo>
                    <a:pt x="1730" y="463"/>
                  </a:lnTo>
                  <a:lnTo>
                    <a:pt x="1724" y="491"/>
                  </a:lnTo>
                  <a:lnTo>
                    <a:pt x="1717" y="518"/>
                  </a:lnTo>
                  <a:lnTo>
                    <a:pt x="1715" y="518"/>
                  </a:lnTo>
                  <a:lnTo>
                    <a:pt x="1709" y="491"/>
                  </a:lnTo>
                  <a:lnTo>
                    <a:pt x="1702" y="462"/>
                  </a:lnTo>
                  <a:lnTo>
                    <a:pt x="1695" y="434"/>
                  </a:lnTo>
                  <a:lnTo>
                    <a:pt x="1688" y="406"/>
                  </a:lnTo>
                  <a:lnTo>
                    <a:pt x="1680" y="379"/>
                  </a:lnTo>
                  <a:lnTo>
                    <a:pt x="1672" y="350"/>
                  </a:lnTo>
                  <a:lnTo>
                    <a:pt x="1663" y="321"/>
                  </a:lnTo>
                  <a:lnTo>
                    <a:pt x="1654" y="292"/>
                  </a:lnTo>
                  <a:lnTo>
                    <a:pt x="1570" y="10"/>
                  </a:lnTo>
                  <a:lnTo>
                    <a:pt x="1447" y="10"/>
                  </a:lnTo>
                  <a:lnTo>
                    <a:pt x="1647" y="631"/>
                  </a:lnTo>
                  <a:lnTo>
                    <a:pt x="1776" y="631"/>
                  </a:lnTo>
                  <a:close/>
                  <a:moveTo>
                    <a:pt x="1090" y="97"/>
                  </a:moveTo>
                  <a:lnTo>
                    <a:pt x="1101" y="95"/>
                  </a:lnTo>
                  <a:lnTo>
                    <a:pt x="1117" y="93"/>
                  </a:lnTo>
                  <a:lnTo>
                    <a:pt x="1136" y="92"/>
                  </a:lnTo>
                  <a:lnTo>
                    <a:pt x="1161" y="91"/>
                  </a:lnTo>
                  <a:lnTo>
                    <a:pt x="1174" y="92"/>
                  </a:lnTo>
                  <a:lnTo>
                    <a:pt x="1187" y="93"/>
                  </a:lnTo>
                  <a:lnTo>
                    <a:pt x="1199" y="95"/>
                  </a:lnTo>
                  <a:lnTo>
                    <a:pt x="1210" y="97"/>
                  </a:lnTo>
                  <a:lnTo>
                    <a:pt x="1222" y="100"/>
                  </a:lnTo>
                  <a:lnTo>
                    <a:pt x="1231" y="105"/>
                  </a:lnTo>
                  <a:lnTo>
                    <a:pt x="1240" y="109"/>
                  </a:lnTo>
                  <a:lnTo>
                    <a:pt x="1248" y="115"/>
                  </a:lnTo>
                  <a:lnTo>
                    <a:pt x="1256" y="121"/>
                  </a:lnTo>
                  <a:lnTo>
                    <a:pt x="1263" y="130"/>
                  </a:lnTo>
                  <a:lnTo>
                    <a:pt x="1268" y="137"/>
                  </a:lnTo>
                  <a:lnTo>
                    <a:pt x="1273" y="146"/>
                  </a:lnTo>
                  <a:lnTo>
                    <a:pt x="1277" y="156"/>
                  </a:lnTo>
                  <a:lnTo>
                    <a:pt x="1279" y="167"/>
                  </a:lnTo>
                  <a:lnTo>
                    <a:pt x="1281" y="178"/>
                  </a:lnTo>
                  <a:lnTo>
                    <a:pt x="1281" y="190"/>
                  </a:lnTo>
                  <a:lnTo>
                    <a:pt x="1281" y="202"/>
                  </a:lnTo>
                  <a:lnTo>
                    <a:pt x="1279" y="212"/>
                  </a:lnTo>
                  <a:lnTo>
                    <a:pt x="1277" y="222"/>
                  </a:lnTo>
                  <a:lnTo>
                    <a:pt x="1273" y="232"/>
                  </a:lnTo>
                  <a:lnTo>
                    <a:pt x="1268" y="242"/>
                  </a:lnTo>
                  <a:lnTo>
                    <a:pt x="1263" y="250"/>
                  </a:lnTo>
                  <a:lnTo>
                    <a:pt x="1255" y="257"/>
                  </a:lnTo>
                  <a:lnTo>
                    <a:pt x="1248" y="264"/>
                  </a:lnTo>
                  <a:lnTo>
                    <a:pt x="1240" y="271"/>
                  </a:lnTo>
                  <a:lnTo>
                    <a:pt x="1231" y="277"/>
                  </a:lnTo>
                  <a:lnTo>
                    <a:pt x="1221" y="281"/>
                  </a:lnTo>
                  <a:lnTo>
                    <a:pt x="1209" y="285"/>
                  </a:lnTo>
                  <a:lnTo>
                    <a:pt x="1197" y="288"/>
                  </a:lnTo>
                  <a:lnTo>
                    <a:pt x="1185" y="291"/>
                  </a:lnTo>
                  <a:lnTo>
                    <a:pt x="1171" y="292"/>
                  </a:lnTo>
                  <a:lnTo>
                    <a:pt x="1158" y="292"/>
                  </a:lnTo>
                  <a:lnTo>
                    <a:pt x="1090" y="292"/>
                  </a:lnTo>
                  <a:lnTo>
                    <a:pt x="1090" y="97"/>
                  </a:lnTo>
                  <a:close/>
                  <a:moveTo>
                    <a:pt x="978" y="631"/>
                  </a:moveTo>
                  <a:lnTo>
                    <a:pt x="1090" y="631"/>
                  </a:lnTo>
                  <a:lnTo>
                    <a:pt x="1090" y="375"/>
                  </a:lnTo>
                  <a:lnTo>
                    <a:pt x="1148" y="375"/>
                  </a:lnTo>
                  <a:lnTo>
                    <a:pt x="1159" y="377"/>
                  </a:lnTo>
                  <a:lnTo>
                    <a:pt x="1170" y="378"/>
                  </a:lnTo>
                  <a:lnTo>
                    <a:pt x="1180" y="380"/>
                  </a:lnTo>
                  <a:lnTo>
                    <a:pt x="1190" y="382"/>
                  </a:lnTo>
                  <a:lnTo>
                    <a:pt x="1198" y="385"/>
                  </a:lnTo>
                  <a:lnTo>
                    <a:pt x="1206" y="389"/>
                  </a:lnTo>
                  <a:lnTo>
                    <a:pt x="1213" y="394"/>
                  </a:lnTo>
                  <a:lnTo>
                    <a:pt x="1221" y="400"/>
                  </a:lnTo>
                  <a:lnTo>
                    <a:pt x="1227" y="407"/>
                  </a:lnTo>
                  <a:lnTo>
                    <a:pt x="1233" y="415"/>
                  </a:lnTo>
                  <a:lnTo>
                    <a:pt x="1238" y="424"/>
                  </a:lnTo>
                  <a:lnTo>
                    <a:pt x="1243" y="433"/>
                  </a:lnTo>
                  <a:lnTo>
                    <a:pt x="1247" y="444"/>
                  </a:lnTo>
                  <a:lnTo>
                    <a:pt x="1251" y="457"/>
                  </a:lnTo>
                  <a:lnTo>
                    <a:pt x="1255" y="470"/>
                  </a:lnTo>
                  <a:lnTo>
                    <a:pt x="1259" y="485"/>
                  </a:lnTo>
                  <a:lnTo>
                    <a:pt x="1272" y="537"/>
                  </a:lnTo>
                  <a:lnTo>
                    <a:pt x="1283" y="579"/>
                  </a:lnTo>
                  <a:lnTo>
                    <a:pt x="1288" y="597"/>
                  </a:lnTo>
                  <a:lnTo>
                    <a:pt x="1292" y="611"/>
                  </a:lnTo>
                  <a:lnTo>
                    <a:pt x="1297" y="622"/>
                  </a:lnTo>
                  <a:lnTo>
                    <a:pt x="1301" y="631"/>
                  </a:lnTo>
                  <a:lnTo>
                    <a:pt x="1417" y="631"/>
                  </a:lnTo>
                  <a:lnTo>
                    <a:pt x="1413" y="619"/>
                  </a:lnTo>
                  <a:lnTo>
                    <a:pt x="1406" y="605"/>
                  </a:lnTo>
                  <a:lnTo>
                    <a:pt x="1401" y="585"/>
                  </a:lnTo>
                  <a:lnTo>
                    <a:pt x="1395" y="565"/>
                  </a:lnTo>
                  <a:lnTo>
                    <a:pt x="1389" y="540"/>
                  </a:lnTo>
                  <a:lnTo>
                    <a:pt x="1382" y="514"/>
                  </a:lnTo>
                  <a:lnTo>
                    <a:pt x="1376" y="487"/>
                  </a:lnTo>
                  <a:lnTo>
                    <a:pt x="1368" y="458"/>
                  </a:lnTo>
                  <a:lnTo>
                    <a:pt x="1362" y="436"/>
                  </a:lnTo>
                  <a:lnTo>
                    <a:pt x="1354" y="416"/>
                  </a:lnTo>
                  <a:lnTo>
                    <a:pt x="1346" y="398"/>
                  </a:lnTo>
                  <a:lnTo>
                    <a:pt x="1336" y="382"/>
                  </a:lnTo>
                  <a:lnTo>
                    <a:pt x="1330" y="374"/>
                  </a:lnTo>
                  <a:lnTo>
                    <a:pt x="1324" y="367"/>
                  </a:lnTo>
                  <a:lnTo>
                    <a:pt x="1318" y="361"/>
                  </a:lnTo>
                  <a:lnTo>
                    <a:pt x="1312" y="355"/>
                  </a:lnTo>
                  <a:lnTo>
                    <a:pt x="1305" y="350"/>
                  </a:lnTo>
                  <a:lnTo>
                    <a:pt x="1298" y="346"/>
                  </a:lnTo>
                  <a:lnTo>
                    <a:pt x="1290" y="342"/>
                  </a:lnTo>
                  <a:lnTo>
                    <a:pt x="1282" y="337"/>
                  </a:lnTo>
                  <a:lnTo>
                    <a:pt x="1282" y="335"/>
                  </a:lnTo>
                  <a:lnTo>
                    <a:pt x="1292" y="330"/>
                  </a:lnTo>
                  <a:lnTo>
                    <a:pt x="1304" y="326"/>
                  </a:lnTo>
                  <a:lnTo>
                    <a:pt x="1314" y="320"/>
                  </a:lnTo>
                  <a:lnTo>
                    <a:pt x="1324" y="314"/>
                  </a:lnTo>
                  <a:lnTo>
                    <a:pt x="1334" y="306"/>
                  </a:lnTo>
                  <a:lnTo>
                    <a:pt x="1343" y="298"/>
                  </a:lnTo>
                  <a:lnTo>
                    <a:pt x="1352" y="289"/>
                  </a:lnTo>
                  <a:lnTo>
                    <a:pt x="1360" y="280"/>
                  </a:lnTo>
                  <a:lnTo>
                    <a:pt x="1367" y="270"/>
                  </a:lnTo>
                  <a:lnTo>
                    <a:pt x="1374" y="258"/>
                  </a:lnTo>
                  <a:lnTo>
                    <a:pt x="1380" y="247"/>
                  </a:lnTo>
                  <a:lnTo>
                    <a:pt x="1385" y="235"/>
                  </a:lnTo>
                  <a:lnTo>
                    <a:pt x="1389" y="222"/>
                  </a:lnTo>
                  <a:lnTo>
                    <a:pt x="1392" y="209"/>
                  </a:lnTo>
                  <a:lnTo>
                    <a:pt x="1394" y="194"/>
                  </a:lnTo>
                  <a:lnTo>
                    <a:pt x="1394" y="180"/>
                  </a:lnTo>
                  <a:lnTo>
                    <a:pt x="1393" y="160"/>
                  </a:lnTo>
                  <a:lnTo>
                    <a:pt x="1391" y="142"/>
                  </a:lnTo>
                  <a:lnTo>
                    <a:pt x="1386" y="124"/>
                  </a:lnTo>
                  <a:lnTo>
                    <a:pt x="1381" y="108"/>
                  </a:lnTo>
                  <a:lnTo>
                    <a:pt x="1373" y="94"/>
                  </a:lnTo>
                  <a:lnTo>
                    <a:pt x="1363" y="79"/>
                  </a:lnTo>
                  <a:lnTo>
                    <a:pt x="1353" y="67"/>
                  </a:lnTo>
                  <a:lnTo>
                    <a:pt x="1341" y="56"/>
                  </a:lnTo>
                  <a:lnTo>
                    <a:pt x="1333" y="49"/>
                  </a:lnTo>
                  <a:lnTo>
                    <a:pt x="1324" y="43"/>
                  </a:lnTo>
                  <a:lnTo>
                    <a:pt x="1315" y="38"/>
                  </a:lnTo>
                  <a:lnTo>
                    <a:pt x="1306" y="33"/>
                  </a:lnTo>
                  <a:lnTo>
                    <a:pt x="1296" y="28"/>
                  </a:lnTo>
                  <a:lnTo>
                    <a:pt x="1285" y="24"/>
                  </a:lnTo>
                  <a:lnTo>
                    <a:pt x="1275" y="21"/>
                  </a:lnTo>
                  <a:lnTo>
                    <a:pt x="1263" y="17"/>
                  </a:lnTo>
                  <a:lnTo>
                    <a:pt x="1238" y="12"/>
                  </a:lnTo>
                  <a:lnTo>
                    <a:pt x="1211" y="8"/>
                  </a:lnTo>
                  <a:lnTo>
                    <a:pt x="1181" y="6"/>
                  </a:lnTo>
                  <a:lnTo>
                    <a:pt x="1150" y="5"/>
                  </a:lnTo>
                  <a:lnTo>
                    <a:pt x="1125" y="5"/>
                  </a:lnTo>
                  <a:lnTo>
                    <a:pt x="1101" y="6"/>
                  </a:lnTo>
                  <a:lnTo>
                    <a:pt x="1078" y="7"/>
                  </a:lnTo>
                  <a:lnTo>
                    <a:pt x="1055" y="9"/>
                  </a:lnTo>
                  <a:lnTo>
                    <a:pt x="1034" y="11"/>
                  </a:lnTo>
                  <a:lnTo>
                    <a:pt x="1014" y="13"/>
                  </a:lnTo>
                  <a:lnTo>
                    <a:pt x="995" y="15"/>
                  </a:lnTo>
                  <a:lnTo>
                    <a:pt x="978" y="19"/>
                  </a:lnTo>
                  <a:lnTo>
                    <a:pt x="978" y="631"/>
                  </a:lnTo>
                  <a:close/>
                  <a:moveTo>
                    <a:pt x="852" y="263"/>
                  </a:moveTo>
                  <a:lnTo>
                    <a:pt x="617" y="263"/>
                  </a:lnTo>
                  <a:lnTo>
                    <a:pt x="617" y="104"/>
                  </a:lnTo>
                  <a:lnTo>
                    <a:pt x="865" y="104"/>
                  </a:lnTo>
                  <a:lnTo>
                    <a:pt x="865" y="10"/>
                  </a:lnTo>
                  <a:lnTo>
                    <a:pt x="504" y="10"/>
                  </a:lnTo>
                  <a:lnTo>
                    <a:pt x="504" y="631"/>
                  </a:lnTo>
                  <a:lnTo>
                    <a:pt x="879" y="631"/>
                  </a:lnTo>
                  <a:lnTo>
                    <a:pt x="879" y="537"/>
                  </a:lnTo>
                  <a:lnTo>
                    <a:pt x="617" y="537"/>
                  </a:lnTo>
                  <a:lnTo>
                    <a:pt x="617" y="355"/>
                  </a:lnTo>
                  <a:lnTo>
                    <a:pt x="852" y="355"/>
                  </a:lnTo>
                  <a:lnTo>
                    <a:pt x="852" y="263"/>
                  </a:lnTo>
                  <a:close/>
                  <a:moveTo>
                    <a:pt x="0" y="601"/>
                  </a:moveTo>
                  <a:lnTo>
                    <a:pt x="14" y="609"/>
                  </a:lnTo>
                  <a:lnTo>
                    <a:pt x="32" y="616"/>
                  </a:lnTo>
                  <a:lnTo>
                    <a:pt x="50" y="622"/>
                  </a:lnTo>
                  <a:lnTo>
                    <a:pt x="72" y="629"/>
                  </a:lnTo>
                  <a:lnTo>
                    <a:pt x="94" y="634"/>
                  </a:lnTo>
                  <a:lnTo>
                    <a:pt x="118" y="637"/>
                  </a:lnTo>
                  <a:lnTo>
                    <a:pt x="143" y="640"/>
                  </a:lnTo>
                  <a:lnTo>
                    <a:pt x="167" y="641"/>
                  </a:lnTo>
                  <a:lnTo>
                    <a:pt x="196" y="640"/>
                  </a:lnTo>
                  <a:lnTo>
                    <a:pt x="224" y="637"/>
                  </a:lnTo>
                  <a:lnTo>
                    <a:pt x="236" y="635"/>
                  </a:lnTo>
                  <a:lnTo>
                    <a:pt x="248" y="632"/>
                  </a:lnTo>
                  <a:lnTo>
                    <a:pt x="261" y="629"/>
                  </a:lnTo>
                  <a:lnTo>
                    <a:pt x="272" y="625"/>
                  </a:lnTo>
                  <a:lnTo>
                    <a:pt x="282" y="621"/>
                  </a:lnTo>
                  <a:lnTo>
                    <a:pt x="293" y="617"/>
                  </a:lnTo>
                  <a:lnTo>
                    <a:pt x="303" y="613"/>
                  </a:lnTo>
                  <a:lnTo>
                    <a:pt x="312" y="608"/>
                  </a:lnTo>
                  <a:lnTo>
                    <a:pt x="321" y="603"/>
                  </a:lnTo>
                  <a:lnTo>
                    <a:pt x="330" y="597"/>
                  </a:lnTo>
                  <a:lnTo>
                    <a:pt x="338" y="591"/>
                  </a:lnTo>
                  <a:lnTo>
                    <a:pt x="345" y="584"/>
                  </a:lnTo>
                  <a:lnTo>
                    <a:pt x="352" y="578"/>
                  </a:lnTo>
                  <a:lnTo>
                    <a:pt x="358" y="571"/>
                  </a:lnTo>
                  <a:lnTo>
                    <a:pt x="365" y="564"/>
                  </a:lnTo>
                  <a:lnTo>
                    <a:pt x="371" y="557"/>
                  </a:lnTo>
                  <a:lnTo>
                    <a:pt x="380" y="541"/>
                  </a:lnTo>
                  <a:lnTo>
                    <a:pt x="388" y="526"/>
                  </a:lnTo>
                  <a:lnTo>
                    <a:pt x="394" y="508"/>
                  </a:lnTo>
                  <a:lnTo>
                    <a:pt x="400" y="491"/>
                  </a:lnTo>
                  <a:lnTo>
                    <a:pt x="402" y="472"/>
                  </a:lnTo>
                  <a:lnTo>
                    <a:pt x="403" y="454"/>
                  </a:lnTo>
                  <a:lnTo>
                    <a:pt x="402" y="437"/>
                  </a:lnTo>
                  <a:lnTo>
                    <a:pt x="401" y="422"/>
                  </a:lnTo>
                  <a:lnTo>
                    <a:pt x="397" y="407"/>
                  </a:lnTo>
                  <a:lnTo>
                    <a:pt x="393" y="393"/>
                  </a:lnTo>
                  <a:lnTo>
                    <a:pt x="387" y="380"/>
                  </a:lnTo>
                  <a:lnTo>
                    <a:pt x="381" y="367"/>
                  </a:lnTo>
                  <a:lnTo>
                    <a:pt x="373" y="355"/>
                  </a:lnTo>
                  <a:lnTo>
                    <a:pt x="364" y="344"/>
                  </a:lnTo>
                  <a:lnTo>
                    <a:pt x="353" y="332"/>
                  </a:lnTo>
                  <a:lnTo>
                    <a:pt x="341" y="322"/>
                  </a:lnTo>
                  <a:lnTo>
                    <a:pt x="328" y="313"/>
                  </a:lnTo>
                  <a:lnTo>
                    <a:pt x="313" y="303"/>
                  </a:lnTo>
                  <a:lnTo>
                    <a:pt x="298" y="294"/>
                  </a:lnTo>
                  <a:lnTo>
                    <a:pt x="281" y="286"/>
                  </a:lnTo>
                  <a:lnTo>
                    <a:pt x="263" y="278"/>
                  </a:lnTo>
                  <a:lnTo>
                    <a:pt x="243" y="270"/>
                  </a:lnTo>
                  <a:lnTo>
                    <a:pt x="215" y="258"/>
                  </a:lnTo>
                  <a:lnTo>
                    <a:pt x="190" y="247"/>
                  </a:lnTo>
                  <a:lnTo>
                    <a:pt x="179" y="242"/>
                  </a:lnTo>
                  <a:lnTo>
                    <a:pt x="169" y="236"/>
                  </a:lnTo>
                  <a:lnTo>
                    <a:pt x="161" y="230"/>
                  </a:lnTo>
                  <a:lnTo>
                    <a:pt x="153" y="224"/>
                  </a:lnTo>
                  <a:lnTo>
                    <a:pt x="146" y="219"/>
                  </a:lnTo>
                  <a:lnTo>
                    <a:pt x="141" y="213"/>
                  </a:lnTo>
                  <a:lnTo>
                    <a:pt x="135" y="206"/>
                  </a:lnTo>
                  <a:lnTo>
                    <a:pt x="131" y="200"/>
                  </a:lnTo>
                  <a:lnTo>
                    <a:pt x="128" y="192"/>
                  </a:lnTo>
                  <a:lnTo>
                    <a:pt x="126" y="184"/>
                  </a:lnTo>
                  <a:lnTo>
                    <a:pt x="125" y="177"/>
                  </a:lnTo>
                  <a:lnTo>
                    <a:pt x="125" y="168"/>
                  </a:lnTo>
                  <a:lnTo>
                    <a:pt x="125" y="162"/>
                  </a:lnTo>
                  <a:lnTo>
                    <a:pt x="126" y="154"/>
                  </a:lnTo>
                  <a:lnTo>
                    <a:pt x="128" y="147"/>
                  </a:lnTo>
                  <a:lnTo>
                    <a:pt x="130" y="141"/>
                  </a:lnTo>
                  <a:lnTo>
                    <a:pt x="134" y="135"/>
                  </a:lnTo>
                  <a:lnTo>
                    <a:pt x="139" y="129"/>
                  </a:lnTo>
                  <a:lnTo>
                    <a:pt x="143" y="122"/>
                  </a:lnTo>
                  <a:lnTo>
                    <a:pt x="149" y="117"/>
                  </a:lnTo>
                  <a:lnTo>
                    <a:pt x="156" y="112"/>
                  </a:lnTo>
                  <a:lnTo>
                    <a:pt x="163" y="107"/>
                  </a:lnTo>
                  <a:lnTo>
                    <a:pt x="171" y="103"/>
                  </a:lnTo>
                  <a:lnTo>
                    <a:pt x="181" y="100"/>
                  </a:lnTo>
                  <a:lnTo>
                    <a:pt x="191" y="97"/>
                  </a:lnTo>
                  <a:lnTo>
                    <a:pt x="202" y="95"/>
                  </a:lnTo>
                  <a:lnTo>
                    <a:pt x="215" y="94"/>
                  </a:lnTo>
                  <a:lnTo>
                    <a:pt x="227" y="94"/>
                  </a:lnTo>
                  <a:lnTo>
                    <a:pt x="248" y="94"/>
                  </a:lnTo>
                  <a:lnTo>
                    <a:pt x="268" y="96"/>
                  </a:lnTo>
                  <a:lnTo>
                    <a:pt x="285" y="100"/>
                  </a:lnTo>
                  <a:lnTo>
                    <a:pt x="302" y="104"/>
                  </a:lnTo>
                  <a:lnTo>
                    <a:pt x="317" y="108"/>
                  </a:lnTo>
                  <a:lnTo>
                    <a:pt x="331" y="113"/>
                  </a:lnTo>
                  <a:lnTo>
                    <a:pt x="342" y="118"/>
                  </a:lnTo>
                  <a:lnTo>
                    <a:pt x="351" y="122"/>
                  </a:lnTo>
                  <a:lnTo>
                    <a:pt x="378" y="31"/>
                  </a:lnTo>
                  <a:lnTo>
                    <a:pt x="366" y="25"/>
                  </a:lnTo>
                  <a:lnTo>
                    <a:pt x="350" y="20"/>
                  </a:lnTo>
                  <a:lnTo>
                    <a:pt x="335" y="14"/>
                  </a:lnTo>
                  <a:lnTo>
                    <a:pt x="316" y="9"/>
                  </a:lnTo>
                  <a:lnTo>
                    <a:pt x="298" y="6"/>
                  </a:lnTo>
                  <a:lnTo>
                    <a:pt x="276" y="3"/>
                  </a:lnTo>
                  <a:lnTo>
                    <a:pt x="254" y="1"/>
                  </a:lnTo>
                  <a:lnTo>
                    <a:pt x="229" y="0"/>
                  </a:lnTo>
                  <a:lnTo>
                    <a:pt x="204" y="1"/>
                  </a:lnTo>
                  <a:lnTo>
                    <a:pt x="182" y="4"/>
                  </a:lnTo>
                  <a:lnTo>
                    <a:pt x="159" y="8"/>
                  </a:lnTo>
                  <a:lnTo>
                    <a:pt x="139" y="14"/>
                  </a:lnTo>
                  <a:lnTo>
                    <a:pt x="119" y="22"/>
                  </a:lnTo>
                  <a:lnTo>
                    <a:pt x="101" y="30"/>
                  </a:lnTo>
                  <a:lnTo>
                    <a:pt x="84" y="40"/>
                  </a:lnTo>
                  <a:lnTo>
                    <a:pt x="70" y="51"/>
                  </a:lnTo>
                  <a:lnTo>
                    <a:pt x="56" y="64"/>
                  </a:lnTo>
                  <a:lnTo>
                    <a:pt x="44" y="77"/>
                  </a:lnTo>
                  <a:lnTo>
                    <a:pt x="34" y="93"/>
                  </a:lnTo>
                  <a:lnTo>
                    <a:pt x="26" y="108"/>
                  </a:lnTo>
                  <a:lnTo>
                    <a:pt x="18" y="124"/>
                  </a:lnTo>
                  <a:lnTo>
                    <a:pt x="14" y="142"/>
                  </a:lnTo>
                  <a:lnTo>
                    <a:pt x="11" y="159"/>
                  </a:lnTo>
                  <a:lnTo>
                    <a:pt x="10" y="179"/>
                  </a:lnTo>
                  <a:lnTo>
                    <a:pt x="11" y="194"/>
                  </a:lnTo>
                  <a:lnTo>
                    <a:pt x="13" y="211"/>
                  </a:lnTo>
                  <a:lnTo>
                    <a:pt x="16" y="225"/>
                  </a:lnTo>
                  <a:lnTo>
                    <a:pt x="21" y="240"/>
                  </a:lnTo>
                  <a:lnTo>
                    <a:pt x="29" y="253"/>
                  </a:lnTo>
                  <a:lnTo>
                    <a:pt x="36" y="265"/>
                  </a:lnTo>
                  <a:lnTo>
                    <a:pt x="45" y="277"/>
                  </a:lnTo>
                  <a:lnTo>
                    <a:pt x="55" y="288"/>
                  </a:lnTo>
                  <a:lnTo>
                    <a:pt x="67" y="299"/>
                  </a:lnTo>
                  <a:lnTo>
                    <a:pt x="80" y="310"/>
                  </a:lnTo>
                  <a:lnTo>
                    <a:pt x="93" y="319"/>
                  </a:lnTo>
                  <a:lnTo>
                    <a:pt x="109" y="328"/>
                  </a:lnTo>
                  <a:lnTo>
                    <a:pt x="124" y="336"/>
                  </a:lnTo>
                  <a:lnTo>
                    <a:pt x="142" y="345"/>
                  </a:lnTo>
                  <a:lnTo>
                    <a:pt x="159" y="352"/>
                  </a:lnTo>
                  <a:lnTo>
                    <a:pt x="178" y="359"/>
                  </a:lnTo>
                  <a:lnTo>
                    <a:pt x="205" y="369"/>
                  </a:lnTo>
                  <a:lnTo>
                    <a:pt x="228" y="381"/>
                  </a:lnTo>
                  <a:lnTo>
                    <a:pt x="238" y="386"/>
                  </a:lnTo>
                  <a:lnTo>
                    <a:pt x="247" y="392"/>
                  </a:lnTo>
                  <a:lnTo>
                    <a:pt x="255" y="397"/>
                  </a:lnTo>
                  <a:lnTo>
                    <a:pt x="262" y="403"/>
                  </a:lnTo>
                  <a:lnTo>
                    <a:pt x="268" y="409"/>
                  </a:lnTo>
                  <a:lnTo>
                    <a:pt x="273" y="417"/>
                  </a:lnTo>
                  <a:lnTo>
                    <a:pt x="278" y="423"/>
                  </a:lnTo>
                  <a:lnTo>
                    <a:pt x="281" y="430"/>
                  </a:lnTo>
                  <a:lnTo>
                    <a:pt x="284" y="437"/>
                  </a:lnTo>
                  <a:lnTo>
                    <a:pt x="287" y="445"/>
                  </a:lnTo>
                  <a:lnTo>
                    <a:pt x="288" y="454"/>
                  </a:lnTo>
                  <a:lnTo>
                    <a:pt x="288" y="462"/>
                  </a:lnTo>
                  <a:lnTo>
                    <a:pt x="288" y="471"/>
                  </a:lnTo>
                  <a:lnTo>
                    <a:pt x="285" y="480"/>
                  </a:lnTo>
                  <a:lnTo>
                    <a:pt x="283" y="489"/>
                  </a:lnTo>
                  <a:lnTo>
                    <a:pt x="280" y="497"/>
                  </a:lnTo>
                  <a:lnTo>
                    <a:pt x="276" y="504"/>
                  </a:lnTo>
                  <a:lnTo>
                    <a:pt x="271" y="511"/>
                  </a:lnTo>
                  <a:lnTo>
                    <a:pt x="265" y="517"/>
                  </a:lnTo>
                  <a:lnTo>
                    <a:pt x="259" y="524"/>
                  </a:lnTo>
                  <a:lnTo>
                    <a:pt x="251" y="529"/>
                  </a:lnTo>
                  <a:lnTo>
                    <a:pt x="242" y="533"/>
                  </a:lnTo>
                  <a:lnTo>
                    <a:pt x="233" y="537"/>
                  </a:lnTo>
                  <a:lnTo>
                    <a:pt x="223" y="540"/>
                  </a:lnTo>
                  <a:lnTo>
                    <a:pt x="213" y="543"/>
                  </a:lnTo>
                  <a:lnTo>
                    <a:pt x="200" y="545"/>
                  </a:lnTo>
                  <a:lnTo>
                    <a:pt x="188" y="546"/>
                  </a:lnTo>
                  <a:lnTo>
                    <a:pt x="175" y="546"/>
                  </a:lnTo>
                  <a:lnTo>
                    <a:pt x="154" y="546"/>
                  </a:lnTo>
                  <a:lnTo>
                    <a:pt x="132" y="543"/>
                  </a:lnTo>
                  <a:lnTo>
                    <a:pt x="112" y="540"/>
                  </a:lnTo>
                  <a:lnTo>
                    <a:pt x="92" y="535"/>
                  </a:lnTo>
                  <a:lnTo>
                    <a:pt x="74" y="529"/>
                  </a:lnTo>
                  <a:lnTo>
                    <a:pt x="56" y="523"/>
                  </a:lnTo>
                  <a:lnTo>
                    <a:pt x="40" y="514"/>
                  </a:lnTo>
                  <a:lnTo>
                    <a:pt x="26" y="507"/>
                  </a:lnTo>
                  <a:lnTo>
                    <a:pt x="0" y="601"/>
                  </a:lnTo>
                  <a:close/>
                </a:path>
              </a:pathLst>
            </a:custGeom>
            <a:solidFill>
              <a:srgbClr val="4473B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78" name="Freeform 10"/>
            <p:cNvSpPr>
              <a:spLocks noEditPoints="1"/>
            </p:cNvSpPr>
            <p:nvPr userDrawn="1"/>
          </p:nvSpPr>
          <p:spPr bwMode="auto">
            <a:xfrm>
              <a:off x="590" y="3744"/>
              <a:ext cx="737" cy="79"/>
            </a:xfrm>
            <a:custGeom>
              <a:avLst/>
              <a:gdLst/>
              <a:ahLst/>
              <a:cxnLst>
                <a:cxn ang="0">
                  <a:pos x="5506" y="10"/>
                </a:cxn>
                <a:cxn ang="0">
                  <a:pos x="5169" y="544"/>
                </a:cxn>
                <a:cxn ang="0">
                  <a:pos x="5029" y="477"/>
                </a:cxn>
                <a:cxn ang="0">
                  <a:pos x="4982" y="270"/>
                </a:cxn>
                <a:cxn ang="0">
                  <a:pos x="5063" y="133"/>
                </a:cxn>
                <a:cxn ang="0">
                  <a:pos x="5293" y="109"/>
                </a:cxn>
                <a:cxn ang="0">
                  <a:pos x="5122" y="6"/>
                </a:cxn>
                <a:cxn ang="0">
                  <a:pos x="4924" y="122"/>
                </a:cxn>
                <a:cxn ang="0">
                  <a:pos x="4861" y="362"/>
                </a:cxn>
                <a:cxn ang="0">
                  <a:pos x="4955" y="565"/>
                </a:cxn>
                <a:cxn ang="0">
                  <a:pos x="5175" y="641"/>
                </a:cxn>
                <a:cxn ang="0">
                  <a:pos x="4373" y="269"/>
                </a:cxn>
                <a:cxn ang="0">
                  <a:pos x="4761" y="631"/>
                </a:cxn>
                <a:cxn ang="0">
                  <a:pos x="4630" y="407"/>
                </a:cxn>
                <a:cxn ang="0">
                  <a:pos x="3905" y="100"/>
                </a:cxn>
                <a:cxn ang="0">
                  <a:pos x="3809" y="456"/>
                </a:cxn>
                <a:cxn ang="0">
                  <a:pos x="3020" y="10"/>
                </a:cxn>
                <a:cxn ang="0">
                  <a:pos x="2324" y="528"/>
                </a:cxn>
                <a:cxn ang="0">
                  <a:pos x="2455" y="633"/>
                </a:cxn>
                <a:cxn ang="0">
                  <a:pos x="2663" y="610"/>
                </a:cxn>
                <a:cxn ang="0">
                  <a:pos x="2767" y="461"/>
                </a:cxn>
                <a:cxn ang="0">
                  <a:pos x="2644" y="481"/>
                </a:cxn>
                <a:cxn ang="0">
                  <a:pos x="2470" y="533"/>
                </a:cxn>
                <a:cxn ang="0">
                  <a:pos x="1803" y="609"/>
                </a:cxn>
                <a:cxn ang="0">
                  <a:pos x="2082" y="617"/>
                </a:cxn>
                <a:cxn ang="0">
                  <a:pos x="2191" y="472"/>
                </a:cxn>
                <a:cxn ang="0">
                  <a:pos x="2070" y="286"/>
                </a:cxn>
                <a:cxn ang="0">
                  <a:pos x="1914" y="177"/>
                </a:cxn>
                <a:cxn ang="0">
                  <a:pos x="1991" y="95"/>
                </a:cxn>
                <a:cxn ang="0">
                  <a:pos x="2106" y="9"/>
                </a:cxn>
                <a:cxn ang="0">
                  <a:pos x="1823" y="93"/>
                </a:cxn>
                <a:cxn ang="0">
                  <a:pos x="1869" y="310"/>
                </a:cxn>
                <a:cxn ang="0">
                  <a:pos x="2067" y="423"/>
                </a:cxn>
                <a:cxn ang="0">
                  <a:pos x="2031" y="533"/>
                </a:cxn>
                <a:cxn ang="0">
                  <a:pos x="1789" y="601"/>
                </a:cxn>
                <a:cxn ang="0">
                  <a:pos x="1348" y="251"/>
                </a:cxn>
                <a:cxn ang="0">
                  <a:pos x="1587" y="422"/>
                </a:cxn>
                <a:cxn ang="0">
                  <a:pos x="1300" y="631"/>
                </a:cxn>
                <a:cxn ang="0">
                  <a:pos x="679" y="482"/>
                </a:cxn>
                <a:cxn ang="0">
                  <a:pos x="668" y="177"/>
                </a:cxn>
                <a:cxn ang="0">
                  <a:pos x="807" y="91"/>
                </a:cxn>
                <a:cxn ang="0">
                  <a:pos x="944" y="177"/>
                </a:cxn>
                <a:cxn ang="0">
                  <a:pos x="933" y="482"/>
                </a:cxn>
                <a:cxn ang="0">
                  <a:pos x="804" y="550"/>
                </a:cxn>
                <a:cxn ang="0">
                  <a:pos x="993" y="575"/>
                </a:cxn>
                <a:cxn ang="0">
                  <a:pos x="1094" y="370"/>
                </a:cxn>
                <a:cxn ang="0">
                  <a:pos x="1054" y="137"/>
                </a:cxn>
                <a:cxn ang="0">
                  <a:pos x="890" y="9"/>
                </a:cxn>
                <a:cxn ang="0">
                  <a:pos x="665" y="37"/>
                </a:cxn>
                <a:cxn ang="0">
                  <a:pos x="531" y="209"/>
                </a:cxn>
                <a:cxn ang="0">
                  <a:pos x="535" y="452"/>
                </a:cxn>
                <a:cxn ang="0">
                  <a:pos x="670" y="611"/>
                </a:cxn>
                <a:cxn ang="0">
                  <a:pos x="403" y="539"/>
                </a:cxn>
                <a:cxn ang="0">
                  <a:pos x="216" y="516"/>
                </a:cxn>
                <a:cxn ang="0">
                  <a:pos x="123" y="371"/>
                </a:cxn>
                <a:cxn ang="0">
                  <a:pos x="160" y="176"/>
                </a:cxn>
                <a:cxn ang="0">
                  <a:pos x="337" y="94"/>
                </a:cxn>
                <a:cxn ang="0">
                  <a:pos x="383" y="3"/>
                </a:cxn>
                <a:cxn ang="0">
                  <a:pos x="130" y="59"/>
                </a:cxn>
                <a:cxn ang="0">
                  <a:pos x="6" y="255"/>
                </a:cxn>
                <a:cxn ang="0">
                  <a:pos x="41" y="497"/>
                </a:cxn>
                <a:cxn ang="0">
                  <a:pos x="215" y="628"/>
                </a:cxn>
                <a:cxn ang="0">
                  <a:pos x="458" y="523"/>
                </a:cxn>
              </a:cxnLst>
              <a:rect l="0" t="0" r="r" b="b"/>
              <a:pathLst>
                <a:path w="5893" h="641">
                  <a:moveTo>
                    <a:pt x="5686" y="631"/>
                  </a:moveTo>
                  <a:lnTo>
                    <a:pt x="5686" y="369"/>
                  </a:lnTo>
                  <a:lnTo>
                    <a:pt x="5893" y="10"/>
                  </a:lnTo>
                  <a:lnTo>
                    <a:pt x="5764" y="10"/>
                  </a:lnTo>
                  <a:lnTo>
                    <a:pt x="5690" y="169"/>
                  </a:lnTo>
                  <a:lnTo>
                    <a:pt x="5675" y="202"/>
                  </a:lnTo>
                  <a:lnTo>
                    <a:pt x="5661" y="232"/>
                  </a:lnTo>
                  <a:lnTo>
                    <a:pt x="5648" y="262"/>
                  </a:lnTo>
                  <a:lnTo>
                    <a:pt x="5636" y="292"/>
                  </a:lnTo>
                  <a:lnTo>
                    <a:pt x="5635" y="292"/>
                  </a:lnTo>
                  <a:lnTo>
                    <a:pt x="5621" y="261"/>
                  </a:lnTo>
                  <a:lnTo>
                    <a:pt x="5609" y="232"/>
                  </a:lnTo>
                  <a:lnTo>
                    <a:pt x="5596" y="202"/>
                  </a:lnTo>
                  <a:lnTo>
                    <a:pt x="5580" y="170"/>
                  </a:lnTo>
                  <a:lnTo>
                    <a:pt x="5506" y="10"/>
                  </a:lnTo>
                  <a:lnTo>
                    <a:pt x="5377" y="10"/>
                  </a:lnTo>
                  <a:lnTo>
                    <a:pt x="5573" y="372"/>
                  </a:lnTo>
                  <a:lnTo>
                    <a:pt x="5573" y="631"/>
                  </a:lnTo>
                  <a:lnTo>
                    <a:pt x="5686" y="631"/>
                  </a:lnTo>
                  <a:close/>
                  <a:moveTo>
                    <a:pt x="5318" y="523"/>
                  </a:moveTo>
                  <a:lnTo>
                    <a:pt x="5306" y="528"/>
                  </a:lnTo>
                  <a:lnTo>
                    <a:pt x="5293" y="532"/>
                  </a:lnTo>
                  <a:lnTo>
                    <a:pt x="5277" y="536"/>
                  </a:lnTo>
                  <a:lnTo>
                    <a:pt x="5262" y="539"/>
                  </a:lnTo>
                  <a:lnTo>
                    <a:pt x="5245" y="542"/>
                  </a:lnTo>
                  <a:lnTo>
                    <a:pt x="5229" y="544"/>
                  </a:lnTo>
                  <a:lnTo>
                    <a:pt x="5211" y="545"/>
                  </a:lnTo>
                  <a:lnTo>
                    <a:pt x="5194" y="545"/>
                  </a:lnTo>
                  <a:lnTo>
                    <a:pt x="5182" y="545"/>
                  </a:lnTo>
                  <a:lnTo>
                    <a:pt x="5169" y="544"/>
                  </a:lnTo>
                  <a:lnTo>
                    <a:pt x="5157" y="543"/>
                  </a:lnTo>
                  <a:lnTo>
                    <a:pt x="5146" y="541"/>
                  </a:lnTo>
                  <a:lnTo>
                    <a:pt x="5134" y="539"/>
                  </a:lnTo>
                  <a:lnTo>
                    <a:pt x="5124" y="537"/>
                  </a:lnTo>
                  <a:lnTo>
                    <a:pt x="5113" y="534"/>
                  </a:lnTo>
                  <a:lnTo>
                    <a:pt x="5104" y="530"/>
                  </a:lnTo>
                  <a:lnTo>
                    <a:pt x="5093" y="526"/>
                  </a:lnTo>
                  <a:lnTo>
                    <a:pt x="5084" y="522"/>
                  </a:lnTo>
                  <a:lnTo>
                    <a:pt x="5075" y="516"/>
                  </a:lnTo>
                  <a:lnTo>
                    <a:pt x="5067" y="511"/>
                  </a:lnTo>
                  <a:lnTo>
                    <a:pt x="5057" y="505"/>
                  </a:lnTo>
                  <a:lnTo>
                    <a:pt x="5050" y="499"/>
                  </a:lnTo>
                  <a:lnTo>
                    <a:pt x="5042" y="492"/>
                  </a:lnTo>
                  <a:lnTo>
                    <a:pt x="5036" y="486"/>
                  </a:lnTo>
                  <a:lnTo>
                    <a:pt x="5029" y="477"/>
                  </a:lnTo>
                  <a:lnTo>
                    <a:pt x="5022" y="470"/>
                  </a:lnTo>
                  <a:lnTo>
                    <a:pt x="5016" y="462"/>
                  </a:lnTo>
                  <a:lnTo>
                    <a:pt x="5011" y="453"/>
                  </a:lnTo>
                  <a:lnTo>
                    <a:pt x="5006" y="443"/>
                  </a:lnTo>
                  <a:lnTo>
                    <a:pt x="5001" y="434"/>
                  </a:lnTo>
                  <a:lnTo>
                    <a:pt x="4997" y="425"/>
                  </a:lnTo>
                  <a:lnTo>
                    <a:pt x="4993" y="415"/>
                  </a:lnTo>
                  <a:lnTo>
                    <a:pt x="4986" y="393"/>
                  </a:lnTo>
                  <a:lnTo>
                    <a:pt x="4982" y="371"/>
                  </a:lnTo>
                  <a:lnTo>
                    <a:pt x="4979" y="347"/>
                  </a:lnTo>
                  <a:lnTo>
                    <a:pt x="4978" y="322"/>
                  </a:lnTo>
                  <a:lnTo>
                    <a:pt x="4979" y="309"/>
                  </a:lnTo>
                  <a:lnTo>
                    <a:pt x="4979" y="295"/>
                  </a:lnTo>
                  <a:lnTo>
                    <a:pt x="4981" y="282"/>
                  </a:lnTo>
                  <a:lnTo>
                    <a:pt x="4982" y="270"/>
                  </a:lnTo>
                  <a:lnTo>
                    <a:pt x="4985" y="257"/>
                  </a:lnTo>
                  <a:lnTo>
                    <a:pt x="4987" y="246"/>
                  </a:lnTo>
                  <a:lnTo>
                    <a:pt x="4991" y="235"/>
                  </a:lnTo>
                  <a:lnTo>
                    <a:pt x="4995" y="223"/>
                  </a:lnTo>
                  <a:lnTo>
                    <a:pt x="4999" y="213"/>
                  </a:lnTo>
                  <a:lnTo>
                    <a:pt x="5004" y="203"/>
                  </a:lnTo>
                  <a:lnTo>
                    <a:pt x="5008" y="193"/>
                  </a:lnTo>
                  <a:lnTo>
                    <a:pt x="5014" y="184"/>
                  </a:lnTo>
                  <a:lnTo>
                    <a:pt x="5019" y="176"/>
                  </a:lnTo>
                  <a:lnTo>
                    <a:pt x="5026" y="168"/>
                  </a:lnTo>
                  <a:lnTo>
                    <a:pt x="5033" y="159"/>
                  </a:lnTo>
                  <a:lnTo>
                    <a:pt x="5040" y="152"/>
                  </a:lnTo>
                  <a:lnTo>
                    <a:pt x="5047" y="145"/>
                  </a:lnTo>
                  <a:lnTo>
                    <a:pt x="5055" y="139"/>
                  </a:lnTo>
                  <a:lnTo>
                    <a:pt x="5063" y="133"/>
                  </a:lnTo>
                  <a:lnTo>
                    <a:pt x="5072" y="127"/>
                  </a:lnTo>
                  <a:lnTo>
                    <a:pt x="5080" y="121"/>
                  </a:lnTo>
                  <a:lnTo>
                    <a:pt x="5089" y="117"/>
                  </a:lnTo>
                  <a:lnTo>
                    <a:pt x="5098" y="112"/>
                  </a:lnTo>
                  <a:lnTo>
                    <a:pt x="5109" y="109"/>
                  </a:lnTo>
                  <a:lnTo>
                    <a:pt x="5129" y="102"/>
                  </a:lnTo>
                  <a:lnTo>
                    <a:pt x="5150" y="98"/>
                  </a:lnTo>
                  <a:lnTo>
                    <a:pt x="5172" y="95"/>
                  </a:lnTo>
                  <a:lnTo>
                    <a:pt x="5196" y="94"/>
                  </a:lnTo>
                  <a:lnTo>
                    <a:pt x="5215" y="95"/>
                  </a:lnTo>
                  <a:lnTo>
                    <a:pt x="5232" y="96"/>
                  </a:lnTo>
                  <a:lnTo>
                    <a:pt x="5248" y="98"/>
                  </a:lnTo>
                  <a:lnTo>
                    <a:pt x="5264" y="101"/>
                  </a:lnTo>
                  <a:lnTo>
                    <a:pt x="5279" y="105"/>
                  </a:lnTo>
                  <a:lnTo>
                    <a:pt x="5293" y="109"/>
                  </a:lnTo>
                  <a:lnTo>
                    <a:pt x="5305" y="113"/>
                  </a:lnTo>
                  <a:lnTo>
                    <a:pt x="5316" y="118"/>
                  </a:lnTo>
                  <a:lnTo>
                    <a:pt x="5341" y="28"/>
                  </a:lnTo>
                  <a:lnTo>
                    <a:pt x="5332" y="24"/>
                  </a:lnTo>
                  <a:lnTo>
                    <a:pt x="5318" y="19"/>
                  </a:lnTo>
                  <a:lnTo>
                    <a:pt x="5303" y="13"/>
                  </a:lnTo>
                  <a:lnTo>
                    <a:pt x="5285" y="9"/>
                  </a:lnTo>
                  <a:lnTo>
                    <a:pt x="5265" y="6"/>
                  </a:lnTo>
                  <a:lnTo>
                    <a:pt x="5242" y="3"/>
                  </a:lnTo>
                  <a:lnTo>
                    <a:pt x="5218" y="1"/>
                  </a:lnTo>
                  <a:lnTo>
                    <a:pt x="5191" y="0"/>
                  </a:lnTo>
                  <a:lnTo>
                    <a:pt x="5173" y="1"/>
                  </a:lnTo>
                  <a:lnTo>
                    <a:pt x="5156" y="2"/>
                  </a:lnTo>
                  <a:lnTo>
                    <a:pt x="5139" y="4"/>
                  </a:lnTo>
                  <a:lnTo>
                    <a:pt x="5122" y="6"/>
                  </a:lnTo>
                  <a:lnTo>
                    <a:pt x="5106" y="9"/>
                  </a:lnTo>
                  <a:lnTo>
                    <a:pt x="5090" y="13"/>
                  </a:lnTo>
                  <a:lnTo>
                    <a:pt x="5075" y="17"/>
                  </a:lnTo>
                  <a:lnTo>
                    <a:pt x="5059" y="23"/>
                  </a:lnTo>
                  <a:lnTo>
                    <a:pt x="5045" y="29"/>
                  </a:lnTo>
                  <a:lnTo>
                    <a:pt x="5031" y="35"/>
                  </a:lnTo>
                  <a:lnTo>
                    <a:pt x="5016" y="42"/>
                  </a:lnTo>
                  <a:lnTo>
                    <a:pt x="5003" y="50"/>
                  </a:lnTo>
                  <a:lnTo>
                    <a:pt x="4989" y="59"/>
                  </a:lnTo>
                  <a:lnTo>
                    <a:pt x="4977" y="68"/>
                  </a:lnTo>
                  <a:lnTo>
                    <a:pt x="4966" y="77"/>
                  </a:lnTo>
                  <a:lnTo>
                    <a:pt x="4955" y="87"/>
                  </a:lnTo>
                  <a:lnTo>
                    <a:pt x="4943" y="99"/>
                  </a:lnTo>
                  <a:lnTo>
                    <a:pt x="4933" y="110"/>
                  </a:lnTo>
                  <a:lnTo>
                    <a:pt x="4924" y="122"/>
                  </a:lnTo>
                  <a:lnTo>
                    <a:pt x="4914" y="135"/>
                  </a:lnTo>
                  <a:lnTo>
                    <a:pt x="4906" y="148"/>
                  </a:lnTo>
                  <a:lnTo>
                    <a:pt x="4898" y="162"/>
                  </a:lnTo>
                  <a:lnTo>
                    <a:pt x="4891" y="176"/>
                  </a:lnTo>
                  <a:lnTo>
                    <a:pt x="4885" y="190"/>
                  </a:lnTo>
                  <a:lnTo>
                    <a:pt x="4879" y="206"/>
                  </a:lnTo>
                  <a:lnTo>
                    <a:pt x="4873" y="222"/>
                  </a:lnTo>
                  <a:lnTo>
                    <a:pt x="4869" y="239"/>
                  </a:lnTo>
                  <a:lnTo>
                    <a:pt x="4866" y="255"/>
                  </a:lnTo>
                  <a:lnTo>
                    <a:pt x="4863" y="273"/>
                  </a:lnTo>
                  <a:lnTo>
                    <a:pt x="4861" y="290"/>
                  </a:lnTo>
                  <a:lnTo>
                    <a:pt x="4860" y="309"/>
                  </a:lnTo>
                  <a:lnTo>
                    <a:pt x="4859" y="328"/>
                  </a:lnTo>
                  <a:lnTo>
                    <a:pt x="4860" y="346"/>
                  </a:lnTo>
                  <a:lnTo>
                    <a:pt x="4861" y="362"/>
                  </a:lnTo>
                  <a:lnTo>
                    <a:pt x="4862" y="380"/>
                  </a:lnTo>
                  <a:lnTo>
                    <a:pt x="4865" y="395"/>
                  </a:lnTo>
                  <a:lnTo>
                    <a:pt x="4868" y="412"/>
                  </a:lnTo>
                  <a:lnTo>
                    <a:pt x="4871" y="427"/>
                  </a:lnTo>
                  <a:lnTo>
                    <a:pt x="4876" y="441"/>
                  </a:lnTo>
                  <a:lnTo>
                    <a:pt x="4881" y="457"/>
                  </a:lnTo>
                  <a:lnTo>
                    <a:pt x="4887" y="470"/>
                  </a:lnTo>
                  <a:lnTo>
                    <a:pt x="4893" y="484"/>
                  </a:lnTo>
                  <a:lnTo>
                    <a:pt x="4900" y="497"/>
                  </a:lnTo>
                  <a:lnTo>
                    <a:pt x="4907" y="509"/>
                  </a:lnTo>
                  <a:lnTo>
                    <a:pt x="4915" y="522"/>
                  </a:lnTo>
                  <a:lnTo>
                    <a:pt x="4925" y="534"/>
                  </a:lnTo>
                  <a:lnTo>
                    <a:pt x="4934" y="544"/>
                  </a:lnTo>
                  <a:lnTo>
                    <a:pt x="4943" y="555"/>
                  </a:lnTo>
                  <a:lnTo>
                    <a:pt x="4955" y="565"/>
                  </a:lnTo>
                  <a:lnTo>
                    <a:pt x="4965" y="574"/>
                  </a:lnTo>
                  <a:lnTo>
                    <a:pt x="4977" y="583"/>
                  </a:lnTo>
                  <a:lnTo>
                    <a:pt x="4989" y="592"/>
                  </a:lnTo>
                  <a:lnTo>
                    <a:pt x="5002" y="599"/>
                  </a:lnTo>
                  <a:lnTo>
                    <a:pt x="5015" y="606"/>
                  </a:lnTo>
                  <a:lnTo>
                    <a:pt x="5029" y="612"/>
                  </a:lnTo>
                  <a:lnTo>
                    <a:pt x="5043" y="618"/>
                  </a:lnTo>
                  <a:lnTo>
                    <a:pt x="5058" y="623"/>
                  </a:lnTo>
                  <a:lnTo>
                    <a:pt x="5074" y="628"/>
                  </a:lnTo>
                  <a:lnTo>
                    <a:pt x="5089" y="632"/>
                  </a:lnTo>
                  <a:lnTo>
                    <a:pt x="5106" y="635"/>
                  </a:lnTo>
                  <a:lnTo>
                    <a:pt x="5122" y="637"/>
                  </a:lnTo>
                  <a:lnTo>
                    <a:pt x="5139" y="639"/>
                  </a:lnTo>
                  <a:lnTo>
                    <a:pt x="5158" y="640"/>
                  </a:lnTo>
                  <a:lnTo>
                    <a:pt x="5175" y="641"/>
                  </a:lnTo>
                  <a:lnTo>
                    <a:pt x="5203" y="640"/>
                  </a:lnTo>
                  <a:lnTo>
                    <a:pt x="5229" y="638"/>
                  </a:lnTo>
                  <a:lnTo>
                    <a:pt x="5253" y="635"/>
                  </a:lnTo>
                  <a:lnTo>
                    <a:pt x="5274" y="632"/>
                  </a:lnTo>
                  <a:lnTo>
                    <a:pt x="5294" y="628"/>
                  </a:lnTo>
                  <a:lnTo>
                    <a:pt x="5310" y="622"/>
                  </a:lnTo>
                  <a:lnTo>
                    <a:pt x="5324" y="617"/>
                  </a:lnTo>
                  <a:lnTo>
                    <a:pt x="5337" y="612"/>
                  </a:lnTo>
                  <a:lnTo>
                    <a:pt x="5318" y="523"/>
                  </a:lnTo>
                  <a:close/>
                  <a:moveTo>
                    <a:pt x="4374" y="631"/>
                  </a:moveTo>
                  <a:lnTo>
                    <a:pt x="4374" y="408"/>
                  </a:lnTo>
                  <a:lnTo>
                    <a:pt x="4374" y="371"/>
                  </a:lnTo>
                  <a:lnTo>
                    <a:pt x="4374" y="335"/>
                  </a:lnTo>
                  <a:lnTo>
                    <a:pt x="4374" y="301"/>
                  </a:lnTo>
                  <a:lnTo>
                    <a:pt x="4373" y="269"/>
                  </a:lnTo>
                  <a:lnTo>
                    <a:pt x="4372" y="237"/>
                  </a:lnTo>
                  <a:lnTo>
                    <a:pt x="4371" y="205"/>
                  </a:lnTo>
                  <a:lnTo>
                    <a:pt x="4370" y="175"/>
                  </a:lnTo>
                  <a:lnTo>
                    <a:pt x="4369" y="144"/>
                  </a:lnTo>
                  <a:lnTo>
                    <a:pt x="4371" y="144"/>
                  </a:lnTo>
                  <a:lnTo>
                    <a:pt x="4383" y="170"/>
                  </a:lnTo>
                  <a:lnTo>
                    <a:pt x="4396" y="198"/>
                  </a:lnTo>
                  <a:lnTo>
                    <a:pt x="4410" y="224"/>
                  </a:lnTo>
                  <a:lnTo>
                    <a:pt x="4423" y="251"/>
                  </a:lnTo>
                  <a:lnTo>
                    <a:pt x="4438" y="279"/>
                  </a:lnTo>
                  <a:lnTo>
                    <a:pt x="4453" y="306"/>
                  </a:lnTo>
                  <a:lnTo>
                    <a:pt x="4468" y="332"/>
                  </a:lnTo>
                  <a:lnTo>
                    <a:pt x="4483" y="358"/>
                  </a:lnTo>
                  <a:lnTo>
                    <a:pt x="4644" y="631"/>
                  </a:lnTo>
                  <a:lnTo>
                    <a:pt x="4761" y="631"/>
                  </a:lnTo>
                  <a:lnTo>
                    <a:pt x="4761" y="10"/>
                  </a:lnTo>
                  <a:lnTo>
                    <a:pt x="4657" y="10"/>
                  </a:lnTo>
                  <a:lnTo>
                    <a:pt x="4657" y="226"/>
                  </a:lnTo>
                  <a:lnTo>
                    <a:pt x="4657" y="261"/>
                  </a:lnTo>
                  <a:lnTo>
                    <a:pt x="4658" y="295"/>
                  </a:lnTo>
                  <a:lnTo>
                    <a:pt x="4658" y="328"/>
                  </a:lnTo>
                  <a:lnTo>
                    <a:pt x="4659" y="360"/>
                  </a:lnTo>
                  <a:lnTo>
                    <a:pt x="4661" y="391"/>
                  </a:lnTo>
                  <a:lnTo>
                    <a:pt x="4662" y="422"/>
                  </a:lnTo>
                  <a:lnTo>
                    <a:pt x="4665" y="453"/>
                  </a:lnTo>
                  <a:lnTo>
                    <a:pt x="4667" y="484"/>
                  </a:lnTo>
                  <a:lnTo>
                    <a:pt x="4665" y="485"/>
                  </a:lnTo>
                  <a:lnTo>
                    <a:pt x="4653" y="459"/>
                  </a:lnTo>
                  <a:lnTo>
                    <a:pt x="4642" y="433"/>
                  </a:lnTo>
                  <a:lnTo>
                    <a:pt x="4630" y="407"/>
                  </a:lnTo>
                  <a:lnTo>
                    <a:pt x="4616" y="381"/>
                  </a:lnTo>
                  <a:lnTo>
                    <a:pt x="4603" y="355"/>
                  </a:lnTo>
                  <a:lnTo>
                    <a:pt x="4589" y="328"/>
                  </a:lnTo>
                  <a:lnTo>
                    <a:pt x="4574" y="302"/>
                  </a:lnTo>
                  <a:lnTo>
                    <a:pt x="4559" y="277"/>
                  </a:lnTo>
                  <a:lnTo>
                    <a:pt x="4399" y="10"/>
                  </a:lnTo>
                  <a:lnTo>
                    <a:pt x="4270" y="10"/>
                  </a:lnTo>
                  <a:lnTo>
                    <a:pt x="4270" y="631"/>
                  </a:lnTo>
                  <a:lnTo>
                    <a:pt x="4374" y="631"/>
                  </a:lnTo>
                  <a:close/>
                  <a:moveTo>
                    <a:pt x="3827" y="369"/>
                  </a:moveTo>
                  <a:lnTo>
                    <a:pt x="3876" y="216"/>
                  </a:lnTo>
                  <a:lnTo>
                    <a:pt x="3884" y="187"/>
                  </a:lnTo>
                  <a:lnTo>
                    <a:pt x="3891" y="158"/>
                  </a:lnTo>
                  <a:lnTo>
                    <a:pt x="3898" y="129"/>
                  </a:lnTo>
                  <a:lnTo>
                    <a:pt x="3905" y="100"/>
                  </a:lnTo>
                  <a:lnTo>
                    <a:pt x="3908" y="100"/>
                  </a:lnTo>
                  <a:lnTo>
                    <a:pt x="3915" y="128"/>
                  </a:lnTo>
                  <a:lnTo>
                    <a:pt x="3922" y="157"/>
                  </a:lnTo>
                  <a:lnTo>
                    <a:pt x="3930" y="187"/>
                  </a:lnTo>
                  <a:lnTo>
                    <a:pt x="3938" y="217"/>
                  </a:lnTo>
                  <a:lnTo>
                    <a:pt x="3988" y="369"/>
                  </a:lnTo>
                  <a:lnTo>
                    <a:pt x="3827" y="369"/>
                  </a:lnTo>
                  <a:close/>
                  <a:moveTo>
                    <a:pt x="4006" y="456"/>
                  </a:moveTo>
                  <a:lnTo>
                    <a:pt x="4063" y="631"/>
                  </a:lnTo>
                  <a:lnTo>
                    <a:pt x="4184" y="631"/>
                  </a:lnTo>
                  <a:lnTo>
                    <a:pt x="3983" y="10"/>
                  </a:lnTo>
                  <a:lnTo>
                    <a:pt x="3839" y="10"/>
                  </a:lnTo>
                  <a:lnTo>
                    <a:pt x="3639" y="631"/>
                  </a:lnTo>
                  <a:lnTo>
                    <a:pt x="3756" y="631"/>
                  </a:lnTo>
                  <a:lnTo>
                    <a:pt x="3809" y="456"/>
                  </a:lnTo>
                  <a:lnTo>
                    <a:pt x="4006" y="456"/>
                  </a:lnTo>
                  <a:close/>
                  <a:moveTo>
                    <a:pt x="3389" y="631"/>
                  </a:moveTo>
                  <a:lnTo>
                    <a:pt x="3502" y="631"/>
                  </a:lnTo>
                  <a:lnTo>
                    <a:pt x="3502" y="105"/>
                  </a:lnTo>
                  <a:lnTo>
                    <a:pt x="3680" y="105"/>
                  </a:lnTo>
                  <a:lnTo>
                    <a:pt x="3680" y="10"/>
                  </a:lnTo>
                  <a:lnTo>
                    <a:pt x="3211" y="10"/>
                  </a:lnTo>
                  <a:lnTo>
                    <a:pt x="3211" y="105"/>
                  </a:lnTo>
                  <a:lnTo>
                    <a:pt x="3389" y="105"/>
                  </a:lnTo>
                  <a:lnTo>
                    <a:pt x="3389" y="631"/>
                  </a:lnTo>
                  <a:close/>
                  <a:moveTo>
                    <a:pt x="2906" y="631"/>
                  </a:moveTo>
                  <a:lnTo>
                    <a:pt x="3275" y="631"/>
                  </a:lnTo>
                  <a:lnTo>
                    <a:pt x="3275" y="536"/>
                  </a:lnTo>
                  <a:lnTo>
                    <a:pt x="3020" y="536"/>
                  </a:lnTo>
                  <a:lnTo>
                    <a:pt x="3020" y="10"/>
                  </a:lnTo>
                  <a:lnTo>
                    <a:pt x="2906" y="10"/>
                  </a:lnTo>
                  <a:lnTo>
                    <a:pt x="2906" y="631"/>
                  </a:lnTo>
                  <a:close/>
                  <a:moveTo>
                    <a:pt x="2293" y="10"/>
                  </a:moveTo>
                  <a:lnTo>
                    <a:pt x="2293" y="365"/>
                  </a:lnTo>
                  <a:lnTo>
                    <a:pt x="2293" y="383"/>
                  </a:lnTo>
                  <a:lnTo>
                    <a:pt x="2294" y="400"/>
                  </a:lnTo>
                  <a:lnTo>
                    <a:pt x="2295" y="417"/>
                  </a:lnTo>
                  <a:lnTo>
                    <a:pt x="2297" y="433"/>
                  </a:lnTo>
                  <a:lnTo>
                    <a:pt x="2299" y="449"/>
                  </a:lnTo>
                  <a:lnTo>
                    <a:pt x="2303" y="463"/>
                  </a:lnTo>
                  <a:lnTo>
                    <a:pt x="2306" y="477"/>
                  </a:lnTo>
                  <a:lnTo>
                    <a:pt x="2310" y="491"/>
                  </a:lnTo>
                  <a:lnTo>
                    <a:pt x="2314" y="503"/>
                  </a:lnTo>
                  <a:lnTo>
                    <a:pt x="2319" y="515"/>
                  </a:lnTo>
                  <a:lnTo>
                    <a:pt x="2324" y="528"/>
                  </a:lnTo>
                  <a:lnTo>
                    <a:pt x="2330" y="538"/>
                  </a:lnTo>
                  <a:lnTo>
                    <a:pt x="2336" y="548"/>
                  </a:lnTo>
                  <a:lnTo>
                    <a:pt x="2343" y="559"/>
                  </a:lnTo>
                  <a:lnTo>
                    <a:pt x="2350" y="568"/>
                  </a:lnTo>
                  <a:lnTo>
                    <a:pt x="2357" y="576"/>
                  </a:lnTo>
                  <a:lnTo>
                    <a:pt x="2365" y="584"/>
                  </a:lnTo>
                  <a:lnTo>
                    <a:pt x="2373" y="592"/>
                  </a:lnTo>
                  <a:lnTo>
                    <a:pt x="2383" y="599"/>
                  </a:lnTo>
                  <a:lnTo>
                    <a:pt x="2392" y="605"/>
                  </a:lnTo>
                  <a:lnTo>
                    <a:pt x="2401" y="611"/>
                  </a:lnTo>
                  <a:lnTo>
                    <a:pt x="2411" y="616"/>
                  </a:lnTo>
                  <a:lnTo>
                    <a:pt x="2422" y="621"/>
                  </a:lnTo>
                  <a:lnTo>
                    <a:pt x="2432" y="625"/>
                  </a:lnTo>
                  <a:lnTo>
                    <a:pt x="2443" y="629"/>
                  </a:lnTo>
                  <a:lnTo>
                    <a:pt x="2455" y="633"/>
                  </a:lnTo>
                  <a:lnTo>
                    <a:pt x="2466" y="635"/>
                  </a:lnTo>
                  <a:lnTo>
                    <a:pt x="2478" y="637"/>
                  </a:lnTo>
                  <a:lnTo>
                    <a:pt x="2503" y="640"/>
                  </a:lnTo>
                  <a:lnTo>
                    <a:pt x="2530" y="641"/>
                  </a:lnTo>
                  <a:lnTo>
                    <a:pt x="2543" y="641"/>
                  </a:lnTo>
                  <a:lnTo>
                    <a:pt x="2556" y="640"/>
                  </a:lnTo>
                  <a:lnTo>
                    <a:pt x="2570" y="639"/>
                  </a:lnTo>
                  <a:lnTo>
                    <a:pt x="2583" y="637"/>
                  </a:lnTo>
                  <a:lnTo>
                    <a:pt x="2595" y="635"/>
                  </a:lnTo>
                  <a:lnTo>
                    <a:pt x="2608" y="632"/>
                  </a:lnTo>
                  <a:lnTo>
                    <a:pt x="2619" y="629"/>
                  </a:lnTo>
                  <a:lnTo>
                    <a:pt x="2631" y="624"/>
                  </a:lnTo>
                  <a:lnTo>
                    <a:pt x="2643" y="620"/>
                  </a:lnTo>
                  <a:lnTo>
                    <a:pt x="2653" y="615"/>
                  </a:lnTo>
                  <a:lnTo>
                    <a:pt x="2663" y="610"/>
                  </a:lnTo>
                  <a:lnTo>
                    <a:pt x="2673" y="604"/>
                  </a:lnTo>
                  <a:lnTo>
                    <a:pt x="2683" y="598"/>
                  </a:lnTo>
                  <a:lnTo>
                    <a:pt x="2692" y="591"/>
                  </a:lnTo>
                  <a:lnTo>
                    <a:pt x="2701" y="582"/>
                  </a:lnTo>
                  <a:lnTo>
                    <a:pt x="2709" y="574"/>
                  </a:lnTo>
                  <a:lnTo>
                    <a:pt x="2718" y="566"/>
                  </a:lnTo>
                  <a:lnTo>
                    <a:pt x="2725" y="557"/>
                  </a:lnTo>
                  <a:lnTo>
                    <a:pt x="2732" y="546"/>
                  </a:lnTo>
                  <a:lnTo>
                    <a:pt x="2738" y="536"/>
                  </a:lnTo>
                  <a:lnTo>
                    <a:pt x="2744" y="525"/>
                  </a:lnTo>
                  <a:lnTo>
                    <a:pt x="2750" y="513"/>
                  </a:lnTo>
                  <a:lnTo>
                    <a:pt x="2755" y="501"/>
                  </a:lnTo>
                  <a:lnTo>
                    <a:pt x="2760" y="489"/>
                  </a:lnTo>
                  <a:lnTo>
                    <a:pt x="2764" y="475"/>
                  </a:lnTo>
                  <a:lnTo>
                    <a:pt x="2767" y="461"/>
                  </a:lnTo>
                  <a:lnTo>
                    <a:pt x="2770" y="446"/>
                  </a:lnTo>
                  <a:lnTo>
                    <a:pt x="2772" y="431"/>
                  </a:lnTo>
                  <a:lnTo>
                    <a:pt x="2774" y="416"/>
                  </a:lnTo>
                  <a:lnTo>
                    <a:pt x="2776" y="399"/>
                  </a:lnTo>
                  <a:lnTo>
                    <a:pt x="2777" y="383"/>
                  </a:lnTo>
                  <a:lnTo>
                    <a:pt x="2777" y="364"/>
                  </a:lnTo>
                  <a:lnTo>
                    <a:pt x="2777" y="10"/>
                  </a:lnTo>
                  <a:lnTo>
                    <a:pt x="2664" y="10"/>
                  </a:lnTo>
                  <a:lnTo>
                    <a:pt x="2664" y="372"/>
                  </a:lnTo>
                  <a:lnTo>
                    <a:pt x="2663" y="394"/>
                  </a:lnTo>
                  <a:lnTo>
                    <a:pt x="2661" y="415"/>
                  </a:lnTo>
                  <a:lnTo>
                    <a:pt x="2659" y="433"/>
                  </a:lnTo>
                  <a:lnTo>
                    <a:pt x="2655" y="451"/>
                  </a:lnTo>
                  <a:lnTo>
                    <a:pt x="2650" y="467"/>
                  </a:lnTo>
                  <a:lnTo>
                    <a:pt x="2644" y="481"/>
                  </a:lnTo>
                  <a:lnTo>
                    <a:pt x="2638" y="495"/>
                  </a:lnTo>
                  <a:lnTo>
                    <a:pt x="2629" y="506"/>
                  </a:lnTo>
                  <a:lnTo>
                    <a:pt x="2620" y="516"/>
                  </a:lnTo>
                  <a:lnTo>
                    <a:pt x="2611" y="526"/>
                  </a:lnTo>
                  <a:lnTo>
                    <a:pt x="2600" y="533"/>
                  </a:lnTo>
                  <a:lnTo>
                    <a:pt x="2588" y="539"/>
                  </a:lnTo>
                  <a:lnTo>
                    <a:pt x="2576" y="544"/>
                  </a:lnTo>
                  <a:lnTo>
                    <a:pt x="2563" y="547"/>
                  </a:lnTo>
                  <a:lnTo>
                    <a:pt x="2548" y="549"/>
                  </a:lnTo>
                  <a:lnTo>
                    <a:pt x="2534" y="549"/>
                  </a:lnTo>
                  <a:lnTo>
                    <a:pt x="2519" y="549"/>
                  </a:lnTo>
                  <a:lnTo>
                    <a:pt x="2506" y="547"/>
                  </a:lnTo>
                  <a:lnTo>
                    <a:pt x="2493" y="543"/>
                  </a:lnTo>
                  <a:lnTo>
                    <a:pt x="2481" y="539"/>
                  </a:lnTo>
                  <a:lnTo>
                    <a:pt x="2470" y="533"/>
                  </a:lnTo>
                  <a:lnTo>
                    <a:pt x="2460" y="526"/>
                  </a:lnTo>
                  <a:lnTo>
                    <a:pt x="2449" y="516"/>
                  </a:lnTo>
                  <a:lnTo>
                    <a:pt x="2441" y="506"/>
                  </a:lnTo>
                  <a:lnTo>
                    <a:pt x="2433" y="495"/>
                  </a:lnTo>
                  <a:lnTo>
                    <a:pt x="2426" y="481"/>
                  </a:lnTo>
                  <a:lnTo>
                    <a:pt x="2421" y="467"/>
                  </a:lnTo>
                  <a:lnTo>
                    <a:pt x="2416" y="451"/>
                  </a:lnTo>
                  <a:lnTo>
                    <a:pt x="2411" y="433"/>
                  </a:lnTo>
                  <a:lnTo>
                    <a:pt x="2408" y="415"/>
                  </a:lnTo>
                  <a:lnTo>
                    <a:pt x="2406" y="394"/>
                  </a:lnTo>
                  <a:lnTo>
                    <a:pt x="2406" y="372"/>
                  </a:lnTo>
                  <a:lnTo>
                    <a:pt x="2406" y="10"/>
                  </a:lnTo>
                  <a:lnTo>
                    <a:pt x="2293" y="10"/>
                  </a:lnTo>
                  <a:close/>
                  <a:moveTo>
                    <a:pt x="1789" y="601"/>
                  </a:moveTo>
                  <a:lnTo>
                    <a:pt x="1803" y="609"/>
                  </a:lnTo>
                  <a:lnTo>
                    <a:pt x="1821" y="616"/>
                  </a:lnTo>
                  <a:lnTo>
                    <a:pt x="1840" y="622"/>
                  </a:lnTo>
                  <a:lnTo>
                    <a:pt x="1861" y="629"/>
                  </a:lnTo>
                  <a:lnTo>
                    <a:pt x="1883" y="634"/>
                  </a:lnTo>
                  <a:lnTo>
                    <a:pt x="1908" y="637"/>
                  </a:lnTo>
                  <a:lnTo>
                    <a:pt x="1932" y="640"/>
                  </a:lnTo>
                  <a:lnTo>
                    <a:pt x="1956" y="641"/>
                  </a:lnTo>
                  <a:lnTo>
                    <a:pt x="1986" y="640"/>
                  </a:lnTo>
                  <a:lnTo>
                    <a:pt x="2013" y="637"/>
                  </a:lnTo>
                  <a:lnTo>
                    <a:pt x="2025" y="635"/>
                  </a:lnTo>
                  <a:lnTo>
                    <a:pt x="2037" y="632"/>
                  </a:lnTo>
                  <a:lnTo>
                    <a:pt x="2050" y="629"/>
                  </a:lnTo>
                  <a:lnTo>
                    <a:pt x="2061" y="625"/>
                  </a:lnTo>
                  <a:lnTo>
                    <a:pt x="2071" y="621"/>
                  </a:lnTo>
                  <a:lnTo>
                    <a:pt x="2082" y="617"/>
                  </a:lnTo>
                  <a:lnTo>
                    <a:pt x="2092" y="613"/>
                  </a:lnTo>
                  <a:lnTo>
                    <a:pt x="2101" y="608"/>
                  </a:lnTo>
                  <a:lnTo>
                    <a:pt x="2110" y="603"/>
                  </a:lnTo>
                  <a:lnTo>
                    <a:pt x="2119" y="597"/>
                  </a:lnTo>
                  <a:lnTo>
                    <a:pt x="2127" y="591"/>
                  </a:lnTo>
                  <a:lnTo>
                    <a:pt x="2134" y="584"/>
                  </a:lnTo>
                  <a:lnTo>
                    <a:pt x="2141" y="578"/>
                  </a:lnTo>
                  <a:lnTo>
                    <a:pt x="2147" y="571"/>
                  </a:lnTo>
                  <a:lnTo>
                    <a:pt x="2154" y="564"/>
                  </a:lnTo>
                  <a:lnTo>
                    <a:pt x="2160" y="557"/>
                  </a:lnTo>
                  <a:lnTo>
                    <a:pt x="2170" y="541"/>
                  </a:lnTo>
                  <a:lnTo>
                    <a:pt x="2177" y="526"/>
                  </a:lnTo>
                  <a:lnTo>
                    <a:pt x="2183" y="508"/>
                  </a:lnTo>
                  <a:lnTo>
                    <a:pt x="2189" y="491"/>
                  </a:lnTo>
                  <a:lnTo>
                    <a:pt x="2191" y="472"/>
                  </a:lnTo>
                  <a:lnTo>
                    <a:pt x="2192" y="454"/>
                  </a:lnTo>
                  <a:lnTo>
                    <a:pt x="2192" y="437"/>
                  </a:lnTo>
                  <a:lnTo>
                    <a:pt x="2190" y="422"/>
                  </a:lnTo>
                  <a:lnTo>
                    <a:pt x="2186" y="407"/>
                  </a:lnTo>
                  <a:lnTo>
                    <a:pt x="2182" y="393"/>
                  </a:lnTo>
                  <a:lnTo>
                    <a:pt x="2176" y="380"/>
                  </a:lnTo>
                  <a:lnTo>
                    <a:pt x="2170" y="367"/>
                  </a:lnTo>
                  <a:lnTo>
                    <a:pt x="2162" y="355"/>
                  </a:lnTo>
                  <a:lnTo>
                    <a:pt x="2153" y="344"/>
                  </a:lnTo>
                  <a:lnTo>
                    <a:pt x="2142" y="332"/>
                  </a:lnTo>
                  <a:lnTo>
                    <a:pt x="2130" y="322"/>
                  </a:lnTo>
                  <a:lnTo>
                    <a:pt x="2117" y="313"/>
                  </a:lnTo>
                  <a:lnTo>
                    <a:pt x="2102" y="303"/>
                  </a:lnTo>
                  <a:lnTo>
                    <a:pt x="2087" y="294"/>
                  </a:lnTo>
                  <a:lnTo>
                    <a:pt x="2070" y="286"/>
                  </a:lnTo>
                  <a:lnTo>
                    <a:pt x="2052" y="278"/>
                  </a:lnTo>
                  <a:lnTo>
                    <a:pt x="2032" y="270"/>
                  </a:lnTo>
                  <a:lnTo>
                    <a:pt x="2004" y="258"/>
                  </a:lnTo>
                  <a:lnTo>
                    <a:pt x="1979" y="247"/>
                  </a:lnTo>
                  <a:lnTo>
                    <a:pt x="1969" y="242"/>
                  </a:lnTo>
                  <a:lnTo>
                    <a:pt x="1958" y="236"/>
                  </a:lnTo>
                  <a:lnTo>
                    <a:pt x="1950" y="230"/>
                  </a:lnTo>
                  <a:lnTo>
                    <a:pt x="1942" y="224"/>
                  </a:lnTo>
                  <a:lnTo>
                    <a:pt x="1936" y="219"/>
                  </a:lnTo>
                  <a:lnTo>
                    <a:pt x="1930" y="213"/>
                  </a:lnTo>
                  <a:lnTo>
                    <a:pt x="1924" y="206"/>
                  </a:lnTo>
                  <a:lnTo>
                    <a:pt x="1920" y="200"/>
                  </a:lnTo>
                  <a:lnTo>
                    <a:pt x="1917" y="192"/>
                  </a:lnTo>
                  <a:lnTo>
                    <a:pt x="1915" y="184"/>
                  </a:lnTo>
                  <a:lnTo>
                    <a:pt x="1914" y="177"/>
                  </a:lnTo>
                  <a:lnTo>
                    <a:pt x="1914" y="168"/>
                  </a:lnTo>
                  <a:lnTo>
                    <a:pt x="1914" y="162"/>
                  </a:lnTo>
                  <a:lnTo>
                    <a:pt x="1915" y="154"/>
                  </a:lnTo>
                  <a:lnTo>
                    <a:pt x="1917" y="147"/>
                  </a:lnTo>
                  <a:lnTo>
                    <a:pt x="1919" y="141"/>
                  </a:lnTo>
                  <a:lnTo>
                    <a:pt x="1923" y="135"/>
                  </a:lnTo>
                  <a:lnTo>
                    <a:pt x="1928" y="129"/>
                  </a:lnTo>
                  <a:lnTo>
                    <a:pt x="1933" y="122"/>
                  </a:lnTo>
                  <a:lnTo>
                    <a:pt x="1938" y="117"/>
                  </a:lnTo>
                  <a:lnTo>
                    <a:pt x="1945" y="112"/>
                  </a:lnTo>
                  <a:lnTo>
                    <a:pt x="1952" y="107"/>
                  </a:lnTo>
                  <a:lnTo>
                    <a:pt x="1960" y="103"/>
                  </a:lnTo>
                  <a:lnTo>
                    <a:pt x="1970" y="100"/>
                  </a:lnTo>
                  <a:lnTo>
                    <a:pt x="1980" y="97"/>
                  </a:lnTo>
                  <a:lnTo>
                    <a:pt x="1991" y="95"/>
                  </a:lnTo>
                  <a:lnTo>
                    <a:pt x="2004" y="94"/>
                  </a:lnTo>
                  <a:lnTo>
                    <a:pt x="2016" y="94"/>
                  </a:lnTo>
                  <a:lnTo>
                    <a:pt x="2037" y="94"/>
                  </a:lnTo>
                  <a:lnTo>
                    <a:pt x="2057" y="96"/>
                  </a:lnTo>
                  <a:lnTo>
                    <a:pt x="2075" y="100"/>
                  </a:lnTo>
                  <a:lnTo>
                    <a:pt x="2092" y="104"/>
                  </a:lnTo>
                  <a:lnTo>
                    <a:pt x="2106" y="108"/>
                  </a:lnTo>
                  <a:lnTo>
                    <a:pt x="2120" y="113"/>
                  </a:lnTo>
                  <a:lnTo>
                    <a:pt x="2131" y="118"/>
                  </a:lnTo>
                  <a:lnTo>
                    <a:pt x="2140" y="122"/>
                  </a:lnTo>
                  <a:lnTo>
                    <a:pt x="2167" y="31"/>
                  </a:lnTo>
                  <a:lnTo>
                    <a:pt x="2155" y="25"/>
                  </a:lnTo>
                  <a:lnTo>
                    <a:pt x="2139" y="20"/>
                  </a:lnTo>
                  <a:lnTo>
                    <a:pt x="2124" y="14"/>
                  </a:lnTo>
                  <a:lnTo>
                    <a:pt x="2106" y="9"/>
                  </a:lnTo>
                  <a:lnTo>
                    <a:pt x="2087" y="6"/>
                  </a:lnTo>
                  <a:lnTo>
                    <a:pt x="2065" y="3"/>
                  </a:lnTo>
                  <a:lnTo>
                    <a:pt x="2043" y="1"/>
                  </a:lnTo>
                  <a:lnTo>
                    <a:pt x="2019" y="0"/>
                  </a:lnTo>
                  <a:lnTo>
                    <a:pt x="1994" y="1"/>
                  </a:lnTo>
                  <a:lnTo>
                    <a:pt x="1971" y="4"/>
                  </a:lnTo>
                  <a:lnTo>
                    <a:pt x="1948" y="8"/>
                  </a:lnTo>
                  <a:lnTo>
                    <a:pt x="1928" y="14"/>
                  </a:lnTo>
                  <a:lnTo>
                    <a:pt x="1908" y="22"/>
                  </a:lnTo>
                  <a:lnTo>
                    <a:pt x="1890" y="30"/>
                  </a:lnTo>
                  <a:lnTo>
                    <a:pt x="1873" y="40"/>
                  </a:lnTo>
                  <a:lnTo>
                    <a:pt x="1859" y="51"/>
                  </a:lnTo>
                  <a:lnTo>
                    <a:pt x="1845" y="64"/>
                  </a:lnTo>
                  <a:lnTo>
                    <a:pt x="1833" y="77"/>
                  </a:lnTo>
                  <a:lnTo>
                    <a:pt x="1823" y="93"/>
                  </a:lnTo>
                  <a:lnTo>
                    <a:pt x="1815" y="108"/>
                  </a:lnTo>
                  <a:lnTo>
                    <a:pt x="1808" y="124"/>
                  </a:lnTo>
                  <a:lnTo>
                    <a:pt x="1803" y="142"/>
                  </a:lnTo>
                  <a:lnTo>
                    <a:pt x="1800" y="159"/>
                  </a:lnTo>
                  <a:lnTo>
                    <a:pt x="1799" y="179"/>
                  </a:lnTo>
                  <a:lnTo>
                    <a:pt x="1800" y="194"/>
                  </a:lnTo>
                  <a:lnTo>
                    <a:pt x="1802" y="211"/>
                  </a:lnTo>
                  <a:lnTo>
                    <a:pt x="1806" y="225"/>
                  </a:lnTo>
                  <a:lnTo>
                    <a:pt x="1811" y="240"/>
                  </a:lnTo>
                  <a:lnTo>
                    <a:pt x="1818" y="253"/>
                  </a:lnTo>
                  <a:lnTo>
                    <a:pt x="1825" y="265"/>
                  </a:lnTo>
                  <a:lnTo>
                    <a:pt x="1834" y="277"/>
                  </a:lnTo>
                  <a:lnTo>
                    <a:pt x="1844" y="288"/>
                  </a:lnTo>
                  <a:lnTo>
                    <a:pt x="1857" y="299"/>
                  </a:lnTo>
                  <a:lnTo>
                    <a:pt x="1869" y="310"/>
                  </a:lnTo>
                  <a:lnTo>
                    <a:pt x="1882" y="319"/>
                  </a:lnTo>
                  <a:lnTo>
                    <a:pt x="1898" y="328"/>
                  </a:lnTo>
                  <a:lnTo>
                    <a:pt x="1913" y="336"/>
                  </a:lnTo>
                  <a:lnTo>
                    <a:pt x="1931" y="345"/>
                  </a:lnTo>
                  <a:lnTo>
                    <a:pt x="1948" y="352"/>
                  </a:lnTo>
                  <a:lnTo>
                    <a:pt x="1967" y="359"/>
                  </a:lnTo>
                  <a:lnTo>
                    <a:pt x="1994" y="369"/>
                  </a:lnTo>
                  <a:lnTo>
                    <a:pt x="2017" y="381"/>
                  </a:lnTo>
                  <a:lnTo>
                    <a:pt x="2027" y="386"/>
                  </a:lnTo>
                  <a:lnTo>
                    <a:pt x="2036" y="392"/>
                  </a:lnTo>
                  <a:lnTo>
                    <a:pt x="2044" y="397"/>
                  </a:lnTo>
                  <a:lnTo>
                    <a:pt x="2051" y="403"/>
                  </a:lnTo>
                  <a:lnTo>
                    <a:pt x="2057" y="409"/>
                  </a:lnTo>
                  <a:lnTo>
                    <a:pt x="2062" y="417"/>
                  </a:lnTo>
                  <a:lnTo>
                    <a:pt x="2067" y="423"/>
                  </a:lnTo>
                  <a:lnTo>
                    <a:pt x="2070" y="430"/>
                  </a:lnTo>
                  <a:lnTo>
                    <a:pt x="2073" y="437"/>
                  </a:lnTo>
                  <a:lnTo>
                    <a:pt x="2075" y="445"/>
                  </a:lnTo>
                  <a:lnTo>
                    <a:pt x="2077" y="454"/>
                  </a:lnTo>
                  <a:lnTo>
                    <a:pt x="2077" y="462"/>
                  </a:lnTo>
                  <a:lnTo>
                    <a:pt x="2077" y="471"/>
                  </a:lnTo>
                  <a:lnTo>
                    <a:pt x="2074" y="480"/>
                  </a:lnTo>
                  <a:lnTo>
                    <a:pt x="2072" y="489"/>
                  </a:lnTo>
                  <a:lnTo>
                    <a:pt x="2069" y="497"/>
                  </a:lnTo>
                  <a:lnTo>
                    <a:pt x="2065" y="504"/>
                  </a:lnTo>
                  <a:lnTo>
                    <a:pt x="2060" y="511"/>
                  </a:lnTo>
                  <a:lnTo>
                    <a:pt x="2054" y="517"/>
                  </a:lnTo>
                  <a:lnTo>
                    <a:pt x="2048" y="524"/>
                  </a:lnTo>
                  <a:lnTo>
                    <a:pt x="2040" y="529"/>
                  </a:lnTo>
                  <a:lnTo>
                    <a:pt x="2031" y="533"/>
                  </a:lnTo>
                  <a:lnTo>
                    <a:pt x="2022" y="537"/>
                  </a:lnTo>
                  <a:lnTo>
                    <a:pt x="2012" y="540"/>
                  </a:lnTo>
                  <a:lnTo>
                    <a:pt x="2002" y="543"/>
                  </a:lnTo>
                  <a:lnTo>
                    <a:pt x="1989" y="545"/>
                  </a:lnTo>
                  <a:lnTo>
                    <a:pt x="1977" y="546"/>
                  </a:lnTo>
                  <a:lnTo>
                    <a:pt x="1965" y="546"/>
                  </a:lnTo>
                  <a:lnTo>
                    <a:pt x="1943" y="546"/>
                  </a:lnTo>
                  <a:lnTo>
                    <a:pt x="1921" y="543"/>
                  </a:lnTo>
                  <a:lnTo>
                    <a:pt x="1901" y="540"/>
                  </a:lnTo>
                  <a:lnTo>
                    <a:pt x="1881" y="535"/>
                  </a:lnTo>
                  <a:lnTo>
                    <a:pt x="1863" y="529"/>
                  </a:lnTo>
                  <a:lnTo>
                    <a:pt x="1845" y="523"/>
                  </a:lnTo>
                  <a:lnTo>
                    <a:pt x="1829" y="514"/>
                  </a:lnTo>
                  <a:lnTo>
                    <a:pt x="1815" y="507"/>
                  </a:lnTo>
                  <a:lnTo>
                    <a:pt x="1789" y="601"/>
                  </a:lnTo>
                  <a:close/>
                  <a:moveTo>
                    <a:pt x="1300" y="631"/>
                  </a:moveTo>
                  <a:lnTo>
                    <a:pt x="1300" y="408"/>
                  </a:lnTo>
                  <a:lnTo>
                    <a:pt x="1300" y="371"/>
                  </a:lnTo>
                  <a:lnTo>
                    <a:pt x="1299" y="335"/>
                  </a:lnTo>
                  <a:lnTo>
                    <a:pt x="1299" y="301"/>
                  </a:lnTo>
                  <a:lnTo>
                    <a:pt x="1298" y="269"/>
                  </a:lnTo>
                  <a:lnTo>
                    <a:pt x="1298" y="237"/>
                  </a:lnTo>
                  <a:lnTo>
                    <a:pt x="1297" y="205"/>
                  </a:lnTo>
                  <a:lnTo>
                    <a:pt x="1295" y="175"/>
                  </a:lnTo>
                  <a:lnTo>
                    <a:pt x="1294" y="144"/>
                  </a:lnTo>
                  <a:lnTo>
                    <a:pt x="1297" y="144"/>
                  </a:lnTo>
                  <a:lnTo>
                    <a:pt x="1308" y="170"/>
                  </a:lnTo>
                  <a:lnTo>
                    <a:pt x="1321" y="198"/>
                  </a:lnTo>
                  <a:lnTo>
                    <a:pt x="1335" y="224"/>
                  </a:lnTo>
                  <a:lnTo>
                    <a:pt x="1348" y="251"/>
                  </a:lnTo>
                  <a:lnTo>
                    <a:pt x="1362" y="279"/>
                  </a:lnTo>
                  <a:lnTo>
                    <a:pt x="1378" y="306"/>
                  </a:lnTo>
                  <a:lnTo>
                    <a:pt x="1392" y="332"/>
                  </a:lnTo>
                  <a:lnTo>
                    <a:pt x="1408" y="358"/>
                  </a:lnTo>
                  <a:lnTo>
                    <a:pt x="1569" y="631"/>
                  </a:lnTo>
                  <a:lnTo>
                    <a:pt x="1686" y="631"/>
                  </a:lnTo>
                  <a:lnTo>
                    <a:pt x="1686" y="10"/>
                  </a:lnTo>
                  <a:lnTo>
                    <a:pt x="1582" y="10"/>
                  </a:lnTo>
                  <a:lnTo>
                    <a:pt x="1582" y="226"/>
                  </a:lnTo>
                  <a:lnTo>
                    <a:pt x="1582" y="261"/>
                  </a:lnTo>
                  <a:lnTo>
                    <a:pt x="1582" y="295"/>
                  </a:lnTo>
                  <a:lnTo>
                    <a:pt x="1583" y="328"/>
                  </a:lnTo>
                  <a:lnTo>
                    <a:pt x="1584" y="360"/>
                  </a:lnTo>
                  <a:lnTo>
                    <a:pt x="1585" y="391"/>
                  </a:lnTo>
                  <a:lnTo>
                    <a:pt x="1587" y="422"/>
                  </a:lnTo>
                  <a:lnTo>
                    <a:pt x="1589" y="453"/>
                  </a:lnTo>
                  <a:lnTo>
                    <a:pt x="1592" y="484"/>
                  </a:lnTo>
                  <a:lnTo>
                    <a:pt x="1589" y="485"/>
                  </a:lnTo>
                  <a:lnTo>
                    <a:pt x="1578" y="459"/>
                  </a:lnTo>
                  <a:lnTo>
                    <a:pt x="1567" y="433"/>
                  </a:lnTo>
                  <a:lnTo>
                    <a:pt x="1555" y="407"/>
                  </a:lnTo>
                  <a:lnTo>
                    <a:pt x="1541" y="381"/>
                  </a:lnTo>
                  <a:lnTo>
                    <a:pt x="1528" y="355"/>
                  </a:lnTo>
                  <a:lnTo>
                    <a:pt x="1513" y="328"/>
                  </a:lnTo>
                  <a:lnTo>
                    <a:pt x="1499" y="302"/>
                  </a:lnTo>
                  <a:lnTo>
                    <a:pt x="1484" y="277"/>
                  </a:lnTo>
                  <a:lnTo>
                    <a:pt x="1324" y="10"/>
                  </a:lnTo>
                  <a:lnTo>
                    <a:pt x="1195" y="10"/>
                  </a:lnTo>
                  <a:lnTo>
                    <a:pt x="1195" y="631"/>
                  </a:lnTo>
                  <a:lnTo>
                    <a:pt x="1300" y="631"/>
                  </a:lnTo>
                  <a:close/>
                  <a:moveTo>
                    <a:pt x="804" y="550"/>
                  </a:moveTo>
                  <a:lnTo>
                    <a:pt x="795" y="549"/>
                  </a:lnTo>
                  <a:lnTo>
                    <a:pt x="785" y="549"/>
                  </a:lnTo>
                  <a:lnTo>
                    <a:pt x="776" y="547"/>
                  </a:lnTo>
                  <a:lnTo>
                    <a:pt x="766" y="545"/>
                  </a:lnTo>
                  <a:lnTo>
                    <a:pt x="757" y="543"/>
                  </a:lnTo>
                  <a:lnTo>
                    <a:pt x="749" y="540"/>
                  </a:lnTo>
                  <a:lnTo>
                    <a:pt x="741" y="536"/>
                  </a:lnTo>
                  <a:lnTo>
                    <a:pt x="733" y="532"/>
                  </a:lnTo>
                  <a:lnTo>
                    <a:pt x="724" y="527"/>
                  </a:lnTo>
                  <a:lnTo>
                    <a:pt x="717" y="523"/>
                  </a:lnTo>
                  <a:lnTo>
                    <a:pt x="710" y="516"/>
                  </a:lnTo>
                  <a:lnTo>
                    <a:pt x="703" y="510"/>
                  </a:lnTo>
                  <a:lnTo>
                    <a:pt x="690" y="497"/>
                  </a:lnTo>
                  <a:lnTo>
                    <a:pt x="679" y="482"/>
                  </a:lnTo>
                  <a:lnTo>
                    <a:pt x="668" y="466"/>
                  </a:lnTo>
                  <a:lnTo>
                    <a:pt x="660" y="449"/>
                  </a:lnTo>
                  <a:lnTo>
                    <a:pt x="651" y="430"/>
                  </a:lnTo>
                  <a:lnTo>
                    <a:pt x="645" y="410"/>
                  </a:lnTo>
                  <a:lnTo>
                    <a:pt x="640" y="389"/>
                  </a:lnTo>
                  <a:lnTo>
                    <a:pt x="637" y="367"/>
                  </a:lnTo>
                  <a:lnTo>
                    <a:pt x="634" y="346"/>
                  </a:lnTo>
                  <a:lnTo>
                    <a:pt x="634" y="322"/>
                  </a:lnTo>
                  <a:lnTo>
                    <a:pt x="634" y="299"/>
                  </a:lnTo>
                  <a:lnTo>
                    <a:pt x="636" y="277"/>
                  </a:lnTo>
                  <a:lnTo>
                    <a:pt x="640" y="255"/>
                  </a:lnTo>
                  <a:lnTo>
                    <a:pt x="645" y="235"/>
                  </a:lnTo>
                  <a:lnTo>
                    <a:pt x="651" y="214"/>
                  </a:lnTo>
                  <a:lnTo>
                    <a:pt x="659" y="194"/>
                  </a:lnTo>
                  <a:lnTo>
                    <a:pt x="668" y="177"/>
                  </a:lnTo>
                  <a:lnTo>
                    <a:pt x="677" y="160"/>
                  </a:lnTo>
                  <a:lnTo>
                    <a:pt x="689" y="145"/>
                  </a:lnTo>
                  <a:lnTo>
                    <a:pt x="702" y="132"/>
                  </a:lnTo>
                  <a:lnTo>
                    <a:pt x="709" y="126"/>
                  </a:lnTo>
                  <a:lnTo>
                    <a:pt x="716" y="119"/>
                  </a:lnTo>
                  <a:lnTo>
                    <a:pt x="723" y="114"/>
                  </a:lnTo>
                  <a:lnTo>
                    <a:pt x="732" y="109"/>
                  </a:lnTo>
                  <a:lnTo>
                    <a:pt x="740" y="105"/>
                  </a:lnTo>
                  <a:lnTo>
                    <a:pt x="748" y="102"/>
                  </a:lnTo>
                  <a:lnTo>
                    <a:pt x="757" y="99"/>
                  </a:lnTo>
                  <a:lnTo>
                    <a:pt x="766" y="96"/>
                  </a:lnTo>
                  <a:lnTo>
                    <a:pt x="776" y="94"/>
                  </a:lnTo>
                  <a:lnTo>
                    <a:pt x="786" y="92"/>
                  </a:lnTo>
                  <a:lnTo>
                    <a:pt x="795" y="91"/>
                  </a:lnTo>
                  <a:lnTo>
                    <a:pt x="807" y="91"/>
                  </a:lnTo>
                  <a:lnTo>
                    <a:pt x="817" y="91"/>
                  </a:lnTo>
                  <a:lnTo>
                    <a:pt x="827" y="92"/>
                  </a:lnTo>
                  <a:lnTo>
                    <a:pt x="836" y="94"/>
                  </a:lnTo>
                  <a:lnTo>
                    <a:pt x="846" y="96"/>
                  </a:lnTo>
                  <a:lnTo>
                    <a:pt x="855" y="99"/>
                  </a:lnTo>
                  <a:lnTo>
                    <a:pt x="864" y="102"/>
                  </a:lnTo>
                  <a:lnTo>
                    <a:pt x="872" y="106"/>
                  </a:lnTo>
                  <a:lnTo>
                    <a:pt x="881" y="110"/>
                  </a:lnTo>
                  <a:lnTo>
                    <a:pt x="889" y="114"/>
                  </a:lnTo>
                  <a:lnTo>
                    <a:pt x="896" y="120"/>
                  </a:lnTo>
                  <a:lnTo>
                    <a:pt x="903" y="126"/>
                  </a:lnTo>
                  <a:lnTo>
                    <a:pt x="910" y="132"/>
                  </a:lnTo>
                  <a:lnTo>
                    <a:pt x="923" y="145"/>
                  </a:lnTo>
                  <a:lnTo>
                    <a:pt x="934" y="160"/>
                  </a:lnTo>
                  <a:lnTo>
                    <a:pt x="944" y="177"/>
                  </a:lnTo>
                  <a:lnTo>
                    <a:pt x="952" y="194"/>
                  </a:lnTo>
                  <a:lnTo>
                    <a:pt x="961" y="214"/>
                  </a:lnTo>
                  <a:lnTo>
                    <a:pt x="967" y="234"/>
                  </a:lnTo>
                  <a:lnTo>
                    <a:pt x="971" y="254"/>
                  </a:lnTo>
                  <a:lnTo>
                    <a:pt x="974" y="275"/>
                  </a:lnTo>
                  <a:lnTo>
                    <a:pt x="976" y="296"/>
                  </a:lnTo>
                  <a:lnTo>
                    <a:pt x="977" y="318"/>
                  </a:lnTo>
                  <a:lnTo>
                    <a:pt x="976" y="343"/>
                  </a:lnTo>
                  <a:lnTo>
                    <a:pt x="974" y="365"/>
                  </a:lnTo>
                  <a:lnTo>
                    <a:pt x="971" y="388"/>
                  </a:lnTo>
                  <a:lnTo>
                    <a:pt x="966" y="409"/>
                  </a:lnTo>
                  <a:lnTo>
                    <a:pt x="960" y="430"/>
                  </a:lnTo>
                  <a:lnTo>
                    <a:pt x="951" y="449"/>
                  </a:lnTo>
                  <a:lnTo>
                    <a:pt x="943" y="467"/>
                  </a:lnTo>
                  <a:lnTo>
                    <a:pt x="933" y="482"/>
                  </a:lnTo>
                  <a:lnTo>
                    <a:pt x="921" y="498"/>
                  </a:lnTo>
                  <a:lnTo>
                    <a:pt x="908" y="511"/>
                  </a:lnTo>
                  <a:lnTo>
                    <a:pt x="901" y="517"/>
                  </a:lnTo>
                  <a:lnTo>
                    <a:pt x="894" y="523"/>
                  </a:lnTo>
                  <a:lnTo>
                    <a:pt x="887" y="528"/>
                  </a:lnTo>
                  <a:lnTo>
                    <a:pt x="878" y="532"/>
                  </a:lnTo>
                  <a:lnTo>
                    <a:pt x="870" y="536"/>
                  </a:lnTo>
                  <a:lnTo>
                    <a:pt x="862" y="540"/>
                  </a:lnTo>
                  <a:lnTo>
                    <a:pt x="854" y="543"/>
                  </a:lnTo>
                  <a:lnTo>
                    <a:pt x="845" y="545"/>
                  </a:lnTo>
                  <a:lnTo>
                    <a:pt x="835" y="547"/>
                  </a:lnTo>
                  <a:lnTo>
                    <a:pt x="826" y="549"/>
                  </a:lnTo>
                  <a:lnTo>
                    <a:pt x="816" y="549"/>
                  </a:lnTo>
                  <a:lnTo>
                    <a:pt x="805" y="550"/>
                  </a:lnTo>
                  <a:lnTo>
                    <a:pt x="804" y="550"/>
                  </a:lnTo>
                  <a:close/>
                  <a:moveTo>
                    <a:pt x="802" y="641"/>
                  </a:moveTo>
                  <a:lnTo>
                    <a:pt x="818" y="641"/>
                  </a:lnTo>
                  <a:lnTo>
                    <a:pt x="833" y="640"/>
                  </a:lnTo>
                  <a:lnTo>
                    <a:pt x="849" y="638"/>
                  </a:lnTo>
                  <a:lnTo>
                    <a:pt x="863" y="636"/>
                  </a:lnTo>
                  <a:lnTo>
                    <a:pt x="878" y="633"/>
                  </a:lnTo>
                  <a:lnTo>
                    <a:pt x="893" y="629"/>
                  </a:lnTo>
                  <a:lnTo>
                    <a:pt x="906" y="624"/>
                  </a:lnTo>
                  <a:lnTo>
                    <a:pt x="920" y="619"/>
                  </a:lnTo>
                  <a:lnTo>
                    <a:pt x="933" y="613"/>
                  </a:lnTo>
                  <a:lnTo>
                    <a:pt x="946" y="607"/>
                  </a:lnTo>
                  <a:lnTo>
                    <a:pt x="959" y="600"/>
                  </a:lnTo>
                  <a:lnTo>
                    <a:pt x="970" y="593"/>
                  </a:lnTo>
                  <a:lnTo>
                    <a:pt x="982" y="584"/>
                  </a:lnTo>
                  <a:lnTo>
                    <a:pt x="993" y="575"/>
                  </a:lnTo>
                  <a:lnTo>
                    <a:pt x="1004" y="566"/>
                  </a:lnTo>
                  <a:lnTo>
                    <a:pt x="1013" y="556"/>
                  </a:lnTo>
                  <a:lnTo>
                    <a:pt x="1023" y="545"/>
                  </a:lnTo>
                  <a:lnTo>
                    <a:pt x="1033" y="533"/>
                  </a:lnTo>
                  <a:lnTo>
                    <a:pt x="1041" y="522"/>
                  </a:lnTo>
                  <a:lnTo>
                    <a:pt x="1049" y="509"/>
                  </a:lnTo>
                  <a:lnTo>
                    <a:pt x="1056" y="496"/>
                  </a:lnTo>
                  <a:lnTo>
                    <a:pt x="1063" y="482"/>
                  </a:lnTo>
                  <a:lnTo>
                    <a:pt x="1070" y="468"/>
                  </a:lnTo>
                  <a:lnTo>
                    <a:pt x="1076" y="453"/>
                  </a:lnTo>
                  <a:lnTo>
                    <a:pt x="1081" y="437"/>
                  </a:lnTo>
                  <a:lnTo>
                    <a:pt x="1085" y="422"/>
                  </a:lnTo>
                  <a:lnTo>
                    <a:pt x="1089" y="405"/>
                  </a:lnTo>
                  <a:lnTo>
                    <a:pt x="1092" y="388"/>
                  </a:lnTo>
                  <a:lnTo>
                    <a:pt x="1094" y="370"/>
                  </a:lnTo>
                  <a:lnTo>
                    <a:pt x="1096" y="352"/>
                  </a:lnTo>
                  <a:lnTo>
                    <a:pt x="1097" y="333"/>
                  </a:lnTo>
                  <a:lnTo>
                    <a:pt x="1097" y="314"/>
                  </a:lnTo>
                  <a:lnTo>
                    <a:pt x="1097" y="297"/>
                  </a:lnTo>
                  <a:lnTo>
                    <a:pt x="1096" y="281"/>
                  </a:lnTo>
                  <a:lnTo>
                    <a:pt x="1095" y="265"/>
                  </a:lnTo>
                  <a:lnTo>
                    <a:pt x="1093" y="250"/>
                  </a:lnTo>
                  <a:lnTo>
                    <a:pt x="1090" y="235"/>
                  </a:lnTo>
                  <a:lnTo>
                    <a:pt x="1087" y="219"/>
                  </a:lnTo>
                  <a:lnTo>
                    <a:pt x="1083" y="205"/>
                  </a:lnTo>
                  <a:lnTo>
                    <a:pt x="1078" y="190"/>
                  </a:lnTo>
                  <a:lnTo>
                    <a:pt x="1073" y="176"/>
                  </a:lnTo>
                  <a:lnTo>
                    <a:pt x="1068" y="163"/>
                  </a:lnTo>
                  <a:lnTo>
                    <a:pt x="1061" y="149"/>
                  </a:lnTo>
                  <a:lnTo>
                    <a:pt x="1054" y="137"/>
                  </a:lnTo>
                  <a:lnTo>
                    <a:pt x="1047" y="124"/>
                  </a:lnTo>
                  <a:lnTo>
                    <a:pt x="1039" y="113"/>
                  </a:lnTo>
                  <a:lnTo>
                    <a:pt x="1031" y="102"/>
                  </a:lnTo>
                  <a:lnTo>
                    <a:pt x="1021" y="91"/>
                  </a:lnTo>
                  <a:lnTo>
                    <a:pt x="1012" y="80"/>
                  </a:lnTo>
                  <a:lnTo>
                    <a:pt x="1002" y="71"/>
                  </a:lnTo>
                  <a:lnTo>
                    <a:pt x="991" y="62"/>
                  </a:lnTo>
                  <a:lnTo>
                    <a:pt x="980" y="52"/>
                  </a:lnTo>
                  <a:lnTo>
                    <a:pt x="969" y="44"/>
                  </a:lnTo>
                  <a:lnTo>
                    <a:pt x="957" y="37"/>
                  </a:lnTo>
                  <a:lnTo>
                    <a:pt x="944" y="30"/>
                  </a:lnTo>
                  <a:lnTo>
                    <a:pt x="932" y="24"/>
                  </a:lnTo>
                  <a:lnTo>
                    <a:pt x="917" y="19"/>
                  </a:lnTo>
                  <a:lnTo>
                    <a:pt x="904" y="13"/>
                  </a:lnTo>
                  <a:lnTo>
                    <a:pt x="890" y="9"/>
                  </a:lnTo>
                  <a:lnTo>
                    <a:pt x="874" y="6"/>
                  </a:lnTo>
                  <a:lnTo>
                    <a:pt x="859" y="3"/>
                  </a:lnTo>
                  <a:lnTo>
                    <a:pt x="844" y="2"/>
                  </a:lnTo>
                  <a:lnTo>
                    <a:pt x="827" y="0"/>
                  </a:lnTo>
                  <a:lnTo>
                    <a:pt x="811" y="0"/>
                  </a:lnTo>
                  <a:lnTo>
                    <a:pt x="794" y="0"/>
                  </a:lnTo>
                  <a:lnTo>
                    <a:pt x="778" y="2"/>
                  </a:lnTo>
                  <a:lnTo>
                    <a:pt x="762" y="3"/>
                  </a:lnTo>
                  <a:lnTo>
                    <a:pt x="747" y="6"/>
                  </a:lnTo>
                  <a:lnTo>
                    <a:pt x="733" y="9"/>
                  </a:lnTo>
                  <a:lnTo>
                    <a:pt x="718" y="13"/>
                  </a:lnTo>
                  <a:lnTo>
                    <a:pt x="704" y="19"/>
                  </a:lnTo>
                  <a:lnTo>
                    <a:pt x="690" y="24"/>
                  </a:lnTo>
                  <a:lnTo>
                    <a:pt x="677" y="30"/>
                  </a:lnTo>
                  <a:lnTo>
                    <a:pt x="665" y="37"/>
                  </a:lnTo>
                  <a:lnTo>
                    <a:pt x="652" y="44"/>
                  </a:lnTo>
                  <a:lnTo>
                    <a:pt x="640" y="52"/>
                  </a:lnTo>
                  <a:lnTo>
                    <a:pt x="629" y="62"/>
                  </a:lnTo>
                  <a:lnTo>
                    <a:pt x="617" y="71"/>
                  </a:lnTo>
                  <a:lnTo>
                    <a:pt x="607" y="80"/>
                  </a:lnTo>
                  <a:lnTo>
                    <a:pt x="597" y="92"/>
                  </a:lnTo>
                  <a:lnTo>
                    <a:pt x="588" y="102"/>
                  </a:lnTo>
                  <a:lnTo>
                    <a:pt x="578" y="114"/>
                  </a:lnTo>
                  <a:lnTo>
                    <a:pt x="570" y="126"/>
                  </a:lnTo>
                  <a:lnTo>
                    <a:pt x="562" y="139"/>
                  </a:lnTo>
                  <a:lnTo>
                    <a:pt x="555" y="151"/>
                  </a:lnTo>
                  <a:lnTo>
                    <a:pt x="549" y="166"/>
                  </a:lnTo>
                  <a:lnTo>
                    <a:pt x="542" y="179"/>
                  </a:lnTo>
                  <a:lnTo>
                    <a:pt x="536" y="194"/>
                  </a:lnTo>
                  <a:lnTo>
                    <a:pt x="531" y="209"/>
                  </a:lnTo>
                  <a:lnTo>
                    <a:pt x="527" y="224"/>
                  </a:lnTo>
                  <a:lnTo>
                    <a:pt x="524" y="241"/>
                  </a:lnTo>
                  <a:lnTo>
                    <a:pt x="521" y="256"/>
                  </a:lnTo>
                  <a:lnTo>
                    <a:pt x="518" y="273"/>
                  </a:lnTo>
                  <a:lnTo>
                    <a:pt x="517" y="290"/>
                  </a:lnTo>
                  <a:lnTo>
                    <a:pt x="516" y="308"/>
                  </a:lnTo>
                  <a:lnTo>
                    <a:pt x="515" y="325"/>
                  </a:lnTo>
                  <a:lnTo>
                    <a:pt x="516" y="342"/>
                  </a:lnTo>
                  <a:lnTo>
                    <a:pt x="517" y="359"/>
                  </a:lnTo>
                  <a:lnTo>
                    <a:pt x="518" y="374"/>
                  </a:lnTo>
                  <a:lnTo>
                    <a:pt x="520" y="391"/>
                  </a:lnTo>
                  <a:lnTo>
                    <a:pt x="523" y="406"/>
                  </a:lnTo>
                  <a:lnTo>
                    <a:pt x="526" y="422"/>
                  </a:lnTo>
                  <a:lnTo>
                    <a:pt x="530" y="436"/>
                  </a:lnTo>
                  <a:lnTo>
                    <a:pt x="535" y="452"/>
                  </a:lnTo>
                  <a:lnTo>
                    <a:pt x="540" y="465"/>
                  </a:lnTo>
                  <a:lnTo>
                    <a:pt x="547" y="479"/>
                  </a:lnTo>
                  <a:lnTo>
                    <a:pt x="553" y="492"/>
                  </a:lnTo>
                  <a:lnTo>
                    <a:pt x="559" y="505"/>
                  </a:lnTo>
                  <a:lnTo>
                    <a:pt x="567" y="517"/>
                  </a:lnTo>
                  <a:lnTo>
                    <a:pt x="575" y="529"/>
                  </a:lnTo>
                  <a:lnTo>
                    <a:pt x="584" y="540"/>
                  </a:lnTo>
                  <a:lnTo>
                    <a:pt x="593" y="551"/>
                  </a:lnTo>
                  <a:lnTo>
                    <a:pt x="602" y="562"/>
                  </a:lnTo>
                  <a:lnTo>
                    <a:pt x="612" y="571"/>
                  </a:lnTo>
                  <a:lnTo>
                    <a:pt x="623" y="580"/>
                  </a:lnTo>
                  <a:lnTo>
                    <a:pt x="634" y="588"/>
                  </a:lnTo>
                  <a:lnTo>
                    <a:pt x="645" y="597"/>
                  </a:lnTo>
                  <a:lnTo>
                    <a:pt x="658" y="604"/>
                  </a:lnTo>
                  <a:lnTo>
                    <a:pt x="670" y="611"/>
                  </a:lnTo>
                  <a:lnTo>
                    <a:pt x="682" y="617"/>
                  </a:lnTo>
                  <a:lnTo>
                    <a:pt x="696" y="622"/>
                  </a:lnTo>
                  <a:lnTo>
                    <a:pt x="710" y="628"/>
                  </a:lnTo>
                  <a:lnTo>
                    <a:pt x="724" y="632"/>
                  </a:lnTo>
                  <a:lnTo>
                    <a:pt x="739" y="635"/>
                  </a:lnTo>
                  <a:lnTo>
                    <a:pt x="753" y="638"/>
                  </a:lnTo>
                  <a:lnTo>
                    <a:pt x="769" y="640"/>
                  </a:lnTo>
                  <a:lnTo>
                    <a:pt x="785" y="641"/>
                  </a:lnTo>
                  <a:lnTo>
                    <a:pt x="801" y="641"/>
                  </a:lnTo>
                  <a:lnTo>
                    <a:pt x="802" y="641"/>
                  </a:lnTo>
                  <a:close/>
                  <a:moveTo>
                    <a:pt x="458" y="523"/>
                  </a:moveTo>
                  <a:lnTo>
                    <a:pt x="447" y="528"/>
                  </a:lnTo>
                  <a:lnTo>
                    <a:pt x="434" y="532"/>
                  </a:lnTo>
                  <a:lnTo>
                    <a:pt x="418" y="536"/>
                  </a:lnTo>
                  <a:lnTo>
                    <a:pt x="403" y="539"/>
                  </a:lnTo>
                  <a:lnTo>
                    <a:pt x="386" y="542"/>
                  </a:lnTo>
                  <a:lnTo>
                    <a:pt x="370" y="544"/>
                  </a:lnTo>
                  <a:lnTo>
                    <a:pt x="352" y="545"/>
                  </a:lnTo>
                  <a:lnTo>
                    <a:pt x="335" y="545"/>
                  </a:lnTo>
                  <a:lnTo>
                    <a:pt x="323" y="545"/>
                  </a:lnTo>
                  <a:lnTo>
                    <a:pt x="310" y="544"/>
                  </a:lnTo>
                  <a:lnTo>
                    <a:pt x="298" y="543"/>
                  </a:lnTo>
                  <a:lnTo>
                    <a:pt x="287" y="541"/>
                  </a:lnTo>
                  <a:lnTo>
                    <a:pt x="275" y="539"/>
                  </a:lnTo>
                  <a:lnTo>
                    <a:pt x="265" y="537"/>
                  </a:lnTo>
                  <a:lnTo>
                    <a:pt x="254" y="534"/>
                  </a:lnTo>
                  <a:lnTo>
                    <a:pt x="243" y="530"/>
                  </a:lnTo>
                  <a:lnTo>
                    <a:pt x="234" y="526"/>
                  </a:lnTo>
                  <a:lnTo>
                    <a:pt x="225" y="522"/>
                  </a:lnTo>
                  <a:lnTo>
                    <a:pt x="216" y="516"/>
                  </a:lnTo>
                  <a:lnTo>
                    <a:pt x="207" y="511"/>
                  </a:lnTo>
                  <a:lnTo>
                    <a:pt x="198" y="505"/>
                  </a:lnTo>
                  <a:lnTo>
                    <a:pt x="191" y="499"/>
                  </a:lnTo>
                  <a:lnTo>
                    <a:pt x="183" y="492"/>
                  </a:lnTo>
                  <a:lnTo>
                    <a:pt x="177" y="486"/>
                  </a:lnTo>
                  <a:lnTo>
                    <a:pt x="169" y="477"/>
                  </a:lnTo>
                  <a:lnTo>
                    <a:pt x="163" y="470"/>
                  </a:lnTo>
                  <a:lnTo>
                    <a:pt x="157" y="462"/>
                  </a:lnTo>
                  <a:lnTo>
                    <a:pt x="152" y="453"/>
                  </a:lnTo>
                  <a:lnTo>
                    <a:pt x="147" y="443"/>
                  </a:lnTo>
                  <a:lnTo>
                    <a:pt x="142" y="434"/>
                  </a:lnTo>
                  <a:lnTo>
                    <a:pt x="138" y="425"/>
                  </a:lnTo>
                  <a:lnTo>
                    <a:pt x="134" y="415"/>
                  </a:lnTo>
                  <a:lnTo>
                    <a:pt x="127" y="393"/>
                  </a:lnTo>
                  <a:lnTo>
                    <a:pt x="123" y="371"/>
                  </a:lnTo>
                  <a:lnTo>
                    <a:pt x="120" y="347"/>
                  </a:lnTo>
                  <a:lnTo>
                    <a:pt x="119" y="322"/>
                  </a:lnTo>
                  <a:lnTo>
                    <a:pt x="119" y="309"/>
                  </a:lnTo>
                  <a:lnTo>
                    <a:pt x="120" y="295"/>
                  </a:lnTo>
                  <a:lnTo>
                    <a:pt x="122" y="282"/>
                  </a:lnTo>
                  <a:lnTo>
                    <a:pt x="123" y="270"/>
                  </a:lnTo>
                  <a:lnTo>
                    <a:pt x="125" y="257"/>
                  </a:lnTo>
                  <a:lnTo>
                    <a:pt x="128" y="246"/>
                  </a:lnTo>
                  <a:lnTo>
                    <a:pt x="131" y="235"/>
                  </a:lnTo>
                  <a:lnTo>
                    <a:pt x="136" y="223"/>
                  </a:lnTo>
                  <a:lnTo>
                    <a:pt x="140" y="213"/>
                  </a:lnTo>
                  <a:lnTo>
                    <a:pt x="145" y="203"/>
                  </a:lnTo>
                  <a:lnTo>
                    <a:pt x="149" y="193"/>
                  </a:lnTo>
                  <a:lnTo>
                    <a:pt x="155" y="184"/>
                  </a:lnTo>
                  <a:lnTo>
                    <a:pt x="160" y="176"/>
                  </a:lnTo>
                  <a:lnTo>
                    <a:pt x="167" y="168"/>
                  </a:lnTo>
                  <a:lnTo>
                    <a:pt x="174" y="159"/>
                  </a:lnTo>
                  <a:lnTo>
                    <a:pt x="181" y="152"/>
                  </a:lnTo>
                  <a:lnTo>
                    <a:pt x="188" y="145"/>
                  </a:lnTo>
                  <a:lnTo>
                    <a:pt x="196" y="139"/>
                  </a:lnTo>
                  <a:lnTo>
                    <a:pt x="204" y="133"/>
                  </a:lnTo>
                  <a:lnTo>
                    <a:pt x="213" y="127"/>
                  </a:lnTo>
                  <a:lnTo>
                    <a:pt x="221" y="121"/>
                  </a:lnTo>
                  <a:lnTo>
                    <a:pt x="230" y="117"/>
                  </a:lnTo>
                  <a:lnTo>
                    <a:pt x="239" y="112"/>
                  </a:lnTo>
                  <a:lnTo>
                    <a:pt x="250" y="109"/>
                  </a:lnTo>
                  <a:lnTo>
                    <a:pt x="270" y="102"/>
                  </a:lnTo>
                  <a:lnTo>
                    <a:pt x="291" y="98"/>
                  </a:lnTo>
                  <a:lnTo>
                    <a:pt x="313" y="95"/>
                  </a:lnTo>
                  <a:lnTo>
                    <a:pt x="337" y="94"/>
                  </a:lnTo>
                  <a:lnTo>
                    <a:pt x="355" y="95"/>
                  </a:lnTo>
                  <a:lnTo>
                    <a:pt x="373" y="96"/>
                  </a:lnTo>
                  <a:lnTo>
                    <a:pt x="389" y="98"/>
                  </a:lnTo>
                  <a:lnTo>
                    <a:pt x="405" y="101"/>
                  </a:lnTo>
                  <a:lnTo>
                    <a:pt x="420" y="105"/>
                  </a:lnTo>
                  <a:lnTo>
                    <a:pt x="434" y="109"/>
                  </a:lnTo>
                  <a:lnTo>
                    <a:pt x="446" y="113"/>
                  </a:lnTo>
                  <a:lnTo>
                    <a:pt x="457" y="118"/>
                  </a:lnTo>
                  <a:lnTo>
                    <a:pt x="482" y="28"/>
                  </a:lnTo>
                  <a:lnTo>
                    <a:pt x="473" y="24"/>
                  </a:lnTo>
                  <a:lnTo>
                    <a:pt x="459" y="19"/>
                  </a:lnTo>
                  <a:lnTo>
                    <a:pt x="444" y="13"/>
                  </a:lnTo>
                  <a:lnTo>
                    <a:pt x="426" y="9"/>
                  </a:lnTo>
                  <a:lnTo>
                    <a:pt x="406" y="6"/>
                  </a:lnTo>
                  <a:lnTo>
                    <a:pt x="383" y="3"/>
                  </a:lnTo>
                  <a:lnTo>
                    <a:pt x="359" y="1"/>
                  </a:lnTo>
                  <a:lnTo>
                    <a:pt x="332" y="0"/>
                  </a:lnTo>
                  <a:lnTo>
                    <a:pt x="314" y="1"/>
                  </a:lnTo>
                  <a:lnTo>
                    <a:pt x="297" y="2"/>
                  </a:lnTo>
                  <a:lnTo>
                    <a:pt x="280" y="4"/>
                  </a:lnTo>
                  <a:lnTo>
                    <a:pt x="263" y="6"/>
                  </a:lnTo>
                  <a:lnTo>
                    <a:pt x="247" y="9"/>
                  </a:lnTo>
                  <a:lnTo>
                    <a:pt x="231" y="13"/>
                  </a:lnTo>
                  <a:lnTo>
                    <a:pt x="216" y="17"/>
                  </a:lnTo>
                  <a:lnTo>
                    <a:pt x="200" y="23"/>
                  </a:lnTo>
                  <a:lnTo>
                    <a:pt x="185" y="29"/>
                  </a:lnTo>
                  <a:lnTo>
                    <a:pt x="172" y="35"/>
                  </a:lnTo>
                  <a:lnTo>
                    <a:pt x="157" y="42"/>
                  </a:lnTo>
                  <a:lnTo>
                    <a:pt x="144" y="50"/>
                  </a:lnTo>
                  <a:lnTo>
                    <a:pt x="130" y="59"/>
                  </a:lnTo>
                  <a:lnTo>
                    <a:pt x="118" y="68"/>
                  </a:lnTo>
                  <a:lnTo>
                    <a:pt x="107" y="77"/>
                  </a:lnTo>
                  <a:lnTo>
                    <a:pt x="94" y="87"/>
                  </a:lnTo>
                  <a:lnTo>
                    <a:pt x="84" y="99"/>
                  </a:lnTo>
                  <a:lnTo>
                    <a:pt x="74" y="110"/>
                  </a:lnTo>
                  <a:lnTo>
                    <a:pt x="65" y="122"/>
                  </a:lnTo>
                  <a:lnTo>
                    <a:pt x="55" y="135"/>
                  </a:lnTo>
                  <a:lnTo>
                    <a:pt x="47" y="148"/>
                  </a:lnTo>
                  <a:lnTo>
                    <a:pt x="39" y="162"/>
                  </a:lnTo>
                  <a:lnTo>
                    <a:pt x="32" y="176"/>
                  </a:lnTo>
                  <a:lnTo>
                    <a:pt x="26" y="190"/>
                  </a:lnTo>
                  <a:lnTo>
                    <a:pt x="19" y="206"/>
                  </a:lnTo>
                  <a:lnTo>
                    <a:pt x="14" y="222"/>
                  </a:lnTo>
                  <a:lnTo>
                    <a:pt x="10" y="239"/>
                  </a:lnTo>
                  <a:lnTo>
                    <a:pt x="6" y="255"/>
                  </a:lnTo>
                  <a:lnTo>
                    <a:pt x="4" y="273"/>
                  </a:lnTo>
                  <a:lnTo>
                    <a:pt x="2" y="290"/>
                  </a:lnTo>
                  <a:lnTo>
                    <a:pt x="1" y="309"/>
                  </a:lnTo>
                  <a:lnTo>
                    <a:pt x="0" y="328"/>
                  </a:lnTo>
                  <a:lnTo>
                    <a:pt x="1" y="346"/>
                  </a:lnTo>
                  <a:lnTo>
                    <a:pt x="2" y="362"/>
                  </a:lnTo>
                  <a:lnTo>
                    <a:pt x="3" y="380"/>
                  </a:lnTo>
                  <a:lnTo>
                    <a:pt x="6" y="395"/>
                  </a:lnTo>
                  <a:lnTo>
                    <a:pt x="9" y="412"/>
                  </a:lnTo>
                  <a:lnTo>
                    <a:pt x="12" y="427"/>
                  </a:lnTo>
                  <a:lnTo>
                    <a:pt x="16" y="441"/>
                  </a:lnTo>
                  <a:lnTo>
                    <a:pt x="22" y="457"/>
                  </a:lnTo>
                  <a:lnTo>
                    <a:pt x="28" y="470"/>
                  </a:lnTo>
                  <a:lnTo>
                    <a:pt x="34" y="484"/>
                  </a:lnTo>
                  <a:lnTo>
                    <a:pt x="41" y="497"/>
                  </a:lnTo>
                  <a:lnTo>
                    <a:pt x="48" y="509"/>
                  </a:lnTo>
                  <a:lnTo>
                    <a:pt x="56" y="522"/>
                  </a:lnTo>
                  <a:lnTo>
                    <a:pt x="66" y="534"/>
                  </a:lnTo>
                  <a:lnTo>
                    <a:pt x="75" y="544"/>
                  </a:lnTo>
                  <a:lnTo>
                    <a:pt x="84" y="555"/>
                  </a:lnTo>
                  <a:lnTo>
                    <a:pt x="95" y="565"/>
                  </a:lnTo>
                  <a:lnTo>
                    <a:pt x="106" y="574"/>
                  </a:lnTo>
                  <a:lnTo>
                    <a:pt x="118" y="583"/>
                  </a:lnTo>
                  <a:lnTo>
                    <a:pt x="130" y="592"/>
                  </a:lnTo>
                  <a:lnTo>
                    <a:pt x="143" y="599"/>
                  </a:lnTo>
                  <a:lnTo>
                    <a:pt x="156" y="606"/>
                  </a:lnTo>
                  <a:lnTo>
                    <a:pt x="169" y="612"/>
                  </a:lnTo>
                  <a:lnTo>
                    <a:pt x="184" y="618"/>
                  </a:lnTo>
                  <a:lnTo>
                    <a:pt x="199" y="623"/>
                  </a:lnTo>
                  <a:lnTo>
                    <a:pt x="215" y="628"/>
                  </a:lnTo>
                  <a:lnTo>
                    <a:pt x="230" y="632"/>
                  </a:lnTo>
                  <a:lnTo>
                    <a:pt x="247" y="635"/>
                  </a:lnTo>
                  <a:lnTo>
                    <a:pt x="263" y="637"/>
                  </a:lnTo>
                  <a:lnTo>
                    <a:pt x="280" y="639"/>
                  </a:lnTo>
                  <a:lnTo>
                    <a:pt x="298" y="640"/>
                  </a:lnTo>
                  <a:lnTo>
                    <a:pt x="316" y="641"/>
                  </a:lnTo>
                  <a:lnTo>
                    <a:pt x="344" y="640"/>
                  </a:lnTo>
                  <a:lnTo>
                    <a:pt x="370" y="638"/>
                  </a:lnTo>
                  <a:lnTo>
                    <a:pt x="393" y="635"/>
                  </a:lnTo>
                  <a:lnTo>
                    <a:pt x="415" y="632"/>
                  </a:lnTo>
                  <a:lnTo>
                    <a:pt x="435" y="628"/>
                  </a:lnTo>
                  <a:lnTo>
                    <a:pt x="451" y="622"/>
                  </a:lnTo>
                  <a:lnTo>
                    <a:pt x="465" y="617"/>
                  </a:lnTo>
                  <a:lnTo>
                    <a:pt x="478" y="612"/>
                  </a:lnTo>
                  <a:lnTo>
                    <a:pt x="458" y="523"/>
                  </a:lnTo>
                  <a:close/>
                </a:path>
              </a:pathLst>
            </a:custGeom>
            <a:solidFill>
              <a:srgbClr val="4473B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79" name="Freeform 11"/>
            <p:cNvSpPr>
              <a:spLocks noEditPoints="1"/>
            </p:cNvSpPr>
            <p:nvPr userDrawn="1"/>
          </p:nvSpPr>
          <p:spPr bwMode="auto">
            <a:xfrm>
              <a:off x="240" y="3745"/>
              <a:ext cx="311" cy="78"/>
            </a:xfrm>
            <a:custGeom>
              <a:avLst/>
              <a:gdLst/>
              <a:ahLst/>
              <a:cxnLst>
                <a:cxn ang="0">
                  <a:pos x="598" y="179"/>
                </a:cxn>
                <a:cxn ang="0">
                  <a:pos x="598" y="0"/>
                </a:cxn>
                <a:cxn ang="0">
                  <a:pos x="524" y="0"/>
                </a:cxn>
                <a:cxn ang="0">
                  <a:pos x="449" y="0"/>
                </a:cxn>
                <a:cxn ang="0">
                  <a:pos x="374" y="0"/>
                </a:cxn>
                <a:cxn ang="0">
                  <a:pos x="299" y="0"/>
                </a:cxn>
                <a:cxn ang="0">
                  <a:pos x="224" y="0"/>
                </a:cxn>
                <a:cxn ang="0">
                  <a:pos x="150" y="0"/>
                </a:cxn>
                <a:cxn ang="0">
                  <a:pos x="75" y="0"/>
                </a:cxn>
                <a:cxn ang="0">
                  <a:pos x="0" y="0"/>
                </a:cxn>
                <a:cxn ang="0">
                  <a:pos x="0" y="179"/>
                </a:cxn>
                <a:cxn ang="0">
                  <a:pos x="176" y="179"/>
                </a:cxn>
                <a:cxn ang="0">
                  <a:pos x="176" y="621"/>
                </a:cxn>
                <a:cxn ang="0">
                  <a:pos x="423" y="621"/>
                </a:cxn>
                <a:cxn ang="0">
                  <a:pos x="423" y="179"/>
                </a:cxn>
                <a:cxn ang="0">
                  <a:pos x="598" y="179"/>
                </a:cxn>
                <a:cxn ang="0">
                  <a:pos x="907" y="250"/>
                </a:cxn>
                <a:cxn ang="0">
                  <a:pos x="781" y="621"/>
                </a:cxn>
                <a:cxn ang="0">
                  <a:pos x="539" y="621"/>
                </a:cxn>
                <a:cxn ang="0">
                  <a:pos x="776" y="0"/>
                </a:cxn>
                <a:cxn ang="0">
                  <a:pos x="809" y="0"/>
                </a:cxn>
                <a:cxn ang="0">
                  <a:pos x="842" y="0"/>
                </a:cxn>
                <a:cxn ang="0">
                  <a:pos x="874" y="0"/>
                </a:cxn>
                <a:cxn ang="0">
                  <a:pos x="907" y="0"/>
                </a:cxn>
                <a:cxn ang="0">
                  <a:pos x="939" y="0"/>
                </a:cxn>
                <a:cxn ang="0">
                  <a:pos x="972" y="0"/>
                </a:cxn>
                <a:cxn ang="0">
                  <a:pos x="1005" y="0"/>
                </a:cxn>
                <a:cxn ang="0">
                  <a:pos x="1038" y="0"/>
                </a:cxn>
                <a:cxn ang="0">
                  <a:pos x="1275" y="621"/>
                </a:cxn>
                <a:cxn ang="0">
                  <a:pos x="1033" y="621"/>
                </a:cxn>
                <a:cxn ang="0">
                  <a:pos x="907" y="250"/>
                </a:cxn>
                <a:cxn ang="0">
                  <a:pos x="1814" y="179"/>
                </a:cxn>
                <a:cxn ang="0">
                  <a:pos x="1814" y="0"/>
                </a:cxn>
                <a:cxn ang="0">
                  <a:pos x="1740" y="0"/>
                </a:cxn>
                <a:cxn ang="0">
                  <a:pos x="1665" y="0"/>
                </a:cxn>
                <a:cxn ang="0">
                  <a:pos x="1590" y="0"/>
                </a:cxn>
                <a:cxn ang="0">
                  <a:pos x="1515" y="0"/>
                </a:cxn>
                <a:cxn ang="0">
                  <a:pos x="1440" y="0"/>
                </a:cxn>
                <a:cxn ang="0">
                  <a:pos x="1366" y="0"/>
                </a:cxn>
                <a:cxn ang="0">
                  <a:pos x="1291" y="0"/>
                </a:cxn>
                <a:cxn ang="0">
                  <a:pos x="1216" y="0"/>
                </a:cxn>
                <a:cxn ang="0">
                  <a:pos x="1216" y="179"/>
                </a:cxn>
                <a:cxn ang="0">
                  <a:pos x="1391" y="179"/>
                </a:cxn>
                <a:cxn ang="0">
                  <a:pos x="1391" y="621"/>
                </a:cxn>
                <a:cxn ang="0">
                  <a:pos x="1639" y="621"/>
                </a:cxn>
                <a:cxn ang="0">
                  <a:pos x="1639" y="179"/>
                </a:cxn>
                <a:cxn ang="0">
                  <a:pos x="1814" y="179"/>
                </a:cxn>
                <a:cxn ang="0">
                  <a:pos x="2123" y="250"/>
                </a:cxn>
                <a:cxn ang="0">
                  <a:pos x="1996" y="621"/>
                </a:cxn>
                <a:cxn ang="0">
                  <a:pos x="1754" y="621"/>
                </a:cxn>
                <a:cxn ang="0">
                  <a:pos x="1991" y="0"/>
                </a:cxn>
                <a:cxn ang="0">
                  <a:pos x="2024" y="0"/>
                </a:cxn>
                <a:cxn ang="0">
                  <a:pos x="2057" y="0"/>
                </a:cxn>
                <a:cxn ang="0">
                  <a:pos x="2090" y="0"/>
                </a:cxn>
                <a:cxn ang="0">
                  <a:pos x="2123" y="0"/>
                </a:cxn>
                <a:cxn ang="0">
                  <a:pos x="2155" y="0"/>
                </a:cxn>
                <a:cxn ang="0">
                  <a:pos x="2188" y="0"/>
                </a:cxn>
                <a:cxn ang="0">
                  <a:pos x="2220" y="0"/>
                </a:cxn>
                <a:cxn ang="0">
                  <a:pos x="2253" y="0"/>
                </a:cxn>
                <a:cxn ang="0">
                  <a:pos x="2491" y="621"/>
                </a:cxn>
                <a:cxn ang="0">
                  <a:pos x="2248" y="621"/>
                </a:cxn>
                <a:cxn ang="0">
                  <a:pos x="2123" y="250"/>
                </a:cxn>
              </a:cxnLst>
              <a:rect l="0" t="0" r="r" b="b"/>
              <a:pathLst>
                <a:path w="2491" h="621">
                  <a:moveTo>
                    <a:pt x="598" y="179"/>
                  </a:moveTo>
                  <a:lnTo>
                    <a:pt x="598" y="0"/>
                  </a:lnTo>
                  <a:lnTo>
                    <a:pt x="524" y="0"/>
                  </a:lnTo>
                  <a:lnTo>
                    <a:pt x="449" y="0"/>
                  </a:lnTo>
                  <a:lnTo>
                    <a:pt x="374" y="0"/>
                  </a:lnTo>
                  <a:lnTo>
                    <a:pt x="299" y="0"/>
                  </a:lnTo>
                  <a:lnTo>
                    <a:pt x="224" y="0"/>
                  </a:lnTo>
                  <a:lnTo>
                    <a:pt x="150" y="0"/>
                  </a:lnTo>
                  <a:lnTo>
                    <a:pt x="75" y="0"/>
                  </a:lnTo>
                  <a:lnTo>
                    <a:pt x="0" y="0"/>
                  </a:lnTo>
                  <a:lnTo>
                    <a:pt x="0" y="179"/>
                  </a:lnTo>
                  <a:lnTo>
                    <a:pt x="176" y="179"/>
                  </a:lnTo>
                  <a:lnTo>
                    <a:pt x="176" y="621"/>
                  </a:lnTo>
                  <a:lnTo>
                    <a:pt x="423" y="621"/>
                  </a:lnTo>
                  <a:lnTo>
                    <a:pt x="423" y="179"/>
                  </a:lnTo>
                  <a:lnTo>
                    <a:pt x="598" y="179"/>
                  </a:lnTo>
                  <a:close/>
                  <a:moveTo>
                    <a:pt x="907" y="250"/>
                  </a:moveTo>
                  <a:lnTo>
                    <a:pt x="781" y="621"/>
                  </a:lnTo>
                  <a:lnTo>
                    <a:pt x="539" y="621"/>
                  </a:lnTo>
                  <a:lnTo>
                    <a:pt x="776" y="0"/>
                  </a:lnTo>
                  <a:lnTo>
                    <a:pt x="809" y="0"/>
                  </a:lnTo>
                  <a:lnTo>
                    <a:pt x="842" y="0"/>
                  </a:lnTo>
                  <a:lnTo>
                    <a:pt x="874" y="0"/>
                  </a:lnTo>
                  <a:lnTo>
                    <a:pt x="907" y="0"/>
                  </a:lnTo>
                  <a:lnTo>
                    <a:pt x="939" y="0"/>
                  </a:lnTo>
                  <a:lnTo>
                    <a:pt x="972" y="0"/>
                  </a:lnTo>
                  <a:lnTo>
                    <a:pt x="1005" y="0"/>
                  </a:lnTo>
                  <a:lnTo>
                    <a:pt x="1038" y="0"/>
                  </a:lnTo>
                  <a:lnTo>
                    <a:pt x="1275" y="621"/>
                  </a:lnTo>
                  <a:lnTo>
                    <a:pt x="1033" y="621"/>
                  </a:lnTo>
                  <a:lnTo>
                    <a:pt x="907" y="250"/>
                  </a:lnTo>
                  <a:close/>
                  <a:moveTo>
                    <a:pt x="1814" y="179"/>
                  </a:moveTo>
                  <a:lnTo>
                    <a:pt x="1814" y="0"/>
                  </a:lnTo>
                  <a:lnTo>
                    <a:pt x="1740" y="0"/>
                  </a:lnTo>
                  <a:lnTo>
                    <a:pt x="1665" y="0"/>
                  </a:lnTo>
                  <a:lnTo>
                    <a:pt x="1590" y="0"/>
                  </a:lnTo>
                  <a:lnTo>
                    <a:pt x="1515" y="0"/>
                  </a:lnTo>
                  <a:lnTo>
                    <a:pt x="1440" y="0"/>
                  </a:lnTo>
                  <a:lnTo>
                    <a:pt x="1366" y="0"/>
                  </a:lnTo>
                  <a:lnTo>
                    <a:pt x="1291" y="0"/>
                  </a:lnTo>
                  <a:lnTo>
                    <a:pt x="1216" y="0"/>
                  </a:lnTo>
                  <a:lnTo>
                    <a:pt x="1216" y="179"/>
                  </a:lnTo>
                  <a:lnTo>
                    <a:pt x="1391" y="179"/>
                  </a:lnTo>
                  <a:lnTo>
                    <a:pt x="1391" y="621"/>
                  </a:lnTo>
                  <a:lnTo>
                    <a:pt x="1639" y="621"/>
                  </a:lnTo>
                  <a:lnTo>
                    <a:pt x="1639" y="179"/>
                  </a:lnTo>
                  <a:lnTo>
                    <a:pt x="1814" y="179"/>
                  </a:lnTo>
                  <a:close/>
                  <a:moveTo>
                    <a:pt x="2123" y="250"/>
                  </a:moveTo>
                  <a:lnTo>
                    <a:pt x="1996" y="621"/>
                  </a:lnTo>
                  <a:lnTo>
                    <a:pt x="1754" y="621"/>
                  </a:lnTo>
                  <a:lnTo>
                    <a:pt x="1991" y="0"/>
                  </a:lnTo>
                  <a:lnTo>
                    <a:pt x="2024" y="0"/>
                  </a:lnTo>
                  <a:lnTo>
                    <a:pt x="2057" y="0"/>
                  </a:lnTo>
                  <a:lnTo>
                    <a:pt x="2090" y="0"/>
                  </a:lnTo>
                  <a:lnTo>
                    <a:pt x="2123" y="0"/>
                  </a:lnTo>
                  <a:lnTo>
                    <a:pt x="2155" y="0"/>
                  </a:lnTo>
                  <a:lnTo>
                    <a:pt x="2188" y="0"/>
                  </a:lnTo>
                  <a:lnTo>
                    <a:pt x="2220" y="0"/>
                  </a:lnTo>
                  <a:lnTo>
                    <a:pt x="2253" y="0"/>
                  </a:lnTo>
                  <a:lnTo>
                    <a:pt x="2491" y="621"/>
                  </a:lnTo>
                  <a:lnTo>
                    <a:pt x="2248" y="621"/>
                  </a:lnTo>
                  <a:lnTo>
                    <a:pt x="2123" y="250"/>
                  </a:lnTo>
                  <a:close/>
                </a:path>
              </a:pathLst>
            </a:custGeom>
            <a:solidFill>
              <a:srgbClr val="4473B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80" name="Freeform 12"/>
            <p:cNvSpPr>
              <a:spLocks noEditPoints="1"/>
            </p:cNvSpPr>
            <p:nvPr userDrawn="1"/>
          </p:nvSpPr>
          <p:spPr bwMode="auto">
            <a:xfrm>
              <a:off x="1301" y="3876"/>
              <a:ext cx="994" cy="105"/>
            </a:xfrm>
            <a:custGeom>
              <a:avLst/>
              <a:gdLst/>
              <a:ahLst/>
              <a:cxnLst>
                <a:cxn ang="0">
                  <a:pos x="805" y="637"/>
                </a:cxn>
                <a:cxn ang="0">
                  <a:pos x="996" y="219"/>
                </a:cxn>
                <a:cxn ang="0">
                  <a:pos x="1304" y="357"/>
                </a:cxn>
                <a:cxn ang="0">
                  <a:pos x="1069" y="644"/>
                </a:cxn>
                <a:cxn ang="0">
                  <a:pos x="1040" y="573"/>
                </a:cxn>
                <a:cxn ang="0">
                  <a:pos x="1182" y="280"/>
                </a:cxn>
                <a:cxn ang="0">
                  <a:pos x="1457" y="426"/>
                </a:cxn>
                <a:cxn ang="0">
                  <a:pos x="1680" y="639"/>
                </a:cxn>
                <a:cxn ang="0">
                  <a:pos x="1384" y="480"/>
                </a:cxn>
                <a:cxn ang="0">
                  <a:pos x="1565" y="178"/>
                </a:cxn>
                <a:cxn ang="0">
                  <a:pos x="1772" y="419"/>
                </a:cxn>
                <a:cxn ang="0">
                  <a:pos x="1479" y="300"/>
                </a:cxn>
                <a:cxn ang="0">
                  <a:pos x="2054" y="179"/>
                </a:cxn>
                <a:cxn ang="0">
                  <a:pos x="2260" y="188"/>
                </a:cxn>
                <a:cxn ang="0">
                  <a:pos x="2257" y="15"/>
                </a:cxn>
                <a:cxn ang="0">
                  <a:pos x="2523" y="568"/>
                </a:cxn>
                <a:cxn ang="0">
                  <a:pos x="2483" y="627"/>
                </a:cxn>
                <a:cxn ang="0">
                  <a:pos x="2395" y="282"/>
                </a:cxn>
                <a:cxn ang="0">
                  <a:pos x="2669" y="201"/>
                </a:cxn>
                <a:cxn ang="0">
                  <a:pos x="2657" y="282"/>
                </a:cxn>
                <a:cxn ang="0">
                  <a:pos x="2858" y="220"/>
                </a:cxn>
                <a:cxn ang="0">
                  <a:pos x="3192" y="222"/>
                </a:cxn>
                <a:cxn ang="0">
                  <a:pos x="3092" y="249"/>
                </a:cxn>
                <a:cxn ang="0">
                  <a:pos x="3666" y="632"/>
                </a:cxn>
                <a:cxn ang="0">
                  <a:pos x="3354" y="500"/>
                </a:cxn>
                <a:cxn ang="0">
                  <a:pos x="3484" y="195"/>
                </a:cxn>
                <a:cxn ang="0">
                  <a:pos x="3516" y="256"/>
                </a:cxn>
                <a:cxn ang="0">
                  <a:pos x="3592" y="581"/>
                </a:cxn>
                <a:cxn ang="0">
                  <a:pos x="4055" y="577"/>
                </a:cxn>
                <a:cxn ang="0">
                  <a:pos x="3803" y="567"/>
                </a:cxn>
                <a:cxn ang="0">
                  <a:pos x="3854" y="210"/>
                </a:cxn>
                <a:cxn ang="0">
                  <a:pos x="4132" y="281"/>
                </a:cxn>
                <a:cxn ang="0">
                  <a:pos x="3947" y="237"/>
                </a:cxn>
                <a:cxn ang="0">
                  <a:pos x="4571" y="638"/>
                </a:cxn>
                <a:cxn ang="0">
                  <a:pos x="4425" y="355"/>
                </a:cxn>
                <a:cxn ang="0">
                  <a:pos x="4692" y="179"/>
                </a:cxn>
                <a:cxn ang="0">
                  <a:pos x="4503" y="378"/>
                </a:cxn>
                <a:cxn ang="0">
                  <a:pos x="4914" y="445"/>
                </a:cxn>
                <a:cxn ang="0">
                  <a:pos x="5116" y="642"/>
                </a:cxn>
                <a:cxn ang="0">
                  <a:pos x="4837" y="469"/>
                </a:cxn>
                <a:cxn ang="0">
                  <a:pos x="5032" y="177"/>
                </a:cxn>
                <a:cxn ang="0">
                  <a:pos x="5225" y="427"/>
                </a:cxn>
                <a:cxn ang="0">
                  <a:pos x="4929" y="310"/>
                </a:cxn>
                <a:cxn ang="0">
                  <a:pos x="5520" y="177"/>
                </a:cxn>
                <a:cxn ang="0">
                  <a:pos x="5849" y="249"/>
                </a:cxn>
                <a:cxn ang="0">
                  <a:pos x="5745" y="644"/>
                </a:cxn>
                <a:cxn ang="0">
                  <a:pos x="6173" y="588"/>
                </a:cxn>
                <a:cxn ang="0">
                  <a:pos x="5907" y="543"/>
                </a:cxn>
                <a:cxn ang="0">
                  <a:pos x="6173" y="317"/>
                </a:cxn>
                <a:cxn ang="0">
                  <a:pos x="6044" y="179"/>
                </a:cxn>
                <a:cxn ang="0">
                  <a:pos x="6022" y="438"/>
                </a:cxn>
                <a:cxn ang="0">
                  <a:pos x="6118" y="573"/>
                </a:cxn>
                <a:cxn ang="0">
                  <a:pos x="6379" y="72"/>
                </a:cxn>
                <a:cxn ang="0">
                  <a:pos x="6454" y="99"/>
                </a:cxn>
                <a:cxn ang="0">
                  <a:pos x="6815" y="177"/>
                </a:cxn>
                <a:cxn ang="0">
                  <a:pos x="6901" y="333"/>
                </a:cxn>
                <a:cxn ang="0">
                  <a:pos x="6691" y="329"/>
                </a:cxn>
                <a:cxn ang="0">
                  <a:pos x="7278" y="580"/>
                </a:cxn>
                <a:cxn ang="0">
                  <a:pos x="7137" y="188"/>
                </a:cxn>
                <a:cxn ang="0">
                  <a:pos x="7541" y="759"/>
                </a:cxn>
                <a:cxn ang="0">
                  <a:pos x="7366" y="188"/>
                </a:cxn>
                <a:cxn ang="0">
                  <a:pos x="7881" y="532"/>
                </a:cxn>
                <a:cxn ang="0">
                  <a:pos x="7920" y="642"/>
                </a:cxn>
              </a:cxnLst>
              <a:rect l="0" t="0" r="r" b="b"/>
              <a:pathLst>
                <a:path w="7953" h="842">
                  <a:moveTo>
                    <a:pt x="324" y="277"/>
                  </a:moveTo>
                  <a:lnTo>
                    <a:pt x="324" y="344"/>
                  </a:lnTo>
                  <a:lnTo>
                    <a:pt x="81" y="344"/>
                  </a:lnTo>
                  <a:lnTo>
                    <a:pt x="81" y="569"/>
                  </a:lnTo>
                  <a:lnTo>
                    <a:pt x="352" y="569"/>
                  </a:lnTo>
                  <a:lnTo>
                    <a:pt x="352" y="637"/>
                  </a:lnTo>
                  <a:lnTo>
                    <a:pt x="0" y="637"/>
                  </a:lnTo>
                  <a:lnTo>
                    <a:pt x="0" y="11"/>
                  </a:lnTo>
                  <a:lnTo>
                    <a:pt x="338" y="11"/>
                  </a:lnTo>
                  <a:lnTo>
                    <a:pt x="338" y="79"/>
                  </a:lnTo>
                  <a:lnTo>
                    <a:pt x="81" y="79"/>
                  </a:lnTo>
                  <a:lnTo>
                    <a:pt x="81" y="277"/>
                  </a:lnTo>
                  <a:lnTo>
                    <a:pt x="324" y="277"/>
                  </a:lnTo>
                  <a:close/>
                  <a:moveTo>
                    <a:pt x="401" y="188"/>
                  </a:moveTo>
                  <a:lnTo>
                    <a:pt x="492" y="188"/>
                  </a:lnTo>
                  <a:lnTo>
                    <a:pt x="556" y="284"/>
                  </a:lnTo>
                  <a:lnTo>
                    <a:pt x="566" y="300"/>
                  </a:lnTo>
                  <a:lnTo>
                    <a:pt x="578" y="317"/>
                  </a:lnTo>
                  <a:lnTo>
                    <a:pt x="589" y="337"/>
                  </a:lnTo>
                  <a:lnTo>
                    <a:pt x="601" y="357"/>
                  </a:lnTo>
                  <a:lnTo>
                    <a:pt x="604" y="357"/>
                  </a:lnTo>
                  <a:lnTo>
                    <a:pt x="614" y="340"/>
                  </a:lnTo>
                  <a:lnTo>
                    <a:pt x="625" y="321"/>
                  </a:lnTo>
                  <a:lnTo>
                    <a:pt x="636" y="303"/>
                  </a:lnTo>
                  <a:lnTo>
                    <a:pt x="649" y="283"/>
                  </a:lnTo>
                  <a:lnTo>
                    <a:pt x="712" y="188"/>
                  </a:lnTo>
                  <a:lnTo>
                    <a:pt x="800" y="188"/>
                  </a:lnTo>
                  <a:lnTo>
                    <a:pt x="646" y="405"/>
                  </a:lnTo>
                  <a:lnTo>
                    <a:pt x="805" y="637"/>
                  </a:lnTo>
                  <a:lnTo>
                    <a:pt x="712" y="637"/>
                  </a:lnTo>
                  <a:lnTo>
                    <a:pt x="646" y="535"/>
                  </a:lnTo>
                  <a:lnTo>
                    <a:pt x="635" y="520"/>
                  </a:lnTo>
                  <a:lnTo>
                    <a:pt x="624" y="501"/>
                  </a:lnTo>
                  <a:lnTo>
                    <a:pt x="612" y="481"/>
                  </a:lnTo>
                  <a:lnTo>
                    <a:pt x="598" y="457"/>
                  </a:lnTo>
                  <a:lnTo>
                    <a:pt x="596" y="457"/>
                  </a:lnTo>
                  <a:lnTo>
                    <a:pt x="588" y="472"/>
                  </a:lnTo>
                  <a:lnTo>
                    <a:pt x="578" y="490"/>
                  </a:lnTo>
                  <a:lnTo>
                    <a:pt x="564" y="511"/>
                  </a:lnTo>
                  <a:lnTo>
                    <a:pt x="549" y="535"/>
                  </a:lnTo>
                  <a:lnTo>
                    <a:pt x="484" y="637"/>
                  </a:lnTo>
                  <a:lnTo>
                    <a:pt x="394" y="637"/>
                  </a:lnTo>
                  <a:lnTo>
                    <a:pt x="553" y="408"/>
                  </a:lnTo>
                  <a:lnTo>
                    <a:pt x="401" y="188"/>
                  </a:lnTo>
                  <a:close/>
                  <a:moveTo>
                    <a:pt x="883" y="820"/>
                  </a:moveTo>
                  <a:lnTo>
                    <a:pt x="883" y="334"/>
                  </a:lnTo>
                  <a:lnTo>
                    <a:pt x="883" y="298"/>
                  </a:lnTo>
                  <a:lnTo>
                    <a:pt x="882" y="261"/>
                  </a:lnTo>
                  <a:lnTo>
                    <a:pt x="881" y="224"/>
                  </a:lnTo>
                  <a:lnTo>
                    <a:pt x="880" y="188"/>
                  </a:lnTo>
                  <a:lnTo>
                    <a:pt x="953" y="188"/>
                  </a:lnTo>
                  <a:lnTo>
                    <a:pt x="957" y="265"/>
                  </a:lnTo>
                  <a:lnTo>
                    <a:pt x="958" y="265"/>
                  </a:lnTo>
                  <a:lnTo>
                    <a:pt x="965" y="255"/>
                  </a:lnTo>
                  <a:lnTo>
                    <a:pt x="972" y="244"/>
                  </a:lnTo>
                  <a:lnTo>
                    <a:pt x="979" y="235"/>
                  </a:lnTo>
                  <a:lnTo>
                    <a:pt x="988" y="227"/>
                  </a:lnTo>
                  <a:lnTo>
                    <a:pt x="996" y="219"/>
                  </a:lnTo>
                  <a:lnTo>
                    <a:pt x="1005" y="211"/>
                  </a:lnTo>
                  <a:lnTo>
                    <a:pt x="1014" y="205"/>
                  </a:lnTo>
                  <a:lnTo>
                    <a:pt x="1024" y="199"/>
                  </a:lnTo>
                  <a:lnTo>
                    <a:pt x="1034" y="194"/>
                  </a:lnTo>
                  <a:lnTo>
                    <a:pt x="1045" y="190"/>
                  </a:lnTo>
                  <a:lnTo>
                    <a:pt x="1055" y="186"/>
                  </a:lnTo>
                  <a:lnTo>
                    <a:pt x="1068" y="183"/>
                  </a:lnTo>
                  <a:lnTo>
                    <a:pt x="1079" y="181"/>
                  </a:lnTo>
                  <a:lnTo>
                    <a:pt x="1091" y="178"/>
                  </a:lnTo>
                  <a:lnTo>
                    <a:pt x="1105" y="177"/>
                  </a:lnTo>
                  <a:lnTo>
                    <a:pt x="1118" y="177"/>
                  </a:lnTo>
                  <a:lnTo>
                    <a:pt x="1138" y="178"/>
                  </a:lnTo>
                  <a:lnTo>
                    <a:pt x="1157" y="182"/>
                  </a:lnTo>
                  <a:lnTo>
                    <a:pt x="1166" y="184"/>
                  </a:lnTo>
                  <a:lnTo>
                    <a:pt x="1176" y="187"/>
                  </a:lnTo>
                  <a:lnTo>
                    <a:pt x="1185" y="190"/>
                  </a:lnTo>
                  <a:lnTo>
                    <a:pt x="1193" y="193"/>
                  </a:lnTo>
                  <a:lnTo>
                    <a:pt x="1201" y="198"/>
                  </a:lnTo>
                  <a:lnTo>
                    <a:pt x="1210" y="202"/>
                  </a:lnTo>
                  <a:lnTo>
                    <a:pt x="1218" y="207"/>
                  </a:lnTo>
                  <a:lnTo>
                    <a:pt x="1225" y="213"/>
                  </a:lnTo>
                  <a:lnTo>
                    <a:pt x="1240" y="226"/>
                  </a:lnTo>
                  <a:lnTo>
                    <a:pt x="1254" y="241"/>
                  </a:lnTo>
                  <a:lnTo>
                    <a:pt x="1266" y="258"/>
                  </a:lnTo>
                  <a:lnTo>
                    <a:pt x="1277" y="275"/>
                  </a:lnTo>
                  <a:lnTo>
                    <a:pt x="1287" y="294"/>
                  </a:lnTo>
                  <a:lnTo>
                    <a:pt x="1294" y="314"/>
                  </a:lnTo>
                  <a:lnTo>
                    <a:pt x="1300" y="335"/>
                  </a:lnTo>
                  <a:lnTo>
                    <a:pt x="1304" y="357"/>
                  </a:lnTo>
                  <a:lnTo>
                    <a:pt x="1307" y="381"/>
                  </a:lnTo>
                  <a:lnTo>
                    <a:pt x="1308" y="406"/>
                  </a:lnTo>
                  <a:lnTo>
                    <a:pt x="1307" y="434"/>
                  </a:lnTo>
                  <a:lnTo>
                    <a:pt x="1304" y="460"/>
                  </a:lnTo>
                  <a:lnTo>
                    <a:pt x="1302" y="473"/>
                  </a:lnTo>
                  <a:lnTo>
                    <a:pt x="1299" y="485"/>
                  </a:lnTo>
                  <a:lnTo>
                    <a:pt x="1296" y="497"/>
                  </a:lnTo>
                  <a:lnTo>
                    <a:pt x="1292" y="509"/>
                  </a:lnTo>
                  <a:lnTo>
                    <a:pt x="1288" y="520"/>
                  </a:lnTo>
                  <a:lnTo>
                    <a:pt x="1283" y="530"/>
                  </a:lnTo>
                  <a:lnTo>
                    <a:pt x="1278" y="541"/>
                  </a:lnTo>
                  <a:lnTo>
                    <a:pt x="1272" y="551"/>
                  </a:lnTo>
                  <a:lnTo>
                    <a:pt x="1266" y="560"/>
                  </a:lnTo>
                  <a:lnTo>
                    <a:pt x="1260" y="569"/>
                  </a:lnTo>
                  <a:lnTo>
                    <a:pt x="1253" y="579"/>
                  </a:lnTo>
                  <a:lnTo>
                    <a:pt x="1245" y="587"/>
                  </a:lnTo>
                  <a:lnTo>
                    <a:pt x="1231" y="601"/>
                  </a:lnTo>
                  <a:lnTo>
                    <a:pt x="1215" y="614"/>
                  </a:lnTo>
                  <a:lnTo>
                    <a:pt x="1207" y="619"/>
                  </a:lnTo>
                  <a:lnTo>
                    <a:pt x="1198" y="624"/>
                  </a:lnTo>
                  <a:lnTo>
                    <a:pt x="1190" y="628"/>
                  </a:lnTo>
                  <a:lnTo>
                    <a:pt x="1181" y="632"/>
                  </a:lnTo>
                  <a:lnTo>
                    <a:pt x="1163" y="638"/>
                  </a:lnTo>
                  <a:lnTo>
                    <a:pt x="1144" y="643"/>
                  </a:lnTo>
                  <a:lnTo>
                    <a:pt x="1123" y="647"/>
                  </a:lnTo>
                  <a:lnTo>
                    <a:pt x="1103" y="648"/>
                  </a:lnTo>
                  <a:lnTo>
                    <a:pt x="1091" y="647"/>
                  </a:lnTo>
                  <a:lnTo>
                    <a:pt x="1079" y="646"/>
                  </a:lnTo>
                  <a:lnTo>
                    <a:pt x="1069" y="644"/>
                  </a:lnTo>
                  <a:lnTo>
                    <a:pt x="1058" y="642"/>
                  </a:lnTo>
                  <a:lnTo>
                    <a:pt x="1048" y="640"/>
                  </a:lnTo>
                  <a:lnTo>
                    <a:pt x="1038" y="637"/>
                  </a:lnTo>
                  <a:lnTo>
                    <a:pt x="1029" y="633"/>
                  </a:lnTo>
                  <a:lnTo>
                    <a:pt x="1019" y="629"/>
                  </a:lnTo>
                  <a:lnTo>
                    <a:pt x="1011" y="625"/>
                  </a:lnTo>
                  <a:lnTo>
                    <a:pt x="1003" y="620"/>
                  </a:lnTo>
                  <a:lnTo>
                    <a:pt x="996" y="614"/>
                  </a:lnTo>
                  <a:lnTo>
                    <a:pt x="989" y="607"/>
                  </a:lnTo>
                  <a:lnTo>
                    <a:pt x="981" y="600"/>
                  </a:lnTo>
                  <a:lnTo>
                    <a:pt x="975" y="593"/>
                  </a:lnTo>
                  <a:lnTo>
                    <a:pt x="969" y="585"/>
                  </a:lnTo>
                  <a:lnTo>
                    <a:pt x="964" y="577"/>
                  </a:lnTo>
                  <a:lnTo>
                    <a:pt x="964" y="820"/>
                  </a:lnTo>
                  <a:lnTo>
                    <a:pt x="883" y="820"/>
                  </a:lnTo>
                  <a:close/>
                  <a:moveTo>
                    <a:pt x="964" y="377"/>
                  </a:moveTo>
                  <a:lnTo>
                    <a:pt x="964" y="454"/>
                  </a:lnTo>
                  <a:lnTo>
                    <a:pt x="964" y="468"/>
                  </a:lnTo>
                  <a:lnTo>
                    <a:pt x="966" y="480"/>
                  </a:lnTo>
                  <a:lnTo>
                    <a:pt x="969" y="492"/>
                  </a:lnTo>
                  <a:lnTo>
                    <a:pt x="972" y="504"/>
                  </a:lnTo>
                  <a:lnTo>
                    <a:pt x="977" y="515"/>
                  </a:lnTo>
                  <a:lnTo>
                    <a:pt x="983" y="525"/>
                  </a:lnTo>
                  <a:lnTo>
                    <a:pt x="991" y="535"/>
                  </a:lnTo>
                  <a:lnTo>
                    <a:pt x="1000" y="546"/>
                  </a:lnTo>
                  <a:lnTo>
                    <a:pt x="1009" y="554"/>
                  </a:lnTo>
                  <a:lnTo>
                    <a:pt x="1018" y="562"/>
                  </a:lnTo>
                  <a:lnTo>
                    <a:pt x="1029" y="568"/>
                  </a:lnTo>
                  <a:lnTo>
                    <a:pt x="1040" y="573"/>
                  </a:lnTo>
                  <a:lnTo>
                    <a:pt x="1051" y="578"/>
                  </a:lnTo>
                  <a:lnTo>
                    <a:pt x="1064" y="581"/>
                  </a:lnTo>
                  <a:lnTo>
                    <a:pt x="1077" y="583"/>
                  </a:lnTo>
                  <a:lnTo>
                    <a:pt x="1090" y="583"/>
                  </a:lnTo>
                  <a:lnTo>
                    <a:pt x="1106" y="583"/>
                  </a:lnTo>
                  <a:lnTo>
                    <a:pt x="1120" y="580"/>
                  </a:lnTo>
                  <a:lnTo>
                    <a:pt x="1133" y="577"/>
                  </a:lnTo>
                  <a:lnTo>
                    <a:pt x="1147" y="571"/>
                  </a:lnTo>
                  <a:lnTo>
                    <a:pt x="1159" y="564"/>
                  </a:lnTo>
                  <a:lnTo>
                    <a:pt x="1170" y="556"/>
                  </a:lnTo>
                  <a:lnTo>
                    <a:pt x="1181" y="547"/>
                  </a:lnTo>
                  <a:lnTo>
                    <a:pt x="1190" y="535"/>
                  </a:lnTo>
                  <a:lnTo>
                    <a:pt x="1198" y="523"/>
                  </a:lnTo>
                  <a:lnTo>
                    <a:pt x="1205" y="510"/>
                  </a:lnTo>
                  <a:lnTo>
                    <a:pt x="1212" y="495"/>
                  </a:lnTo>
                  <a:lnTo>
                    <a:pt x="1217" y="480"/>
                  </a:lnTo>
                  <a:lnTo>
                    <a:pt x="1221" y="463"/>
                  </a:lnTo>
                  <a:lnTo>
                    <a:pt x="1224" y="447"/>
                  </a:lnTo>
                  <a:lnTo>
                    <a:pt x="1226" y="428"/>
                  </a:lnTo>
                  <a:lnTo>
                    <a:pt x="1226" y="410"/>
                  </a:lnTo>
                  <a:lnTo>
                    <a:pt x="1226" y="392"/>
                  </a:lnTo>
                  <a:lnTo>
                    <a:pt x="1224" y="376"/>
                  </a:lnTo>
                  <a:lnTo>
                    <a:pt x="1221" y="360"/>
                  </a:lnTo>
                  <a:lnTo>
                    <a:pt x="1218" y="345"/>
                  </a:lnTo>
                  <a:lnTo>
                    <a:pt x="1213" y="331"/>
                  </a:lnTo>
                  <a:lnTo>
                    <a:pt x="1206" y="317"/>
                  </a:lnTo>
                  <a:lnTo>
                    <a:pt x="1200" y="305"/>
                  </a:lnTo>
                  <a:lnTo>
                    <a:pt x="1192" y="293"/>
                  </a:lnTo>
                  <a:lnTo>
                    <a:pt x="1182" y="280"/>
                  </a:lnTo>
                  <a:lnTo>
                    <a:pt x="1172" y="271"/>
                  </a:lnTo>
                  <a:lnTo>
                    <a:pt x="1160" y="262"/>
                  </a:lnTo>
                  <a:lnTo>
                    <a:pt x="1149" y="255"/>
                  </a:lnTo>
                  <a:lnTo>
                    <a:pt x="1136" y="249"/>
                  </a:lnTo>
                  <a:lnTo>
                    <a:pt x="1122" y="245"/>
                  </a:lnTo>
                  <a:lnTo>
                    <a:pt x="1108" y="243"/>
                  </a:lnTo>
                  <a:lnTo>
                    <a:pt x="1092" y="242"/>
                  </a:lnTo>
                  <a:lnTo>
                    <a:pt x="1082" y="243"/>
                  </a:lnTo>
                  <a:lnTo>
                    <a:pt x="1072" y="244"/>
                  </a:lnTo>
                  <a:lnTo>
                    <a:pt x="1062" y="246"/>
                  </a:lnTo>
                  <a:lnTo>
                    <a:pt x="1052" y="249"/>
                  </a:lnTo>
                  <a:lnTo>
                    <a:pt x="1042" y="254"/>
                  </a:lnTo>
                  <a:lnTo>
                    <a:pt x="1033" y="258"/>
                  </a:lnTo>
                  <a:lnTo>
                    <a:pt x="1024" y="264"/>
                  </a:lnTo>
                  <a:lnTo>
                    <a:pt x="1015" y="270"/>
                  </a:lnTo>
                  <a:lnTo>
                    <a:pt x="1007" y="277"/>
                  </a:lnTo>
                  <a:lnTo>
                    <a:pt x="999" y="285"/>
                  </a:lnTo>
                  <a:lnTo>
                    <a:pt x="993" y="294"/>
                  </a:lnTo>
                  <a:lnTo>
                    <a:pt x="987" y="303"/>
                  </a:lnTo>
                  <a:lnTo>
                    <a:pt x="981" y="312"/>
                  </a:lnTo>
                  <a:lnTo>
                    <a:pt x="976" y="321"/>
                  </a:lnTo>
                  <a:lnTo>
                    <a:pt x="972" y="333"/>
                  </a:lnTo>
                  <a:lnTo>
                    <a:pt x="969" y="344"/>
                  </a:lnTo>
                  <a:lnTo>
                    <a:pt x="967" y="353"/>
                  </a:lnTo>
                  <a:lnTo>
                    <a:pt x="965" y="363"/>
                  </a:lnTo>
                  <a:lnTo>
                    <a:pt x="964" y="370"/>
                  </a:lnTo>
                  <a:lnTo>
                    <a:pt x="964" y="377"/>
                  </a:lnTo>
                  <a:close/>
                  <a:moveTo>
                    <a:pt x="1771" y="427"/>
                  </a:moveTo>
                  <a:lnTo>
                    <a:pt x="1457" y="426"/>
                  </a:lnTo>
                  <a:lnTo>
                    <a:pt x="1458" y="445"/>
                  </a:lnTo>
                  <a:lnTo>
                    <a:pt x="1460" y="463"/>
                  </a:lnTo>
                  <a:lnTo>
                    <a:pt x="1464" y="480"/>
                  </a:lnTo>
                  <a:lnTo>
                    <a:pt x="1469" y="495"/>
                  </a:lnTo>
                  <a:lnTo>
                    <a:pt x="1477" y="510"/>
                  </a:lnTo>
                  <a:lnTo>
                    <a:pt x="1484" y="523"/>
                  </a:lnTo>
                  <a:lnTo>
                    <a:pt x="1493" y="535"/>
                  </a:lnTo>
                  <a:lnTo>
                    <a:pt x="1504" y="546"/>
                  </a:lnTo>
                  <a:lnTo>
                    <a:pt x="1515" y="554"/>
                  </a:lnTo>
                  <a:lnTo>
                    <a:pt x="1526" y="562"/>
                  </a:lnTo>
                  <a:lnTo>
                    <a:pt x="1537" y="568"/>
                  </a:lnTo>
                  <a:lnTo>
                    <a:pt x="1551" y="573"/>
                  </a:lnTo>
                  <a:lnTo>
                    <a:pt x="1564" y="577"/>
                  </a:lnTo>
                  <a:lnTo>
                    <a:pt x="1578" y="580"/>
                  </a:lnTo>
                  <a:lnTo>
                    <a:pt x="1594" y="582"/>
                  </a:lnTo>
                  <a:lnTo>
                    <a:pt x="1610" y="582"/>
                  </a:lnTo>
                  <a:lnTo>
                    <a:pt x="1628" y="582"/>
                  </a:lnTo>
                  <a:lnTo>
                    <a:pt x="1644" y="581"/>
                  </a:lnTo>
                  <a:lnTo>
                    <a:pt x="1660" y="579"/>
                  </a:lnTo>
                  <a:lnTo>
                    <a:pt x="1676" y="577"/>
                  </a:lnTo>
                  <a:lnTo>
                    <a:pt x="1690" y="573"/>
                  </a:lnTo>
                  <a:lnTo>
                    <a:pt x="1706" y="569"/>
                  </a:lnTo>
                  <a:lnTo>
                    <a:pt x="1720" y="564"/>
                  </a:lnTo>
                  <a:lnTo>
                    <a:pt x="1735" y="559"/>
                  </a:lnTo>
                  <a:lnTo>
                    <a:pt x="1748" y="618"/>
                  </a:lnTo>
                  <a:lnTo>
                    <a:pt x="1733" y="624"/>
                  </a:lnTo>
                  <a:lnTo>
                    <a:pt x="1715" y="630"/>
                  </a:lnTo>
                  <a:lnTo>
                    <a:pt x="1698" y="635"/>
                  </a:lnTo>
                  <a:lnTo>
                    <a:pt x="1680" y="639"/>
                  </a:lnTo>
                  <a:lnTo>
                    <a:pt x="1661" y="642"/>
                  </a:lnTo>
                  <a:lnTo>
                    <a:pt x="1641" y="644"/>
                  </a:lnTo>
                  <a:lnTo>
                    <a:pt x="1621" y="646"/>
                  </a:lnTo>
                  <a:lnTo>
                    <a:pt x="1599" y="647"/>
                  </a:lnTo>
                  <a:lnTo>
                    <a:pt x="1574" y="646"/>
                  </a:lnTo>
                  <a:lnTo>
                    <a:pt x="1551" y="642"/>
                  </a:lnTo>
                  <a:lnTo>
                    <a:pt x="1539" y="640"/>
                  </a:lnTo>
                  <a:lnTo>
                    <a:pt x="1528" y="637"/>
                  </a:lnTo>
                  <a:lnTo>
                    <a:pt x="1518" y="634"/>
                  </a:lnTo>
                  <a:lnTo>
                    <a:pt x="1507" y="631"/>
                  </a:lnTo>
                  <a:lnTo>
                    <a:pt x="1497" y="627"/>
                  </a:lnTo>
                  <a:lnTo>
                    <a:pt x="1488" y="622"/>
                  </a:lnTo>
                  <a:lnTo>
                    <a:pt x="1479" y="617"/>
                  </a:lnTo>
                  <a:lnTo>
                    <a:pt x="1469" y="612"/>
                  </a:lnTo>
                  <a:lnTo>
                    <a:pt x="1461" y="605"/>
                  </a:lnTo>
                  <a:lnTo>
                    <a:pt x="1453" y="598"/>
                  </a:lnTo>
                  <a:lnTo>
                    <a:pt x="1445" y="592"/>
                  </a:lnTo>
                  <a:lnTo>
                    <a:pt x="1438" y="584"/>
                  </a:lnTo>
                  <a:lnTo>
                    <a:pt x="1430" y="576"/>
                  </a:lnTo>
                  <a:lnTo>
                    <a:pt x="1423" y="567"/>
                  </a:lnTo>
                  <a:lnTo>
                    <a:pt x="1417" y="559"/>
                  </a:lnTo>
                  <a:lnTo>
                    <a:pt x="1412" y="551"/>
                  </a:lnTo>
                  <a:lnTo>
                    <a:pt x="1406" y="542"/>
                  </a:lnTo>
                  <a:lnTo>
                    <a:pt x="1402" y="531"/>
                  </a:lnTo>
                  <a:lnTo>
                    <a:pt x="1397" y="522"/>
                  </a:lnTo>
                  <a:lnTo>
                    <a:pt x="1393" y="512"/>
                  </a:lnTo>
                  <a:lnTo>
                    <a:pt x="1389" y="501"/>
                  </a:lnTo>
                  <a:lnTo>
                    <a:pt x="1386" y="490"/>
                  </a:lnTo>
                  <a:lnTo>
                    <a:pt x="1384" y="480"/>
                  </a:lnTo>
                  <a:lnTo>
                    <a:pt x="1382" y="469"/>
                  </a:lnTo>
                  <a:lnTo>
                    <a:pt x="1379" y="445"/>
                  </a:lnTo>
                  <a:lnTo>
                    <a:pt x="1378" y="419"/>
                  </a:lnTo>
                  <a:lnTo>
                    <a:pt x="1379" y="394"/>
                  </a:lnTo>
                  <a:lnTo>
                    <a:pt x="1382" y="370"/>
                  </a:lnTo>
                  <a:lnTo>
                    <a:pt x="1386" y="346"/>
                  </a:lnTo>
                  <a:lnTo>
                    <a:pt x="1392" y="324"/>
                  </a:lnTo>
                  <a:lnTo>
                    <a:pt x="1397" y="313"/>
                  </a:lnTo>
                  <a:lnTo>
                    <a:pt x="1401" y="303"/>
                  </a:lnTo>
                  <a:lnTo>
                    <a:pt x="1406" y="293"/>
                  </a:lnTo>
                  <a:lnTo>
                    <a:pt x="1411" y="282"/>
                  </a:lnTo>
                  <a:lnTo>
                    <a:pt x="1416" y="273"/>
                  </a:lnTo>
                  <a:lnTo>
                    <a:pt x="1422" y="264"/>
                  </a:lnTo>
                  <a:lnTo>
                    <a:pt x="1428" y="255"/>
                  </a:lnTo>
                  <a:lnTo>
                    <a:pt x="1436" y="246"/>
                  </a:lnTo>
                  <a:lnTo>
                    <a:pt x="1443" y="238"/>
                  </a:lnTo>
                  <a:lnTo>
                    <a:pt x="1451" y="230"/>
                  </a:lnTo>
                  <a:lnTo>
                    <a:pt x="1458" y="223"/>
                  </a:lnTo>
                  <a:lnTo>
                    <a:pt x="1466" y="217"/>
                  </a:lnTo>
                  <a:lnTo>
                    <a:pt x="1476" y="210"/>
                  </a:lnTo>
                  <a:lnTo>
                    <a:pt x="1484" y="204"/>
                  </a:lnTo>
                  <a:lnTo>
                    <a:pt x="1493" y="199"/>
                  </a:lnTo>
                  <a:lnTo>
                    <a:pt x="1502" y="195"/>
                  </a:lnTo>
                  <a:lnTo>
                    <a:pt x="1513" y="191"/>
                  </a:lnTo>
                  <a:lnTo>
                    <a:pt x="1522" y="187"/>
                  </a:lnTo>
                  <a:lnTo>
                    <a:pt x="1532" y="185"/>
                  </a:lnTo>
                  <a:lnTo>
                    <a:pt x="1543" y="182"/>
                  </a:lnTo>
                  <a:lnTo>
                    <a:pt x="1554" y="179"/>
                  </a:lnTo>
                  <a:lnTo>
                    <a:pt x="1565" y="178"/>
                  </a:lnTo>
                  <a:lnTo>
                    <a:pt x="1576" y="177"/>
                  </a:lnTo>
                  <a:lnTo>
                    <a:pt x="1589" y="177"/>
                  </a:lnTo>
                  <a:lnTo>
                    <a:pt x="1601" y="177"/>
                  </a:lnTo>
                  <a:lnTo>
                    <a:pt x="1612" y="178"/>
                  </a:lnTo>
                  <a:lnTo>
                    <a:pt x="1624" y="181"/>
                  </a:lnTo>
                  <a:lnTo>
                    <a:pt x="1635" y="183"/>
                  </a:lnTo>
                  <a:lnTo>
                    <a:pt x="1645" y="185"/>
                  </a:lnTo>
                  <a:lnTo>
                    <a:pt x="1655" y="188"/>
                  </a:lnTo>
                  <a:lnTo>
                    <a:pt x="1665" y="192"/>
                  </a:lnTo>
                  <a:lnTo>
                    <a:pt x="1675" y="196"/>
                  </a:lnTo>
                  <a:lnTo>
                    <a:pt x="1683" y="201"/>
                  </a:lnTo>
                  <a:lnTo>
                    <a:pt x="1692" y="206"/>
                  </a:lnTo>
                  <a:lnTo>
                    <a:pt x="1701" y="212"/>
                  </a:lnTo>
                  <a:lnTo>
                    <a:pt x="1708" y="220"/>
                  </a:lnTo>
                  <a:lnTo>
                    <a:pt x="1716" y="227"/>
                  </a:lnTo>
                  <a:lnTo>
                    <a:pt x="1723" y="234"/>
                  </a:lnTo>
                  <a:lnTo>
                    <a:pt x="1729" y="242"/>
                  </a:lnTo>
                  <a:lnTo>
                    <a:pt x="1736" y="251"/>
                  </a:lnTo>
                  <a:lnTo>
                    <a:pt x="1745" y="266"/>
                  </a:lnTo>
                  <a:lnTo>
                    <a:pt x="1753" y="281"/>
                  </a:lnTo>
                  <a:lnTo>
                    <a:pt x="1759" y="298"/>
                  </a:lnTo>
                  <a:lnTo>
                    <a:pt x="1764" y="314"/>
                  </a:lnTo>
                  <a:lnTo>
                    <a:pt x="1768" y="332"/>
                  </a:lnTo>
                  <a:lnTo>
                    <a:pt x="1772" y="349"/>
                  </a:lnTo>
                  <a:lnTo>
                    <a:pt x="1774" y="369"/>
                  </a:lnTo>
                  <a:lnTo>
                    <a:pt x="1774" y="388"/>
                  </a:lnTo>
                  <a:lnTo>
                    <a:pt x="1774" y="400"/>
                  </a:lnTo>
                  <a:lnTo>
                    <a:pt x="1773" y="410"/>
                  </a:lnTo>
                  <a:lnTo>
                    <a:pt x="1772" y="419"/>
                  </a:lnTo>
                  <a:lnTo>
                    <a:pt x="1771" y="427"/>
                  </a:lnTo>
                  <a:close/>
                  <a:moveTo>
                    <a:pt x="1457" y="368"/>
                  </a:moveTo>
                  <a:lnTo>
                    <a:pt x="1696" y="368"/>
                  </a:lnTo>
                  <a:lnTo>
                    <a:pt x="1696" y="355"/>
                  </a:lnTo>
                  <a:lnTo>
                    <a:pt x="1694" y="344"/>
                  </a:lnTo>
                  <a:lnTo>
                    <a:pt x="1692" y="332"/>
                  </a:lnTo>
                  <a:lnTo>
                    <a:pt x="1690" y="321"/>
                  </a:lnTo>
                  <a:lnTo>
                    <a:pt x="1687" y="311"/>
                  </a:lnTo>
                  <a:lnTo>
                    <a:pt x="1683" y="301"/>
                  </a:lnTo>
                  <a:lnTo>
                    <a:pt x="1678" y="292"/>
                  </a:lnTo>
                  <a:lnTo>
                    <a:pt x="1673" y="282"/>
                  </a:lnTo>
                  <a:lnTo>
                    <a:pt x="1666" y="271"/>
                  </a:lnTo>
                  <a:lnTo>
                    <a:pt x="1656" y="262"/>
                  </a:lnTo>
                  <a:lnTo>
                    <a:pt x="1646" y="254"/>
                  </a:lnTo>
                  <a:lnTo>
                    <a:pt x="1636" y="247"/>
                  </a:lnTo>
                  <a:lnTo>
                    <a:pt x="1624" y="242"/>
                  </a:lnTo>
                  <a:lnTo>
                    <a:pt x="1611" y="239"/>
                  </a:lnTo>
                  <a:lnTo>
                    <a:pt x="1597" y="237"/>
                  </a:lnTo>
                  <a:lnTo>
                    <a:pt x="1583" y="236"/>
                  </a:lnTo>
                  <a:lnTo>
                    <a:pt x="1568" y="237"/>
                  </a:lnTo>
                  <a:lnTo>
                    <a:pt x="1555" y="239"/>
                  </a:lnTo>
                  <a:lnTo>
                    <a:pt x="1542" y="242"/>
                  </a:lnTo>
                  <a:lnTo>
                    <a:pt x="1531" y="247"/>
                  </a:lnTo>
                  <a:lnTo>
                    <a:pt x="1520" y="254"/>
                  </a:lnTo>
                  <a:lnTo>
                    <a:pt x="1510" y="261"/>
                  </a:lnTo>
                  <a:lnTo>
                    <a:pt x="1500" y="270"/>
                  </a:lnTo>
                  <a:lnTo>
                    <a:pt x="1491" y="280"/>
                  </a:lnTo>
                  <a:lnTo>
                    <a:pt x="1485" y="290"/>
                  </a:lnTo>
                  <a:lnTo>
                    <a:pt x="1479" y="300"/>
                  </a:lnTo>
                  <a:lnTo>
                    <a:pt x="1474" y="310"/>
                  </a:lnTo>
                  <a:lnTo>
                    <a:pt x="1468" y="320"/>
                  </a:lnTo>
                  <a:lnTo>
                    <a:pt x="1464" y="332"/>
                  </a:lnTo>
                  <a:lnTo>
                    <a:pt x="1461" y="343"/>
                  </a:lnTo>
                  <a:lnTo>
                    <a:pt x="1459" y="355"/>
                  </a:lnTo>
                  <a:lnTo>
                    <a:pt x="1457" y="368"/>
                  </a:lnTo>
                  <a:close/>
                  <a:moveTo>
                    <a:pt x="1875" y="637"/>
                  </a:moveTo>
                  <a:lnTo>
                    <a:pt x="1875" y="328"/>
                  </a:lnTo>
                  <a:lnTo>
                    <a:pt x="1875" y="291"/>
                  </a:lnTo>
                  <a:lnTo>
                    <a:pt x="1874" y="256"/>
                  </a:lnTo>
                  <a:lnTo>
                    <a:pt x="1873" y="221"/>
                  </a:lnTo>
                  <a:lnTo>
                    <a:pt x="1872" y="188"/>
                  </a:lnTo>
                  <a:lnTo>
                    <a:pt x="1944" y="188"/>
                  </a:lnTo>
                  <a:lnTo>
                    <a:pt x="1946" y="276"/>
                  </a:lnTo>
                  <a:lnTo>
                    <a:pt x="1950" y="276"/>
                  </a:lnTo>
                  <a:lnTo>
                    <a:pt x="1954" y="265"/>
                  </a:lnTo>
                  <a:lnTo>
                    <a:pt x="1959" y="255"/>
                  </a:lnTo>
                  <a:lnTo>
                    <a:pt x="1964" y="245"/>
                  </a:lnTo>
                  <a:lnTo>
                    <a:pt x="1970" y="236"/>
                  </a:lnTo>
                  <a:lnTo>
                    <a:pt x="1976" y="227"/>
                  </a:lnTo>
                  <a:lnTo>
                    <a:pt x="1983" y="219"/>
                  </a:lnTo>
                  <a:lnTo>
                    <a:pt x="1991" y="211"/>
                  </a:lnTo>
                  <a:lnTo>
                    <a:pt x="2000" y="204"/>
                  </a:lnTo>
                  <a:lnTo>
                    <a:pt x="2008" y="198"/>
                  </a:lnTo>
                  <a:lnTo>
                    <a:pt x="2017" y="193"/>
                  </a:lnTo>
                  <a:lnTo>
                    <a:pt x="2026" y="188"/>
                  </a:lnTo>
                  <a:lnTo>
                    <a:pt x="2036" y="185"/>
                  </a:lnTo>
                  <a:lnTo>
                    <a:pt x="2045" y="182"/>
                  </a:lnTo>
                  <a:lnTo>
                    <a:pt x="2054" y="179"/>
                  </a:lnTo>
                  <a:lnTo>
                    <a:pt x="2064" y="177"/>
                  </a:lnTo>
                  <a:lnTo>
                    <a:pt x="2075" y="177"/>
                  </a:lnTo>
                  <a:lnTo>
                    <a:pt x="2087" y="178"/>
                  </a:lnTo>
                  <a:lnTo>
                    <a:pt x="2097" y="181"/>
                  </a:lnTo>
                  <a:lnTo>
                    <a:pt x="2097" y="258"/>
                  </a:lnTo>
                  <a:lnTo>
                    <a:pt x="2084" y="256"/>
                  </a:lnTo>
                  <a:lnTo>
                    <a:pt x="2069" y="255"/>
                  </a:lnTo>
                  <a:lnTo>
                    <a:pt x="2055" y="256"/>
                  </a:lnTo>
                  <a:lnTo>
                    <a:pt x="2043" y="258"/>
                  </a:lnTo>
                  <a:lnTo>
                    <a:pt x="2032" y="261"/>
                  </a:lnTo>
                  <a:lnTo>
                    <a:pt x="2020" y="266"/>
                  </a:lnTo>
                  <a:lnTo>
                    <a:pt x="2010" y="272"/>
                  </a:lnTo>
                  <a:lnTo>
                    <a:pt x="2000" y="280"/>
                  </a:lnTo>
                  <a:lnTo>
                    <a:pt x="1990" y="290"/>
                  </a:lnTo>
                  <a:lnTo>
                    <a:pt x="1982" y="300"/>
                  </a:lnTo>
                  <a:lnTo>
                    <a:pt x="1976" y="310"/>
                  </a:lnTo>
                  <a:lnTo>
                    <a:pt x="1971" y="321"/>
                  </a:lnTo>
                  <a:lnTo>
                    <a:pt x="1966" y="333"/>
                  </a:lnTo>
                  <a:lnTo>
                    <a:pt x="1963" y="344"/>
                  </a:lnTo>
                  <a:lnTo>
                    <a:pt x="1960" y="356"/>
                  </a:lnTo>
                  <a:lnTo>
                    <a:pt x="1958" y="370"/>
                  </a:lnTo>
                  <a:lnTo>
                    <a:pt x="1957" y="383"/>
                  </a:lnTo>
                  <a:lnTo>
                    <a:pt x="1955" y="398"/>
                  </a:lnTo>
                  <a:lnTo>
                    <a:pt x="1955" y="637"/>
                  </a:lnTo>
                  <a:lnTo>
                    <a:pt x="1875" y="637"/>
                  </a:lnTo>
                  <a:close/>
                  <a:moveTo>
                    <a:pt x="2260" y="637"/>
                  </a:moveTo>
                  <a:lnTo>
                    <a:pt x="2178" y="637"/>
                  </a:lnTo>
                  <a:lnTo>
                    <a:pt x="2178" y="188"/>
                  </a:lnTo>
                  <a:lnTo>
                    <a:pt x="2260" y="188"/>
                  </a:lnTo>
                  <a:lnTo>
                    <a:pt x="2260" y="637"/>
                  </a:lnTo>
                  <a:close/>
                  <a:moveTo>
                    <a:pt x="2219" y="105"/>
                  </a:moveTo>
                  <a:lnTo>
                    <a:pt x="2217" y="105"/>
                  </a:lnTo>
                  <a:lnTo>
                    <a:pt x="2206" y="104"/>
                  </a:lnTo>
                  <a:lnTo>
                    <a:pt x="2197" y="101"/>
                  </a:lnTo>
                  <a:lnTo>
                    <a:pt x="2193" y="99"/>
                  </a:lnTo>
                  <a:lnTo>
                    <a:pt x="2189" y="96"/>
                  </a:lnTo>
                  <a:lnTo>
                    <a:pt x="2185" y="93"/>
                  </a:lnTo>
                  <a:lnTo>
                    <a:pt x="2181" y="90"/>
                  </a:lnTo>
                  <a:lnTo>
                    <a:pt x="2174" y="82"/>
                  </a:lnTo>
                  <a:lnTo>
                    <a:pt x="2170" y="72"/>
                  </a:lnTo>
                  <a:lnTo>
                    <a:pt x="2167" y="63"/>
                  </a:lnTo>
                  <a:lnTo>
                    <a:pt x="2166" y="52"/>
                  </a:lnTo>
                  <a:lnTo>
                    <a:pt x="2167" y="42"/>
                  </a:lnTo>
                  <a:lnTo>
                    <a:pt x="2170" y="32"/>
                  </a:lnTo>
                  <a:lnTo>
                    <a:pt x="2174" y="23"/>
                  </a:lnTo>
                  <a:lnTo>
                    <a:pt x="2182" y="16"/>
                  </a:lnTo>
                  <a:lnTo>
                    <a:pt x="2185" y="12"/>
                  </a:lnTo>
                  <a:lnTo>
                    <a:pt x="2189" y="9"/>
                  </a:lnTo>
                  <a:lnTo>
                    <a:pt x="2194" y="6"/>
                  </a:lnTo>
                  <a:lnTo>
                    <a:pt x="2198" y="4"/>
                  </a:lnTo>
                  <a:lnTo>
                    <a:pt x="2208" y="2"/>
                  </a:lnTo>
                  <a:lnTo>
                    <a:pt x="2220" y="0"/>
                  </a:lnTo>
                  <a:lnTo>
                    <a:pt x="2230" y="2"/>
                  </a:lnTo>
                  <a:lnTo>
                    <a:pt x="2240" y="4"/>
                  </a:lnTo>
                  <a:lnTo>
                    <a:pt x="2244" y="6"/>
                  </a:lnTo>
                  <a:lnTo>
                    <a:pt x="2249" y="9"/>
                  </a:lnTo>
                  <a:lnTo>
                    <a:pt x="2253" y="12"/>
                  </a:lnTo>
                  <a:lnTo>
                    <a:pt x="2257" y="15"/>
                  </a:lnTo>
                  <a:lnTo>
                    <a:pt x="2263" y="23"/>
                  </a:lnTo>
                  <a:lnTo>
                    <a:pt x="2268" y="31"/>
                  </a:lnTo>
                  <a:lnTo>
                    <a:pt x="2270" y="42"/>
                  </a:lnTo>
                  <a:lnTo>
                    <a:pt x="2271" y="52"/>
                  </a:lnTo>
                  <a:lnTo>
                    <a:pt x="2270" y="63"/>
                  </a:lnTo>
                  <a:lnTo>
                    <a:pt x="2268" y="72"/>
                  </a:lnTo>
                  <a:lnTo>
                    <a:pt x="2263" y="82"/>
                  </a:lnTo>
                  <a:lnTo>
                    <a:pt x="2257" y="90"/>
                  </a:lnTo>
                  <a:lnTo>
                    <a:pt x="2253" y="93"/>
                  </a:lnTo>
                  <a:lnTo>
                    <a:pt x="2249" y="96"/>
                  </a:lnTo>
                  <a:lnTo>
                    <a:pt x="2244" y="99"/>
                  </a:lnTo>
                  <a:lnTo>
                    <a:pt x="2240" y="101"/>
                  </a:lnTo>
                  <a:lnTo>
                    <a:pt x="2235" y="103"/>
                  </a:lnTo>
                  <a:lnTo>
                    <a:pt x="2230" y="104"/>
                  </a:lnTo>
                  <a:lnTo>
                    <a:pt x="2224" y="104"/>
                  </a:lnTo>
                  <a:lnTo>
                    <a:pt x="2219" y="105"/>
                  </a:lnTo>
                  <a:close/>
                  <a:moveTo>
                    <a:pt x="2755" y="427"/>
                  </a:moveTo>
                  <a:lnTo>
                    <a:pt x="2441" y="426"/>
                  </a:lnTo>
                  <a:lnTo>
                    <a:pt x="2443" y="445"/>
                  </a:lnTo>
                  <a:lnTo>
                    <a:pt x="2446" y="463"/>
                  </a:lnTo>
                  <a:lnTo>
                    <a:pt x="2449" y="480"/>
                  </a:lnTo>
                  <a:lnTo>
                    <a:pt x="2454" y="495"/>
                  </a:lnTo>
                  <a:lnTo>
                    <a:pt x="2461" y="510"/>
                  </a:lnTo>
                  <a:lnTo>
                    <a:pt x="2469" y="523"/>
                  </a:lnTo>
                  <a:lnTo>
                    <a:pt x="2478" y="535"/>
                  </a:lnTo>
                  <a:lnTo>
                    <a:pt x="2489" y="546"/>
                  </a:lnTo>
                  <a:lnTo>
                    <a:pt x="2499" y="554"/>
                  </a:lnTo>
                  <a:lnTo>
                    <a:pt x="2510" y="562"/>
                  </a:lnTo>
                  <a:lnTo>
                    <a:pt x="2523" y="568"/>
                  </a:lnTo>
                  <a:lnTo>
                    <a:pt x="2535" y="573"/>
                  </a:lnTo>
                  <a:lnTo>
                    <a:pt x="2548" y="577"/>
                  </a:lnTo>
                  <a:lnTo>
                    <a:pt x="2564" y="580"/>
                  </a:lnTo>
                  <a:lnTo>
                    <a:pt x="2579" y="582"/>
                  </a:lnTo>
                  <a:lnTo>
                    <a:pt x="2595" y="582"/>
                  </a:lnTo>
                  <a:lnTo>
                    <a:pt x="2612" y="582"/>
                  </a:lnTo>
                  <a:lnTo>
                    <a:pt x="2628" y="581"/>
                  </a:lnTo>
                  <a:lnTo>
                    <a:pt x="2644" y="579"/>
                  </a:lnTo>
                  <a:lnTo>
                    <a:pt x="2660" y="577"/>
                  </a:lnTo>
                  <a:lnTo>
                    <a:pt x="2676" y="573"/>
                  </a:lnTo>
                  <a:lnTo>
                    <a:pt x="2690" y="569"/>
                  </a:lnTo>
                  <a:lnTo>
                    <a:pt x="2705" y="564"/>
                  </a:lnTo>
                  <a:lnTo>
                    <a:pt x="2719" y="559"/>
                  </a:lnTo>
                  <a:lnTo>
                    <a:pt x="2732" y="618"/>
                  </a:lnTo>
                  <a:lnTo>
                    <a:pt x="2717" y="624"/>
                  </a:lnTo>
                  <a:lnTo>
                    <a:pt x="2700" y="630"/>
                  </a:lnTo>
                  <a:lnTo>
                    <a:pt x="2683" y="635"/>
                  </a:lnTo>
                  <a:lnTo>
                    <a:pt x="2664" y="639"/>
                  </a:lnTo>
                  <a:lnTo>
                    <a:pt x="2645" y="642"/>
                  </a:lnTo>
                  <a:lnTo>
                    <a:pt x="2625" y="644"/>
                  </a:lnTo>
                  <a:lnTo>
                    <a:pt x="2605" y="646"/>
                  </a:lnTo>
                  <a:lnTo>
                    <a:pt x="2583" y="647"/>
                  </a:lnTo>
                  <a:lnTo>
                    <a:pt x="2559" y="646"/>
                  </a:lnTo>
                  <a:lnTo>
                    <a:pt x="2535" y="642"/>
                  </a:lnTo>
                  <a:lnTo>
                    <a:pt x="2524" y="640"/>
                  </a:lnTo>
                  <a:lnTo>
                    <a:pt x="2512" y="637"/>
                  </a:lnTo>
                  <a:lnTo>
                    <a:pt x="2502" y="634"/>
                  </a:lnTo>
                  <a:lnTo>
                    <a:pt x="2492" y="631"/>
                  </a:lnTo>
                  <a:lnTo>
                    <a:pt x="2483" y="627"/>
                  </a:lnTo>
                  <a:lnTo>
                    <a:pt x="2472" y="622"/>
                  </a:lnTo>
                  <a:lnTo>
                    <a:pt x="2463" y="617"/>
                  </a:lnTo>
                  <a:lnTo>
                    <a:pt x="2455" y="612"/>
                  </a:lnTo>
                  <a:lnTo>
                    <a:pt x="2446" y="605"/>
                  </a:lnTo>
                  <a:lnTo>
                    <a:pt x="2437" y="598"/>
                  </a:lnTo>
                  <a:lnTo>
                    <a:pt x="2429" y="592"/>
                  </a:lnTo>
                  <a:lnTo>
                    <a:pt x="2422" y="584"/>
                  </a:lnTo>
                  <a:lnTo>
                    <a:pt x="2415" y="576"/>
                  </a:lnTo>
                  <a:lnTo>
                    <a:pt x="2409" y="567"/>
                  </a:lnTo>
                  <a:lnTo>
                    <a:pt x="2401" y="559"/>
                  </a:lnTo>
                  <a:lnTo>
                    <a:pt x="2396" y="551"/>
                  </a:lnTo>
                  <a:lnTo>
                    <a:pt x="2391" y="542"/>
                  </a:lnTo>
                  <a:lnTo>
                    <a:pt x="2386" y="531"/>
                  </a:lnTo>
                  <a:lnTo>
                    <a:pt x="2382" y="522"/>
                  </a:lnTo>
                  <a:lnTo>
                    <a:pt x="2378" y="512"/>
                  </a:lnTo>
                  <a:lnTo>
                    <a:pt x="2374" y="501"/>
                  </a:lnTo>
                  <a:lnTo>
                    <a:pt x="2371" y="490"/>
                  </a:lnTo>
                  <a:lnTo>
                    <a:pt x="2369" y="480"/>
                  </a:lnTo>
                  <a:lnTo>
                    <a:pt x="2366" y="469"/>
                  </a:lnTo>
                  <a:lnTo>
                    <a:pt x="2363" y="445"/>
                  </a:lnTo>
                  <a:lnTo>
                    <a:pt x="2362" y="419"/>
                  </a:lnTo>
                  <a:lnTo>
                    <a:pt x="2363" y="394"/>
                  </a:lnTo>
                  <a:lnTo>
                    <a:pt x="2366" y="370"/>
                  </a:lnTo>
                  <a:lnTo>
                    <a:pt x="2371" y="346"/>
                  </a:lnTo>
                  <a:lnTo>
                    <a:pt x="2377" y="324"/>
                  </a:lnTo>
                  <a:lnTo>
                    <a:pt x="2381" y="313"/>
                  </a:lnTo>
                  <a:lnTo>
                    <a:pt x="2385" y="303"/>
                  </a:lnTo>
                  <a:lnTo>
                    <a:pt x="2390" y="293"/>
                  </a:lnTo>
                  <a:lnTo>
                    <a:pt x="2395" y="282"/>
                  </a:lnTo>
                  <a:lnTo>
                    <a:pt x="2400" y="273"/>
                  </a:lnTo>
                  <a:lnTo>
                    <a:pt x="2407" y="264"/>
                  </a:lnTo>
                  <a:lnTo>
                    <a:pt x="2414" y="255"/>
                  </a:lnTo>
                  <a:lnTo>
                    <a:pt x="2420" y="246"/>
                  </a:lnTo>
                  <a:lnTo>
                    <a:pt x="2427" y="238"/>
                  </a:lnTo>
                  <a:lnTo>
                    <a:pt x="2435" y="230"/>
                  </a:lnTo>
                  <a:lnTo>
                    <a:pt x="2444" y="223"/>
                  </a:lnTo>
                  <a:lnTo>
                    <a:pt x="2452" y="217"/>
                  </a:lnTo>
                  <a:lnTo>
                    <a:pt x="2460" y="210"/>
                  </a:lnTo>
                  <a:lnTo>
                    <a:pt x="2468" y="204"/>
                  </a:lnTo>
                  <a:lnTo>
                    <a:pt x="2477" y="199"/>
                  </a:lnTo>
                  <a:lnTo>
                    <a:pt x="2487" y="195"/>
                  </a:lnTo>
                  <a:lnTo>
                    <a:pt x="2497" y="191"/>
                  </a:lnTo>
                  <a:lnTo>
                    <a:pt x="2507" y="187"/>
                  </a:lnTo>
                  <a:lnTo>
                    <a:pt x="2518" y="185"/>
                  </a:lnTo>
                  <a:lnTo>
                    <a:pt x="2528" y="182"/>
                  </a:lnTo>
                  <a:lnTo>
                    <a:pt x="2539" y="179"/>
                  </a:lnTo>
                  <a:lnTo>
                    <a:pt x="2549" y="178"/>
                  </a:lnTo>
                  <a:lnTo>
                    <a:pt x="2562" y="177"/>
                  </a:lnTo>
                  <a:lnTo>
                    <a:pt x="2573" y="177"/>
                  </a:lnTo>
                  <a:lnTo>
                    <a:pt x="2585" y="177"/>
                  </a:lnTo>
                  <a:lnTo>
                    <a:pt x="2597" y="178"/>
                  </a:lnTo>
                  <a:lnTo>
                    <a:pt x="2608" y="181"/>
                  </a:lnTo>
                  <a:lnTo>
                    <a:pt x="2619" y="183"/>
                  </a:lnTo>
                  <a:lnTo>
                    <a:pt x="2630" y="185"/>
                  </a:lnTo>
                  <a:lnTo>
                    <a:pt x="2640" y="188"/>
                  </a:lnTo>
                  <a:lnTo>
                    <a:pt x="2650" y="192"/>
                  </a:lnTo>
                  <a:lnTo>
                    <a:pt x="2659" y="196"/>
                  </a:lnTo>
                  <a:lnTo>
                    <a:pt x="2669" y="201"/>
                  </a:lnTo>
                  <a:lnTo>
                    <a:pt x="2677" y="206"/>
                  </a:lnTo>
                  <a:lnTo>
                    <a:pt x="2685" y="212"/>
                  </a:lnTo>
                  <a:lnTo>
                    <a:pt x="2693" y="220"/>
                  </a:lnTo>
                  <a:lnTo>
                    <a:pt x="2700" y="227"/>
                  </a:lnTo>
                  <a:lnTo>
                    <a:pt x="2708" y="234"/>
                  </a:lnTo>
                  <a:lnTo>
                    <a:pt x="2714" y="242"/>
                  </a:lnTo>
                  <a:lnTo>
                    <a:pt x="2721" y="251"/>
                  </a:lnTo>
                  <a:lnTo>
                    <a:pt x="2729" y="266"/>
                  </a:lnTo>
                  <a:lnTo>
                    <a:pt x="2737" y="281"/>
                  </a:lnTo>
                  <a:lnTo>
                    <a:pt x="2744" y="298"/>
                  </a:lnTo>
                  <a:lnTo>
                    <a:pt x="2749" y="314"/>
                  </a:lnTo>
                  <a:lnTo>
                    <a:pt x="2753" y="332"/>
                  </a:lnTo>
                  <a:lnTo>
                    <a:pt x="2756" y="349"/>
                  </a:lnTo>
                  <a:lnTo>
                    <a:pt x="2758" y="369"/>
                  </a:lnTo>
                  <a:lnTo>
                    <a:pt x="2759" y="388"/>
                  </a:lnTo>
                  <a:lnTo>
                    <a:pt x="2758" y="400"/>
                  </a:lnTo>
                  <a:lnTo>
                    <a:pt x="2758" y="410"/>
                  </a:lnTo>
                  <a:lnTo>
                    <a:pt x="2757" y="419"/>
                  </a:lnTo>
                  <a:lnTo>
                    <a:pt x="2755" y="427"/>
                  </a:lnTo>
                  <a:close/>
                  <a:moveTo>
                    <a:pt x="2441" y="368"/>
                  </a:moveTo>
                  <a:lnTo>
                    <a:pt x="2680" y="368"/>
                  </a:lnTo>
                  <a:lnTo>
                    <a:pt x="2680" y="355"/>
                  </a:lnTo>
                  <a:lnTo>
                    <a:pt x="2679" y="344"/>
                  </a:lnTo>
                  <a:lnTo>
                    <a:pt x="2677" y="332"/>
                  </a:lnTo>
                  <a:lnTo>
                    <a:pt x="2675" y="321"/>
                  </a:lnTo>
                  <a:lnTo>
                    <a:pt x="2672" y="311"/>
                  </a:lnTo>
                  <a:lnTo>
                    <a:pt x="2668" y="301"/>
                  </a:lnTo>
                  <a:lnTo>
                    <a:pt x="2663" y="292"/>
                  </a:lnTo>
                  <a:lnTo>
                    <a:pt x="2657" y="282"/>
                  </a:lnTo>
                  <a:lnTo>
                    <a:pt x="2650" y="271"/>
                  </a:lnTo>
                  <a:lnTo>
                    <a:pt x="2641" y="262"/>
                  </a:lnTo>
                  <a:lnTo>
                    <a:pt x="2632" y="254"/>
                  </a:lnTo>
                  <a:lnTo>
                    <a:pt x="2620" y="247"/>
                  </a:lnTo>
                  <a:lnTo>
                    <a:pt x="2609" y="242"/>
                  </a:lnTo>
                  <a:lnTo>
                    <a:pt x="2596" y="239"/>
                  </a:lnTo>
                  <a:lnTo>
                    <a:pt x="2581" y="237"/>
                  </a:lnTo>
                  <a:lnTo>
                    <a:pt x="2567" y="236"/>
                  </a:lnTo>
                  <a:lnTo>
                    <a:pt x="2552" y="237"/>
                  </a:lnTo>
                  <a:lnTo>
                    <a:pt x="2540" y="239"/>
                  </a:lnTo>
                  <a:lnTo>
                    <a:pt x="2528" y="242"/>
                  </a:lnTo>
                  <a:lnTo>
                    <a:pt x="2515" y="247"/>
                  </a:lnTo>
                  <a:lnTo>
                    <a:pt x="2504" y="254"/>
                  </a:lnTo>
                  <a:lnTo>
                    <a:pt x="2494" y="261"/>
                  </a:lnTo>
                  <a:lnTo>
                    <a:pt x="2485" y="270"/>
                  </a:lnTo>
                  <a:lnTo>
                    <a:pt x="2475" y="280"/>
                  </a:lnTo>
                  <a:lnTo>
                    <a:pt x="2469" y="290"/>
                  </a:lnTo>
                  <a:lnTo>
                    <a:pt x="2463" y="300"/>
                  </a:lnTo>
                  <a:lnTo>
                    <a:pt x="2458" y="310"/>
                  </a:lnTo>
                  <a:lnTo>
                    <a:pt x="2454" y="320"/>
                  </a:lnTo>
                  <a:lnTo>
                    <a:pt x="2450" y="332"/>
                  </a:lnTo>
                  <a:lnTo>
                    <a:pt x="2446" y="343"/>
                  </a:lnTo>
                  <a:lnTo>
                    <a:pt x="2444" y="355"/>
                  </a:lnTo>
                  <a:lnTo>
                    <a:pt x="2441" y="368"/>
                  </a:lnTo>
                  <a:close/>
                  <a:moveTo>
                    <a:pt x="2860" y="637"/>
                  </a:moveTo>
                  <a:lnTo>
                    <a:pt x="2860" y="309"/>
                  </a:lnTo>
                  <a:lnTo>
                    <a:pt x="2860" y="280"/>
                  </a:lnTo>
                  <a:lnTo>
                    <a:pt x="2859" y="250"/>
                  </a:lnTo>
                  <a:lnTo>
                    <a:pt x="2858" y="220"/>
                  </a:lnTo>
                  <a:lnTo>
                    <a:pt x="2856" y="188"/>
                  </a:lnTo>
                  <a:lnTo>
                    <a:pt x="2929" y="188"/>
                  </a:lnTo>
                  <a:lnTo>
                    <a:pt x="2933" y="262"/>
                  </a:lnTo>
                  <a:lnTo>
                    <a:pt x="2935" y="262"/>
                  </a:lnTo>
                  <a:lnTo>
                    <a:pt x="2940" y="254"/>
                  </a:lnTo>
                  <a:lnTo>
                    <a:pt x="2945" y="245"/>
                  </a:lnTo>
                  <a:lnTo>
                    <a:pt x="2951" y="237"/>
                  </a:lnTo>
                  <a:lnTo>
                    <a:pt x="2958" y="230"/>
                  </a:lnTo>
                  <a:lnTo>
                    <a:pt x="2964" y="223"/>
                  </a:lnTo>
                  <a:lnTo>
                    <a:pt x="2973" y="217"/>
                  </a:lnTo>
                  <a:lnTo>
                    <a:pt x="2981" y="210"/>
                  </a:lnTo>
                  <a:lnTo>
                    <a:pt x="2989" y="204"/>
                  </a:lnTo>
                  <a:lnTo>
                    <a:pt x="3000" y="198"/>
                  </a:lnTo>
                  <a:lnTo>
                    <a:pt x="3011" y="193"/>
                  </a:lnTo>
                  <a:lnTo>
                    <a:pt x="3022" y="188"/>
                  </a:lnTo>
                  <a:lnTo>
                    <a:pt x="3033" y="185"/>
                  </a:lnTo>
                  <a:lnTo>
                    <a:pt x="3046" y="182"/>
                  </a:lnTo>
                  <a:lnTo>
                    <a:pt x="3058" y="179"/>
                  </a:lnTo>
                  <a:lnTo>
                    <a:pt x="3070" y="177"/>
                  </a:lnTo>
                  <a:lnTo>
                    <a:pt x="3084" y="177"/>
                  </a:lnTo>
                  <a:lnTo>
                    <a:pt x="3098" y="178"/>
                  </a:lnTo>
                  <a:lnTo>
                    <a:pt x="3112" y="179"/>
                  </a:lnTo>
                  <a:lnTo>
                    <a:pt x="3126" y="183"/>
                  </a:lnTo>
                  <a:lnTo>
                    <a:pt x="3139" y="187"/>
                  </a:lnTo>
                  <a:lnTo>
                    <a:pt x="3151" y="192"/>
                  </a:lnTo>
                  <a:lnTo>
                    <a:pt x="3163" y="199"/>
                  </a:lnTo>
                  <a:lnTo>
                    <a:pt x="3174" y="206"/>
                  </a:lnTo>
                  <a:lnTo>
                    <a:pt x="3185" y="215"/>
                  </a:lnTo>
                  <a:lnTo>
                    <a:pt x="3192" y="222"/>
                  </a:lnTo>
                  <a:lnTo>
                    <a:pt x="3199" y="229"/>
                  </a:lnTo>
                  <a:lnTo>
                    <a:pt x="3205" y="236"/>
                  </a:lnTo>
                  <a:lnTo>
                    <a:pt x="3210" y="244"/>
                  </a:lnTo>
                  <a:lnTo>
                    <a:pt x="3215" y="251"/>
                  </a:lnTo>
                  <a:lnTo>
                    <a:pt x="3219" y="261"/>
                  </a:lnTo>
                  <a:lnTo>
                    <a:pt x="3223" y="269"/>
                  </a:lnTo>
                  <a:lnTo>
                    <a:pt x="3228" y="279"/>
                  </a:lnTo>
                  <a:lnTo>
                    <a:pt x="3231" y="289"/>
                  </a:lnTo>
                  <a:lnTo>
                    <a:pt x="3234" y="299"/>
                  </a:lnTo>
                  <a:lnTo>
                    <a:pt x="3236" y="309"/>
                  </a:lnTo>
                  <a:lnTo>
                    <a:pt x="3238" y="320"/>
                  </a:lnTo>
                  <a:lnTo>
                    <a:pt x="3241" y="344"/>
                  </a:lnTo>
                  <a:lnTo>
                    <a:pt x="3242" y="369"/>
                  </a:lnTo>
                  <a:lnTo>
                    <a:pt x="3242" y="637"/>
                  </a:lnTo>
                  <a:lnTo>
                    <a:pt x="3160" y="637"/>
                  </a:lnTo>
                  <a:lnTo>
                    <a:pt x="3160" y="378"/>
                  </a:lnTo>
                  <a:lnTo>
                    <a:pt x="3160" y="362"/>
                  </a:lnTo>
                  <a:lnTo>
                    <a:pt x="3159" y="346"/>
                  </a:lnTo>
                  <a:lnTo>
                    <a:pt x="3157" y="333"/>
                  </a:lnTo>
                  <a:lnTo>
                    <a:pt x="3154" y="319"/>
                  </a:lnTo>
                  <a:lnTo>
                    <a:pt x="3150" y="307"/>
                  </a:lnTo>
                  <a:lnTo>
                    <a:pt x="3145" y="297"/>
                  </a:lnTo>
                  <a:lnTo>
                    <a:pt x="3140" y="286"/>
                  </a:lnTo>
                  <a:lnTo>
                    <a:pt x="3134" y="277"/>
                  </a:lnTo>
                  <a:lnTo>
                    <a:pt x="3127" y="270"/>
                  </a:lnTo>
                  <a:lnTo>
                    <a:pt x="3120" y="263"/>
                  </a:lnTo>
                  <a:lnTo>
                    <a:pt x="3111" y="258"/>
                  </a:lnTo>
                  <a:lnTo>
                    <a:pt x="3102" y="253"/>
                  </a:lnTo>
                  <a:lnTo>
                    <a:pt x="3092" y="249"/>
                  </a:lnTo>
                  <a:lnTo>
                    <a:pt x="3081" y="246"/>
                  </a:lnTo>
                  <a:lnTo>
                    <a:pt x="3069" y="244"/>
                  </a:lnTo>
                  <a:lnTo>
                    <a:pt x="3056" y="244"/>
                  </a:lnTo>
                  <a:lnTo>
                    <a:pt x="3047" y="244"/>
                  </a:lnTo>
                  <a:lnTo>
                    <a:pt x="3037" y="245"/>
                  </a:lnTo>
                  <a:lnTo>
                    <a:pt x="3028" y="247"/>
                  </a:lnTo>
                  <a:lnTo>
                    <a:pt x="3020" y="250"/>
                  </a:lnTo>
                  <a:lnTo>
                    <a:pt x="3012" y="254"/>
                  </a:lnTo>
                  <a:lnTo>
                    <a:pt x="3004" y="258"/>
                  </a:lnTo>
                  <a:lnTo>
                    <a:pt x="2995" y="263"/>
                  </a:lnTo>
                  <a:lnTo>
                    <a:pt x="2988" y="268"/>
                  </a:lnTo>
                  <a:lnTo>
                    <a:pt x="2981" y="274"/>
                  </a:lnTo>
                  <a:lnTo>
                    <a:pt x="2974" y="281"/>
                  </a:lnTo>
                  <a:lnTo>
                    <a:pt x="2968" y="289"/>
                  </a:lnTo>
                  <a:lnTo>
                    <a:pt x="2962" y="296"/>
                  </a:lnTo>
                  <a:lnTo>
                    <a:pt x="2958" y="303"/>
                  </a:lnTo>
                  <a:lnTo>
                    <a:pt x="2953" y="311"/>
                  </a:lnTo>
                  <a:lnTo>
                    <a:pt x="2950" y="319"/>
                  </a:lnTo>
                  <a:lnTo>
                    <a:pt x="2947" y="329"/>
                  </a:lnTo>
                  <a:lnTo>
                    <a:pt x="2945" y="337"/>
                  </a:lnTo>
                  <a:lnTo>
                    <a:pt x="2943" y="346"/>
                  </a:lnTo>
                  <a:lnTo>
                    <a:pt x="2942" y="356"/>
                  </a:lnTo>
                  <a:lnTo>
                    <a:pt x="2942" y="367"/>
                  </a:lnTo>
                  <a:lnTo>
                    <a:pt x="2942" y="637"/>
                  </a:lnTo>
                  <a:lnTo>
                    <a:pt x="2860" y="637"/>
                  </a:lnTo>
                  <a:close/>
                  <a:moveTo>
                    <a:pt x="3680" y="559"/>
                  </a:moveTo>
                  <a:lnTo>
                    <a:pt x="3694" y="620"/>
                  </a:lnTo>
                  <a:lnTo>
                    <a:pt x="3681" y="627"/>
                  </a:lnTo>
                  <a:lnTo>
                    <a:pt x="3666" y="632"/>
                  </a:lnTo>
                  <a:lnTo>
                    <a:pt x="3651" y="636"/>
                  </a:lnTo>
                  <a:lnTo>
                    <a:pt x="3635" y="640"/>
                  </a:lnTo>
                  <a:lnTo>
                    <a:pt x="3619" y="643"/>
                  </a:lnTo>
                  <a:lnTo>
                    <a:pt x="3602" y="646"/>
                  </a:lnTo>
                  <a:lnTo>
                    <a:pt x="3584" y="647"/>
                  </a:lnTo>
                  <a:lnTo>
                    <a:pt x="3566" y="648"/>
                  </a:lnTo>
                  <a:lnTo>
                    <a:pt x="3541" y="647"/>
                  </a:lnTo>
                  <a:lnTo>
                    <a:pt x="3517" y="643"/>
                  </a:lnTo>
                  <a:lnTo>
                    <a:pt x="3506" y="641"/>
                  </a:lnTo>
                  <a:lnTo>
                    <a:pt x="3495" y="638"/>
                  </a:lnTo>
                  <a:lnTo>
                    <a:pt x="3484" y="635"/>
                  </a:lnTo>
                  <a:lnTo>
                    <a:pt x="3474" y="631"/>
                  </a:lnTo>
                  <a:lnTo>
                    <a:pt x="3464" y="627"/>
                  </a:lnTo>
                  <a:lnTo>
                    <a:pt x="3455" y="623"/>
                  </a:lnTo>
                  <a:lnTo>
                    <a:pt x="3445" y="618"/>
                  </a:lnTo>
                  <a:lnTo>
                    <a:pt x="3436" y="612"/>
                  </a:lnTo>
                  <a:lnTo>
                    <a:pt x="3427" y="605"/>
                  </a:lnTo>
                  <a:lnTo>
                    <a:pt x="3419" y="599"/>
                  </a:lnTo>
                  <a:lnTo>
                    <a:pt x="3410" y="592"/>
                  </a:lnTo>
                  <a:lnTo>
                    <a:pt x="3403" y="584"/>
                  </a:lnTo>
                  <a:lnTo>
                    <a:pt x="3395" y="576"/>
                  </a:lnTo>
                  <a:lnTo>
                    <a:pt x="3389" y="567"/>
                  </a:lnTo>
                  <a:lnTo>
                    <a:pt x="3382" y="559"/>
                  </a:lnTo>
                  <a:lnTo>
                    <a:pt x="3377" y="550"/>
                  </a:lnTo>
                  <a:lnTo>
                    <a:pt x="3370" y="541"/>
                  </a:lnTo>
                  <a:lnTo>
                    <a:pt x="3365" y="531"/>
                  </a:lnTo>
                  <a:lnTo>
                    <a:pt x="3361" y="521"/>
                  </a:lnTo>
                  <a:lnTo>
                    <a:pt x="3357" y="511"/>
                  </a:lnTo>
                  <a:lnTo>
                    <a:pt x="3354" y="500"/>
                  </a:lnTo>
                  <a:lnTo>
                    <a:pt x="3351" y="489"/>
                  </a:lnTo>
                  <a:lnTo>
                    <a:pt x="3348" y="478"/>
                  </a:lnTo>
                  <a:lnTo>
                    <a:pt x="3346" y="467"/>
                  </a:lnTo>
                  <a:lnTo>
                    <a:pt x="3343" y="442"/>
                  </a:lnTo>
                  <a:lnTo>
                    <a:pt x="3342" y="417"/>
                  </a:lnTo>
                  <a:lnTo>
                    <a:pt x="3342" y="404"/>
                  </a:lnTo>
                  <a:lnTo>
                    <a:pt x="3343" y="391"/>
                  </a:lnTo>
                  <a:lnTo>
                    <a:pt x="3344" y="379"/>
                  </a:lnTo>
                  <a:lnTo>
                    <a:pt x="3346" y="367"/>
                  </a:lnTo>
                  <a:lnTo>
                    <a:pt x="3348" y="355"/>
                  </a:lnTo>
                  <a:lnTo>
                    <a:pt x="3351" y="344"/>
                  </a:lnTo>
                  <a:lnTo>
                    <a:pt x="3354" y="333"/>
                  </a:lnTo>
                  <a:lnTo>
                    <a:pt x="3358" y="321"/>
                  </a:lnTo>
                  <a:lnTo>
                    <a:pt x="3363" y="311"/>
                  </a:lnTo>
                  <a:lnTo>
                    <a:pt x="3367" y="301"/>
                  </a:lnTo>
                  <a:lnTo>
                    <a:pt x="3373" y="291"/>
                  </a:lnTo>
                  <a:lnTo>
                    <a:pt x="3379" y="281"/>
                  </a:lnTo>
                  <a:lnTo>
                    <a:pt x="3386" y="272"/>
                  </a:lnTo>
                  <a:lnTo>
                    <a:pt x="3393" y="263"/>
                  </a:lnTo>
                  <a:lnTo>
                    <a:pt x="3400" y="254"/>
                  </a:lnTo>
                  <a:lnTo>
                    <a:pt x="3408" y="245"/>
                  </a:lnTo>
                  <a:lnTo>
                    <a:pt x="3417" y="237"/>
                  </a:lnTo>
                  <a:lnTo>
                    <a:pt x="3425" y="230"/>
                  </a:lnTo>
                  <a:lnTo>
                    <a:pt x="3434" y="223"/>
                  </a:lnTo>
                  <a:lnTo>
                    <a:pt x="3443" y="215"/>
                  </a:lnTo>
                  <a:lnTo>
                    <a:pt x="3454" y="210"/>
                  </a:lnTo>
                  <a:lnTo>
                    <a:pt x="3464" y="204"/>
                  </a:lnTo>
                  <a:lnTo>
                    <a:pt x="3474" y="199"/>
                  </a:lnTo>
                  <a:lnTo>
                    <a:pt x="3484" y="195"/>
                  </a:lnTo>
                  <a:lnTo>
                    <a:pt x="3496" y="191"/>
                  </a:lnTo>
                  <a:lnTo>
                    <a:pt x="3507" y="188"/>
                  </a:lnTo>
                  <a:lnTo>
                    <a:pt x="3519" y="185"/>
                  </a:lnTo>
                  <a:lnTo>
                    <a:pt x="3532" y="183"/>
                  </a:lnTo>
                  <a:lnTo>
                    <a:pt x="3544" y="181"/>
                  </a:lnTo>
                  <a:lnTo>
                    <a:pt x="3556" y="179"/>
                  </a:lnTo>
                  <a:lnTo>
                    <a:pt x="3570" y="178"/>
                  </a:lnTo>
                  <a:lnTo>
                    <a:pt x="3583" y="178"/>
                  </a:lnTo>
                  <a:lnTo>
                    <a:pt x="3599" y="178"/>
                  </a:lnTo>
                  <a:lnTo>
                    <a:pt x="3616" y="179"/>
                  </a:lnTo>
                  <a:lnTo>
                    <a:pt x="3631" y="182"/>
                  </a:lnTo>
                  <a:lnTo>
                    <a:pt x="3646" y="185"/>
                  </a:lnTo>
                  <a:lnTo>
                    <a:pt x="3659" y="188"/>
                  </a:lnTo>
                  <a:lnTo>
                    <a:pt x="3672" y="192"/>
                  </a:lnTo>
                  <a:lnTo>
                    <a:pt x="3685" y="196"/>
                  </a:lnTo>
                  <a:lnTo>
                    <a:pt x="3696" y="201"/>
                  </a:lnTo>
                  <a:lnTo>
                    <a:pt x="3678" y="265"/>
                  </a:lnTo>
                  <a:lnTo>
                    <a:pt x="3667" y="260"/>
                  </a:lnTo>
                  <a:lnTo>
                    <a:pt x="3656" y="256"/>
                  </a:lnTo>
                  <a:lnTo>
                    <a:pt x="3646" y="251"/>
                  </a:lnTo>
                  <a:lnTo>
                    <a:pt x="3633" y="248"/>
                  </a:lnTo>
                  <a:lnTo>
                    <a:pt x="3622" y="246"/>
                  </a:lnTo>
                  <a:lnTo>
                    <a:pt x="3609" y="244"/>
                  </a:lnTo>
                  <a:lnTo>
                    <a:pt x="3596" y="243"/>
                  </a:lnTo>
                  <a:lnTo>
                    <a:pt x="3583" y="243"/>
                  </a:lnTo>
                  <a:lnTo>
                    <a:pt x="3565" y="244"/>
                  </a:lnTo>
                  <a:lnTo>
                    <a:pt x="3548" y="246"/>
                  </a:lnTo>
                  <a:lnTo>
                    <a:pt x="3532" y="250"/>
                  </a:lnTo>
                  <a:lnTo>
                    <a:pt x="3516" y="256"/>
                  </a:lnTo>
                  <a:lnTo>
                    <a:pt x="3502" y="263"/>
                  </a:lnTo>
                  <a:lnTo>
                    <a:pt x="3489" y="271"/>
                  </a:lnTo>
                  <a:lnTo>
                    <a:pt x="3476" y="281"/>
                  </a:lnTo>
                  <a:lnTo>
                    <a:pt x="3465" y="294"/>
                  </a:lnTo>
                  <a:lnTo>
                    <a:pt x="3456" y="305"/>
                  </a:lnTo>
                  <a:lnTo>
                    <a:pt x="3447" y="318"/>
                  </a:lnTo>
                  <a:lnTo>
                    <a:pt x="3440" y="332"/>
                  </a:lnTo>
                  <a:lnTo>
                    <a:pt x="3434" y="346"/>
                  </a:lnTo>
                  <a:lnTo>
                    <a:pt x="3430" y="362"/>
                  </a:lnTo>
                  <a:lnTo>
                    <a:pt x="3427" y="378"/>
                  </a:lnTo>
                  <a:lnTo>
                    <a:pt x="3425" y="396"/>
                  </a:lnTo>
                  <a:lnTo>
                    <a:pt x="3424" y="413"/>
                  </a:lnTo>
                  <a:lnTo>
                    <a:pt x="3425" y="432"/>
                  </a:lnTo>
                  <a:lnTo>
                    <a:pt x="3427" y="449"/>
                  </a:lnTo>
                  <a:lnTo>
                    <a:pt x="3430" y="467"/>
                  </a:lnTo>
                  <a:lnTo>
                    <a:pt x="3435" y="482"/>
                  </a:lnTo>
                  <a:lnTo>
                    <a:pt x="3441" y="496"/>
                  </a:lnTo>
                  <a:lnTo>
                    <a:pt x="3449" y="511"/>
                  </a:lnTo>
                  <a:lnTo>
                    <a:pt x="3458" y="523"/>
                  </a:lnTo>
                  <a:lnTo>
                    <a:pt x="3468" y="535"/>
                  </a:lnTo>
                  <a:lnTo>
                    <a:pt x="3479" y="546"/>
                  </a:lnTo>
                  <a:lnTo>
                    <a:pt x="3492" y="555"/>
                  </a:lnTo>
                  <a:lnTo>
                    <a:pt x="3505" y="563"/>
                  </a:lnTo>
                  <a:lnTo>
                    <a:pt x="3518" y="569"/>
                  </a:lnTo>
                  <a:lnTo>
                    <a:pt x="3533" y="575"/>
                  </a:lnTo>
                  <a:lnTo>
                    <a:pt x="3548" y="579"/>
                  </a:lnTo>
                  <a:lnTo>
                    <a:pt x="3564" y="581"/>
                  </a:lnTo>
                  <a:lnTo>
                    <a:pt x="3580" y="581"/>
                  </a:lnTo>
                  <a:lnTo>
                    <a:pt x="3592" y="581"/>
                  </a:lnTo>
                  <a:lnTo>
                    <a:pt x="3605" y="580"/>
                  </a:lnTo>
                  <a:lnTo>
                    <a:pt x="3618" y="578"/>
                  </a:lnTo>
                  <a:lnTo>
                    <a:pt x="3630" y="576"/>
                  </a:lnTo>
                  <a:lnTo>
                    <a:pt x="3643" y="572"/>
                  </a:lnTo>
                  <a:lnTo>
                    <a:pt x="3655" y="568"/>
                  </a:lnTo>
                  <a:lnTo>
                    <a:pt x="3667" y="564"/>
                  </a:lnTo>
                  <a:lnTo>
                    <a:pt x="3680" y="559"/>
                  </a:lnTo>
                  <a:close/>
                  <a:moveTo>
                    <a:pt x="4149" y="427"/>
                  </a:moveTo>
                  <a:lnTo>
                    <a:pt x="3836" y="426"/>
                  </a:lnTo>
                  <a:lnTo>
                    <a:pt x="3837" y="445"/>
                  </a:lnTo>
                  <a:lnTo>
                    <a:pt x="3840" y="463"/>
                  </a:lnTo>
                  <a:lnTo>
                    <a:pt x="3843" y="480"/>
                  </a:lnTo>
                  <a:lnTo>
                    <a:pt x="3848" y="495"/>
                  </a:lnTo>
                  <a:lnTo>
                    <a:pt x="3855" y="510"/>
                  </a:lnTo>
                  <a:lnTo>
                    <a:pt x="3864" y="523"/>
                  </a:lnTo>
                  <a:lnTo>
                    <a:pt x="3873" y="535"/>
                  </a:lnTo>
                  <a:lnTo>
                    <a:pt x="3883" y="546"/>
                  </a:lnTo>
                  <a:lnTo>
                    <a:pt x="3893" y="554"/>
                  </a:lnTo>
                  <a:lnTo>
                    <a:pt x="3905" y="562"/>
                  </a:lnTo>
                  <a:lnTo>
                    <a:pt x="3917" y="568"/>
                  </a:lnTo>
                  <a:lnTo>
                    <a:pt x="3929" y="573"/>
                  </a:lnTo>
                  <a:lnTo>
                    <a:pt x="3943" y="577"/>
                  </a:lnTo>
                  <a:lnTo>
                    <a:pt x="3958" y="580"/>
                  </a:lnTo>
                  <a:lnTo>
                    <a:pt x="3973" y="582"/>
                  </a:lnTo>
                  <a:lnTo>
                    <a:pt x="3989" y="582"/>
                  </a:lnTo>
                  <a:lnTo>
                    <a:pt x="4006" y="582"/>
                  </a:lnTo>
                  <a:lnTo>
                    <a:pt x="4023" y="581"/>
                  </a:lnTo>
                  <a:lnTo>
                    <a:pt x="4038" y="579"/>
                  </a:lnTo>
                  <a:lnTo>
                    <a:pt x="4055" y="577"/>
                  </a:lnTo>
                  <a:lnTo>
                    <a:pt x="4070" y="573"/>
                  </a:lnTo>
                  <a:lnTo>
                    <a:pt x="4084" y="569"/>
                  </a:lnTo>
                  <a:lnTo>
                    <a:pt x="4099" y="564"/>
                  </a:lnTo>
                  <a:lnTo>
                    <a:pt x="4113" y="559"/>
                  </a:lnTo>
                  <a:lnTo>
                    <a:pt x="4127" y="618"/>
                  </a:lnTo>
                  <a:lnTo>
                    <a:pt x="4111" y="624"/>
                  </a:lnTo>
                  <a:lnTo>
                    <a:pt x="4095" y="630"/>
                  </a:lnTo>
                  <a:lnTo>
                    <a:pt x="4077" y="635"/>
                  </a:lnTo>
                  <a:lnTo>
                    <a:pt x="4059" y="639"/>
                  </a:lnTo>
                  <a:lnTo>
                    <a:pt x="4039" y="642"/>
                  </a:lnTo>
                  <a:lnTo>
                    <a:pt x="4020" y="644"/>
                  </a:lnTo>
                  <a:lnTo>
                    <a:pt x="3999" y="646"/>
                  </a:lnTo>
                  <a:lnTo>
                    <a:pt x="3978" y="647"/>
                  </a:lnTo>
                  <a:lnTo>
                    <a:pt x="3953" y="646"/>
                  </a:lnTo>
                  <a:lnTo>
                    <a:pt x="3929" y="642"/>
                  </a:lnTo>
                  <a:lnTo>
                    <a:pt x="3918" y="640"/>
                  </a:lnTo>
                  <a:lnTo>
                    <a:pt x="3907" y="637"/>
                  </a:lnTo>
                  <a:lnTo>
                    <a:pt x="3896" y="634"/>
                  </a:lnTo>
                  <a:lnTo>
                    <a:pt x="3886" y="631"/>
                  </a:lnTo>
                  <a:lnTo>
                    <a:pt x="3877" y="627"/>
                  </a:lnTo>
                  <a:lnTo>
                    <a:pt x="3867" y="622"/>
                  </a:lnTo>
                  <a:lnTo>
                    <a:pt x="3857" y="617"/>
                  </a:lnTo>
                  <a:lnTo>
                    <a:pt x="3849" y="612"/>
                  </a:lnTo>
                  <a:lnTo>
                    <a:pt x="3840" y="605"/>
                  </a:lnTo>
                  <a:lnTo>
                    <a:pt x="3832" y="598"/>
                  </a:lnTo>
                  <a:lnTo>
                    <a:pt x="3823" y="592"/>
                  </a:lnTo>
                  <a:lnTo>
                    <a:pt x="3816" y="584"/>
                  </a:lnTo>
                  <a:lnTo>
                    <a:pt x="3809" y="576"/>
                  </a:lnTo>
                  <a:lnTo>
                    <a:pt x="3803" y="567"/>
                  </a:lnTo>
                  <a:lnTo>
                    <a:pt x="3796" y="559"/>
                  </a:lnTo>
                  <a:lnTo>
                    <a:pt x="3791" y="551"/>
                  </a:lnTo>
                  <a:lnTo>
                    <a:pt x="3785" y="542"/>
                  </a:lnTo>
                  <a:lnTo>
                    <a:pt x="3780" y="531"/>
                  </a:lnTo>
                  <a:lnTo>
                    <a:pt x="3776" y="522"/>
                  </a:lnTo>
                  <a:lnTo>
                    <a:pt x="3772" y="512"/>
                  </a:lnTo>
                  <a:lnTo>
                    <a:pt x="3768" y="501"/>
                  </a:lnTo>
                  <a:lnTo>
                    <a:pt x="3765" y="490"/>
                  </a:lnTo>
                  <a:lnTo>
                    <a:pt x="3763" y="480"/>
                  </a:lnTo>
                  <a:lnTo>
                    <a:pt x="3761" y="469"/>
                  </a:lnTo>
                  <a:lnTo>
                    <a:pt x="3758" y="445"/>
                  </a:lnTo>
                  <a:lnTo>
                    <a:pt x="3757" y="419"/>
                  </a:lnTo>
                  <a:lnTo>
                    <a:pt x="3758" y="394"/>
                  </a:lnTo>
                  <a:lnTo>
                    <a:pt x="3761" y="370"/>
                  </a:lnTo>
                  <a:lnTo>
                    <a:pt x="3765" y="346"/>
                  </a:lnTo>
                  <a:lnTo>
                    <a:pt x="3771" y="324"/>
                  </a:lnTo>
                  <a:lnTo>
                    <a:pt x="3775" y="313"/>
                  </a:lnTo>
                  <a:lnTo>
                    <a:pt x="3779" y="303"/>
                  </a:lnTo>
                  <a:lnTo>
                    <a:pt x="3784" y="293"/>
                  </a:lnTo>
                  <a:lnTo>
                    <a:pt x="3790" y="282"/>
                  </a:lnTo>
                  <a:lnTo>
                    <a:pt x="3795" y="273"/>
                  </a:lnTo>
                  <a:lnTo>
                    <a:pt x="3801" y="264"/>
                  </a:lnTo>
                  <a:lnTo>
                    <a:pt x="3808" y="255"/>
                  </a:lnTo>
                  <a:lnTo>
                    <a:pt x="3814" y="246"/>
                  </a:lnTo>
                  <a:lnTo>
                    <a:pt x="3821" y="238"/>
                  </a:lnTo>
                  <a:lnTo>
                    <a:pt x="3830" y="230"/>
                  </a:lnTo>
                  <a:lnTo>
                    <a:pt x="3838" y="223"/>
                  </a:lnTo>
                  <a:lnTo>
                    <a:pt x="3846" y="217"/>
                  </a:lnTo>
                  <a:lnTo>
                    <a:pt x="3854" y="210"/>
                  </a:lnTo>
                  <a:lnTo>
                    <a:pt x="3863" y="204"/>
                  </a:lnTo>
                  <a:lnTo>
                    <a:pt x="3872" y="199"/>
                  </a:lnTo>
                  <a:lnTo>
                    <a:pt x="3881" y="195"/>
                  </a:lnTo>
                  <a:lnTo>
                    <a:pt x="3891" y="191"/>
                  </a:lnTo>
                  <a:lnTo>
                    <a:pt x="3902" y="187"/>
                  </a:lnTo>
                  <a:lnTo>
                    <a:pt x="3912" y="185"/>
                  </a:lnTo>
                  <a:lnTo>
                    <a:pt x="3922" y="182"/>
                  </a:lnTo>
                  <a:lnTo>
                    <a:pt x="3933" y="179"/>
                  </a:lnTo>
                  <a:lnTo>
                    <a:pt x="3944" y="178"/>
                  </a:lnTo>
                  <a:lnTo>
                    <a:pt x="3956" y="177"/>
                  </a:lnTo>
                  <a:lnTo>
                    <a:pt x="3967" y="177"/>
                  </a:lnTo>
                  <a:lnTo>
                    <a:pt x="3980" y="177"/>
                  </a:lnTo>
                  <a:lnTo>
                    <a:pt x="3991" y="178"/>
                  </a:lnTo>
                  <a:lnTo>
                    <a:pt x="4002" y="181"/>
                  </a:lnTo>
                  <a:lnTo>
                    <a:pt x="4014" y="183"/>
                  </a:lnTo>
                  <a:lnTo>
                    <a:pt x="4024" y="185"/>
                  </a:lnTo>
                  <a:lnTo>
                    <a:pt x="4034" y="188"/>
                  </a:lnTo>
                  <a:lnTo>
                    <a:pt x="4044" y="192"/>
                  </a:lnTo>
                  <a:lnTo>
                    <a:pt x="4054" y="196"/>
                  </a:lnTo>
                  <a:lnTo>
                    <a:pt x="4063" y="201"/>
                  </a:lnTo>
                  <a:lnTo>
                    <a:pt x="4071" y="206"/>
                  </a:lnTo>
                  <a:lnTo>
                    <a:pt x="4079" y="212"/>
                  </a:lnTo>
                  <a:lnTo>
                    <a:pt x="4088" y="220"/>
                  </a:lnTo>
                  <a:lnTo>
                    <a:pt x="4095" y="227"/>
                  </a:lnTo>
                  <a:lnTo>
                    <a:pt x="4102" y="234"/>
                  </a:lnTo>
                  <a:lnTo>
                    <a:pt x="4108" y="242"/>
                  </a:lnTo>
                  <a:lnTo>
                    <a:pt x="4115" y="251"/>
                  </a:lnTo>
                  <a:lnTo>
                    <a:pt x="4124" y="266"/>
                  </a:lnTo>
                  <a:lnTo>
                    <a:pt x="4132" y="281"/>
                  </a:lnTo>
                  <a:lnTo>
                    <a:pt x="4138" y="298"/>
                  </a:lnTo>
                  <a:lnTo>
                    <a:pt x="4143" y="314"/>
                  </a:lnTo>
                  <a:lnTo>
                    <a:pt x="4147" y="332"/>
                  </a:lnTo>
                  <a:lnTo>
                    <a:pt x="4150" y="349"/>
                  </a:lnTo>
                  <a:lnTo>
                    <a:pt x="4152" y="369"/>
                  </a:lnTo>
                  <a:lnTo>
                    <a:pt x="4153" y="388"/>
                  </a:lnTo>
                  <a:lnTo>
                    <a:pt x="4152" y="400"/>
                  </a:lnTo>
                  <a:lnTo>
                    <a:pt x="4152" y="410"/>
                  </a:lnTo>
                  <a:lnTo>
                    <a:pt x="4151" y="419"/>
                  </a:lnTo>
                  <a:lnTo>
                    <a:pt x="4149" y="427"/>
                  </a:lnTo>
                  <a:close/>
                  <a:moveTo>
                    <a:pt x="3836" y="368"/>
                  </a:moveTo>
                  <a:lnTo>
                    <a:pt x="4074" y="368"/>
                  </a:lnTo>
                  <a:lnTo>
                    <a:pt x="4074" y="355"/>
                  </a:lnTo>
                  <a:lnTo>
                    <a:pt x="4073" y="344"/>
                  </a:lnTo>
                  <a:lnTo>
                    <a:pt x="4071" y="332"/>
                  </a:lnTo>
                  <a:lnTo>
                    <a:pt x="4069" y="321"/>
                  </a:lnTo>
                  <a:lnTo>
                    <a:pt x="4066" y="311"/>
                  </a:lnTo>
                  <a:lnTo>
                    <a:pt x="4062" y="301"/>
                  </a:lnTo>
                  <a:lnTo>
                    <a:pt x="4058" y="292"/>
                  </a:lnTo>
                  <a:lnTo>
                    <a:pt x="4052" y="282"/>
                  </a:lnTo>
                  <a:lnTo>
                    <a:pt x="4044" y="271"/>
                  </a:lnTo>
                  <a:lnTo>
                    <a:pt x="4035" y="262"/>
                  </a:lnTo>
                  <a:lnTo>
                    <a:pt x="4026" y="254"/>
                  </a:lnTo>
                  <a:lnTo>
                    <a:pt x="4015" y="247"/>
                  </a:lnTo>
                  <a:lnTo>
                    <a:pt x="4003" y="242"/>
                  </a:lnTo>
                  <a:lnTo>
                    <a:pt x="3990" y="239"/>
                  </a:lnTo>
                  <a:lnTo>
                    <a:pt x="3976" y="237"/>
                  </a:lnTo>
                  <a:lnTo>
                    <a:pt x="3961" y="236"/>
                  </a:lnTo>
                  <a:lnTo>
                    <a:pt x="3947" y="237"/>
                  </a:lnTo>
                  <a:lnTo>
                    <a:pt x="3934" y="239"/>
                  </a:lnTo>
                  <a:lnTo>
                    <a:pt x="3922" y="242"/>
                  </a:lnTo>
                  <a:lnTo>
                    <a:pt x="3910" y="247"/>
                  </a:lnTo>
                  <a:lnTo>
                    <a:pt x="3900" y="254"/>
                  </a:lnTo>
                  <a:lnTo>
                    <a:pt x="3888" y="261"/>
                  </a:lnTo>
                  <a:lnTo>
                    <a:pt x="3879" y="270"/>
                  </a:lnTo>
                  <a:lnTo>
                    <a:pt x="3870" y="280"/>
                  </a:lnTo>
                  <a:lnTo>
                    <a:pt x="3864" y="290"/>
                  </a:lnTo>
                  <a:lnTo>
                    <a:pt x="3857" y="300"/>
                  </a:lnTo>
                  <a:lnTo>
                    <a:pt x="3852" y="310"/>
                  </a:lnTo>
                  <a:lnTo>
                    <a:pt x="3848" y="320"/>
                  </a:lnTo>
                  <a:lnTo>
                    <a:pt x="3844" y="332"/>
                  </a:lnTo>
                  <a:lnTo>
                    <a:pt x="3840" y="343"/>
                  </a:lnTo>
                  <a:lnTo>
                    <a:pt x="3838" y="355"/>
                  </a:lnTo>
                  <a:lnTo>
                    <a:pt x="3836" y="368"/>
                  </a:lnTo>
                  <a:close/>
                  <a:moveTo>
                    <a:pt x="4756" y="559"/>
                  </a:moveTo>
                  <a:lnTo>
                    <a:pt x="4771" y="620"/>
                  </a:lnTo>
                  <a:lnTo>
                    <a:pt x="4756" y="627"/>
                  </a:lnTo>
                  <a:lnTo>
                    <a:pt x="4742" y="632"/>
                  </a:lnTo>
                  <a:lnTo>
                    <a:pt x="4728" y="636"/>
                  </a:lnTo>
                  <a:lnTo>
                    <a:pt x="4711" y="640"/>
                  </a:lnTo>
                  <a:lnTo>
                    <a:pt x="4695" y="643"/>
                  </a:lnTo>
                  <a:lnTo>
                    <a:pt x="4678" y="646"/>
                  </a:lnTo>
                  <a:lnTo>
                    <a:pt x="4660" y="647"/>
                  </a:lnTo>
                  <a:lnTo>
                    <a:pt x="4641" y="648"/>
                  </a:lnTo>
                  <a:lnTo>
                    <a:pt x="4617" y="647"/>
                  </a:lnTo>
                  <a:lnTo>
                    <a:pt x="4593" y="643"/>
                  </a:lnTo>
                  <a:lnTo>
                    <a:pt x="4582" y="641"/>
                  </a:lnTo>
                  <a:lnTo>
                    <a:pt x="4571" y="638"/>
                  </a:lnTo>
                  <a:lnTo>
                    <a:pt x="4560" y="635"/>
                  </a:lnTo>
                  <a:lnTo>
                    <a:pt x="4550" y="631"/>
                  </a:lnTo>
                  <a:lnTo>
                    <a:pt x="4541" y="627"/>
                  </a:lnTo>
                  <a:lnTo>
                    <a:pt x="4530" y="623"/>
                  </a:lnTo>
                  <a:lnTo>
                    <a:pt x="4521" y="618"/>
                  </a:lnTo>
                  <a:lnTo>
                    <a:pt x="4512" y="612"/>
                  </a:lnTo>
                  <a:lnTo>
                    <a:pt x="4504" y="605"/>
                  </a:lnTo>
                  <a:lnTo>
                    <a:pt x="4495" y="599"/>
                  </a:lnTo>
                  <a:lnTo>
                    <a:pt x="4487" y="592"/>
                  </a:lnTo>
                  <a:lnTo>
                    <a:pt x="4479" y="584"/>
                  </a:lnTo>
                  <a:lnTo>
                    <a:pt x="4472" y="576"/>
                  </a:lnTo>
                  <a:lnTo>
                    <a:pt x="4465" y="567"/>
                  </a:lnTo>
                  <a:lnTo>
                    <a:pt x="4458" y="559"/>
                  </a:lnTo>
                  <a:lnTo>
                    <a:pt x="4452" y="550"/>
                  </a:lnTo>
                  <a:lnTo>
                    <a:pt x="4447" y="541"/>
                  </a:lnTo>
                  <a:lnTo>
                    <a:pt x="4442" y="531"/>
                  </a:lnTo>
                  <a:lnTo>
                    <a:pt x="4437" y="521"/>
                  </a:lnTo>
                  <a:lnTo>
                    <a:pt x="4434" y="511"/>
                  </a:lnTo>
                  <a:lnTo>
                    <a:pt x="4430" y="500"/>
                  </a:lnTo>
                  <a:lnTo>
                    <a:pt x="4427" y="489"/>
                  </a:lnTo>
                  <a:lnTo>
                    <a:pt x="4424" y="478"/>
                  </a:lnTo>
                  <a:lnTo>
                    <a:pt x="4421" y="467"/>
                  </a:lnTo>
                  <a:lnTo>
                    <a:pt x="4419" y="442"/>
                  </a:lnTo>
                  <a:lnTo>
                    <a:pt x="4418" y="417"/>
                  </a:lnTo>
                  <a:lnTo>
                    <a:pt x="4418" y="404"/>
                  </a:lnTo>
                  <a:lnTo>
                    <a:pt x="4419" y="391"/>
                  </a:lnTo>
                  <a:lnTo>
                    <a:pt x="4420" y="379"/>
                  </a:lnTo>
                  <a:lnTo>
                    <a:pt x="4423" y="367"/>
                  </a:lnTo>
                  <a:lnTo>
                    <a:pt x="4425" y="355"/>
                  </a:lnTo>
                  <a:lnTo>
                    <a:pt x="4428" y="344"/>
                  </a:lnTo>
                  <a:lnTo>
                    <a:pt x="4431" y="333"/>
                  </a:lnTo>
                  <a:lnTo>
                    <a:pt x="4435" y="321"/>
                  </a:lnTo>
                  <a:lnTo>
                    <a:pt x="4439" y="311"/>
                  </a:lnTo>
                  <a:lnTo>
                    <a:pt x="4444" y="301"/>
                  </a:lnTo>
                  <a:lnTo>
                    <a:pt x="4449" y="291"/>
                  </a:lnTo>
                  <a:lnTo>
                    <a:pt x="4455" y="281"/>
                  </a:lnTo>
                  <a:lnTo>
                    <a:pt x="4462" y="272"/>
                  </a:lnTo>
                  <a:lnTo>
                    <a:pt x="4469" y="263"/>
                  </a:lnTo>
                  <a:lnTo>
                    <a:pt x="4476" y="254"/>
                  </a:lnTo>
                  <a:lnTo>
                    <a:pt x="4484" y="245"/>
                  </a:lnTo>
                  <a:lnTo>
                    <a:pt x="4492" y="237"/>
                  </a:lnTo>
                  <a:lnTo>
                    <a:pt x="4502" y="230"/>
                  </a:lnTo>
                  <a:lnTo>
                    <a:pt x="4511" y="223"/>
                  </a:lnTo>
                  <a:lnTo>
                    <a:pt x="4520" y="215"/>
                  </a:lnTo>
                  <a:lnTo>
                    <a:pt x="4529" y="210"/>
                  </a:lnTo>
                  <a:lnTo>
                    <a:pt x="4540" y="204"/>
                  </a:lnTo>
                  <a:lnTo>
                    <a:pt x="4550" y="199"/>
                  </a:lnTo>
                  <a:lnTo>
                    <a:pt x="4561" y="195"/>
                  </a:lnTo>
                  <a:lnTo>
                    <a:pt x="4573" y="191"/>
                  </a:lnTo>
                  <a:lnTo>
                    <a:pt x="4584" y="188"/>
                  </a:lnTo>
                  <a:lnTo>
                    <a:pt x="4595" y="185"/>
                  </a:lnTo>
                  <a:lnTo>
                    <a:pt x="4607" y="183"/>
                  </a:lnTo>
                  <a:lnTo>
                    <a:pt x="4620" y="181"/>
                  </a:lnTo>
                  <a:lnTo>
                    <a:pt x="4632" y="179"/>
                  </a:lnTo>
                  <a:lnTo>
                    <a:pt x="4645" y="178"/>
                  </a:lnTo>
                  <a:lnTo>
                    <a:pt x="4659" y="178"/>
                  </a:lnTo>
                  <a:lnTo>
                    <a:pt x="4676" y="178"/>
                  </a:lnTo>
                  <a:lnTo>
                    <a:pt x="4692" y="179"/>
                  </a:lnTo>
                  <a:lnTo>
                    <a:pt x="4707" y="182"/>
                  </a:lnTo>
                  <a:lnTo>
                    <a:pt x="4722" y="185"/>
                  </a:lnTo>
                  <a:lnTo>
                    <a:pt x="4736" y="188"/>
                  </a:lnTo>
                  <a:lnTo>
                    <a:pt x="4748" y="192"/>
                  </a:lnTo>
                  <a:lnTo>
                    <a:pt x="4761" y="196"/>
                  </a:lnTo>
                  <a:lnTo>
                    <a:pt x="4772" y="201"/>
                  </a:lnTo>
                  <a:lnTo>
                    <a:pt x="4753" y="265"/>
                  </a:lnTo>
                  <a:lnTo>
                    <a:pt x="4743" y="260"/>
                  </a:lnTo>
                  <a:lnTo>
                    <a:pt x="4733" y="256"/>
                  </a:lnTo>
                  <a:lnTo>
                    <a:pt x="4722" y="251"/>
                  </a:lnTo>
                  <a:lnTo>
                    <a:pt x="4710" y="248"/>
                  </a:lnTo>
                  <a:lnTo>
                    <a:pt x="4698" y="246"/>
                  </a:lnTo>
                  <a:lnTo>
                    <a:pt x="4686" y="244"/>
                  </a:lnTo>
                  <a:lnTo>
                    <a:pt x="4672" y="243"/>
                  </a:lnTo>
                  <a:lnTo>
                    <a:pt x="4659" y="243"/>
                  </a:lnTo>
                  <a:lnTo>
                    <a:pt x="4641" y="244"/>
                  </a:lnTo>
                  <a:lnTo>
                    <a:pt x="4624" y="246"/>
                  </a:lnTo>
                  <a:lnTo>
                    <a:pt x="4607" y="250"/>
                  </a:lnTo>
                  <a:lnTo>
                    <a:pt x="4593" y="256"/>
                  </a:lnTo>
                  <a:lnTo>
                    <a:pt x="4579" y="263"/>
                  </a:lnTo>
                  <a:lnTo>
                    <a:pt x="4565" y="271"/>
                  </a:lnTo>
                  <a:lnTo>
                    <a:pt x="4553" y="281"/>
                  </a:lnTo>
                  <a:lnTo>
                    <a:pt x="4542" y="294"/>
                  </a:lnTo>
                  <a:lnTo>
                    <a:pt x="4531" y="305"/>
                  </a:lnTo>
                  <a:lnTo>
                    <a:pt x="4523" y="318"/>
                  </a:lnTo>
                  <a:lnTo>
                    <a:pt x="4516" y="332"/>
                  </a:lnTo>
                  <a:lnTo>
                    <a:pt x="4511" y="346"/>
                  </a:lnTo>
                  <a:lnTo>
                    <a:pt x="4507" y="362"/>
                  </a:lnTo>
                  <a:lnTo>
                    <a:pt x="4503" y="378"/>
                  </a:lnTo>
                  <a:lnTo>
                    <a:pt x="4502" y="396"/>
                  </a:lnTo>
                  <a:lnTo>
                    <a:pt x="4501" y="413"/>
                  </a:lnTo>
                  <a:lnTo>
                    <a:pt x="4502" y="432"/>
                  </a:lnTo>
                  <a:lnTo>
                    <a:pt x="4504" y="449"/>
                  </a:lnTo>
                  <a:lnTo>
                    <a:pt x="4507" y="467"/>
                  </a:lnTo>
                  <a:lnTo>
                    <a:pt x="4512" y="482"/>
                  </a:lnTo>
                  <a:lnTo>
                    <a:pt x="4518" y="496"/>
                  </a:lnTo>
                  <a:lnTo>
                    <a:pt x="4525" y="511"/>
                  </a:lnTo>
                  <a:lnTo>
                    <a:pt x="4535" y="523"/>
                  </a:lnTo>
                  <a:lnTo>
                    <a:pt x="4545" y="535"/>
                  </a:lnTo>
                  <a:lnTo>
                    <a:pt x="4556" y="546"/>
                  </a:lnTo>
                  <a:lnTo>
                    <a:pt x="4568" y="555"/>
                  </a:lnTo>
                  <a:lnTo>
                    <a:pt x="4581" y="563"/>
                  </a:lnTo>
                  <a:lnTo>
                    <a:pt x="4594" y="569"/>
                  </a:lnTo>
                  <a:lnTo>
                    <a:pt x="4608" y="575"/>
                  </a:lnTo>
                  <a:lnTo>
                    <a:pt x="4624" y="579"/>
                  </a:lnTo>
                  <a:lnTo>
                    <a:pt x="4639" y="581"/>
                  </a:lnTo>
                  <a:lnTo>
                    <a:pt x="4657" y="581"/>
                  </a:lnTo>
                  <a:lnTo>
                    <a:pt x="4669" y="581"/>
                  </a:lnTo>
                  <a:lnTo>
                    <a:pt x="4681" y="580"/>
                  </a:lnTo>
                  <a:lnTo>
                    <a:pt x="4694" y="578"/>
                  </a:lnTo>
                  <a:lnTo>
                    <a:pt x="4706" y="576"/>
                  </a:lnTo>
                  <a:lnTo>
                    <a:pt x="4718" y="572"/>
                  </a:lnTo>
                  <a:lnTo>
                    <a:pt x="4732" y="568"/>
                  </a:lnTo>
                  <a:lnTo>
                    <a:pt x="4744" y="564"/>
                  </a:lnTo>
                  <a:lnTo>
                    <a:pt x="4756" y="559"/>
                  </a:lnTo>
                  <a:close/>
                  <a:moveTo>
                    <a:pt x="5225" y="427"/>
                  </a:moveTo>
                  <a:lnTo>
                    <a:pt x="4913" y="426"/>
                  </a:lnTo>
                  <a:lnTo>
                    <a:pt x="4914" y="445"/>
                  </a:lnTo>
                  <a:lnTo>
                    <a:pt x="4916" y="463"/>
                  </a:lnTo>
                  <a:lnTo>
                    <a:pt x="4920" y="480"/>
                  </a:lnTo>
                  <a:lnTo>
                    <a:pt x="4925" y="495"/>
                  </a:lnTo>
                  <a:lnTo>
                    <a:pt x="4931" y="510"/>
                  </a:lnTo>
                  <a:lnTo>
                    <a:pt x="4939" y="523"/>
                  </a:lnTo>
                  <a:lnTo>
                    <a:pt x="4949" y="535"/>
                  </a:lnTo>
                  <a:lnTo>
                    <a:pt x="4959" y="546"/>
                  </a:lnTo>
                  <a:lnTo>
                    <a:pt x="4969" y="554"/>
                  </a:lnTo>
                  <a:lnTo>
                    <a:pt x="4980" y="562"/>
                  </a:lnTo>
                  <a:lnTo>
                    <a:pt x="4993" y="568"/>
                  </a:lnTo>
                  <a:lnTo>
                    <a:pt x="5006" y="573"/>
                  </a:lnTo>
                  <a:lnTo>
                    <a:pt x="5019" y="577"/>
                  </a:lnTo>
                  <a:lnTo>
                    <a:pt x="5034" y="580"/>
                  </a:lnTo>
                  <a:lnTo>
                    <a:pt x="5049" y="582"/>
                  </a:lnTo>
                  <a:lnTo>
                    <a:pt x="5066" y="582"/>
                  </a:lnTo>
                  <a:lnTo>
                    <a:pt x="5082" y="582"/>
                  </a:lnTo>
                  <a:lnTo>
                    <a:pt x="5099" y="581"/>
                  </a:lnTo>
                  <a:lnTo>
                    <a:pt x="5115" y="579"/>
                  </a:lnTo>
                  <a:lnTo>
                    <a:pt x="5130" y="577"/>
                  </a:lnTo>
                  <a:lnTo>
                    <a:pt x="5146" y="573"/>
                  </a:lnTo>
                  <a:lnTo>
                    <a:pt x="5161" y="569"/>
                  </a:lnTo>
                  <a:lnTo>
                    <a:pt x="5176" y="564"/>
                  </a:lnTo>
                  <a:lnTo>
                    <a:pt x="5189" y="559"/>
                  </a:lnTo>
                  <a:lnTo>
                    <a:pt x="5203" y="618"/>
                  </a:lnTo>
                  <a:lnTo>
                    <a:pt x="5187" y="624"/>
                  </a:lnTo>
                  <a:lnTo>
                    <a:pt x="5171" y="630"/>
                  </a:lnTo>
                  <a:lnTo>
                    <a:pt x="5153" y="635"/>
                  </a:lnTo>
                  <a:lnTo>
                    <a:pt x="5135" y="639"/>
                  </a:lnTo>
                  <a:lnTo>
                    <a:pt x="5116" y="642"/>
                  </a:lnTo>
                  <a:lnTo>
                    <a:pt x="5096" y="644"/>
                  </a:lnTo>
                  <a:lnTo>
                    <a:pt x="5075" y="646"/>
                  </a:lnTo>
                  <a:lnTo>
                    <a:pt x="5054" y="647"/>
                  </a:lnTo>
                  <a:lnTo>
                    <a:pt x="5029" y="646"/>
                  </a:lnTo>
                  <a:lnTo>
                    <a:pt x="5006" y="642"/>
                  </a:lnTo>
                  <a:lnTo>
                    <a:pt x="4995" y="640"/>
                  </a:lnTo>
                  <a:lnTo>
                    <a:pt x="4984" y="637"/>
                  </a:lnTo>
                  <a:lnTo>
                    <a:pt x="4973" y="634"/>
                  </a:lnTo>
                  <a:lnTo>
                    <a:pt x="4963" y="631"/>
                  </a:lnTo>
                  <a:lnTo>
                    <a:pt x="4953" y="627"/>
                  </a:lnTo>
                  <a:lnTo>
                    <a:pt x="4943" y="622"/>
                  </a:lnTo>
                  <a:lnTo>
                    <a:pt x="4934" y="617"/>
                  </a:lnTo>
                  <a:lnTo>
                    <a:pt x="4925" y="612"/>
                  </a:lnTo>
                  <a:lnTo>
                    <a:pt x="4917" y="605"/>
                  </a:lnTo>
                  <a:lnTo>
                    <a:pt x="4909" y="598"/>
                  </a:lnTo>
                  <a:lnTo>
                    <a:pt x="4900" y="592"/>
                  </a:lnTo>
                  <a:lnTo>
                    <a:pt x="4893" y="584"/>
                  </a:lnTo>
                  <a:lnTo>
                    <a:pt x="4886" y="576"/>
                  </a:lnTo>
                  <a:lnTo>
                    <a:pt x="4879" y="567"/>
                  </a:lnTo>
                  <a:lnTo>
                    <a:pt x="4873" y="559"/>
                  </a:lnTo>
                  <a:lnTo>
                    <a:pt x="4866" y="551"/>
                  </a:lnTo>
                  <a:lnTo>
                    <a:pt x="4861" y="542"/>
                  </a:lnTo>
                  <a:lnTo>
                    <a:pt x="4856" y="531"/>
                  </a:lnTo>
                  <a:lnTo>
                    <a:pt x="4852" y="522"/>
                  </a:lnTo>
                  <a:lnTo>
                    <a:pt x="4848" y="512"/>
                  </a:lnTo>
                  <a:lnTo>
                    <a:pt x="4845" y="501"/>
                  </a:lnTo>
                  <a:lnTo>
                    <a:pt x="4842" y="490"/>
                  </a:lnTo>
                  <a:lnTo>
                    <a:pt x="4840" y="480"/>
                  </a:lnTo>
                  <a:lnTo>
                    <a:pt x="4837" y="469"/>
                  </a:lnTo>
                  <a:lnTo>
                    <a:pt x="4835" y="445"/>
                  </a:lnTo>
                  <a:lnTo>
                    <a:pt x="4834" y="419"/>
                  </a:lnTo>
                  <a:lnTo>
                    <a:pt x="4835" y="394"/>
                  </a:lnTo>
                  <a:lnTo>
                    <a:pt x="4837" y="370"/>
                  </a:lnTo>
                  <a:lnTo>
                    <a:pt x="4842" y="346"/>
                  </a:lnTo>
                  <a:lnTo>
                    <a:pt x="4848" y="324"/>
                  </a:lnTo>
                  <a:lnTo>
                    <a:pt x="4852" y="313"/>
                  </a:lnTo>
                  <a:lnTo>
                    <a:pt x="4856" y="303"/>
                  </a:lnTo>
                  <a:lnTo>
                    <a:pt x="4860" y="293"/>
                  </a:lnTo>
                  <a:lnTo>
                    <a:pt x="4865" y="282"/>
                  </a:lnTo>
                  <a:lnTo>
                    <a:pt x="4872" y="273"/>
                  </a:lnTo>
                  <a:lnTo>
                    <a:pt x="4878" y="264"/>
                  </a:lnTo>
                  <a:lnTo>
                    <a:pt x="4884" y="255"/>
                  </a:lnTo>
                  <a:lnTo>
                    <a:pt x="4891" y="246"/>
                  </a:lnTo>
                  <a:lnTo>
                    <a:pt x="4898" y="238"/>
                  </a:lnTo>
                  <a:lnTo>
                    <a:pt x="4905" y="230"/>
                  </a:lnTo>
                  <a:lnTo>
                    <a:pt x="4914" y="223"/>
                  </a:lnTo>
                  <a:lnTo>
                    <a:pt x="4922" y="217"/>
                  </a:lnTo>
                  <a:lnTo>
                    <a:pt x="4930" y="210"/>
                  </a:lnTo>
                  <a:lnTo>
                    <a:pt x="4939" y="204"/>
                  </a:lnTo>
                  <a:lnTo>
                    <a:pt x="4949" y="199"/>
                  </a:lnTo>
                  <a:lnTo>
                    <a:pt x="4958" y="195"/>
                  </a:lnTo>
                  <a:lnTo>
                    <a:pt x="4967" y="191"/>
                  </a:lnTo>
                  <a:lnTo>
                    <a:pt x="4977" y="187"/>
                  </a:lnTo>
                  <a:lnTo>
                    <a:pt x="4988" y="185"/>
                  </a:lnTo>
                  <a:lnTo>
                    <a:pt x="4999" y="182"/>
                  </a:lnTo>
                  <a:lnTo>
                    <a:pt x="5009" y="179"/>
                  </a:lnTo>
                  <a:lnTo>
                    <a:pt x="5021" y="178"/>
                  </a:lnTo>
                  <a:lnTo>
                    <a:pt x="5032" y="177"/>
                  </a:lnTo>
                  <a:lnTo>
                    <a:pt x="5044" y="177"/>
                  </a:lnTo>
                  <a:lnTo>
                    <a:pt x="5055" y="177"/>
                  </a:lnTo>
                  <a:lnTo>
                    <a:pt x="5068" y="178"/>
                  </a:lnTo>
                  <a:lnTo>
                    <a:pt x="5079" y="181"/>
                  </a:lnTo>
                  <a:lnTo>
                    <a:pt x="5090" y="183"/>
                  </a:lnTo>
                  <a:lnTo>
                    <a:pt x="5101" y="185"/>
                  </a:lnTo>
                  <a:lnTo>
                    <a:pt x="5111" y="188"/>
                  </a:lnTo>
                  <a:lnTo>
                    <a:pt x="5120" y="192"/>
                  </a:lnTo>
                  <a:lnTo>
                    <a:pt x="5129" y="196"/>
                  </a:lnTo>
                  <a:lnTo>
                    <a:pt x="5139" y="201"/>
                  </a:lnTo>
                  <a:lnTo>
                    <a:pt x="5148" y="206"/>
                  </a:lnTo>
                  <a:lnTo>
                    <a:pt x="5156" y="212"/>
                  </a:lnTo>
                  <a:lnTo>
                    <a:pt x="5163" y="220"/>
                  </a:lnTo>
                  <a:lnTo>
                    <a:pt x="5172" y="227"/>
                  </a:lnTo>
                  <a:lnTo>
                    <a:pt x="5178" y="234"/>
                  </a:lnTo>
                  <a:lnTo>
                    <a:pt x="5185" y="242"/>
                  </a:lnTo>
                  <a:lnTo>
                    <a:pt x="5191" y="251"/>
                  </a:lnTo>
                  <a:lnTo>
                    <a:pt x="5200" y="266"/>
                  </a:lnTo>
                  <a:lnTo>
                    <a:pt x="5208" y="281"/>
                  </a:lnTo>
                  <a:lnTo>
                    <a:pt x="5215" y="298"/>
                  </a:lnTo>
                  <a:lnTo>
                    <a:pt x="5220" y="314"/>
                  </a:lnTo>
                  <a:lnTo>
                    <a:pt x="5224" y="332"/>
                  </a:lnTo>
                  <a:lnTo>
                    <a:pt x="5227" y="349"/>
                  </a:lnTo>
                  <a:lnTo>
                    <a:pt x="5229" y="369"/>
                  </a:lnTo>
                  <a:lnTo>
                    <a:pt x="5229" y="388"/>
                  </a:lnTo>
                  <a:lnTo>
                    <a:pt x="5229" y="400"/>
                  </a:lnTo>
                  <a:lnTo>
                    <a:pt x="5228" y="410"/>
                  </a:lnTo>
                  <a:lnTo>
                    <a:pt x="5227" y="419"/>
                  </a:lnTo>
                  <a:lnTo>
                    <a:pt x="5225" y="427"/>
                  </a:lnTo>
                  <a:close/>
                  <a:moveTo>
                    <a:pt x="4913" y="368"/>
                  </a:moveTo>
                  <a:lnTo>
                    <a:pt x="5150" y="368"/>
                  </a:lnTo>
                  <a:lnTo>
                    <a:pt x="5150" y="355"/>
                  </a:lnTo>
                  <a:lnTo>
                    <a:pt x="5149" y="344"/>
                  </a:lnTo>
                  <a:lnTo>
                    <a:pt x="5148" y="332"/>
                  </a:lnTo>
                  <a:lnTo>
                    <a:pt x="5145" y="321"/>
                  </a:lnTo>
                  <a:lnTo>
                    <a:pt x="5142" y="311"/>
                  </a:lnTo>
                  <a:lnTo>
                    <a:pt x="5139" y="301"/>
                  </a:lnTo>
                  <a:lnTo>
                    <a:pt x="5134" y="292"/>
                  </a:lnTo>
                  <a:lnTo>
                    <a:pt x="5128" y="282"/>
                  </a:lnTo>
                  <a:lnTo>
                    <a:pt x="5120" y="271"/>
                  </a:lnTo>
                  <a:lnTo>
                    <a:pt x="5112" y="262"/>
                  </a:lnTo>
                  <a:lnTo>
                    <a:pt x="5102" y="254"/>
                  </a:lnTo>
                  <a:lnTo>
                    <a:pt x="5091" y="247"/>
                  </a:lnTo>
                  <a:lnTo>
                    <a:pt x="5079" y="242"/>
                  </a:lnTo>
                  <a:lnTo>
                    <a:pt x="5067" y="239"/>
                  </a:lnTo>
                  <a:lnTo>
                    <a:pt x="5052" y="237"/>
                  </a:lnTo>
                  <a:lnTo>
                    <a:pt x="5037" y="236"/>
                  </a:lnTo>
                  <a:lnTo>
                    <a:pt x="5024" y="237"/>
                  </a:lnTo>
                  <a:lnTo>
                    <a:pt x="5010" y="239"/>
                  </a:lnTo>
                  <a:lnTo>
                    <a:pt x="4998" y="242"/>
                  </a:lnTo>
                  <a:lnTo>
                    <a:pt x="4987" y="247"/>
                  </a:lnTo>
                  <a:lnTo>
                    <a:pt x="4975" y="254"/>
                  </a:lnTo>
                  <a:lnTo>
                    <a:pt x="4965" y="261"/>
                  </a:lnTo>
                  <a:lnTo>
                    <a:pt x="4956" y="270"/>
                  </a:lnTo>
                  <a:lnTo>
                    <a:pt x="4947" y="280"/>
                  </a:lnTo>
                  <a:lnTo>
                    <a:pt x="4940" y="290"/>
                  </a:lnTo>
                  <a:lnTo>
                    <a:pt x="4934" y="300"/>
                  </a:lnTo>
                  <a:lnTo>
                    <a:pt x="4929" y="310"/>
                  </a:lnTo>
                  <a:lnTo>
                    <a:pt x="4924" y="320"/>
                  </a:lnTo>
                  <a:lnTo>
                    <a:pt x="4920" y="332"/>
                  </a:lnTo>
                  <a:lnTo>
                    <a:pt x="4917" y="343"/>
                  </a:lnTo>
                  <a:lnTo>
                    <a:pt x="4914" y="355"/>
                  </a:lnTo>
                  <a:lnTo>
                    <a:pt x="4913" y="368"/>
                  </a:lnTo>
                  <a:close/>
                  <a:moveTo>
                    <a:pt x="5330" y="637"/>
                  </a:moveTo>
                  <a:lnTo>
                    <a:pt x="5330" y="328"/>
                  </a:lnTo>
                  <a:lnTo>
                    <a:pt x="5330" y="291"/>
                  </a:lnTo>
                  <a:lnTo>
                    <a:pt x="5330" y="256"/>
                  </a:lnTo>
                  <a:lnTo>
                    <a:pt x="5329" y="221"/>
                  </a:lnTo>
                  <a:lnTo>
                    <a:pt x="5328" y="188"/>
                  </a:lnTo>
                  <a:lnTo>
                    <a:pt x="5399" y="188"/>
                  </a:lnTo>
                  <a:lnTo>
                    <a:pt x="5402" y="276"/>
                  </a:lnTo>
                  <a:lnTo>
                    <a:pt x="5406" y="276"/>
                  </a:lnTo>
                  <a:lnTo>
                    <a:pt x="5409" y="265"/>
                  </a:lnTo>
                  <a:lnTo>
                    <a:pt x="5414" y="255"/>
                  </a:lnTo>
                  <a:lnTo>
                    <a:pt x="5419" y="245"/>
                  </a:lnTo>
                  <a:lnTo>
                    <a:pt x="5425" y="236"/>
                  </a:lnTo>
                  <a:lnTo>
                    <a:pt x="5432" y="227"/>
                  </a:lnTo>
                  <a:lnTo>
                    <a:pt x="5439" y="219"/>
                  </a:lnTo>
                  <a:lnTo>
                    <a:pt x="5446" y="211"/>
                  </a:lnTo>
                  <a:lnTo>
                    <a:pt x="5454" y="204"/>
                  </a:lnTo>
                  <a:lnTo>
                    <a:pt x="5463" y="198"/>
                  </a:lnTo>
                  <a:lnTo>
                    <a:pt x="5472" y="193"/>
                  </a:lnTo>
                  <a:lnTo>
                    <a:pt x="5481" y="188"/>
                  </a:lnTo>
                  <a:lnTo>
                    <a:pt x="5490" y="185"/>
                  </a:lnTo>
                  <a:lnTo>
                    <a:pt x="5500" y="182"/>
                  </a:lnTo>
                  <a:lnTo>
                    <a:pt x="5510" y="179"/>
                  </a:lnTo>
                  <a:lnTo>
                    <a:pt x="5520" y="177"/>
                  </a:lnTo>
                  <a:lnTo>
                    <a:pt x="5529" y="177"/>
                  </a:lnTo>
                  <a:lnTo>
                    <a:pt x="5541" y="178"/>
                  </a:lnTo>
                  <a:lnTo>
                    <a:pt x="5553" y="181"/>
                  </a:lnTo>
                  <a:lnTo>
                    <a:pt x="5553" y="258"/>
                  </a:lnTo>
                  <a:lnTo>
                    <a:pt x="5539" y="256"/>
                  </a:lnTo>
                  <a:lnTo>
                    <a:pt x="5524" y="255"/>
                  </a:lnTo>
                  <a:lnTo>
                    <a:pt x="5511" y="256"/>
                  </a:lnTo>
                  <a:lnTo>
                    <a:pt x="5498" y="258"/>
                  </a:lnTo>
                  <a:lnTo>
                    <a:pt x="5486" y="261"/>
                  </a:lnTo>
                  <a:lnTo>
                    <a:pt x="5475" y="266"/>
                  </a:lnTo>
                  <a:lnTo>
                    <a:pt x="5464" y="272"/>
                  </a:lnTo>
                  <a:lnTo>
                    <a:pt x="5455" y="280"/>
                  </a:lnTo>
                  <a:lnTo>
                    <a:pt x="5446" y="290"/>
                  </a:lnTo>
                  <a:lnTo>
                    <a:pt x="5438" y="300"/>
                  </a:lnTo>
                  <a:lnTo>
                    <a:pt x="5432" y="310"/>
                  </a:lnTo>
                  <a:lnTo>
                    <a:pt x="5426" y="321"/>
                  </a:lnTo>
                  <a:lnTo>
                    <a:pt x="5421" y="333"/>
                  </a:lnTo>
                  <a:lnTo>
                    <a:pt x="5418" y="344"/>
                  </a:lnTo>
                  <a:lnTo>
                    <a:pt x="5415" y="356"/>
                  </a:lnTo>
                  <a:lnTo>
                    <a:pt x="5413" y="370"/>
                  </a:lnTo>
                  <a:lnTo>
                    <a:pt x="5411" y="383"/>
                  </a:lnTo>
                  <a:lnTo>
                    <a:pt x="5411" y="398"/>
                  </a:lnTo>
                  <a:lnTo>
                    <a:pt x="5411" y="637"/>
                  </a:lnTo>
                  <a:lnTo>
                    <a:pt x="5330" y="637"/>
                  </a:lnTo>
                  <a:close/>
                  <a:moveTo>
                    <a:pt x="5652" y="105"/>
                  </a:moveTo>
                  <a:lnTo>
                    <a:pt x="5732" y="80"/>
                  </a:lnTo>
                  <a:lnTo>
                    <a:pt x="5732" y="188"/>
                  </a:lnTo>
                  <a:lnTo>
                    <a:pt x="5849" y="188"/>
                  </a:lnTo>
                  <a:lnTo>
                    <a:pt x="5849" y="249"/>
                  </a:lnTo>
                  <a:lnTo>
                    <a:pt x="5732" y="249"/>
                  </a:lnTo>
                  <a:lnTo>
                    <a:pt x="5732" y="492"/>
                  </a:lnTo>
                  <a:lnTo>
                    <a:pt x="5733" y="503"/>
                  </a:lnTo>
                  <a:lnTo>
                    <a:pt x="5733" y="513"/>
                  </a:lnTo>
                  <a:lnTo>
                    <a:pt x="5734" y="522"/>
                  </a:lnTo>
                  <a:lnTo>
                    <a:pt x="5736" y="530"/>
                  </a:lnTo>
                  <a:lnTo>
                    <a:pt x="5738" y="539"/>
                  </a:lnTo>
                  <a:lnTo>
                    <a:pt x="5741" y="546"/>
                  </a:lnTo>
                  <a:lnTo>
                    <a:pt x="5744" y="552"/>
                  </a:lnTo>
                  <a:lnTo>
                    <a:pt x="5747" y="557"/>
                  </a:lnTo>
                  <a:lnTo>
                    <a:pt x="5751" y="562"/>
                  </a:lnTo>
                  <a:lnTo>
                    <a:pt x="5756" y="567"/>
                  </a:lnTo>
                  <a:lnTo>
                    <a:pt x="5760" y="570"/>
                  </a:lnTo>
                  <a:lnTo>
                    <a:pt x="5766" y="573"/>
                  </a:lnTo>
                  <a:lnTo>
                    <a:pt x="5773" y="577"/>
                  </a:lnTo>
                  <a:lnTo>
                    <a:pt x="5779" y="578"/>
                  </a:lnTo>
                  <a:lnTo>
                    <a:pt x="5786" y="579"/>
                  </a:lnTo>
                  <a:lnTo>
                    <a:pt x="5793" y="580"/>
                  </a:lnTo>
                  <a:lnTo>
                    <a:pt x="5807" y="579"/>
                  </a:lnTo>
                  <a:lnTo>
                    <a:pt x="5819" y="578"/>
                  </a:lnTo>
                  <a:lnTo>
                    <a:pt x="5830" y="577"/>
                  </a:lnTo>
                  <a:lnTo>
                    <a:pt x="5840" y="573"/>
                  </a:lnTo>
                  <a:lnTo>
                    <a:pt x="5844" y="635"/>
                  </a:lnTo>
                  <a:lnTo>
                    <a:pt x="5829" y="640"/>
                  </a:lnTo>
                  <a:lnTo>
                    <a:pt x="5812" y="644"/>
                  </a:lnTo>
                  <a:lnTo>
                    <a:pt x="5792" y="647"/>
                  </a:lnTo>
                  <a:lnTo>
                    <a:pt x="5772" y="648"/>
                  </a:lnTo>
                  <a:lnTo>
                    <a:pt x="5758" y="647"/>
                  </a:lnTo>
                  <a:lnTo>
                    <a:pt x="5745" y="644"/>
                  </a:lnTo>
                  <a:lnTo>
                    <a:pt x="5733" y="642"/>
                  </a:lnTo>
                  <a:lnTo>
                    <a:pt x="5721" y="638"/>
                  </a:lnTo>
                  <a:lnTo>
                    <a:pt x="5710" y="633"/>
                  </a:lnTo>
                  <a:lnTo>
                    <a:pt x="5701" y="627"/>
                  </a:lnTo>
                  <a:lnTo>
                    <a:pt x="5691" y="620"/>
                  </a:lnTo>
                  <a:lnTo>
                    <a:pt x="5683" y="612"/>
                  </a:lnTo>
                  <a:lnTo>
                    <a:pt x="5676" y="602"/>
                  </a:lnTo>
                  <a:lnTo>
                    <a:pt x="5670" y="591"/>
                  </a:lnTo>
                  <a:lnTo>
                    <a:pt x="5665" y="579"/>
                  </a:lnTo>
                  <a:lnTo>
                    <a:pt x="5660" y="565"/>
                  </a:lnTo>
                  <a:lnTo>
                    <a:pt x="5657" y="550"/>
                  </a:lnTo>
                  <a:lnTo>
                    <a:pt x="5654" y="532"/>
                  </a:lnTo>
                  <a:lnTo>
                    <a:pt x="5652" y="515"/>
                  </a:lnTo>
                  <a:lnTo>
                    <a:pt x="5652" y="495"/>
                  </a:lnTo>
                  <a:lnTo>
                    <a:pt x="5652" y="249"/>
                  </a:lnTo>
                  <a:lnTo>
                    <a:pt x="5583" y="249"/>
                  </a:lnTo>
                  <a:lnTo>
                    <a:pt x="5583" y="188"/>
                  </a:lnTo>
                  <a:lnTo>
                    <a:pt x="5652" y="188"/>
                  </a:lnTo>
                  <a:lnTo>
                    <a:pt x="5652" y="105"/>
                  </a:lnTo>
                  <a:close/>
                  <a:moveTo>
                    <a:pt x="6256" y="362"/>
                  </a:moveTo>
                  <a:lnTo>
                    <a:pt x="6256" y="529"/>
                  </a:lnTo>
                  <a:lnTo>
                    <a:pt x="6257" y="561"/>
                  </a:lnTo>
                  <a:lnTo>
                    <a:pt x="6258" y="589"/>
                  </a:lnTo>
                  <a:lnTo>
                    <a:pt x="6260" y="615"/>
                  </a:lnTo>
                  <a:lnTo>
                    <a:pt x="6263" y="637"/>
                  </a:lnTo>
                  <a:lnTo>
                    <a:pt x="6189" y="637"/>
                  </a:lnTo>
                  <a:lnTo>
                    <a:pt x="6183" y="581"/>
                  </a:lnTo>
                  <a:lnTo>
                    <a:pt x="6180" y="581"/>
                  </a:lnTo>
                  <a:lnTo>
                    <a:pt x="6173" y="588"/>
                  </a:lnTo>
                  <a:lnTo>
                    <a:pt x="6167" y="596"/>
                  </a:lnTo>
                  <a:lnTo>
                    <a:pt x="6160" y="603"/>
                  </a:lnTo>
                  <a:lnTo>
                    <a:pt x="6154" y="610"/>
                  </a:lnTo>
                  <a:lnTo>
                    <a:pt x="6146" y="616"/>
                  </a:lnTo>
                  <a:lnTo>
                    <a:pt x="6138" y="621"/>
                  </a:lnTo>
                  <a:lnTo>
                    <a:pt x="6130" y="626"/>
                  </a:lnTo>
                  <a:lnTo>
                    <a:pt x="6122" y="630"/>
                  </a:lnTo>
                  <a:lnTo>
                    <a:pt x="6113" y="634"/>
                  </a:lnTo>
                  <a:lnTo>
                    <a:pt x="6104" y="637"/>
                  </a:lnTo>
                  <a:lnTo>
                    <a:pt x="6094" y="640"/>
                  </a:lnTo>
                  <a:lnTo>
                    <a:pt x="6085" y="642"/>
                  </a:lnTo>
                  <a:lnTo>
                    <a:pt x="6075" y="644"/>
                  </a:lnTo>
                  <a:lnTo>
                    <a:pt x="6064" y="647"/>
                  </a:lnTo>
                  <a:lnTo>
                    <a:pt x="6053" y="647"/>
                  </a:lnTo>
                  <a:lnTo>
                    <a:pt x="6043" y="648"/>
                  </a:lnTo>
                  <a:lnTo>
                    <a:pt x="6026" y="647"/>
                  </a:lnTo>
                  <a:lnTo>
                    <a:pt x="6012" y="644"/>
                  </a:lnTo>
                  <a:lnTo>
                    <a:pt x="5998" y="641"/>
                  </a:lnTo>
                  <a:lnTo>
                    <a:pt x="5984" y="637"/>
                  </a:lnTo>
                  <a:lnTo>
                    <a:pt x="5972" y="631"/>
                  </a:lnTo>
                  <a:lnTo>
                    <a:pt x="5961" y="625"/>
                  </a:lnTo>
                  <a:lnTo>
                    <a:pt x="5949" y="617"/>
                  </a:lnTo>
                  <a:lnTo>
                    <a:pt x="5939" y="607"/>
                  </a:lnTo>
                  <a:lnTo>
                    <a:pt x="5932" y="598"/>
                  </a:lnTo>
                  <a:lnTo>
                    <a:pt x="5925" y="588"/>
                  </a:lnTo>
                  <a:lnTo>
                    <a:pt x="5919" y="578"/>
                  </a:lnTo>
                  <a:lnTo>
                    <a:pt x="5913" y="566"/>
                  </a:lnTo>
                  <a:lnTo>
                    <a:pt x="5910" y="555"/>
                  </a:lnTo>
                  <a:lnTo>
                    <a:pt x="5907" y="543"/>
                  </a:lnTo>
                  <a:lnTo>
                    <a:pt x="5906" y="531"/>
                  </a:lnTo>
                  <a:lnTo>
                    <a:pt x="5905" y="518"/>
                  </a:lnTo>
                  <a:lnTo>
                    <a:pt x="5905" y="508"/>
                  </a:lnTo>
                  <a:lnTo>
                    <a:pt x="5906" y="498"/>
                  </a:lnTo>
                  <a:lnTo>
                    <a:pt x="5907" y="489"/>
                  </a:lnTo>
                  <a:lnTo>
                    <a:pt x="5909" y="480"/>
                  </a:lnTo>
                  <a:lnTo>
                    <a:pt x="5912" y="471"/>
                  </a:lnTo>
                  <a:lnTo>
                    <a:pt x="5915" y="462"/>
                  </a:lnTo>
                  <a:lnTo>
                    <a:pt x="5919" y="454"/>
                  </a:lnTo>
                  <a:lnTo>
                    <a:pt x="5923" y="446"/>
                  </a:lnTo>
                  <a:lnTo>
                    <a:pt x="5928" y="439"/>
                  </a:lnTo>
                  <a:lnTo>
                    <a:pt x="5933" y="432"/>
                  </a:lnTo>
                  <a:lnTo>
                    <a:pt x="5938" y="424"/>
                  </a:lnTo>
                  <a:lnTo>
                    <a:pt x="5944" y="417"/>
                  </a:lnTo>
                  <a:lnTo>
                    <a:pt x="5951" y="411"/>
                  </a:lnTo>
                  <a:lnTo>
                    <a:pt x="5959" y="405"/>
                  </a:lnTo>
                  <a:lnTo>
                    <a:pt x="5967" y="399"/>
                  </a:lnTo>
                  <a:lnTo>
                    <a:pt x="5975" y="393"/>
                  </a:lnTo>
                  <a:lnTo>
                    <a:pt x="5994" y="383"/>
                  </a:lnTo>
                  <a:lnTo>
                    <a:pt x="6014" y="374"/>
                  </a:lnTo>
                  <a:lnTo>
                    <a:pt x="6036" y="367"/>
                  </a:lnTo>
                  <a:lnTo>
                    <a:pt x="6060" y="362"/>
                  </a:lnTo>
                  <a:lnTo>
                    <a:pt x="6086" y="356"/>
                  </a:lnTo>
                  <a:lnTo>
                    <a:pt x="6114" y="353"/>
                  </a:lnTo>
                  <a:lnTo>
                    <a:pt x="6144" y="351"/>
                  </a:lnTo>
                  <a:lnTo>
                    <a:pt x="6175" y="351"/>
                  </a:lnTo>
                  <a:lnTo>
                    <a:pt x="6175" y="342"/>
                  </a:lnTo>
                  <a:lnTo>
                    <a:pt x="6174" y="329"/>
                  </a:lnTo>
                  <a:lnTo>
                    <a:pt x="6173" y="317"/>
                  </a:lnTo>
                  <a:lnTo>
                    <a:pt x="6171" y="306"/>
                  </a:lnTo>
                  <a:lnTo>
                    <a:pt x="6168" y="296"/>
                  </a:lnTo>
                  <a:lnTo>
                    <a:pt x="6165" y="286"/>
                  </a:lnTo>
                  <a:lnTo>
                    <a:pt x="6161" y="278"/>
                  </a:lnTo>
                  <a:lnTo>
                    <a:pt x="6156" y="271"/>
                  </a:lnTo>
                  <a:lnTo>
                    <a:pt x="6150" y="264"/>
                  </a:lnTo>
                  <a:lnTo>
                    <a:pt x="6143" y="258"/>
                  </a:lnTo>
                  <a:lnTo>
                    <a:pt x="6135" y="253"/>
                  </a:lnTo>
                  <a:lnTo>
                    <a:pt x="6127" y="248"/>
                  </a:lnTo>
                  <a:lnTo>
                    <a:pt x="6118" y="244"/>
                  </a:lnTo>
                  <a:lnTo>
                    <a:pt x="6108" y="241"/>
                  </a:lnTo>
                  <a:lnTo>
                    <a:pt x="6097" y="239"/>
                  </a:lnTo>
                  <a:lnTo>
                    <a:pt x="6085" y="238"/>
                  </a:lnTo>
                  <a:lnTo>
                    <a:pt x="6073" y="238"/>
                  </a:lnTo>
                  <a:lnTo>
                    <a:pt x="6056" y="238"/>
                  </a:lnTo>
                  <a:lnTo>
                    <a:pt x="6041" y="240"/>
                  </a:lnTo>
                  <a:lnTo>
                    <a:pt x="6025" y="242"/>
                  </a:lnTo>
                  <a:lnTo>
                    <a:pt x="6010" y="246"/>
                  </a:lnTo>
                  <a:lnTo>
                    <a:pt x="5996" y="250"/>
                  </a:lnTo>
                  <a:lnTo>
                    <a:pt x="5982" y="257"/>
                  </a:lnTo>
                  <a:lnTo>
                    <a:pt x="5969" y="264"/>
                  </a:lnTo>
                  <a:lnTo>
                    <a:pt x="5957" y="271"/>
                  </a:lnTo>
                  <a:lnTo>
                    <a:pt x="5938" y="218"/>
                  </a:lnTo>
                  <a:lnTo>
                    <a:pt x="5953" y="208"/>
                  </a:lnTo>
                  <a:lnTo>
                    <a:pt x="5970" y="200"/>
                  </a:lnTo>
                  <a:lnTo>
                    <a:pt x="5987" y="193"/>
                  </a:lnTo>
                  <a:lnTo>
                    <a:pt x="6005" y="188"/>
                  </a:lnTo>
                  <a:lnTo>
                    <a:pt x="6024" y="183"/>
                  </a:lnTo>
                  <a:lnTo>
                    <a:pt x="6044" y="179"/>
                  </a:lnTo>
                  <a:lnTo>
                    <a:pt x="6063" y="178"/>
                  </a:lnTo>
                  <a:lnTo>
                    <a:pt x="6085" y="177"/>
                  </a:lnTo>
                  <a:lnTo>
                    <a:pt x="6106" y="178"/>
                  </a:lnTo>
                  <a:lnTo>
                    <a:pt x="6125" y="181"/>
                  </a:lnTo>
                  <a:lnTo>
                    <a:pt x="6143" y="184"/>
                  </a:lnTo>
                  <a:lnTo>
                    <a:pt x="6160" y="189"/>
                  </a:lnTo>
                  <a:lnTo>
                    <a:pt x="6175" y="195"/>
                  </a:lnTo>
                  <a:lnTo>
                    <a:pt x="6189" y="203"/>
                  </a:lnTo>
                  <a:lnTo>
                    <a:pt x="6202" y="212"/>
                  </a:lnTo>
                  <a:lnTo>
                    <a:pt x="6213" y="224"/>
                  </a:lnTo>
                  <a:lnTo>
                    <a:pt x="6223" y="236"/>
                  </a:lnTo>
                  <a:lnTo>
                    <a:pt x="6232" y="249"/>
                  </a:lnTo>
                  <a:lnTo>
                    <a:pt x="6239" y="264"/>
                  </a:lnTo>
                  <a:lnTo>
                    <a:pt x="6245" y="280"/>
                  </a:lnTo>
                  <a:lnTo>
                    <a:pt x="6249" y="299"/>
                  </a:lnTo>
                  <a:lnTo>
                    <a:pt x="6254" y="318"/>
                  </a:lnTo>
                  <a:lnTo>
                    <a:pt x="6255" y="339"/>
                  </a:lnTo>
                  <a:lnTo>
                    <a:pt x="6256" y="362"/>
                  </a:lnTo>
                  <a:close/>
                  <a:moveTo>
                    <a:pt x="6175" y="486"/>
                  </a:moveTo>
                  <a:lnTo>
                    <a:pt x="6175" y="408"/>
                  </a:lnTo>
                  <a:lnTo>
                    <a:pt x="6152" y="408"/>
                  </a:lnTo>
                  <a:lnTo>
                    <a:pt x="6131" y="409"/>
                  </a:lnTo>
                  <a:lnTo>
                    <a:pt x="6111" y="410"/>
                  </a:lnTo>
                  <a:lnTo>
                    <a:pt x="6092" y="413"/>
                  </a:lnTo>
                  <a:lnTo>
                    <a:pt x="6076" y="416"/>
                  </a:lnTo>
                  <a:lnTo>
                    <a:pt x="6060" y="420"/>
                  </a:lnTo>
                  <a:lnTo>
                    <a:pt x="6046" y="425"/>
                  </a:lnTo>
                  <a:lnTo>
                    <a:pt x="6034" y="432"/>
                  </a:lnTo>
                  <a:lnTo>
                    <a:pt x="6022" y="438"/>
                  </a:lnTo>
                  <a:lnTo>
                    <a:pt x="6013" y="445"/>
                  </a:lnTo>
                  <a:lnTo>
                    <a:pt x="6005" y="454"/>
                  </a:lnTo>
                  <a:lnTo>
                    <a:pt x="5999" y="463"/>
                  </a:lnTo>
                  <a:lnTo>
                    <a:pt x="5994" y="474"/>
                  </a:lnTo>
                  <a:lnTo>
                    <a:pt x="5989" y="484"/>
                  </a:lnTo>
                  <a:lnTo>
                    <a:pt x="5987" y="496"/>
                  </a:lnTo>
                  <a:lnTo>
                    <a:pt x="5986" y="509"/>
                  </a:lnTo>
                  <a:lnTo>
                    <a:pt x="5987" y="518"/>
                  </a:lnTo>
                  <a:lnTo>
                    <a:pt x="5988" y="527"/>
                  </a:lnTo>
                  <a:lnTo>
                    <a:pt x="5990" y="534"/>
                  </a:lnTo>
                  <a:lnTo>
                    <a:pt x="5993" y="543"/>
                  </a:lnTo>
                  <a:lnTo>
                    <a:pt x="5996" y="550"/>
                  </a:lnTo>
                  <a:lnTo>
                    <a:pt x="6000" y="556"/>
                  </a:lnTo>
                  <a:lnTo>
                    <a:pt x="6005" y="562"/>
                  </a:lnTo>
                  <a:lnTo>
                    <a:pt x="6010" y="567"/>
                  </a:lnTo>
                  <a:lnTo>
                    <a:pt x="6015" y="571"/>
                  </a:lnTo>
                  <a:lnTo>
                    <a:pt x="6020" y="576"/>
                  </a:lnTo>
                  <a:lnTo>
                    <a:pt x="6026" y="579"/>
                  </a:lnTo>
                  <a:lnTo>
                    <a:pt x="6034" y="582"/>
                  </a:lnTo>
                  <a:lnTo>
                    <a:pt x="6040" y="584"/>
                  </a:lnTo>
                  <a:lnTo>
                    <a:pt x="6047" y="586"/>
                  </a:lnTo>
                  <a:lnTo>
                    <a:pt x="6055" y="587"/>
                  </a:lnTo>
                  <a:lnTo>
                    <a:pt x="6063" y="587"/>
                  </a:lnTo>
                  <a:lnTo>
                    <a:pt x="6073" y="587"/>
                  </a:lnTo>
                  <a:lnTo>
                    <a:pt x="6083" y="585"/>
                  </a:lnTo>
                  <a:lnTo>
                    <a:pt x="6092" y="584"/>
                  </a:lnTo>
                  <a:lnTo>
                    <a:pt x="6100" y="581"/>
                  </a:lnTo>
                  <a:lnTo>
                    <a:pt x="6110" y="578"/>
                  </a:lnTo>
                  <a:lnTo>
                    <a:pt x="6118" y="573"/>
                  </a:lnTo>
                  <a:lnTo>
                    <a:pt x="6126" y="569"/>
                  </a:lnTo>
                  <a:lnTo>
                    <a:pt x="6133" y="563"/>
                  </a:lnTo>
                  <a:lnTo>
                    <a:pt x="6140" y="558"/>
                  </a:lnTo>
                  <a:lnTo>
                    <a:pt x="6146" y="553"/>
                  </a:lnTo>
                  <a:lnTo>
                    <a:pt x="6152" y="547"/>
                  </a:lnTo>
                  <a:lnTo>
                    <a:pt x="6156" y="541"/>
                  </a:lnTo>
                  <a:lnTo>
                    <a:pt x="6161" y="533"/>
                  </a:lnTo>
                  <a:lnTo>
                    <a:pt x="6164" y="526"/>
                  </a:lnTo>
                  <a:lnTo>
                    <a:pt x="6167" y="519"/>
                  </a:lnTo>
                  <a:lnTo>
                    <a:pt x="6170" y="512"/>
                  </a:lnTo>
                  <a:lnTo>
                    <a:pt x="6172" y="506"/>
                  </a:lnTo>
                  <a:lnTo>
                    <a:pt x="6173" y="499"/>
                  </a:lnTo>
                  <a:lnTo>
                    <a:pt x="6174" y="493"/>
                  </a:lnTo>
                  <a:lnTo>
                    <a:pt x="6175" y="486"/>
                  </a:lnTo>
                  <a:close/>
                  <a:moveTo>
                    <a:pt x="6469" y="637"/>
                  </a:moveTo>
                  <a:lnTo>
                    <a:pt x="6387" y="637"/>
                  </a:lnTo>
                  <a:lnTo>
                    <a:pt x="6387" y="188"/>
                  </a:lnTo>
                  <a:lnTo>
                    <a:pt x="6469" y="188"/>
                  </a:lnTo>
                  <a:lnTo>
                    <a:pt x="6469" y="637"/>
                  </a:lnTo>
                  <a:close/>
                  <a:moveTo>
                    <a:pt x="6427" y="105"/>
                  </a:moveTo>
                  <a:lnTo>
                    <a:pt x="6426" y="105"/>
                  </a:lnTo>
                  <a:lnTo>
                    <a:pt x="6416" y="104"/>
                  </a:lnTo>
                  <a:lnTo>
                    <a:pt x="6406" y="101"/>
                  </a:lnTo>
                  <a:lnTo>
                    <a:pt x="6401" y="99"/>
                  </a:lnTo>
                  <a:lnTo>
                    <a:pt x="6397" y="96"/>
                  </a:lnTo>
                  <a:lnTo>
                    <a:pt x="6393" y="93"/>
                  </a:lnTo>
                  <a:lnTo>
                    <a:pt x="6389" y="90"/>
                  </a:lnTo>
                  <a:lnTo>
                    <a:pt x="6383" y="82"/>
                  </a:lnTo>
                  <a:lnTo>
                    <a:pt x="6379" y="72"/>
                  </a:lnTo>
                  <a:lnTo>
                    <a:pt x="6376" y="63"/>
                  </a:lnTo>
                  <a:lnTo>
                    <a:pt x="6375" y="52"/>
                  </a:lnTo>
                  <a:lnTo>
                    <a:pt x="6376" y="42"/>
                  </a:lnTo>
                  <a:lnTo>
                    <a:pt x="6379" y="32"/>
                  </a:lnTo>
                  <a:lnTo>
                    <a:pt x="6384" y="23"/>
                  </a:lnTo>
                  <a:lnTo>
                    <a:pt x="6390" y="16"/>
                  </a:lnTo>
                  <a:lnTo>
                    <a:pt x="6394" y="12"/>
                  </a:lnTo>
                  <a:lnTo>
                    <a:pt x="6398" y="9"/>
                  </a:lnTo>
                  <a:lnTo>
                    <a:pt x="6403" y="6"/>
                  </a:lnTo>
                  <a:lnTo>
                    <a:pt x="6407" y="4"/>
                  </a:lnTo>
                  <a:lnTo>
                    <a:pt x="6417" y="2"/>
                  </a:lnTo>
                  <a:lnTo>
                    <a:pt x="6428" y="0"/>
                  </a:lnTo>
                  <a:lnTo>
                    <a:pt x="6439" y="2"/>
                  </a:lnTo>
                  <a:lnTo>
                    <a:pt x="6449" y="4"/>
                  </a:lnTo>
                  <a:lnTo>
                    <a:pt x="6454" y="6"/>
                  </a:lnTo>
                  <a:lnTo>
                    <a:pt x="6458" y="9"/>
                  </a:lnTo>
                  <a:lnTo>
                    <a:pt x="6462" y="12"/>
                  </a:lnTo>
                  <a:lnTo>
                    <a:pt x="6465" y="15"/>
                  </a:lnTo>
                  <a:lnTo>
                    <a:pt x="6472" y="23"/>
                  </a:lnTo>
                  <a:lnTo>
                    <a:pt x="6476" y="31"/>
                  </a:lnTo>
                  <a:lnTo>
                    <a:pt x="6480" y="42"/>
                  </a:lnTo>
                  <a:lnTo>
                    <a:pt x="6480" y="52"/>
                  </a:lnTo>
                  <a:lnTo>
                    <a:pt x="6480" y="63"/>
                  </a:lnTo>
                  <a:lnTo>
                    <a:pt x="6476" y="72"/>
                  </a:lnTo>
                  <a:lnTo>
                    <a:pt x="6472" y="82"/>
                  </a:lnTo>
                  <a:lnTo>
                    <a:pt x="6465" y="90"/>
                  </a:lnTo>
                  <a:lnTo>
                    <a:pt x="6462" y="93"/>
                  </a:lnTo>
                  <a:lnTo>
                    <a:pt x="6458" y="96"/>
                  </a:lnTo>
                  <a:lnTo>
                    <a:pt x="6454" y="99"/>
                  </a:lnTo>
                  <a:lnTo>
                    <a:pt x="6449" y="101"/>
                  </a:lnTo>
                  <a:lnTo>
                    <a:pt x="6444" y="103"/>
                  </a:lnTo>
                  <a:lnTo>
                    <a:pt x="6438" y="104"/>
                  </a:lnTo>
                  <a:lnTo>
                    <a:pt x="6433" y="104"/>
                  </a:lnTo>
                  <a:lnTo>
                    <a:pt x="6427" y="105"/>
                  </a:lnTo>
                  <a:close/>
                  <a:moveTo>
                    <a:pt x="6604" y="637"/>
                  </a:moveTo>
                  <a:lnTo>
                    <a:pt x="6604" y="309"/>
                  </a:lnTo>
                  <a:lnTo>
                    <a:pt x="6604" y="280"/>
                  </a:lnTo>
                  <a:lnTo>
                    <a:pt x="6603" y="250"/>
                  </a:lnTo>
                  <a:lnTo>
                    <a:pt x="6602" y="220"/>
                  </a:lnTo>
                  <a:lnTo>
                    <a:pt x="6601" y="188"/>
                  </a:lnTo>
                  <a:lnTo>
                    <a:pt x="6673" y="188"/>
                  </a:lnTo>
                  <a:lnTo>
                    <a:pt x="6678" y="262"/>
                  </a:lnTo>
                  <a:lnTo>
                    <a:pt x="6679" y="262"/>
                  </a:lnTo>
                  <a:lnTo>
                    <a:pt x="6684" y="254"/>
                  </a:lnTo>
                  <a:lnTo>
                    <a:pt x="6690" y="245"/>
                  </a:lnTo>
                  <a:lnTo>
                    <a:pt x="6695" y="237"/>
                  </a:lnTo>
                  <a:lnTo>
                    <a:pt x="6703" y="230"/>
                  </a:lnTo>
                  <a:lnTo>
                    <a:pt x="6710" y="223"/>
                  </a:lnTo>
                  <a:lnTo>
                    <a:pt x="6717" y="217"/>
                  </a:lnTo>
                  <a:lnTo>
                    <a:pt x="6725" y="210"/>
                  </a:lnTo>
                  <a:lnTo>
                    <a:pt x="6734" y="204"/>
                  </a:lnTo>
                  <a:lnTo>
                    <a:pt x="6745" y="198"/>
                  </a:lnTo>
                  <a:lnTo>
                    <a:pt x="6756" y="193"/>
                  </a:lnTo>
                  <a:lnTo>
                    <a:pt x="6767" y="188"/>
                  </a:lnTo>
                  <a:lnTo>
                    <a:pt x="6779" y="185"/>
                  </a:lnTo>
                  <a:lnTo>
                    <a:pt x="6790" y="182"/>
                  </a:lnTo>
                  <a:lnTo>
                    <a:pt x="6802" y="179"/>
                  </a:lnTo>
                  <a:lnTo>
                    <a:pt x="6815" y="177"/>
                  </a:lnTo>
                  <a:lnTo>
                    <a:pt x="6828" y="177"/>
                  </a:lnTo>
                  <a:lnTo>
                    <a:pt x="6842" y="178"/>
                  </a:lnTo>
                  <a:lnTo>
                    <a:pt x="6857" y="179"/>
                  </a:lnTo>
                  <a:lnTo>
                    <a:pt x="6870" y="183"/>
                  </a:lnTo>
                  <a:lnTo>
                    <a:pt x="6883" y="187"/>
                  </a:lnTo>
                  <a:lnTo>
                    <a:pt x="6896" y="192"/>
                  </a:lnTo>
                  <a:lnTo>
                    <a:pt x="6908" y="199"/>
                  </a:lnTo>
                  <a:lnTo>
                    <a:pt x="6919" y="206"/>
                  </a:lnTo>
                  <a:lnTo>
                    <a:pt x="6930" y="215"/>
                  </a:lnTo>
                  <a:lnTo>
                    <a:pt x="6937" y="222"/>
                  </a:lnTo>
                  <a:lnTo>
                    <a:pt x="6943" y="229"/>
                  </a:lnTo>
                  <a:lnTo>
                    <a:pt x="6949" y="236"/>
                  </a:lnTo>
                  <a:lnTo>
                    <a:pt x="6954" y="244"/>
                  </a:lnTo>
                  <a:lnTo>
                    <a:pt x="6959" y="251"/>
                  </a:lnTo>
                  <a:lnTo>
                    <a:pt x="6965" y="261"/>
                  </a:lnTo>
                  <a:lnTo>
                    <a:pt x="6969" y="269"/>
                  </a:lnTo>
                  <a:lnTo>
                    <a:pt x="6972" y="279"/>
                  </a:lnTo>
                  <a:lnTo>
                    <a:pt x="6976" y="289"/>
                  </a:lnTo>
                  <a:lnTo>
                    <a:pt x="6978" y="299"/>
                  </a:lnTo>
                  <a:lnTo>
                    <a:pt x="6981" y="309"/>
                  </a:lnTo>
                  <a:lnTo>
                    <a:pt x="6983" y="320"/>
                  </a:lnTo>
                  <a:lnTo>
                    <a:pt x="6985" y="344"/>
                  </a:lnTo>
                  <a:lnTo>
                    <a:pt x="6986" y="369"/>
                  </a:lnTo>
                  <a:lnTo>
                    <a:pt x="6986" y="637"/>
                  </a:lnTo>
                  <a:lnTo>
                    <a:pt x="6905" y="637"/>
                  </a:lnTo>
                  <a:lnTo>
                    <a:pt x="6905" y="378"/>
                  </a:lnTo>
                  <a:lnTo>
                    <a:pt x="6904" y="362"/>
                  </a:lnTo>
                  <a:lnTo>
                    <a:pt x="6903" y="346"/>
                  </a:lnTo>
                  <a:lnTo>
                    <a:pt x="6901" y="333"/>
                  </a:lnTo>
                  <a:lnTo>
                    <a:pt x="6898" y="319"/>
                  </a:lnTo>
                  <a:lnTo>
                    <a:pt x="6895" y="307"/>
                  </a:lnTo>
                  <a:lnTo>
                    <a:pt x="6890" y="297"/>
                  </a:lnTo>
                  <a:lnTo>
                    <a:pt x="6884" y="286"/>
                  </a:lnTo>
                  <a:lnTo>
                    <a:pt x="6878" y="277"/>
                  </a:lnTo>
                  <a:lnTo>
                    <a:pt x="6872" y="270"/>
                  </a:lnTo>
                  <a:lnTo>
                    <a:pt x="6864" y="263"/>
                  </a:lnTo>
                  <a:lnTo>
                    <a:pt x="6856" y="258"/>
                  </a:lnTo>
                  <a:lnTo>
                    <a:pt x="6846" y="253"/>
                  </a:lnTo>
                  <a:lnTo>
                    <a:pt x="6836" y="249"/>
                  </a:lnTo>
                  <a:lnTo>
                    <a:pt x="6825" y="246"/>
                  </a:lnTo>
                  <a:lnTo>
                    <a:pt x="6814" y="244"/>
                  </a:lnTo>
                  <a:lnTo>
                    <a:pt x="6801" y="244"/>
                  </a:lnTo>
                  <a:lnTo>
                    <a:pt x="6791" y="244"/>
                  </a:lnTo>
                  <a:lnTo>
                    <a:pt x="6782" y="245"/>
                  </a:lnTo>
                  <a:lnTo>
                    <a:pt x="6772" y="247"/>
                  </a:lnTo>
                  <a:lnTo>
                    <a:pt x="6764" y="250"/>
                  </a:lnTo>
                  <a:lnTo>
                    <a:pt x="6756" y="254"/>
                  </a:lnTo>
                  <a:lnTo>
                    <a:pt x="6748" y="258"/>
                  </a:lnTo>
                  <a:lnTo>
                    <a:pt x="6740" y="263"/>
                  </a:lnTo>
                  <a:lnTo>
                    <a:pt x="6732" y="268"/>
                  </a:lnTo>
                  <a:lnTo>
                    <a:pt x="6725" y="274"/>
                  </a:lnTo>
                  <a:lnTo>
                    <a:pt x="6719" y="281"/>
                  </a:lnTo>
                  <a:lnTo>
                    <a:pt x="6713" y="289"/>
                  </a:lnTo>
                  <a:lnTo>
                    <a:pt x="6707" y="296"/>
                  </a:lnTo>
                  <a:lnTo>
                    <a:pt x="6703" y="303"/>
                  </a:lnTo>
                  <a:lnTo>
                    <a:pt x="6698" y="311"/>
                  </a:lnTo>
                  <a:lnTo>
                    <a:pt x="6694" y="319"/>
                  </a:lnTo>
                  <a:lnTo>
                    <a:pt x="6691" y="329"/>
                  </a:lnTo>
                  <a:lnTo>
                    <a:pt x="6689" y="337"/>
                  </a:lnTo>
                  <a:lnTo>
                    <a:pt x="6687" y="346"/>
                  </a:lnTo>
                  <a:lnTo>
                    <a:pt x="6686" y="356"/>
                  </a:lnTo>
                  <a:lnTo>
                    <a:pt x="6686" y="367"/>
                  </a:lnTo>
                  <a:lnTo>
                    <a:pt x="6686" y="637"/>
                  </a:lnTo>
                  <a:lnTo>
                    <a:pt x="6604" y="637"/>
                  </a:lnTo>
                  <a:close/>
                  <a:moveTo>
                    <a:pt x="7137" y="105"/>
                  </a:moveTo>
                  <a:lnTo>
                    <a:pt x="7217" y="80"/>
                  </a:lnTo>
                  <a:lnTo>
                    <a:pt x="7217" y="188"/>
                  </a:lnTo>
                  <a:lnTo>
                    <a:pt x="7333" y="188"/>
                  </a:lnTo>
                  <a:lnTo>
                    <a:pt x="7333" y="249"/>
                  </a:lnTo>
                  <a:lnTo>
                    <a:pt x="7217" y="249"/>
                  </a:lnTo>
                  <a:lnTo>
                    <a:pt x="7217" y="492"/>
                  </a:lnTo>
                  <a:lnTo>
                    <a:pt x="7217" y="503"/>
                  </a:lnTo>
                  <a:lnTo>
                    <a:pt x="7218" y="513"/>
                  </a:lnTo>
                  <a:lnTo>
                    <a:pt x="7219" y="522"/>
                  </a:lnTo>
                  <a:lnTo>
                    <a:pt x="7220" y="530"/>
                  </a:lnTo>
                  <a:lnTo>
                    <a:pt x="7223" y="539"/>
                  </a:lnTo>
                  <a:lnTo>
                    <a:pt x="7226" y="546"/>
                  </a:lnTo>
                  <a:lnTo>
                    <a:pt x="7229" y="552"/>
                  </a:lnTo>
                  <a:lnTo>
                    <a:pt x="7233" y="557"/>
                  </a:lnTo>
                  <a:lnTo>
                    <a:pt x="7237" y="562"/>
                  </a:lnTo>
                  <a:lnTo>
                    <a:pt x="7241" y="567"/>
                  </a:lnTo>
                  <a:lnTo>
                    <a:pt x="7246" y="570"/>
                  </a:lnTo>
                  <a:lnTo>
                    <a:pt x="7251" y="573"/>
                  </a:lnTo>
                  <a:lnTo>
                    <a:pt x="7257" y="577"/>
                  </a:lnTo>
                  <a:lnTo>
                    <a:pt x="7264" y="578"/>
                  </a:lnTo>
                  <a:lnTo>
                    <a:pt x="7271" y="579"/>
                  </a:lnTo>
                  <a:lnTo>
                    <a:pt x="7278" y="580"/>
                  </a:lnTo>
                  <a:lnTo>
                    <a:pt x="7291" y="579"/>
                  </a:lnTo>
                  <a:lnTo>
                    <a:pt x="7304" y="578"/>
                  </a:lnTo>
                  <a:lnTo>
                    <a:pt x="7315" y="577"/>
                  </a:lnTo>
                  <a:lnTo>
                    <a:pt x="7325" y="573"/>
                  </a:lnTo>
                  <a:lnTo>
                    <a:pt x="7329" y="635"/>
                  </a:lnTo>
                  <a:lnTo>
                    <a:pt x="7314" y="640"/>
                  </a:lnTo>
                  <a:lnTo>
                    <a:pt x="7296" y="644"/>
                  </a:lnTo>
                  <a:lnTo>
                    <a:pt x="7278" y="647"/>
                  </a:lnTo>
                  <a:lnTo>
                    <a:pt x="7257" y="648"/>
                  </a:lnTo>
                  <a:lnTo>
                    <a:pt x="7243" y="647"/>
                  </a:lnTo>
                  <a:lnTo>
                    <a:pt x="7230" y="644"/>
                  </a:lnTo>
                  <a:lnTo>
                    <a:pt x="7217" y="642"/>
                  </a:lnTo>
                  <a:lnTo>
                    <a:pt x="7206" y="638"/>
                  </a:lnTo>
                  <a:lnTo>
                    <a:pt x="7196" y="633"/>
                  </a:lnTo>
                  <a:lnTo>
                    <a:pt x="7185" y="627"/>
                  </a:lnTo>
                  <a:lnTo>
                    <a:pt x="7176" y="620"/>
                  </a:lnTo>
                  <a:lnTo>
                    <a:pt x="7168" y="612"/>
                  </a:lnTo>
                  <a:lnTo>
                    <a:pt x="7161" y="602"/>
                  </a:lnTo>
                  <a:lnTo>
                    <a:pt x="7155" y="591"/>
                  </a:lnTo>
                  <a:lnTo>
                    <a:pt x="7149" y="579"/>
                  </a:lnTo>
                  <a:lnTo>
                    <a:pt x="7145" y="565"/>
                  </a:lnTo>
                  <a:lnTo>
                    <a:pt x="7141" y="550"/>
                  </a:lnTo>
                  <a:lnTo>
                    <a:pt x="7139" y="532"/>
                  </a:lnTo>
                  <a:lnTo>
                    <a:pt x="7138" y="515"/>
                  </a:lnTo>
                  <a:lnTo>
                    <a:pt x="7137" y="495"/>
                  </a:lnTo>
                  <a:lnTo>
                    <a:pt x="7137" y="249"/>
                  </a:lnTo>
                  <a:lnTo>
                    <a:pt x="7068" y="249"/>
                  </a:lnTo>
                  <a:lnTo>
                    <a:pt x="7068" y="188"/>
                  </a:lnTo>
                  <a:lnTo>
                    <a:pt x="7137" y="188"/>
                  </a:lnTo>
                  <a:lnTo>
                    <a:pt x="7137" y="105"/>
                  </a:lnTo>
                  <a:close/>
                  <a:moveTo>
                    <a:pt x="7366" y="188"/>
                  </a:moveTo>
                  <a:lnTo>
                    <a:pt x="7455" y="188"/>
                  </a:lnTo>
                  <a:lnTo>
                    <a:pt x="7553" y="453"/>
                  </a:lnTo>
                  <a:lnTo>
                    <a:pt x="7560" y="474"/>
                  </a:lnTo>
                  <a:lnTo>
                    <a:pt x="7568" y="495"/>
                  </a:lnTo>
                  <a:lnTo>
                    <a:pt x="7575" y="519"/>
                  </a:lnTo>
                  <a:lnTo>
                    <a:pt x="7582" y="545"/>
                  </a:lnTo>
                  <a:lnTo>
                    <a:pt x="7584" y="545"/>
                  </a:lnTo>
                  <a:lnTo>
                    <a:pt x="7589" y="527"/>
                  </a:lnTo>
                  <a:lnTo>
                    <a:pt x="7595" y="507"/>
                  </a:lnTo>
                  <a:lnTo>
                    <a:pt x="7604" y="481"/>
                  </a:lnTo>
                  <a:lnTo>
                    <a:pt x="7613" y="451"/>
                  </a:lnTo>
                  <a:lnTo>
                    <a:pt x="7701" y="188"/>
                  </a:lnTo>
                  <a:lnTo>
                    <a:pt x="7788" y="188"/>
                  </a:lnTo>
                  <a:lnTo>
                    <a:pt x="7665" y="508"/>
                  </a:lnTo>
                  <a:lnTo>
                    <a:pt x="7654" y="537"/>
                  </a:lnTo>
                  <a:lnTo>
                    <a:pt x="7644" y="564"/>
                  </a:lnTo>
                  <a:lnTo>
                    <a:pt x="7632" y="590"/>
                  </a:lnTo>
                  <a:lnTo>
                    <a:pt x="7623" y="614"/>
                  </a:lnTo>
                  <a:lnTo>
                    <a:pt x="7613" y="635"/>
                  </a:lnTo>
                  <a:lnTo>
                    <a:pt x="7604" y="655"/>
                  </a:lnTo>
                  <a:lnTo>
                    <a:pt x="7595" y="672"/>
                  </a:lnTo>
                  <a:lnTo>
                    <a:pt x="7587" y="688"/>
                  </a:lnTo>
                  <a:lnTo>
                    <a:pt x="7578" y="704"/>
                  </a:lnTo>
                  <a:lnTo>
                    <a:pt x="7569" y="719"/>
                  </a:lnTo>
                  <a:lnTo>
                    <a:pt x="7559" y="733"/>
                  </a:lnTo>
                  <a:lnTo>
                    <a:pt x="7550" y="746"/>
                  </a:lnTo>
                  <a:lnTo>
                    <a:pt x="7541" y="759"/>
                  </a:lnTo>
                  <a:lnTo>
                    <a:pt x="7532" y="770"/>
                  </a:lnTo>
                  <a:lnTo>
                    <a:pt x="7521" y="780"/>
                  </a:lnTo>
                  <a:lnTo>
                    <a:pt x="7512" y="790"/>
                  </a:lnTo>
                  <a:lnTo>
                    <a:pt x="7500" y="800"/>
                  </a:lnTo>
                  <a:lnTo>
                    <a:pt x="7487" y="809"/>
                  </a:lnTo>
                  <a:lnTo>
                    <a:pt x="7474" y="817"/>
                  </a:lnTo>
                  <a:lnTo>
                    <a:pt x="7462" y="825"/>
                  </a:lnTo>
                  <a:lnTo>
                    <a:pt x="7450" y="831"/>
                  </a:lnTo>
                  <a:lnTo>
                    <a:pt x="7437" y="835"/>
                  </a:lnTo>
                  <a:lnTo>
                    <a:pt x="7424" y="839"/>
                  </a:lnTo>
                  <a:lnTo>
                    <a:pt x="7412" y="842"/>
                  </a:lnTo>
                  <a:lnTo>
                    <a:pt x="7391" y="773"/>
                  </a:lnTo>
                  <a:lnTo>
                    <a:pt x="7409" y="766"/>
                  </a:lnTo>
                  <a:lnTo>
                    <a:pt x="7428" y="758"/>
                  </a:lnTo>
                  <a:lnTo>
                    <a:pt x="7445" y="746"/>
                  </a:lnTo>
                  <a:lnTo>
                    <a:pt x="7463" y="733"/>
                  </a:lnTo>
                  <a:lnTo>
                    <a:pt x="7473" y="725"/>
                  </a:lnTo>
                  <a:lnTo>
                    <a:pt x="7482" y="714"/>
                  </a:lnTo>
                  <a:lnTo>
                    <a:pt x="7493" y="704"/>
                  </a:lnTo>
                  <a:lnTo>
                    <a:pt x="7501" y="693"/>
                  </a:lnTo>
                  <a:lnTo>
                    <a:pt x="7509" y="682"/>
                  </a:lnTo>
                  <a:lnTo>
                    <a:pt x="7517" y="669"/>
                  </a:lnTo>
                  <a:lnTo>
                    <a:pt x="7525" y="656"/>
                  </a:lnTo>
                  <a:lnTo>
                    <a:pt x="7531" y="642"/>
                  </a:lnTo>
                  <a:lnTo>
                    <a:pt x="7536" y="631"/>
                  </a:lnTo>
                  <a:lnTo>
                    <a:pt x="7538" y="623"/>
                  </a:lnTo>
                  <a:lnTo>
                    <a:pt x="7536" y="615"/>
                  </a:lnTo>
                  <a:lnTo>
                    <a:pt x="7532" y="601"/>
                  </a:lnTo>
                  <a:lnTo>
                    <a:pt x="7366" y="188"/>
                  </a:lnTo>
                  <a:close/>
                  <a:moveTo>
                    <a:pt x="7898" y="648"/>
                  </a:moveTo>
                  <a:lnTo>
                    <a:pt x="7896" y="648"/>
                  </a:lnTo>
                  <a:lnTo>
                    <a:pt x="7890" y="647"/>
                  </a:lnTo>
                  <a:lnTo>
                    <a:pt x="7885" y="647"/>
                  </a:lnTo>
                  <a:lnTo>
                    <a:pt x="7880" y="644"/>
                  </a:lnTo>
                  <a:lnTo>
                    <a:pt x="7875" y="642"/>
                  </a:lnTo>
                  <a:lnTo>
                    <a:pt x="7871" y="640"/>
                  </a:lnTo>
                  <a:lnTo>
                    <a:pt x="7866" y="637"/>
                  </a:lnTo>
                  <a:lnTo>
                    <a:pt x="7862" y="634"/>
                  </a:lnTo>
                  <a:lnTo>
                    <a:pt x="7857" y="630"/>
                  </a:lnTo>
                  <a:lnTo>
                    <a:pt x="7854" y="626"/>
                  </a:lnTo>
                  <a:lnTo>
                    <a:pt x="7851" y="622"/>
                  </a:lnTo>
                  <a:lnTo>
                    <a:pt x="7848" y="617"/>
                  </a:lnTo>
                  <a:lnTo>
                    <a:pt x="7846" y="612"/>
                  </a:lnTo>
                  <a:lnTo>
                    <a:pt x="7844" y="600"/>
                  </a:lnTo>
                  <a:lnTo>
                    <a:pt x="7843" y="589"/>
                  </a:lnTo>
                  <a:lnTo>
                    <a:pt x="7843" y="583"/>
                  </a:lnTo>
                  <a:lnTo>
                    <a:pt x="7844" y="577"/>
                  </a:lnTo>
                  <a:lnTo>
                    <a:pt x="7845" y="571"/>
                  </a:lnTo>
                  <a:lnTo>
                    <a:pt x="7846" y="565"/>
                  </a:lnTo>
                  <a:lnTo>
                    <a:pt x="7849" y="560"/>
                  </a:lnTo>
                  <a:lnTo>
                    <a:pt x="7851" y="556"/>
                  </a:lnTo>
                  <a:lnTo>
                    <a:pt x="7854" y="551"/>
                  </a:lnTo>
                  <a:lnTo>
                    <a:pt x="7858" y="547"/>
                  </a:lnTo>
                  <a:lnTo>
                    <a:pt x="7863" y="543"/>
                  </a:lnTo>
                  <a:lnTo>
                    <a:pt x="7867" y="540"/>
                  </a:lnTo>
                  <a:lnTo>
                    <a:pt x="7872" y="536"/>
                  </a:lnTo>
                  <a:lnTo>
                    <a:pt x="7876" y="534"/>
                  </a:lnTo>
                  <a:lnTo>
                    <a:pt x="7881" y="532"/>
                  </a:lnTo>
                  <a:lnTo>
                    <a:pt x="7887" y="531"/>
                  </a:lnTo>
                  <a:lnTo>
                    <a:pt x="7892" y="530"/>
                  </a:lnTo>
                  <a:lnTo>
                    <a:pt x="7899" y="530"/>
                  </a:lnTo>
                  <a:lnTo>
                    <a:pt x="7905" y="530"/>
                  </a:lnTo>
                  <a:lnTo>
                    <a:pt x="7910" y="531"/>
                  </a:lnTo>
                  <a:lnTo>
                    <a:pt x="7915" y="532"/>
                  </a:lnTo>
                  <a:lnTo>
                    <a:pt x="7920" y="534"/>
                  </a:lnTo>
                  <a:lnTo>
                    <a:pt x="7925" y="536"/>
                  </a:lnTo>
                  <a:lnTo>
                    <a:pt x="7929" y="540"/>
                  </a:lnTo>
                  <a:lnTo>
                    <a:pt x="7933" y="543"/>
                  </a:lnTo>
                  <a:lnTo>
                    <a:pt x="7938" y="547"/>
                  </a:lnTo>
                  <a:lnTo>
                    <a:pt x="7942" y="551"/>
                  </a:lnTo>
                  <a:lnTo>
                    <a:pt x="7945" y="555"/>
                  </a:lnTo>
                  <a:lnTo>
                    <a:pt x="7947" y="560"/>
                  </a:lnTo>
                  <a:lnTo>
                    <a:pt x="7949" y="565"/>
                  </a:lnTo>
                  <a:lnTo>
                    <a:pt x="7951" y="570"/>
                  </a:lnTo>
                  <a:lnTo>
                    <a:pt x="7952" y="577"/>
                  </a:lnTo>
                  <a:lnTo>
                    <a:pt x="7953" y="583"/>
                  </a:lnTo>
                  <a:lnTo>
                    <a:pt x="7953" y="589"/>
                  </a:lnTo>
                  <a:lnTo>
                    <a:pt x="7952" y="600"/>
                  </a:lnTo>
                  <a:lnTo>
                    <a:pt x="7949" y="612"/>
                  </a:lnTo>
                  <a:lnTo>
                    <a:pt x="7947" y="617"/>
                  </a:lnTo>
                  <a:lnTo>
                    <a:pt x="7945" y="622"/>
                  </a:lnTo>
                  <a:lnTo>
                    <a:pt x="7942" y="626"/>
                  </a:lnTo>
                  <a:lnTo>
                    <a:pt x="7938" y="630"/>
                  </a:lnTo>
                  <a:lnTo>
                    <a:pt x="7933" y="634"/>
                  </a:lnTo>
                  <a:lnTo>
                    <a:pt x="7929" y="637"/>
                  </a:lnTo>
                  <a:lnTo>
                    <a:pt x="7925" y="640"/>
                  </a:lnTo>
                  <a:lnTo>
                    <a:pt x="7920" y="642"/>
                  </a:lnTo>
                  <a:lnTo>
                    <a:pt x="7915" y="644"/>
                  </a:lnTo>
                  <a:lnTo>
                    <a:pt x="7909" y="647"/>
                  </a:lnTo>
                  <a:lnTo>
                    <a:pt x="7904" y="647"/>
                  </a:lnTo>
                  <a:lnTo>
                    <a:pt x="7898" y="648"/>
                  </a:lnTo>
                  <a:close/>
                </a:path>
              </a:pathLst>
            </a:custGeom>
            <a:solidFill>
              <a:srgbClr val="7D99C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latin typeface="Calibri" pitchFamily="34" charset="0"/>
                <a:cs typeface="Arial" pitchFamily="34" charset="0"/>
              </a:endParaRPr>
            </a:p>
          </p:txBody>
        </p:sp>
      </p:grpSp>
      <p:sp>
        <p:nvSpPr>
          <p:cNvPr id="1027" name="AutoShape 3"/>
          <p:cNvSpPr>
            <a:spLocks noChangeAspect="1" noChangeArrowheads="1" noTextEdit="1"/>
          </p:cNvSpPr>
          <p:nvPr/>
        </p:nvSpPr>
        <p:spPr bwMode="auto">
          <a:xfrm>
            <a:off x="0" y="2857506"/>
            <a:ext cx="9144000" cy="7929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92" tIns="45696" rIns="91392" bIns="45696"/>
          <a:lstStyle/>
          <a:p>
            <a:pPr>
              <a:defRPr/>
            </a:pPr>
            <a:endParaRPr lang="en-US" dirty="0">
              <a:solidFill>
                <a:prstClr val="black"/>
              </a:solidFill>
              <a:latin typeface="Calibri" pitchFamily="34" charset="0"/>
              <a:cs typeface="Arial" pitchFamily="34" charset="0"/>
            </a:endParaRPr>
          </a:p>
        </p:txBody>
      </p:sp>
      <p:pic>
        <p:nvPicPr>
          <p:cNvPr id="1033" name="Picture 2" descr="Q:\Repro 2\New guidelines 2011_12\Final 260411\PPT\OLD\050511\WMF\text slide pattern_2 boxes_060511.wmf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" y="7"/>
            <a:ext cx="730250" cy="469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170663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 kern="1200">
          <a:solidFill>
            <a:schemeClr val="bg1"/>
          </a:solidFill>
          <a:effectLst>
            <a:outerShdw blurRad="38100" dist="38100" dir="2700000" algn="tl">
              <a:srgbClr val="000000">
                <a:alpha val="43137"/>
              </a:srgbClr>
            </a:outerShdw>
            <a:reflection blurRad="6350" stA="55000" endA="300" endPos="45500" dir="5400000" sy="-100000" algn="bl" rotWithShape="0"/>
          </a:effectLst>
          <a:latin typeface="Calibri" pitchFamily="34" charset="0"/>
          <a:ea typeface="Calibri" pitchFamily="34" charset="0"/>
          <a:cs typeface="Calibri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45696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</a:defRPr>
      </a:lvl6pPr>
      <a:lvl7pPr marL="91392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</a:defRPr>
      </a:lvl7pPr>
      <a:lvl8pPr marL="137088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</a:defRPr>
      </a:lvl8pPr>
      <a:lvl9pPr marL="182784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</a:defRPr>
      </a:lvl9pPr>
    </p:titleStyle>
    <p:bodyStyle>
      <a:lvl1pPr marL="342720" indent="-342720" algn="l" rtl="0" eaLnBrk="1" fontAlgn="base" hangingPunct="1">
        <a:spcBef>
          <a:spcPct val="20000"/>
        </a:spcBef>
        <a:spcAft>
          <a:spcPct val="0"/>
        </a:spcAft>
        <a:buClr>
          <a:srgbClr val="4E84C4"/>
        </a:buClr>
        <a:buFont typeface="Wingdings" pitchFamily="2" charset="2"/>
        <a:buChar char="§"/>
        <a:defRPr sz="2300" kern="1200">
          <a:solidFill>
            <a:schemeClr val="tx1"/>
          </a:solidFill>
          <a:latin typeface="Calibri" pitchFamily="34" charset="0"/>
          <a:ea typeface="Calibri" pitchFamily="34" charset="0"/>
          <a:cs typeface="Calibri" pitchFamily="34" charset="0"/>
        </a:defRPr>
      </a:lvl1pPr>
      <a:lvl2pPr marL="742561" indent="-285601" algn="l" rtl="0" eaLnBrk="1" fontAlgn="base" hangingPunct="1">
        <a:spcBef>
          <a:spcPct val="20000"/>
        </a:spcBef>
        <a:spcAft>
          <a:spcPct val="0"/>
        </a:spcAft>
        <a:buClr>
          <a:srgbClr val="4E84C4"/>
        </a:buClr>
        <a:buFont typeface="Myriad Pro"/>
        <a:buChar char="–"/>
        <a:defRPr sz="2000" kern="1200">
          <a:solidFill>
            <a:schemeClr val="tx1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marL="1142400" indent="-228480" algn="l" rtl="0" eaLnBrk="1" fontAlgn="base" hangingPunct="1">
        <a:spcBef>
          <a:spcPct val="20000"/>
        </a:spcBef>
        <a:spcAft>
          <a:spcPct val="0"/>
        </a:spcAft>
        <a:buClr>
          <a:srgbClr val="4E84C4"/>
        </a:buClr>
        <a:buFont typeface="Courier New" pitchFamily="49" charset="0"/>
        <a:buChar char="o"/>
        <a:defRPr sz="2400" kern="1200">
          <a:solidFill>
            <a:schemeClr val="tx1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marL="1599360" indent="-228480" algn="l" rtl="0" eaLnBrk="1" fontAlgn="base" hangingPunct="1">
        <a:spcBef>
          <a:spcPct val="20000"/>
        </a:spcBef>
        <a:spcAft>
          <a:spcPct val="0"/>
        </a:spcAft>
        <a:buClr>
          <a:srgbClr val="4E84C4"/>
        </a:buClr>
        <a:buFont typeface="Arial" pitchFamily="34" charset="0"/>
        <a:buChar char="•"/>
        <a:defRPr sz="2000" kern="1200">
          <a:solidFill>
            <a:schemeClr val="tx1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marL="2056320" indent="-22848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Myriad Pro" pitchFamily="34" charset="0"/>
          <a:ea typeface="Calibri" pitchFamily="34" charset="0"/>
          <a:cs typeface="Calibri" pitchFamily="34" charset="0"/>
        </a:defRPr>
      </a:lvl5pPr>
      <a:lvl6pPr marL="2513280" indent="-228480" algn="l" defTabSz="91392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240" indent="-228480" algn="l" defTabSz="91392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200" indent="-228480" algn="l" defTabSz="91392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160" indent="-228480" algn="l" defTabSz="91392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2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60" algn="l" defTabSz="91392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20" algn="l" defTabSz="91392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80" algn="l" defTabSz="91392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840" algn="l" defTabSz="91392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800" algn="l" defTabSz="91392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760" algn="l" defTabSz="91392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720" algn="l" defTabSz="91392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680" algn="l" defTabSz="91392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228605" y="228601"/>
            <a:ext cx="304800" cy="114300"/>
          </a:xfrm>
          <a:prstGeom prst="rect">
            <a:avLst/>
          </a:prstGeom>
          <a:solidFill>
            <a:srgbClr val="6DCFF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99" tIns="45608" rIns="91199" bIns="45608" anchor="ctr"/>
          <a:lstStyle/>
          <a:p>
            <a:pPr algn="ctr" defTabSz="912591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76" t="20410" r="5469" b="9375"/>
          <a:stretch>
            <a:fillRect/>
          </a:stretch>
        </p:blipFill>
        <p:spPr bwMode="auto">
          <a:xfrm>
            <a:off x="-28522" y="10"/>
            <a:ext cx="9172575" cy="51363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1295400" y="77398"/>
            <a:ext cx="7543800" cy="3655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99" tIns="45608" rIns="91199" bIns="4560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1215" y="685807"/>
            <a:ext cx="8428037" cy="3394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99" tIns="45608" rIns="91199" bIns="4560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endParaRPr lang="en-US" dirty="0" smtClean="0"/>
          </a:p>
        </p:txBody>
      </p:sp>
      <p:sp>
        <p:nvSpPr>
          <p:cNvPr id="9" name="Rectangle 71"/>
          <p:cNvSpPr txBox="1">
            <a:spLocks noChangeArrowheads="1"/>
          </p:cNvSpPr>
          <p:nvPr/>
        </p:nvSpPr>
        <p:spPr bwMode="auto">
          <a:xfrm>
            <a:off x="8229664" y="4734018"/>
            <a:ext cx="663575" cy="270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199" tIns="45608" rIns="91199" bIns="45608" anchor="ctr"/>
          <a:lstStyle>
            <a:lvl1pPr>
              <a:defRPr sz="1000">
                <a:solidFill>
                  <a:srgbClr val="4E84C4"/>
                </a:solidFill>
              </a:defRPr>
            </a:lvl1pPr>
          </a:lstStyle>
          <a:p>
            <a:pPr algn="r" defTabSz="912591">
              <a:defRPr/>
            </a:pPr>
            <a:fld id="{16DF230A-2254-42C1-8450-7C9D6DA69CDD}" type="slidenum">
              <a:rPr lang="en-US" sz="1200" smtClean="0">
                <a:solidFill>
                  <a:prstClr val="black"/>
                </a:solidFill>
              </a:rPr>
              <a:pPr algn="r" defTabSz="912591">
                <a:defRPr/>
              </a:pPr>
              <a:t>‹#›</a:t>
            </a:fld>
            <a:r>
              <a:rPr lang="en-US" sz="1200" dirty="0" smtClean="0">
                <a:solidFill>
                  <a:prstClr val="black"/>
                </a:solidFill>
              </a:rPr>
              <a:t> </a:t>
            </a:r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023408" y="4855673"/>
            <a:ext cx="1570777" cy="261384"/>
          </a:xfrm>
          <a:prstGeom prst="rect">
            <a:avLst/>
          </a:prstGeom>
          <a:noFill/>
        </p:spPr>
        <p:txBody>
          <a:bodyPr wrap="none" lIns="91199" tIns="45608" rIns="91199" bIns="45608" rtlCol="0">
            <a:spAutoFit/>
          </a:bodyPr>
          <a:lstStyle/>
          <a:p>
            <a:pPr defTabSz="912591"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>
                <a:solidFill>
                  <a:srgbClr val="0070C0"/>
                </a:solidFill>
                <a:latin typeface="Arial" pitchFamily="34" charset="0"/>
              </a:rPr>
              <a:t>TCS-GE Confidential</a:t>
            </a:r>
          </a:p>
        </p:txBody>
      </p:sp>
    </p:spTree>
    <p:extLst>
      <p:ext uri="{BB962C8B-B14F-4D97-AF65-F5344CB8AC3E}">
        <p14:creationId xmlns:p14="http://schemas.microsoft.com/office/powerpoint/2010/main" val="40374903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  <p:sldLayoutId id="2147483680" r:id="rId13"/>
    <p:sldLayoutId id="2147483681" r:id="rId14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kern="1200">
          <a:solidFill>
            <a:schemeClr val="bg1"/>
          </a:solidFill>
          <a:latin typeface="Myriad Pro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Myriad Pro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Myriad Pro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Myriad Pro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Myriad Pro" pitchFamily="34" charset="0"/>
        </a:defRPr>
      </a:lvl5pPr>
      <a:lvl6pPr marL="456011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Myriad Pro" pitchFamily="34" charset="0"/>
        </a:defRPr>
      </a:lvl6pPr>
      <a:lvl7pPr marL="912023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Myriad Pro" pitchFamily="34" charset="0"/>
        </a:defRPr>
      </a:lvl7pPr>
      <a:lvl8pPr marL="1368039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Myriad Pro" pitchFamily="34" charset="0"/>
        </a:defRPr>
      </a:lvl8pPr>
      <a:lvl9pPr marL="1824039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Myriad Pro" pitchFamily="34" charset="0"/>
        </a:defRPr>
      </a:lvl9pPr>
    </p:titleStyle>
    <p:bodyStyle>
      <a:lvl1pPr marL="342003" indent="-342003" algn="l" rtl="0" eaLnBrk="1" fontAlgn="base" hangingPunct="1">
        <a:spcBef>
          <a:spcPct val="20000"/>
        </a:spcBef>
        <a:spcAft>
          <a:spcPct val="0"/>
        </a:spcAft>
        <a:buClr>
          <a:srgbClr val="4E84C4"/>
        </a:buClr>
        <a:buFont typeface="Wingdings" pitchFamily="2" charset="2"/>
        <a:buChar char="§"/>
        <a:defRPr sz="2300" kern="1200">
          <a:solidFill>
            <a:schemeClr val="tx1"/>
          </a:solidFill>
          <a:latin typeface="Myriad Pro" pitchFamily="34" charset="0"/>
          <a:ea typeface="+mn-ea"/>
          <a:cs typeface="+mn-cs"/>
        </a:defRPr>
      </a:lvl1pPr>
      <a:lvl2pPr marL="741022" indent="-285009" algn="l" rtl="0" eaLnBrk="1" fontAlgn="base" hangingPunct="1">
        <a:spcBef>
          <a:spcPct val="20000"/>
        </a:spcBef>
        <a:spcAft>
          <a:spcPct val="0"/>
        </a:spcAft>
        <a:buClr>
          <a:srgbClr val="4E84C4"/>
        </a:buClr>
        <a:buFont typeface="Myriad Pro" pitchFamily="32" charset="0"/>
        <a:buChar char="–"/>
        <a:defRPr sz="2000" kern="1200">
          <a:solidFill>
            <a:schemeClr val="tx1"/>
          </a:solidFill>
          <a:latin typeface="Myriad Pro" pitchFamily="34" charset="0"/>
          <a:ea typeface="+mn-ea"/>
          <a:cs typeface="+mn-cs"/>
        </a:defRPr>
      </a:lvl2pPr>
      <a:lvl3pPr marL="1140027" indent="-228003" algn="l" rtl="0" eaLnBrk="1" fontAlgn="base" hangingPunct="1">
        <a:spcBef>
          <a:spcPct val="20000"/>
        </a:spcBef>
        <a:spcAft>
          <a:spcPct val="0"/>
        </a:spcAft>
        <a:buClr>
          <a:srgbClr val="4E84C4"/>
        </a:buClr>
        <a:buFont typeface="Courier New" pitchFamily="49" charset="0"/>
        <a:buChar char="o"/>
        <a:defRPr kern="1200">
          <a:solidFill>
            <a:schemeClr val="tx1"/>
          </a:solidFill>
          <a:latin typeface="Myriad Pro" pitchFamily="34" charset="0"/>
          <a:ea typeface="+mn-ea"/>
          <a:cs typeface="+mn-cs"/>
        </a:defRPr>
      </a:lvl3pPr>
      <a:lvl4pPr marL="1596043" indent="-228003" algn="l" rtl="0" eaLnBrk="1" fontAlgn="base" hangingPunct="1">
        <a:spcBef>
          <a:spcPct val="20000"/>
        </a:spcBef>
        <a:spcAft>
          <a:spcPct val="0"/>
        </a:spcAft>
        <a:buClr>
          <a:srgbClr val="4E84C4"/>
        </a:buClr>
        <a:buFont typeface="Arial" pitchFamily="34" charset="0"/>
        <a:buChar char="•"/>
        <a:defRPr sz="2000" kern="1200">
          <a:solidFill>
            <a:schemeClr val="tx1"/>
          </a:solidFill>
          <a:latin typeface="Myriad Pro" pitchFamily="34" charset="0"/>
          <a:ea typeface="+mn-ea"/>
          <a:cs typeface="+mn-cs"/>
        </a:defRPr>
      </a:lvl4pPr>
      <a:lvl5pPr marL="2052047" indent="-228003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Myriad Pro" pitchFamily="34" charset="0"/>
          <a:ea typeface="+mn-ea"/>
          <a:cs typeface="+mn-cs"/>
        </a:defRPr>
      </a:lvl5pPr>
      <a:lvl6pPr marL="2508061" indent="-228003" algn="l" defTabSz="91202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4071" indent="-228003" algn="l" defTabSz="91202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0081" indent="-228003" algn="l" defTabSz="91202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76087" indent="-228003" algn="l" defTabSz="91202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202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6011" algn="l" defTabSz="91202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2023" algn="l" defTabSz="91202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039" algn="l" defTabSz="91202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4039" algn="l" defTabSz="91202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0049" algn="l" defTabSz="91202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36062" algn="l" defTabSz="91202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2076" algn="l" defTabSz="91202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48081" algn="l" defTabSz="91202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1" y="273851"/>
            <a:ext cx="7886700" cy="994172"/>
          </a:xfrm>
          <a:prstGeom prst="rect">
            <a:avLst/>
          </a:prstGeom>
        </p:spPr>
        <p:txBody>
          <a:bodyPr vert="horz" lIns="91392" tIns="45696" rIns="91392" bIns="45696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1" y="1369219"/>
            <a:ext cx="7886700" cy="3263504"/>
          </a:xfrm>
          <a:prstGeom prst="rect">
            <a:avLst/>
          </a:prstGeom>
        </p:spPr>
        <p:txBody>
          <a:bodyPr vert="horz" lIns="91392" tIns="45696" rIns="91392" bIns="45696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82"/>
            <a:ext cx="2057400" cy="273844"/>
          </a:xfrm>
          <a:prstGeom prst="rect">
            <a:avLst/>
          </a:prstGeom>
        </p:spPr>
        <p:txBody>
          <a:bodyPr vert="horz" lIns="91392" tIns="45696" rIns="91392" bIns="45696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4BF558-2C5A-4AD9-A5F7-EC33C3DA9200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0/201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1" y="4767282"/>
            <a:ext cx="3086100" cy="273844"/>
          </a:xfrm>
          <a:prstGeom prst="rect">
            <a:avLst/>
          </a:prstGeom>
        </p:spPr>
        <p:txBody>
          <a:bodyPr vert="horz" lIns="91392" tIns="45696" rIns="91392" bIns="45696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82"/>
            <a:ext cx="2057400" cy="273844"/>
          </a:xfrm>
          <a:prstGeom prst="rect">
            <a:avLst/>
          </a:prstGeom>
        </p:spPr>
        <p:txBody>
          <a:bodyPr vert="horz" lIns="91392" tIns="45696" rIns="91392" bIns="45696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A4FA0C-746F-4F62-85E6-E4F9991900E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670486"/>
            <a:ext cx="9144000" cy="1473035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13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" y="-11104"/>
            <a:ext cx="9144000" cy="1473035"/>
          </a:xfrm>
          <a:prstGeom prst="rect">
            <a:avLst/>
          </a:prstGeom>
        </p:spPr>
      </p:pic>
      <p:cxnSp>
        <p:nvCxnSpPr>
          <p:cNvPr id="17" name="Straight Connector 16"/>
          <p:cNvCxnSpPr/>
          <p:nvPr/>
        </p:nvCxnSpPr>
        <p:spPr>
          <a:xfrm>
            <a:off x="407007" y="591208"/>
            <a:ext cx="828373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/>
          <p:nvPr/>
        </p:nvGrpSpPr>
        <p:grpSpPr>
          <a:xfrm>
            <a:off x="7025226" y="5000954"/>
            <a:ext cx="2064251" cy="99899"/>
            <a:chOff x="9366950" y="6667939"/>
            <a:chExt cx="2752334" cy="133198"/>
          </a:xfrm>
        </p:grpSpPr>
        <p:grpSp>
          <p:nvGrpSpPr>
            <p:cNvPr id="7" name="Group 6"/>
            <p:cNvGrpSpPr/>
            <p:nvPr userDrawn="1"/>
          </p:nvGrpSpPr>
          <p:grpSpPr>
            <a:xfrm>
              <a:off x="9366950" y="6684167"/>
              <a:ext cx="1859128" cy="92748"/>
              <a:chOff x="8457887" y="3732990"/>
              <a:chExt cx="1859128" cy="92748"/>
            </a:xfrm>
          </p:grpSpPr>
          <p:sp>
            <p:nvSpPr>
              <p:cNvPr id="11" name="Shape 6"/>
              <p:cNvSpPr/>
              <p:nvPr/>
            </p:nvSpPr>
            <p:spPr>
              <a:xfrm>
                <a:off x="9772362" y="3732990"/>
                <a:ext cx="544653" cy="9274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9242" y="20252"/>
                    </a:moveTo>
                    <a:lnTo>
                      <a:pt x="19324" y="20522"/>
                    </a:lnTo>
                    <a:lnTo>
                      <a:pt x="19423" y="20758"/>
                    </a:lnTo>
                    <a:lnTo>
                      <a:pt x="19534" y="20960"/>
                    </a:lnTo>
                    <a:lnTo>
                      <a:pt x="19663" y="21196"/>
                    </a:lnTo>
                    <a:lnTo>
                      <a:pt x="19792" y="21364"/>
                    </a:lnTo>
                    <a:lnTo>
                      <a:pt x="19932" y="21465"/>
                    </a:lnTo>
                    <a:lnTo>
                      <a:pt x="20078" y="21566"/>
                    </a:lnTo>
                    <a:lnTo>
                      <a:pt x="20219" y="21600"/>
                    </a:lnTo>
                    <a:lnTo>
                      <a:pt x="20389" y="21566"/>
                    </a:lnTo>
                    <a:lnTo>
                      <a:pt x="20547" y="21465"/>
                    </a:lnTo>
                    <a:lnTo>
                      <a:pt x="20623" y="21398"/>
                    </a:lnTo>
                    <a:lnTo>
                      <a:pt x="20763" y="21196"/>
                    </a:lnTo>
                    <a:lnTo>
                      <a:pt x="20956" y="20791"/>
                    </a:lnTo>
                    <a:lnTo>
                      <a:pt x="21009" y="20656"/>
                    </a:lnTo>
                    <a:lnTo>
                      <a:pt x="21067" y="20488"/>
                    </a:lnTo>
                    <a:lnTo>
                      <a:pt x="21114" y="20320"/>
                    </a:lnTo>
                    <a:lnTo>
                      <a:pt x="21173" y="20117"/>
                    </a:lnTo>
                    <a:lnTo>
                      <a:pt x="21214" y="19915"/>
                    </a:lnTo>
                    <a:lnTo>
                      <a:pt x="21261" y="19679"/>
                    </a:lnTo>
                    <a:lnTo>
                      <a:pt x="21378" y="19005"/>
                    </a:lnTo>
                    <a:lnTo>
                      <a:pt x="21407" y="18769"/>
                    </a:lnTo>
                    <a:lnTo>
                      <a:pt x="21465" y="18230"/>
                    </a:lnTo>
                    <a:lnTo>
                      <a:pt x="21512" y="17725"/>
                    </a:lnTo>
                    <a:lnTo>
                      <a:pt x="21547" y="17118"/>
                    </a:lnTo>
                    <a:lnTo>
                      <a:pt x="21577" y="16545"/>
                    </a:lnTo>
                    <a:lnTo>
                      <a:pt x="21594" y="15905"/>
                    </a:lnTo>
                    <a:lnTo>
                      <a:pt x="21600" y="15299"/>
                    </a:lnTo>
                    <a:lnTo>
                      <a:pt x="21594" y="14726"/>
                    </a:lnTo>
                    <a:lnTo>
                      <a:pt x="21582" y="14220"/>
                    </a:lnTo>
                    <a:lnTo>
                      <a:pt x="21559" y="13715"/>
                    </a:lnTo>
                    <a:lnTo>
                      <a:pt x="21536" y="13243"/>
                    </a:lnTo>
                    <a:lnTo>
                      <a:pt x="21506" y="12805"/>
                    </a:lnTo>
                    <a:lnTo>
                      <a:pt x="21465" y="12367"/>
                    </a:lnTo>
                    <a:lnTo>
                      <a:pt x="21419" y="11963"/>
                    </a:lnTo>
                    <a:lnTo>
                      <a:pt x="21366" y="11592"/>
                    </a:lnTo>
                    <a:lnTo>
                      <a:pt x="21302" y="11188"/>
                    </a:lnTo>
                    <a:lnTo>
                      <a:pt x="21237" y="10851"/>
                    </a:lnTo>
                    <a:lnTo>
                      <a:pt x="21161" y="10547"/>
                    </a:lnTo>
                    <a:lnTo>
                      <a:pt x="21073" y="10210"/>
                    </a:lnTo>
                    <a:lnTo>
                      <a:pt x="20986" y="9907"/>
                    </a:lnTo>
                    <a:lnTo>
                      <a:pt x="20775" y="9368"/>
                    </a:lnTo>
                    <a:lnTo>
                      <a:pt x="20658" y="9098"/>
                    </a:lnTo>
                    <a:lnTo>
                      <a:pt x="20494" y="8694"/>
                    </a:lnTo>
                    <a:lnTo>
                      <a:pt x="20348" y="8323"/>
                    </a:lnTo>
                    <a:lnTo>
                      <a:pt x="20289" y="8155"/>
                    </a:lnTo>
                    <a:lnTo>
                      <a:pt x="20231" y="7953"/>
                    </a:lnTo>
                    <a:lnTo>
                      <a:pt x="20178" y="7750"/>
                    </a:lnTo>
                    <a:lnTo>
                      <a:pt x="20137" y="7548"/>
                    </a:lnTo>
                    <a:lnTo>
                      <a:pt x="20096" y="7380"/>
                    </a:lnTo>
                    <a:lnTo>
                      <a:pt x="20061" y="7178"/>
                    </a:lnTo>
                    <a:lnTo>
                      <a:pt x="20032" y="6942"/>
                    </a:lnTo>
                    <a:lnTo>
                      <a:pt x="20008" y="6739"/>
                    </a:lnTo>
                    <a:lnTo>
                      <a:pt x="19991" y="6470"/>
                    </a:lnTo>
                    <a:lnTo>
                      <a:pt x="19979" y="6200"/>
                    </a:lnTo>
                    <a:lnTo>
                      <a:pt x="19967" y="5964"/>
                    </a:lnTo>
                    <a:lnTo>
                      <a:pt x="19967" y="5459"/>
                    </a:lnTo>
                    <a:lnTo>
                      <a:pt x="19973" y="5189"/>
                    </a:lnTo>
                    <a:lnTo>
                      <a:pt x="19985" y="4954"/>
                    </a:lnTo>
                    <a:lnTo>
                      <a:pt x="20020" y="4549"/>
                    </a:lnTo>
                    <a:lnTo>
                      <a:pt x="20049" y="4347"/>
                    </a:lnTo>
                    <a:lnTo>
                      <a:pt x="20078" y="4111"/>
                    </a:lnTo>
                    <a:lnTo>
                      <a:pt x="20149" y="3774"/>
                    </a:lnTo>
                    <a:lnTo>
                      <a:pt x="20190" y="3606"/>
                    </a:lnTo>
                    <a:lnTo>
                      <a:pt x="20242" y="3471"/>
                    </a:lnTo>
                    <a:lnTo>
                      <a:pt x="20359" y="3269"/>
                    </a:lnTo>
                    <a:lnTo>
                      <a:pt x="20418" y="3201"/>
                    </a:lnTo>
                    <a:lnTo>
                      <a:pt x="20494" y="3168"/>
                    </a:lnTo>
                    <a:lnTo>
                      <a:pt x="20687" y="3168"/>
                    </a:lnTo>
                    <a:lnTo>
                      <a:pt x="20804" y="3235"/>
                    </a:lnTo>
                    <a:lnTo>
                      <a:pt x="20909" y="3370"/>
                    </a:lnTo>
                    <a:lnTo>
                      <a:pt x="21009" y="3505"/>
                    </a:lnTo>
                    <a:lnTo>
                      <a:pt x="21091" y="3639"/>
                    </a:lnTo>
                    <a:lnTo>
                      <a:pt x="21173" y="3808"/>
                    </a:lnTo>
                    <a:lnTo>
                      <a:pt x="21237" y="3976"/>
                    </a:lnTo>
                    <a:lnTo>
                      <a:pt x="21290" y="4111"/>
                    </a:lnTo>
                    <a:lnTo>
                      <a:pt x="21454" y="1045"/>
                    </a:lnTo>
                    <a:lnTo>
                      <a:pt x="21378" y="842"/>
                    </a:lnTo>
                    <a:lnTo>
                      <a:pt x="21290" y="674"/>
                    </a:lnTo>
                    <a:lnTo>
                      <a:pt x="21196" y="472"/>
                    </a:lnTo>
                    <a:lnTo>
                      <a:pt x="21091" y="303"/>
                    </a:lnTo>
                    <a:lnTo>
                      <a:pt x="20980" y="202"/>
                    </a:lnTo>
                    <a:lnTo>
                      <a:pt x="20857" y="101"/>
                    </a:lnTo>
                    <a:lnTo>
                      <a:pt x="20728" y="34"/>
                    </a:lnTo>
                    <a:lnTo>
                      <a:pt x="20582" y="0"/>
                    </a:lnTo>
                    <a:lnTo>
                      <a:pt x="20435" y="34"/>
                    </a:lnTo>
                    <a:lnTo>
                      <a:pt x="20301" y="135"/>
                    </a:lnTo>
                    <a:lnTo>
                      <a:pt x="20172" y="270"/>
                    </a:lnTo>
                    <a:lnTo>
                      <a:pt x="20049" y="472"/>
                    </a:lnTo>
                    <a:lnTo>
                      <a:pt x="19932" y="741"/>
                    </a:lnTo>
                    <a:lnTo>
                      <a:pt x="19833" y="1011"/>
                    </a:lnTo>
                    <a:lnTo>
                      <a:pt x="19733" y="1348"/>
                    </a:lnTo>
                    <a:lnTo>
                      <a:pt x="19645" y="1719"/>
                    </a:lnTo>
                    <a:lnTo>
                      <a:pt x="19563" y="2157"/>
                    </a:lnTo>
                    <a:lnTo>
                      <a:pt x="19493" y="2595"/>
                    </a:lnTo>
                    <a:lnTo>
                      <a:pt x="19441" y="3134"/>
                    </a:lnTo>
                    <a:lnTo>
                      <a:pt x="19382" y="3639"/>
                    </a:lnTo>
                    <a:lnTo>
                      <a:pt x="19347" y="4178"/>
                    </a:lnTo>
                    <a:lnTo>
                      <a:pt x="19318" y="4785"/>
                    </a:lnTo>
                    <a:lnTo>
                      <a:pt x="19300" y="5358"/>
                    </a:lnTo>
                    <a:lnTo>
                      <a:pt x="19294" y="6032"/>
                    </a:lnTo>
                    <a:lnTo>
                      <a:pt x="19300" y="6537"/>
                    </a:lnTo>
                    <a:lnTo>
                      <a:pt x="19312" y="7110"/>
                    </a:lnTo>
                    <a:lnTo>
                      <a:pt x="19335" y="7582"/>
                    </a:lnTo>
                    <a:lnTo>
                      <a:pt x="19365" y="8087"/>
                    </a:lnTo>
                    <a:lnTo>
                      <a:pt x="19405" y="8525"/>
                    </a:lnTo>
                    <a:lnTo>
                      <a:pt x="19452" y="8930"/>
                    </a:lnTo>
                    <a:lnTo>
                      <a:pt x="19505" y="9334"/>
                    </a:lnTo>
                    <a:lnTo>
                      <a:pt x="19563" y="9705"/>
                    </a:lnTo>
                    <a:lnTo>
                      <a:pt x="19704" y="10446"/>
                    </a:lnTo>
                    <a:lnTo>
                      <a:pt x="19786" y="10749"/>
                    </a:lnTo>
                    <a:lnTo>
                      <a:pt x="19874" y="11053"/>
                    </a:lnTo>
                    <a:lnTo>
                      <a:pt x="19967" y="11322"/>
                    </a:lnTo>
                    <a:lnTo>
                      <a:pt x="20067" y="11626"/>
                    </a:lnTo>
                    <a:lnTo>
                      <a:pt x="20172" y="11861"/>
                    </a:lnTo>
                    <a:lnTo>
                      <a:pt x="20283" y="12097"/>
                    </a:lnTo>
                    <a:lnTo>
                      <a:pt x="20435" y="12434"/>
                    </a:lnTo>
                    <a:lnTo>
                      <a:pt x="20576" y="12839"/>
                    </a:lnTo>
                    <a:lnTo>
                      <a:pt x="20629" y="13007"/>
                    </a:lnTo>
                    <a:lnTo>
                      <a:pt x="20681" y="13209"/>
                    </a:lnTo>
                    <a:lnTo>
                      <a:pt x="20734" y="13378"/>
                    </a:lnTo>
                    <a:lnTo>
                      <a:pt x="20775" y="13580"/>
                    </a:lnTo>
                    <a:lnTo>
                      <a:pt x="20810" y="13782"/>
                    </a:lnTo>
                    <a:lnTo>
                      <a:pt x="20839" y="14052"/>
                    </a:lnTo>
                    <a:lnTo>
                      <a:pt x="20863" y="14254"/>
                    </a:lnTo>
                    <a:lnTo>
                      <a:pt x="20886" y="14490"/>
                    </a:lnTo>
                    <a:lnTo>
                      <a:pt x="20898" y="14726"/>
                    </a:lnTo>
                    <a:lnTo>
                      <a:pt x="20909" y="14995"/>
                    </a:lnTo>
                    <a:lnTo>
                      <a:pt x="20921" y="15299"/>
                    </a:lnTo>
                    <a:lnTo>
                      <a:pt x="20927" y="15568"/>
                    </a:lnTo>
                    <a:lnTo>
                      <a:pt x="20921" y="15871"/>
                    </a:lnTo>
                    <a:lnTo>
                      <a:pt x="20898" y="16478"/>
                    </a:lnTo>
                    <a:lnTo>
                      <a:pt x="20874" y="16748"/>
                    </a:lnTo>
                    <a:lnTo>
                      <a:pt x="20851" y="16983"/>
                    </a:lnTo>
                    <a:lnTo>
                      <a:pt x="20822" y="17219"/>
                    </a:lnTo>
                    <a:lnTo>
                      <a:pt x="20792" y="17422"/>
                    </a:lnTo>
                    <a:lnTo>
                      <a:pt x="20751" y="17657"/>
                    </a:lnTo>
                    <a:lnTo>
                      <a:pt x="20710" y="17826"/>
                    </a:lnTo>
                    <a:lnTo>
                      <a:pt x="20605" y="18095"/>
                    </a:lnTo>
                    <a:lnTo>
                      <a:pt x="20547" y="18197"/>
                    </a:lnTo>
                    <a:lnTo>
                      <a:pt x="20482" y="18298"/>
                    </a:lnTo>
                    <a:lnTo>
                      <a:pt x="20412" y="18365"/>
                    </a:lnTo>
                    <a:lnTo>
                      <a:pt x="20342" y="18399"/>
                    </a:lnTo>
                    <a:lnTo>
                      <a:pt x="20137" y="18399"/>
                    </a:lnTo>
                    <a:lnTo>
                      <a:pt x="20014" y="18298"/>
                    </a:lnTo>
                    <a:lnTo>
                      <a:pt x="19897" y="18197"/>
                    </a:lnTo>
                    <a:lnTo>
                      <a:pt x="19774" y="18028"/>
                    </a:lnTo>
                    <a:lnTo>
                      <a:pt x="19563" y="17624"/>
                    </a:lnTo>
                    <a:lnTo>
                      <a:pt x="19470" y="17320"/>
                    </a:lnTo>
                    <a:lnTo>
                      <a:pt x="19382" y="17085"/>
                    </a:lnTo>
                    <a:lnTo>
                      <a:pt x="19242" y="20252"/>
                    </a:lnTo>
                    <a:close/>
                    <a:moveTo>
                      <a:pt x="18656" y="8862"/>
                    </a:moveTo>
                    <a:lnTo>
                      <a:pt x="17293" y="8862"/>
                    </a:lnTo>
                    <a:lnTo>
                      <a:pt x="17293" y="3505"/>
                    </a:lnTo>
                    <a:lnTo>
                      <a:pt x="18738" y="3505"/>
                    </a:lnTo>
                    <a:lnTo>
                      <a:pt x="18738" y="337"/>
                    </a:lnTo>
                    <a:lnTo>
                      <a:pt x="16626" y="337"/>
                    </a:lnTo>
                    <a:lnTo>
                      <a:pt x="16626" y="21263"/>
                    </a:lnTo>
                    <a:lnTo>
                      <a:pt x="18820" y="21263"/>
                    </a:lnTo>
                    <a:lnTo>
                      <a:pt x="18820" y="18095"/>
                    </a:lnTo>
                    <a:lnTo>
                      <a:pt x="17293" y="18095"/>
                    </a:lnTo>
                    <a:lnTo>
                      <a:pt x="17293" y="11963"/>
                    </a:lnTo>
                    <a:lnTo>
                      <a:pt x="18656" y="11963"/>
                    </a:lnTo>
                    <a:lnTo>
                      <a:pt x="18656" y="8862"/>
                    </a:lnTo>
                    <a:close/>
                    <a:moveTo>
                      <a:pt x="15959" y="17624"/>
                    </a:moveTo>
                    <a:lnTo>
                      <a:pt x="15883" y="17792"/>
                    </a:lnTo>
                    <a:lnTo>
                      <a:pt x="15806" y="17927"/>
                    </a:lnTo>
                    <a:lnTo>
                      <a:pt x="15725" y="18062"/>
                    </a:lnTo>
                    <a:lnTo>
                      <a:pt x="15537" y="18264"/>
                    </a:lnTo>
                    <a:lnTo>
                      <a:pt x="15432" y="18331"/>
                    </a:lnTo>
                    <a:lnTo>
                      <a:pt x="15338" y="18365"/>
                    </a:lnTo>
                    <a:lnTo>
                      <a:pt x="15157" y="18365"/>
                    </a:lnTo>
                    <a:lnTo>
                      <a:pt x="15092" y="18331"/>
                    </a:lnTo>
                    <a:lnTo>
                      <a:pt x="15022" y="18298"/>
                    </a:lnTo>
                    <a:lnTo>
                      <a:pt x="14952" y="18230"/>
                    </a:lnTo>
                    <a:lnTo>
                      <a:pt x="14823" y="18095"/>
                    </a:lnTo>
                    <a:lnTo>
                      <a:pt x="14759" y="17994"/>
                    </a:lnTo>
                    <a:lnTo>
                      <a:pt x="14642" y="17725"/>
                    </a:lnTo>
                    <a:lnTo>
                      <a:pt x="14589" y="17590"/>
                    </a:lnTo>
                    <a:lnTo>
                      <a:pt x="14531" y="17388"/>
                    </a:lnTo>
                    <a:lnTo>
                      <a:pt x="14484" y="17219"/>
                    </a:lnTo>
                    <a:lnTo>
                      <a:pt x="14390" y="16815"/>
                    </a:lnTo>
                    <a:lnTo>
                      <a:pt x="14343" y="16579"/>
                    </a:lnTo>
                    <a:lnTo>
                      <a:pt x="14302" y="16377"/>
                    </a:lnTo>
                    <a:lnTo>
                      <a:pt x="14262" y="16074"/>
                    </a:lnTo>
                    <a:lnTo>
                      <a:pt x="14226" y="15838"/>
                    </a:lnTo>
                    <a:lnTo>
                      <a:pt x="14197" y="15568"/>
                    </a:lnTo>
                    <a:lnTo>
                      <a:pt x="14162" y="15265"/>
                    </a:lnTo>
                    <a:lnTo>
                      <a:pt x="14127" y="14928"/>
                    </a:lnTo>
                    <a:lnTo>
                      <a:pt x="14080" y="14321"/>
                    </a:lnTo>
                    <a:lnTo>
                      <a:pt x="14057" y="13984"/>
                    </a:lnTo>
                    <a:lnTo>
                      <a:pt x="14022" y="13243"/>
                    </a:lnTo>
                    <a:lnTo>
                      <a:pt x="13992" y="12502"/>
                    </a:lnTo>
                    <a:lnTo>
                      <a:pt x="13981" y="11693"/>
                    </a:lnTo>
                    <a:lnTo>
                      <a:pt x="13975" y="10851"/>
                    </a:lnTo>
                    <a:lnTo>
                      <a:pt x="13975" y="10412"/>
                    </a:lnTo>
                    <a:lnTo>
                      <a:pt x="13981" y="9941"/>
                    </a:lnTo>
                    <a:lnTo>
                      <a:pt x="13986" y="9503"/>
                    </a:lnTo>
                    <a:lnTo>
                      <a:pt x="13998" y="9098"/>
                    </a:lnTo>
                    <a:lnTo>
                      <a:pt x="14010" y="8660"/>
                    </a:lnTo>
                    <a:lnTo>
                      <a:pt x="14045" y="7919"/>
                    </a:lnTo>
                    <a:lnTo>
                      <a:pt x="14063" y="7515"/>
                    </a:lnTo>
                    <a:lnTo>
                      <a:pt x="14092" y="7178"/>
                    </a:lnTo>
                    <a:lnTo>
                      <a:pt x="14115" y="6841"/>
                    </a:lnTo>
                    <a:lnTo>
                      <a:pt x="14150" y="6504"/>
                    </a:lnTo>
                    <a:lnTo>
                      <a:pt x="14180" y="6200"/>
                    </a:lnTo>
                    <a:lnTo>
                      <a:pt x="14250" y="5661"/>
                    </a:lnTo>
                    <a:lnTo>
                      <a:pt x="14285" y="5358"/>
                    </a:lnTo>
                    <a:lnTo>
                      <a:pt x="14326" y="5122"/>
                    </a:lnTo>
                    <a:lnTo>
                      <a:pt x="14379" y="4886"/>
                    </a:lnTo>
                    <a:lnTo>
                      <a:pt x="14420" y="4684"/>
                    </a:lnTo>
                    <a:lnTo>
                      <a:pt x="14513" y="4280"/>
                    </a:lnTo>
                    <a:lnTo>
                      <a:pt x="14566" y="4077"/>
                    </a:lnTo>
                    <a:lnTo>
                      <a:pt x="14624" y="3943"/>
                    </a:lnTo>
                    <a:lnTo>
                      <a:pt x="14677" y="3774"/>
                    </a:lnTo>
                    <a:lnTo>
                      <a:pt x="14853" y="3437"/>
                    </a:lnTo>
                    <a:lnTo>
                      <a:pt x="14975" y="3302"/>
                    </a:lnTo>
                    <a:lnTo>
                      <a:pt x="15110" y="3201"/>
                    </a:lnTo>
                    <a:lnTo>
                      <a:pt x="15245" y="3168"/>
                    </a:lnTo>
                    <a:lnTo>
                      <a:pt x="15455" y="3235"/>
                    </a:lnTo>
                    <a:lnTo>
                      <a:pt x="15555" y="3302"/>
                    </a:lnTo>
                    <a:lnTo>
                      <a:pt x="15643" y="3403"/>
                    </a:lnTo>
                    <a:lnTo>
                      <a:pt x="15730" y="3538"/>
                    </a:lnTo>
                    <a:lnTo>
                      <a:pt x="15883" y="3808"/>
                    </a:lnTo>
                    <a:lnTo>
                      <a:pt x="15953" y="3976"/>
                    </a:lnTo>
                    <a:lnTo>
                      <a:pt x="16093" y="944"/>
                    </a:lnTo>
                    <a:lnTo>
                      <a:pt x="16035" y="809"/>
                    </a:lnTo>
                    <a:lnTo>
                      <a:pt x="15964" y="640"/>
                    </a:lnTo>
                    <a:lnTo>
                      <a:pt x="15871" y="438"/>
                    </a:lnTo>
                    <a:lnTo>
                      <a:pt x="15771" y="303"/>
                    </a:lnTo>
                    <a:lnTo>
                      <a:pt x="15648" y="202"/>
                    </a:lnTo>
                    <a:lnTo>
                      <a:pt x="15520" y="101"/>
                    </a:lnTo>
                    <a:lnTo>
                      <a:pt x="15373" y="34"/>
                    </a:lnTo>
                    <a:lnTo>
                      <a:pt x="15215" y="0"/>
                    </a:lnTo>
                    <a:lnTo>
                      <a:pt x="15016" y="67"/>
                    </a:lnTo>
                    <a:lnTo>
                      <a:pt x="14911" y="135"/>
                    </a:lnTo>
                    <a:lnTo>
                      <a:pt x="14817" y="202"/>
                    </a:lnTo>
                    <a:lnTo>
                      <a:pt x="14718" y="303"/>
                    </a:lnTo>
                    <a:lnTo>
                      <a:pt x="14531" y="573"/>
                    </a:lnTo>
                    <a:lnTo>
                      <a:pt x="14443" y="775"/>
                    </a:lnTo>
                    <a:lnTo>
                      <a:pt x="14361" y="977"/>
                    </a:lnTo>
                    <a:lnTo>
                      <a:pt x="14273" y="1179"/>
                    </a:lnTo>
                    <a:lnTo>
                      <a:pt x="14197" y="1415"/>
                    </a:lnTo>
                    <a:lnTo>
                      <a:pt x="14109" y="1685"/>
                    </a:lnTo>
                    <a:lnTo>
                      <a:pt x="13969" y="2291"/>
                    </a:lnTo>
                    <a:lnTo>
                      <a:pt x="13893" y="2595"/>
                    </a:lnTo>
                    <a:lnTo>
                      <a:pt x="13828" y="2932"/>
                    </a:lnTo>
                    <a:lnTo>
                      <a:pt x="13764" y="3336"/>
                    </a:lnTo>
                    <a:lnTo>
                      <a:pt x="13706" y="3707"/>
                    </a:lnTo>
                    <a:lnTo>
                      <a:pt x="13647" y="4111"/>
                    </a:lnTo>
                    <a:lnTo>
                      <a:pt x="13594" y="4549"/>
                    </a:lnTo>
                    <a:lnTo>
                      <a:pt x="13548" y="4987"/>
                    </a:lnTo>
                    <a:lnTo>
                      <a:pt x="13501" y="5459"/>
                    </a:lnTo>
                    <a:lnTo>
                      <a:pt x="13419" y="6402"/>
                    </a:lnTo>
                    <a:lnTo>
                      <a:pt x="13360" y="7481"/>
                    </a:lnTo>
                    <a:lnTo>
                      <a:pt x="13331" y="8054"/>
                    </a:lnTo>
                    <a:lnTo>
                      <a:pt x="13313" y="8593"/>
                    </a:lnTo>
                    <a:lnTo>
                      <a:pt x="13296" y="9199"/>
                    </a:lnTo>
                    <a:lnTo>
                      <a:pt x="13284" y="9772"/>
                    </a:lnTo>
                    <a:lnTo>
                      <a:pt x="13278" y="10412"/>
                    </a:lnTo>
                    <a:lnTo>
                      <a:pt x="13278" y="11659"/>
                    </a:lnTo>
                    <a:lnTo>
                      <a:pt x="13284" y="12198"/>
                    </a:lnTo>
                    <a:lnTo>
                      <a:pt x="13296" y="12805"/>
                    </a:lnTo>
                    <a:lnTo>
                      <a:pt x="13308" y="13310"/>
                    </a:lnTo>
                    <a:lnTo>
                      <a:pt x="13325" y="13883"/>
                    </a:lnTo>
                    <a:lnTo>
                      <a:pt x="13349" y="14389"/>
                    </a:lnTo>
                    <a:lnTo>
                      <a:pt x="13372" y="14861"/>
                    </a:lnTo>
                    <a:lnTo>
                      <a:pt x="13401" y="15400"/>
                    </a:lnTo>
                    <a:lnTo>
                      <a:pt x="13431" y="15838"/>
                    </a:lnTo>
                    <a:lnTo>
                      <a:pt x="13471" y="16310"/>
                    </a:lnTo>
                    <a:lnTo>
                      <a:pt x="13512" y="16748"/>
                    </a:lnTo>
                    <a:lnTo>
                      <a:pt x="13559" y="17152"/>
                    </a:lnTo>
                    <a:lnTo>
                      <a:pt x="13606" y="17590"/>
                    </a:lnTo>
                    <a:lnTo>
                      <a:pt x="13653" y="17994"/>
                    </a:lnTo>
                    <a:lnTo>
                      <a:pt x="13711" y="18331"/>
                    </a:lnTo>
                    <a:lnTo>
                      <a:pt x="13770" y="18702"/>
                    </a:lnTo>
                    <a:lnTo>
                      <a:pt x="13828" y="19039"/>
                    </a:lnTo>
                    <a:lnTo>
                      <a:pt x="13893" y="19342"/>
                    </a:lnTo>
                    <a:lnTo>
                      <a:pt x="14033" y="19949"/>
                    </a:lnTo>
                    <a:lnTo>
                      <a:pt x="14185" y="20421"/>
                    </a:lnTo>
                    <a:lnTo>
                      <a:pt x="14349" y="20825"/>
                    </a:lnTo>
                    <a:lnTo>
                      <a:pt x="14525" y="21162"/>
                    </a:lnTo>
                    <a:lnTo>
                      <a:pt x="14624" y="21297"/>
                    </a:lnTo>
                    <a:lnTo>
                      <a:pt x="14718" y="21398"/>
                    </a:lnTo>
                    <a:lnTo>
                      <a:pt x="14917" y="21533"/>
                    </a:lnTo>
                    <a:lnTo>
                      <a:pt x="15128" y="21600"/>
                    </a:lnTo>
                    <a:lnTo>
                      <a:pt x="15286" y="21566"/>
                    </a:lnTo>
                    <a:lnTo>
                      <a:pt x="15432" y="21499"/>
                    </a:lnTo>
                    <a:lnTo>
                      <a:pt x="15572" y="21398"/>
                    </a:lnTo>
                    <a:lnTo>
                      <a:pt x="15707" y="21297"/>
                    </a:lnTo>
                    <a:lnTo>
                      <a:pt x="15812" y="21162"/>
                    </a:lnTo>
                    <a:lnTo>
                      <a:pt x="15918" y="20960"/>
                    </a:lnTo>
                    <a:lnTo>
                      <a:pt x="16000" y="20791"/>
                    </a:lnTo>
                    <a:lnTo>
                      <a:pt x="16064" y="20623"/>
                    </a:lnTo>
                    <a:lnTo>
                      <a:pt x="15959" y="17624"/>
                    </a:lnTo>
                    <a:close/>
                    <a:moveTo>
                      <a:pt x="12044" y="337"/>
                    </a:moveTo>
                    <a:lnTo>
                      <a:pt x="12044" y="21263"/>
                    </a:lnTo>
                    <a:lnTo>
                      <a:pt x="12705" y="21263"/>
                    </a:lnTo>
                    <a:lnTo>
                      <a:pt x="12705" y="337"/>
                    </a:lnTo>
                    <a:lnTo>
                      <a:pt x="12044" y="337"/>
                    </a:lnTo>
                    <a:close/>
                    <a:moveTo>
                      <a:pt x="10393" y="21263"/>
                    </a:moveTo>
                    <a:lnTo>
                      <a:pt x="11651" y="337"/>
                    </a:lnTo>
                    <a:lnTo>
                      <a:pt x="10949" y="337"/>
                    </a:lnTo>
                    <a:lnTo>
                      <a:pt x="10417" y="9907"/>
                    </a:lnTo>
                    <a:lnTo>
                      <a:pt x="10364" y="10851"/>
                    </a:lnTo>
                    <a:lnTo>
                      <a:pt x="10311" y="11828"/>
                    </a:lnTo>
                    <a:lnTo>
                      <a:pt x="10124" y="15602"/>
                    </a:lnTo>
                    <a:lnTo>
                      <a:pt x="10089" y="16545"/>
                    </a:lnTo>
                    <a:lnTo>
                      <a:pt x="10048" y="17455"/>
                    </a:lnTo>
                    <a:lnTo>
                      <a:pt x="10036" y="17455"/>
                    </a:lnTo>
                    <a:lnTo>
                      <a:pt x="10001" y="16545"/>
                    </a:lnTo>
                    <a:lnTo>
                      <a:pt x="9960" y="15568"/>
                    </a:lnTo>
                    <a:lnTo>
                      <a:pt x="9878" y="13681"/>
                    </a:lnTo>
                    <a:lnTo>
                      <a:pt x="9831" y="12771"/>
                    </a:lnTo>
                    <a:lnTo>
                      <a:pt x="9785" y="11794"/>
                    </a:lnTo>
                    <a:lnTo>
                      <a:pt x="9679" y="9840"/>
                    </a:lnTo>
                    <a:lnTo>
                      <a:pt x="9188" y="337"/>
                    </a:lnTo>
                    <a:lnTo>
                      <a:pt x="8468" y="337"/>
                    </a:lnTo>
                    <a:lnTo>
                      <a:pt x="9638" y="21263"/>
                    </a:lnTo>
                    <a:lnTo>
                      <a:pt x="10393" y="21263"/>
                    </a:lnTo>
                    <a:close/>
                    <a:moveTo>
                      <a:pt x="6379" y="3269"/>
                    </a:moveTo>
                    <a:lnTo>
                      <a:pt x="6443" y="3201"/>
                    </a:lnTo>
                    <a:lnTo>
                      <a:pt x="6537" y="3134"/>
                    </a:lnTo>
                    <a:lnTo>
                      <a:pt x="6648" y="3100"/>
                    </a:lnTo>
                    <a:lnTo>
                      <a:pt x="6794" y="3066"/>
                    </a:lnTo>
                    <a:lnTo>
                      <a:pt x="6946" y="3134"/>
                    </a:lnTo>
                    <a:lnTo>
                      <a:pt x="7017" y="3201"/>
                    </a:lnTo>
                    <a:lnTo>
                      <a:pt x="7081" y="3269"/>
                    </a:lnTo>
                    <a:lnTo>
                      <a:pt x="7151" y="3370"/>
                    </a:lnTo>
                    <a:lnTo>
                      <a:pt x="7204" y="3538"/>
                    </a:lnTo>
                    <a:lnTo>
                      <a:pt x="7257" y="3673"/>
                    </a:lnTo>
                    <a:lnTo>
                      <a:pt x="7350" y="4077"/>
                    </a:lnTo>
                    <a:lnTo>
                      <a:pt x="7391" y="4381"/>
                    </a:lnTo>
                    <a:lnTo>
                      <a:pt x="7420" y="4617"/>
                    </a:lnTo>
                    <a:lnTo>
                      <a:pt x="7450" y="4920"/>
                    </a:lnTo>
                    <a:lnTo>
                      <a:pt x="7473" y="5257"/>
                    </a:lnTo>
                    <a:lnTo>
                      <a:pt x="7497" y="5998"/>
                    </a:lnTo>
                    <a:lnTo>
                      <a:pt x="7497" y="6807"/>
                    </a:lnTo>
                    <a:lnTo>
                      <a:pt x="7473" y="7481"/>
                    </a:lnTo>
                    <a:lnTo>
                      <a:pt x="7450" y="7818"/>
                    </a:lnTo>
                    <a:lnTo>
                      <a:pt x="7420" y="8155"/>
                    </a:lnTo>
                    <a:lnTo>
                      <a:pt x="7391" y="8424"/>
                    </a:lnTo>
                    <a:lnTo>
                      <a:pt x="7344" y="8660"/>
                    </a:lnTo>
                    <a:lnTo>
                      <a:pt x="7303" y="8896"/>
                    </a:lnTo>
                    <a:lnTo>
                      <a:pt x="7257" y="9132"/>
                    </a:lnTo>
                    <a:lnTo>
                      <a:pt x="7204" y="9334"/>
                    </a:lnTo>
                    <a:lnTo>
                      <a:pt x="7145" y="9469"/>
                    </a:lnTo>
                    <a:lnTo>
                      <a:pt x="7075" y="9604"/>
                    </a:lnTo>
                    <a:lnTo>
                      <a:pt x="6935" y="9806"/>
                    </a:lnTo>
                    <a:lnTo>
                      <a:pt x="6853" y="9840"/>
                    </a:lnTo>
                    <a:lnTo>
                      <a:pt x="6379" y="9840"/>
                    </a:lnTo>
                    <a:lnTo>
                      <a:pt x="6379" y="3269"/>
                    </a:lnTo>
                    <a:close/>
                    <a:moveTo>
                      <a:pt x="5723" y="21263"/>
                    </a:moveTo>
                    <a:lnTo>
                      <a:pt x="6379" y="21263"/>
                    </a:lnTo>
                    <a:lnTo>
                      <a:pt x="6379" y="12637"/>
                    </a:lnTo>
                    <a:lnTo>
                      <a:pt x="6718" y="12637"/>
                    </a:lnTo>
                    <a:lnTo>
                      <a:pt x="6783" y="12704"/>
                    </a:lnTo>
                    <a:lnTo>
                      <a:pt x="6847" y="12738"/>
                    </a:lnTo>
                    <a:lnTo>
                      <a:pt x="6964" y="12872"/>
                    </a:lnTo>
                    <a:lnTo>
                      <a:pt x="7011" y="12973"/>
                    </a:lnTo>
                    <a:lnTo>
                      <a:pt x="7058" y="13108"/>
                    </a:lnTo>
                    <a:lnTo>
                      <a:pt x="7099" y="13277"/>
                    </a:lnTo>
                    <a:lnTo>
                      <a:pt x="7145" y="13479"/>
                    </a:lnTo>
                    <a:lnTo>
                      <a:pt x="7180" y="13715"/>
                    </a:lnTo>
                    <a:lnTo>
                      <a:pt x="7216" y="13984"/>
                    </a:lnTo>
                    <a:lnTo>
                      <a:pt x="7274" y="14591"/>
                    </a:lnTo>
                    <a:lnTo>
                      <a:pt x="7298" y="14962"/>
                    </a:lnTo>
                    <a:lnTo>
                      <a:pt x="7344" y="15838"/>
                    </a:lnTo>
                    <a:lnTo>
                      <a:pt x="7368" y="16343"/>
                    </a:lnTo>
                    <a:lnTo>
                      <a:pt x="7444" y="18095"/>
                    </a:lnTo>
                    <a:lnTo>
                      <a:pt x="7508" y="19511"/>
                    </a:lnTo>
                    <a:lnTo>
                      <a:pt x="7537" y="20117"/>
                    </a:lnTo>
                    <a:lnTo>
                      <a:pt x="7561" y="20589"/>
                    </a:lnTo>
                    <a:lnTo>
                      <a:pt x="7590" y="20960"/>
                    </a:lnTo>
                    <a:lnTo>
                      <a:pt x="7614" y="21263"/>
                    </a:lnTo>
                    <a:lnTo>
                      <a:pt x="8292" y="21263"/>
                    </a:lnTo>
                    <a:lnTo>
                      <a:pt x="8269" y="20859"/>
                    </a:lnTo>
                    <a:lnTo>
                      <a:pt x="8228" y="20387"/>
                    </a:lnTo>
                    <a:lnTo>
                      <a:pt x="8199" y="19713"/>
                    </a:lnTo>
                    <a:lnTo>
                      <a:pt x="8164" y="19039"/>
                    </a:lnTo>
                    <a:lnTo>
                      <a:pt x="8129" y="18197"/>
                    </a:lnTo>
                    <a:lnTo>
                      <a:pt x="8088" y="17320"/>
                    </a:lnTo>
                    <a:lnTo>
                      <a:pt x="8052" y="16411"/>
                    </a:lnTo>
                    <a:lnTo>
                      <a:pt x="8006" y="15433"/>
                    </a:lnTo>
                    <a:lnTo>
                      <a:pt x="7971" y="14692"/>
                    </a:lnTo>
                    <a:lnTo>
                      <a:pt x="7924" y="14018"/>
                    </a:lnTo>
                    <a:lnTo>
                      <a:pt x="7877" y="13412"/>
                    </a:lnTo>
                    <a:lnTo>
                      <a:pt x="7818" y="12872"/>
                    </a:lnTo>
                    <a:lnTo>
                      <a:pt x="7783" y="12603"/>
                    </a:lnTo>
                    <a:lnTo>
                      <a:pt x="7748" y="12367"/>
                    </a:lnTo>
                    <a:lnTo>
                      <a:pt x="7678" y="11963"/>
                    </a:lnTo>
                    <a:lnTo>
                      <a:pt x="7637" y="11794"/>
                    </a:lnTo>
                    <a:lnTo>
                      <a:pt x="7596" y="11659"/>
                    </a:lnTo>
                    <a:lnTo>
                      <a:pt x="7549" y="11524"/>
                    </a:lnTo>
                    <a:lnTo>
                      <a:pt x="7502" y="11356"/>
                    </a:lnTo>
                    <a:lnTo>
                      <a:pt x="7502" y="11289"/>
                    </a:lnTo>
                    <a:lnTo>
                      <a:pt x="7561" y="11120"/>
                    </a:lnTo>
                    <a:lnTo>
                      <a:pt x="7631" y="10985"/>
                    </a:lnTo>
                    <a:lnTo>
                      <a:pt x="7748" y="10581"/>
                    </a:lnTo>
                    <a:lnTo>
                      <a:pt x="7807" y="10311"/>
                    </a:lnTo>
                    <a:lnTo>
                      <a:pt x="7859" y="10042"/>
                    </a:lnTo>
                    <a:lnTo>
                      <a:pt x="7912" y="9739"/>
                    </a:lnTo>
                    <a:lnTo>
                      <a:pt x="7959" y="9435"/>
                    </a:lnTo>
                    <a:lnTo>
                      <a:pt x="8000" y="9098"/>
                    </a:lnTo>
                    <a:lnTo>
                      <a:pt x="8041" y="8694"/>
                    </a:lnTo>
                    <a:lnTo>
                      <a:pt x="8076" y="8323"/>
                    </a:lnTo>
                    <a:lnTo>
                      <a:pt x="8105" y="7919"/>
                    </a:lnTo>
                    <a:lnTo>
                      <a:pt x="8129" y="7481"/>
                    </a:lnTo>
                    <a:lnTo>
                      <a:pt x="8146" y="7043"/>
                    </a:lnTo>
                    <a:lnTo>
                      <a:pt x="8158" y="6537"/>
                    </a:lnTo>
                    <a:lnTo>
                      <a:pt x="8158" y="6066"/>
                    </a:lnTo>
                    <a:lnTo>
                      <a:pt x="8152" y="5392"/>
                    </a:lnTo>
                    <a:lnTo>
                      <a:pt x="8140" y="4785"/>
                    </a:lnTo>
                    <a:lnTo>
                      <a:pt x="8111" y="4178"/>
                    </a:lnTo>
                    <a:lnTo>
                      <a:pt x="8082" y="3639"/>
                    </a:lnTo>
                    <a:lnTo>
                      <a:pt x="8035" y="3168"/>
                    </a:lnTo>
                    <a:lnTo>
                      <a:pt x="7976" y="2662"/>
                    </a:lnTo>
                    <a:lnTo>
                      <a:pt x="7918" y="2258"/>
                    </a:lnTo>
                    <a:lnTo>
                      <a:pt x="7848" y="1887"/>
                    </a:lnTo>
                    <a:lnTo>
                      <a:pt x="7801" y="1651"/>
                    </a:lnTo>
                    <a:lnTo>
                      <a:pt x="7748" y="1449"/>
                    </a:lnTo>
                    <a:lnTo>
                      <a:pt x="7643" y="1112"/>
                    </a:lnTo>
                    <a:lnTo>
                      <a:pt x="7584" y="944"/>
                    </a:lnTo>
                    <a:lnTo>
                      <a:pt x="7520" y="809"/>
                    </a:lnTo>
                    <a:lnTo>
                      <a:pt x="7461" y="708"/>
                    </a:lnTo>
                    <a:lnTo>
                      <a:pt x="7391" y="573"/>
                    </a:lnTo>
                    <a:lnTo>
                      <a:pt x="7245" y="404"/>
                    </a:lnTo>
                    <a:lnTo>
                      <a:pt x="7087" y="270"/>
                    </a:lnTo>
                    <a:lnTo>
                      <a:pt x="6911" y="202"/>
                    </a:lnTo>
                    <a:lnTo>
                      <a:pt x="6730" y="168"/>
                    </a:lnTo>
                    <a:lnTo>
                      <a:pt x="6584" y="168"/>
                    </a:lnTo>
                    <a:lnTo>
                      <a:pt x="6443" y="202"/>
                    </a:lnTo>
                    <a:lnTo>
                      <a:pt x="6309" y="236"/>
                    </a:lnTo>
                    <a:lnTo>
                      <a:pt x="6174" y="303"/>
                    </a:lnTo>
                    <a:lnTo>
                      <a:pt x="6051" y="371"/>
                    </a:lnTo>
                    <a:lnTo>
                      <a:pt x="5934" y="438"/>
                    </a:lnTo>
                    <a:lnTo>
                      <a:pt x="5823" y="505"/>
                    </a:lnTo>
                    <a:lnTo>
                      <a:pt x="5723" y="640"/>
                    </a:lnTo>
                    <a:lnTo>
                      <a:pt x="5723" y="21263"/>
                    </a:lnTo>
                    <a:close/>
                    <a:moveTo>
                      <a:pt x="4986" y="8862"/>
                    </a:moveTo>
                    <a:lnTo>
                      <a:pt x="3611" y="8862"/>
                    </a:lnTo>
                    <a:lnTo>
                      <a:pt x="3611" y="3505"/>
                    </a:lnTo>
                    <a:lnTo>
                      <a:pt x="5062" y="3505"/>
                    </a:lnTo>
                    <a:lnTo>
                      <a:pt x="5062" y="337"/>
                    </a:lnTo>
                    <a:lnTo>
                      <a:pt x="2949" y="337"/>
                    </a:lnTo>
                    <a:lnTo>
                      <a:pt x="2949" y="21263"/>
                    </a:lnTo>
                    <a:lnTo>
                      <a:pt x="5144" y="21263"/>
                    </a:lnTo>
                    <a:lnTo>
                      <a:pt x="5144" y="18095"/>
                    </a:lnTo>
                    <a:lnTo>
                      <a:pt x="3611" y="18095"/>
                    </a:lnTo>
                    <a:lnTo>
                      <a:pt x="3611" y="11963"/>
                    </a:lnTo>
                    <a:lnTo>
                      <a:pt x="4986" y="11963"/>
                    </a:lnTo>
                    <a:lnTo>
                      <a:pt x="4986" y="8862"/>
                    </a:lnTo>
                    <a:close/>
                    <a:moveTo>
                      <a:pt x="0" y="20252"/>
                    </a:moveTo>
                    <a:lnTo>
                      <a:pt x="82" y="20522"/>
                    </a:lnTo>
                    <a:lnTo>
                      <a:pt x="187" y="20758"/>
                    </a:lnTo>
                    <a:lnTo>
                      <a:pt x="293" y="20960"/>
                    </a:lnTo>
                    <a:lnTo>
                      <a:pt x="421" y="21196"/>
                    </a:lnTo>
                    <a:lnTo>
                      <a:pt x="550" y="21364"/>
                    </a:lnTo>
                    <a:lnTo>
                      <a:pt x="691" y="21465"/>
                    </a:lnTo>
                    <a:lnTo>
                      <a:pt x="837" y="21566"/>
                    </a:lnTo>
                    <a:lnTo>
                      <a:pt x="977" y="21600"/>
                    </a:lnTo>
                    <a:lnTo>
                      <a:pt x="1147" y="21566"/>
                    </a:lnTo>
                    <a:lnTo>
                      <a:pt x="1311" y="21465"/>
                    </a:lnTo>
                    <a:lnTo>
                      <a:pt x="1381" y="21398"/>
                    </a:lnTo>
                    <a:lnTo>
                      <a:pt x="1451" y="21297"/>
                    </a:lnTo>
                    <a:lnTo>
                      <a:pt x="1527" y="21196"/>
                    </a:lnTo>
                    <a:lnTo>
                      <a:pt x="1592" y="21061"/>
                    </a:lnTo>
                    <a:lnTo>
                      <a:pt x="1650" y="20926"/>
                    </a:lnTo>
                    <a:lnTo>
                      <a:pt x="1715" y="20791"/>
                    </a:lnTo>
                    <a:lnTo>
                      <a:pt x="1773" y="20656"/>
                    </a:lnTo>
                    <a:lnTo>
                      <a:pt x="1879" y="20320"/>
                    </a:lnTo>
                    <a:lnTo>
                      <a:pt x="1931" y="20117"/>
                    </a:lnTo>
                    <a:lnTo>
                      <a:pt x="1978" y="19915"/>
                    </a:lnTo>
                    <a:lnTo>
                      <a:pt x="2019" y="19679"/>
                    </a:lnTo>
                    <a:lnTo>
                      <a:pt x="2060" y="19477"/>
                    </a:lnTo>
                    <a:lnTo>
                      <a:pt x="2095" y="19241"/>
                    </a:lnTo>
                    <a:lnTo>
                      <a:pt x="2136" y="19005"/>
                    </a:lnTo>
                    <a:lnTo>
                      <a:pt x="2171" y="18769"/>
                    </a:lnTo>
                    <a:lnTo>
                      <a:pt x="2224" y="18230"/>
                    </a:lnTo>
                    <a:lnTo>
                      <a:pt x="2271" y="17725"/>
                    </a:lnTo>
                    <a:lnTo>
                      <a:pt x="2306" y="17118"/>
                    </a:lnTo>
                    <a:lnTo>
                      <a:pt x="2341" y="16545"/>
                    </a:lnTo>
                    <a:lnTo>
                      <a:pt x="2353" y="15905"/>
                    </a:lnTo>
                    <a:lnTo>
                      <a:pt x="2358" y="15299"/>
                    </a:lnTo>
                    <a:lnTo>
                      <a:pt x="2353" y="14726"/>
                    </a:lnTo>
                    <a:lnTo>
                      <a:pt x="2347" y="14220"/>
                    </a:lnTo>
                    <a:lnTo>
                      <a:pt x="2323" y="13715"/>
                    </a:lnTo>
                    <a:lnTo>
                      <a:pt x="2300" y="13243"/>
                    </a:lnTo>
                    <a:lnTo>
                      <a:pt x="2230" y="12367"/>
                    </a:lnTo>
                    <a:lnTo>
                      <a:pt x="2183" y="11963"/>
                    </a:lnTo>
                    <a:lnTo>
                      <a:pt x="2130" y="11592"/>
                    </a:lnTo>
                    <a:lnTo>
                      <a:pt x="2066" y="11188"/>
                    </a:lnTo>
                    <a:lnTo>
                      <a:pt x="1996" y="10851"/>
                    </a:lnTo>
                    <a:lnTo>
                      <a:pt x="1919" y="10547"/>
                    </a:lnTo>
                    <a:lnTo>
                      <a:pt x="1832" y="10210"/>
                    </a:lnTo>
                    <a:lnTo>
                      <a:pt x="1744" y="9907"/>
                    </a:lnTo>
                    <a:lnTo>
                      <a:pt x="1644" y="9637"/>
                    </a:lnTo>
                    <a:lnTo>
                      <a:pt x="1539" y="9368"/>
                    </a:lnTo>
                    <a:lnTo>
                      <a:pt x="1422" y="9098"/>
                    </a:lnTo>
                    <a:lnTo>
                      <a:pt x="1258" y="8694"/>
                    </a:lnTo>
                    <a:lnTo>
                      <a:pt x="1112" y="8323"/>
                    </a:lnTo>
                    <a:lnTo>
                      <a:pt x="1048" y="8155"/>
                    </a:lnTo>
                    <a:lnTo>
                      <a:pt x="989" y="7953"/>
                    </a:lnTo>
                    <a:lnTo>
                      <a:pt x="895" y="7548"/>
                    </a:lnTo>
                    <a:lnTo>
                      <a:pt x="854" y="7380"/>
                    </a:lnTo>
                    <a:lnTo>
                      <a:pt x="825" y="7178"/>
                    </a:lnTo>
                    <a:lnTo>
                      <a:pt x="790" y="6942"/>
                    </a:lnTo>
                    <a:lnTo>
                      <a:pt x="767" y="6739"/>
                    </a:lnTo>
                    <a:lnTo>
                      <a:pt x="749" y="6470"/>
                    </a:lnTo>
                    <a:lnTo>
                      <a:pt x="737" y="6200"/>
                    </a:lnTo>
                    <a:lnTo>
                      <a:pt x="732" y="5964"/>
                    </a:lnTo>
                    <a:lnTo>
                      <a:pt x="732" y="5459"/>
                    </a:lnTo>
                    <a:lnTo>
                      <a:pt x="737" y="5189"/>
                    </a:lnTo>
                    <a:lnTo>
                      <a:pt x="749" y="4954"/>
                    </a:lnTo>
                    <a:lnTo>
                      <a:pt x="761" y="4751"/>
                    </a:lnTo>
                    <a:lnTo>
                      <a:pt x="784" y="4549"/>
                    </a:lnTo>
                    <a:lnTo>
                      <a:pt x="813" y="4347"/>
                    </a:lnTo>
                    <a:lnTo>
                      <a:pt x="837" y="4111"/>
                    </a:lnTo>
                    <a:lnTo>
                      <a:pt x="872" y="3943"/>
                    </a:lnTo>
                    <a:lnTo>
                      <a:pt x="954" y="3606"/>
                    </a:lnTo>
                    <a:lnTo>
                      <a:pt x="1001" y="3471"/>
                    </a:lnTo>
                    <a:lnTo>
                      <a:pt x="1118" y="3269"/>
                    </a:lnTo>
                    <a:lnTo>
                      <a:pt x="1182" y="3201"/>
                    </a:lnTo>
                    <a:lnTo>
                      <a:pt x="1258" y="3168"/>
                    </a:lnTo>
                    <a:lnTo>
                      <a:pt x="1451" y="3168"/>
                    </a:lnTo>
                    <a:lnTo>
                      <a:pt x="1568" y="3235"/>
                    </a:lnTo>
                    <a:lnTo>
                      <a:pt x="1767" y="3505"/>
                    </a:lnTo>
                    <a:lnTo>
                      <a:pt x="1855" y="3639"/>
                    </a:lnTo>
                    <a:lnTo>
                      <a:pt x="1937" y="3808"/>
                    </a:lnTo>
                    <a:lnTo>
                      <a:pt x="2001" y="3976"/>
                    </a:lnTo>
                    <a:lnTo>
                      <a:pt x="2054" y="4111"/>
                    </a:lnTo>
                    <a:lnTo>
                      <a:pt x="2212" y="1045"/>
                    </a:lnTo>
                    <a:lnTo>
                      <a:pt x="2142" y="842"/>
                    </a:lnTo>
                    <a:lnTo>
                      <a:pt x="2048" y="674"/>
                    </a:lnTo>
                    <a:lnTo>
                      <a:pt x="1960" y="472"/>
                    </a:lnTo>
                    <a:lnTo>
                      <a:pt x="1849" y="303"/>
                    </a:lnTo>
                    <a:lnTo>
                      <a:pt x="1744" y="202"/>
                    </a:lnTo>
                    <a:lnTo>
                      <a:pt x="1615" y="101"/>
                    </a:lnTo>
                    <a:lnTo>
                      <a:pt x="1486" y="34"/>
                    </a:lnTo>
                    <a:lnTo>
                      <a:pt x="1340" y="0"/>
                    </a:lnTo>
                    <a:lnTo>
                      <a:pt x="1194" y="34"/>
                    </a:lnTo>
                    <a:lnTo>
                      <a:pt x="1065" y="135"/>
                    </a:lnTo>
                    <a:lnTo>
                      <a:pt x="930" y="270"/>
                    </a:lnTo>
                    <a:lnTo>
                      <a:pt x="813" y="472"/>
                    </a:lnTo>
                    <a:lnTo>
                      <a:pt x="696" y="741"/>
                    </a:lnTo>
                    <a:lnTo>
                      <a:pt x="591" y="1011"/>
                    </a:lnTo>
                    <a:lnTo>
                      <a:pt x="492" y="1348"/>
                    </a:lnTo>
                    <a:lnTo>
                      <a:pt x="410" y="1719"/>
                    </a:lnTo>
                    <a:lnTo>
                      <a:pt x="328" y="2157"/>
                    </a:lnTo>
                    <a:lnTo>
                      <a:pt x="257" y="2595"/>
                    </a:lnTo>
                    <a:lnTo>
                      <a:pt x="199" y="3134"/>
                    </a:lnTo>
                    <a:lnTo>
                      <a:pt x="152" y="3639"/>
                    </a:lnTo>
                    <a:lnTo>
                      <a:pt x="105" y="4178"/>
                    </a:lnTo>
                    <a:lnTo>
                      <a:pt x="82" y="4785"/>
                    </a:lnTo>
                    <a:lnTo>
                      <a:pt x="64" y="5358"/>
                    </a:lnTo>
                    <a:lnTo>
                      <a:pt x="59" y="6032"/>
                    </a:lnTo>
                    <a:lnTo>
                      <a:pt x="64" y="6537"/>
                    </a:lnTo>
                    <a:lnTo>
                      <a:pt x="76" y="7110"/>
                    </a:lnTo>
                    <a:lnTo>
                      <a:pt x="94" y="7582"/>
                    </a:lnTo>
                    <a:lnTo>
                      <a:pt x="123" y="8087"/>
                    </a:lnTo>
                    <a:lnTo>
                      <a:pt x="170" y="8525"/>
                    </a:lnTo>
                    <a:lnTo>
                      <a:pt x="211" y="8930"/>
                    </a:lnTo>
                    <a:lnTo>
                      <a:pt x="263" y="9334"/>
                    </a:lnTo>
                    <a:lnTo>
                      <a:pt x="322" y="9705"/>
                    </a:lnTo>
                    <a:lnTo>
                      <a:pt x="392" y="10076"/>
                    </a:lnTo>
                    <a:lnTo>
                      <a:pt x="468" y="10446"/>
                    </a:lnTo>
                    <a:lnTo>
                      <a:pt x="544" y="10749"/>
                    </a:lnTo>
                    <a:lnTo>
                      <a:pt x="638" y="11053"/>
                    </a:lnTo>
                    <a:lnTo>
                      <a:pt x="726" y="11322"/>
                    </a:lnTo>
                    <a:lnTo>
                      <a:pt x="831" y="11626"/>
                    </a:lnTo>
                    <a:lnTo>
                      <a:pt x="930" y="11861"/>
                    </a:lnTo>
                    <a:lnTo>
                      <a:pt x="1042" y="12097"/>
                    </a:lnTo>
                    <a:lnTo>
                      <a:pt x="1200" y="12434"/>
                    </a:lnTo>
                    <a:lnTo>
                      <a:pt x="1334" y="12839"/>
                    </a:lnTo>
                    <a:lnTo>
                      <a:pt x="1393" y="13007"/>
                    </a:lnTo>
                    <a:lnTo>
                      <a:pt x="1445" y="13209"/>
                    </a:lnTo>
                    <a:lnTo>
                      <a:pt x="1492" y="13378"/>
                    </a:lnTo>
                    <a:lnTo>
                      <a:pt x="1533" y="13580"/>
                    </a:lnTo>
                    <a:lnTo>
                      <a:pt x="1568" y="13782"/>
                    </a:lnTo>
                    <a:lnTo>
                      <a:pt x="1598" y="14052"/>
                    </a:lnTo>
                    <a:lnTo>
                      <a:pt x="1627" y="14254"/>
                    </a:lnTo>
                    <a:lnTo>
                      <a:pt x="1662" y="14726"/>
                    </a:lnTo>
                    <a:lnTo>
                      <a:pt x="1680" y="14995"/>
                    </a:lnTo>
                    <a:lnTo>
                      <a:pt x="1685" y="15299"/>
                    </a:lnTo>
                    <a:lnTo>
                      <a:pt x="1685" y="15871"/>
                    </a:lnTo>
                    <a:lnTo>
                      <a:pt x="1668" y="16175"/>
                    </a:lnTo>
                    <a:lnTo>
                      <a:pt x="1656" y="16478"/>
                    </a:lnTo>
                    <a:lnTo>
                      <a:pt x="1639" y="16748"/>
                    </a:lnTo>
                    <a:lnTo>
                      <a:pt x="1615" y="16983"/>
                    </a:lnTo>
                    <a:lnTo>
                      <a:pt x="1586" y="17219"/>
                    </a:lnTo>
                    <a:lnTo>
                      <a:pt x="1551" y="17422"/>
                    </a:lnTo>
                    <a:lnTo>
                      <a:pt x="1516" y="17657"/>
                    </a:lnTo>
                    <a:lnTo>
                      <a:pt x="1469" y="17826"/>
                    </a:lnTo>
                    <a:lnTo>
                      <a:pt x="1364" y="18095"/>
                    </a:lnTo>
                    <a:lnTo>
                      <a:pt x="1246" y="18298"/>
                    </a:lnTo>
                    <a:lnTo>
                      <a:pt x="1170" y="18365"/>
                    </a:lnTo>
                    <a:lnTo>
                      <a:pt x="1100" y="18399"/>
                    </a:lnTo>
                    <a:lnTo>
                      <a:pt x="901" y="18399"/>
                    </a:lnTo>
                    <a:lnTo>
                      <a:pt x="772" y="18298"/>
                    </a:lnTo>
                    <a:lnTo>
                      <a:pt x="655" y="18197"/>
                    </a:lnTo>
                    <a:lnTo>
                      <a:pt x="538" y="18028"/>
                    </a:lnTo>
                    <a:lnTo>
                      <a:pt x="328" y="17624"/>
                    </a:lnTo>
                    <a:lnTo>
                      <a:pt x="234" y="17320"/>
                    </a:lnTo>
                    <a:lnTo>
                      <a:pt x="152" y="17085"/>
                    </a:lnTo>
                    <a:lnTo>
                      <a:pt x="0" y="20252"/>
                    </a:lnTo>
                    <a:close/>
                  </a:path>
                </a:pathLst>
              </a:custGeom>
              <a:solidFill>
                <a:srgbClr val="4473B1"/>
              </a:solidFill>
              <a:ln w="3175" cap="flat">
                <a:noFill/>
                <a:miter lim="400000"/>
              </a:ln>
              <a:effectLst/>
            </p:spPr>
            <p:txBody>
              <a:bodyPr wrap="square" lIns="60959" tIns="60959" rIns="60959" bIns="60959" numCol="1" anchor="t">
                <a:noAutofit/>
              </a:bodyPr>
              <a:lstStyle/>
              <a:p>
                <a:pPr defTabSz="685347">
                  <a:defRPr sz="2400">
                    <a:latin typeface="Myriad Pro"/>
                    <a:ea typeface="Myriad Pro"/>
                    <a:cs typeface="Myriad Pro"/>
                    <a:sym typeface="Myriad Pro"/>
                  </a:defRPr>
                </a:pPr>
                <a:endParaRPr sz="2400" kern="0" dirty="0">
                  <a:solidFill>
                    <a:sysClr val="windowText" lastClr="000000"/>
                  </a:solidFill>
                  <a:latin typeface="Myriad Pro"/>
                  <a:ea typeface="Myriad Pro"/>
                  <a:cs typeface="Myriad Pro"/>
                  <a:sym typeface="Myriad Pro"/>
                </a:endParaRPr>
              </a:p>
            </p:txBody>
          </p:sp>
          <p:sp>
            <p:nvSpPr>
              <p:cNvPr id="12" name="Shape 7"/>
              <p:cNvSpPr/>
              <p:nvPr/>
            </p:nvSpPr>
            <p:spPr>
              <a:xfrm>
                <a:off x="8870502" y="3732990"/>
                <a:ext cx="868851" cy="9274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841" y="21263"/>
                    </a:moveTo>
                    <a:lnTo>
                      <a:pt x="20841" y="12434"/>
                    </a:lnTo>
                    <a:lnTo>
                      <a:pt x="21600" y="337"/>
                    </a:lnTo>
                    <a:lnTo>
                      <a:pt x="21127" y="337"/>
                    </a:lnTo>
                    <a:lnTo>
                      <a:pt x="20856" y="5695"/>
                    </a:lnTo>
                    <a:lnTo>
                      <a:pt x="20801" y="6807"/>
                    </a:lnTo>
                    <a:lnTo>
                      <a:pt x="20750" y="7818"/>
                    </a:lnTo>
                    <a:lnTo>
                      <a:pt x="20702" y="8829"/>
                    </a:lnTo>
                    <a:lnTo>
                      <a:pt x="20658" y="9840"/>
                    </a:lnTo>
                    <a:lnTo>
                      <a:pt x="20654" y="9840"/>
                    </a:lnTo>
                    <a:lnTo>
                      <a:pt x="20603" y="8795"/>
                    </a:lnTo>
                    <a:lnTo>
                      <a:pt x="20559" y="7818"/>
                    </a:lnTo>
                    <a:lnTo>
                      <a:pt x="20511" y="6807"/>
                    </a:lnTo>
                    <a:lnTo>
                      <a:pt x="20453" y="5729"/>
                    </a:lnTo>
                    <a:lnTo>
                      <a:pt x="20182" y="337"/>
                    </a:lnTo>
                    <a:lnTo>
                      <a:pt x="19709" y="337"/>
                    </a:lnTo>
                    <a:lnTo>
                      <a:pt x="20427" y="12535"/>
                    </a:lnTo>
                    <a:lnTo>
                      <a:pt x="20427" y="21263"/>
                    </a:lnTo>
                    <a:lnTo>
                      <a:pt x="20841" y="21263"/>
                    </a:lnTo>
                    <a:close/>
                    <a:moveTo>
                      <a:pt x="19492" y="17624"/>
                    </a:moveTo>
                    <a:lnTo>
                      <a:pt x="19448" y="17792"/>
                    </a:lnTo>
                    <a:lnTo>
                      <a:pt x="19401" y="17927"/>
                    </a:lnTo>
                    <a:lnTo>
                      <a:pt x="19342" y="18062"/>
                    </a:lnTo>
                    <a:lnTo>
                      <a:pt x="19287" y="18163"/>
                    </a:lnTo>
                    <a:lnTo>
                      <a:pt x="19225" y="18264"/>
                    </a:lnTo>
                    <a:lnTo>
                      <a:pt x="19166" y="18331"/>
                    </a:lnTo>
                    <a:lnTo>
                      <a:pt x="19100" y="18365"/>
                    </a:lnTo>
                    <a:lnTo>
                      <a:pt x="18994" y="18365"/>
                    </a:lnTo>
                    <a:lnTo>
                      <a:pt x="18946" y="18331"/>
                    </a:lnTo>
                    <a:lnTo>
                      <a:pt x="18902" y="18298"/>
                    </a:lnTo>
                    <a:lnTo>
                      <a:pt x="18862" y="18230"/>
                    </a:lnTo>
                    <a:lnTo>
                      <a:pt x="18818" y="18163"/>
                    </a:lnTo>
                    <a:lnTo>
                      <a:pt x="18781" y="18095"/>
                    </a:lnTo>
                    <a:lnTo>
                      <a:pt x="18741" y="17994"/>
                    </a:lnTo>
                    <a:lnTo>
                      <a:pt x="18708" y="17860"/>
                    </a:lnTo>
                    <a:lnTo>
                      <a:pt x="18668" y="17725"/>
                    </a:lnTo>
                    <a:lnTo>
                      <a:pt x="18635" y="17590"/>
                    </a:lnTo>
                    <a:lnTo>
                      <a:pt x="18602" y="17388"/>
                    </a:lnTo>
                    <a:lnTo>
                      <a:pt x="18572" y="17219"/>
                    </a:lnTo>
                    <a:lnTo>
                      <a:pt x="18536" y="17017"/>
                    </a:lnTo>
                    <a:lnTo>
                      <a:pt x="18510" y="16815"/>
                    </a:lnTo>
                    <a:lnTo>
                      <a:pt x="18481" y="16579"/>
                    </a:lnTo>
                    <a:lnTo>
                      <a:pt x="18459" y="16377"/>
                    </a:lnTo>
                    <a:lnTo>
                      <a:pt x="18433" y="16074"/>
                    </a:lnTo>
                    <a:lnTo>
                      <a:pt x="18407" y="15838"/>
                    </a:lnTo>
                    <a:lnTo>
                      <a:pt x="18385" y="15568"/>
                    </a:lnTo>
                    <a:lnTo>
                      <a:pt x="18367" y="15265"/>
                    </a:lnTo>
                    <a:lnTo>
                      <a:pt x="18349" y="14928"/>
                    </a:lnTo>
                    <a:lnTo>
                      <a:pt x="18330" y="14625"/>
                    </a:lnTo>
                    <a:lnTo>
                      <a:pt x="18316" y="14321"/>
                    </a:lnTo>
                    <a:lnTo>
                      <a:pt x="18301" y="13984"/>
                    </a:lnTo>
                    <a:lnTo>
                      <a:pt x="18276" y="13243"/>
                    </a:lnTo>
                    <a:lnTo>
                      <a:pt x="18261" y="12502"/>
                    </a:lnTo>
                    <a:lnTo>
                      <a:pt x="18250" y="11693"/>
                    </a:lnTo>
                    <a:lnTo>
                      <a:pt x="18246" y="10851"/>
                    </a:lnTo>
                    <a:lnTo>
                      <a:pt x="18250" y="10412"/>
                    </a:lnTo>
                    <a:lnTo>
                      <a:pt x="18250" y="9941"/>
                    </a:lnTo>
                    <a:lnTo>
                      <a:pt x="18257" y="9503"/>
                    </a:lnTo>
                    <a:lnTo>
                      <a:pt x="18261" y="9098"/>
                    </a:lnTo>
                    <a:lnTo>
                      <a:pt x="18272" y="8660"/>
                    </a:lnTo>
                    <a:lnTo>
                      <a:pt x="18279" y="8290"/>
                    </a:lnTo>
                    <a:lnTo>
                      <a:pt x="18294" y="7919"/>
                    </a:lnTo>
                    <a:lnTo>
                      <a:pt x="18309" y="7515"/>
                    </a:lnTo>
                    <a:lnTo>
                      <a:pt x="18323" y="7178"/>
                    </a:lnTo>
                    <a:lnTo>
                      <a:pt x="18341" y="6841"/>
                    </a:lnTo>
                    <a:lnTo>
                      <a:pt x="18356" y="6504"/>
                    </a:lnTo>
                    <a:lnTo>
                      <a:pt x="18378" y="6200"/>
                    </a:lnTo>
                    <a:lnTo>
                      <a:pt x="18396" y="5931"/>
                    </a:lnTo>
                    <a:lnTo>
                      <a:pt x="18422" y="5661"/>
                    </a:lnTo>
                    <a:lnTo>
                      <a:pt x="18448" y="5358"/>
                    </a:lnTo>
                    <a:lnTo>
                      <a:pt x="18499" y="4886"/>
                    </a:lnTo>
                    <a:lnTo>
                      <a:pt x="18558" y="4482"/>
                    </a:lnTo>
                    <a:lnTo>
                      <a:pt x="18591" y="4280"/>
                    </a:lnTo>
                    <a:lnTo>
                      <a:pt x="18620" y="4077"/>
                    </a:lnTo>
                    <a:lnTo>
                      <a:pt x="18653" y="3943"/>
                    </a:lnTo>
                    <a:lnTo>
                      <a:pt x="18686" y="3774"/>
                    </a:lnTo>
                    <a:lnTo>
                      <a:pt x="18726" y="3673"/>
                    </a:lnTo>
                    <a:lnTo>
                      <a:pt x="18800" y="3437"/>
                    </a:lnTo>
                    <a:lnTo>
                      <a:pt x="18877" y="3302"/>
                    </a:lnTo>
                    <a:lnTo>
                      <a:pt x="18957" y="3201"/>
                    </a:lnTo>
                    <a:lnTo>
                      <a:pt x="19045" y="3168"/>
                    </a:lnTo>
                    <a:lnTo>
                      <a:pt x="19115" y="3201"/>
                    </a:lnTo>
                    <a:lnTo>
                      <a:pt x="19177" y="3235"/>
                    </a:lnTo>
                    <a:lnTo>
                      <a:pt x="19236" y="3302"/>
                    </a:lnTo>
                    <a:lnTo>
                      <a:pt x="19294" y="3403"/>
                    </a:lnTo>
                    <a:lnTo>
                      <a:pt x="19349" y="3538"/>
                    </a:lnTo>
                    <a:lnTo>
                      <a:pt x="19401" y="3673"/>
                    </a:lnTo>
                    <a:lnTo>
                      <a:pt x="19445" y="3808"/>
                    </a:lnTo>
                    <a:lnTo>
                      <a:pt x="19485" y="3976"/>
                    </a:lnTo>
                    <a:lnTo>
                      <a:pt x="19577" y="944"/>
                    </a:lnTo>
                    <a:lnTo>
                      <a:pt x="19544" y="809"/>
                    </a:lnTo>
                    <a:lnTo>
                      <a:pt x="19492" y="640"/>
                    </a:lnTo>
                    <a:lnTo>
                      <a:pt x="19437" y="438"/>
                    </a:lnTo>
                    <a:lnTo>
                      <a:pt x="19371" y="303"/>
                    </a:lnTo>
                    <a:lnTo>
                      <a:pt x="19298" y="202"/>
                    </a:lnTo>
                    <a:lnTo>
                      <a:pt x="19214" y="101"/>
                    </a:lnTo>
                    <a:lnTo>
                      <a:pt x="19126" y="34"/>
                    </a:lnTo>
                    <a:lnTo>
                      <a:pt x="19027" y="0"/>
                    </a:lnTo>
                    <a:lnTo>
                      <a:pt x="18961" y="34"/>
                    </a:lnTo>
                    <a:lnTo>
                      <a:pt x="18899" y="67"/>
                    </a:lnTo>
                    <a:lnTo>
                      <a:pt x="18774" y="202"/>
                    </a:lnTo>
                    <a:lnTo>
                      <a:pt x="18715" y="303"/>
                    </a:lnTo>
                    <a:lnTo>
                      <a:pt x="18657" y="438"/>
                    </a:lnTo>
                    <a:lnTo>
                      <a:pt x="18602" y="573"/>
                    </a:lnTo>
                    <a:lnTo>
                      <a:pt x="18543" y="775"/>
                    </a:lnTo>
                    <a:lnTo>
                      <a:pt x="18440" y="1179"/>
                    </a:lnTo>
                    <a:lnTo>
                      <a:pt x="18385" y="1415"/>
                    </a:lnTo>
                    <a:lnTo>
                      <a:pt x="18338" y="1685"/>
                    </a:lnTo>
                    <a:lnTo>
                      <a:pt x="18287" y="1988"/>
                    </a:lnTo>
                    <a:lnTo>
                      <a:pt x="18243" y="2291"/>
                    </a:lnTo>
                    <a:lnTo>
                      <a:pt x="18202" y="2595"/>
                    </a:lnTo>
                    <a:lnTo>
                      <a:pt x="18162" y="2932"/>
                    </a:lnTo>
                    <a:lnTo>
                      <a:pt x="18118" y="3336"/>
                    </a:lnTo>
                    <a:lnTo>
                      <a:pt x="18081" y="3707"/>
                    </a:lnTo>
                    <a:lnTo>
                      <a:pt x="18048" y="4111"/>
                    </a:lnTo>
                    <a:lnTo>
                      <a:pt x="18012" y="4549"/>
                    </a:lnTo>
                    <a:lnTo>
                      <a:pt x="17982" y="4987"/>
                    </a:lnTo>
                    <a:lnTo>
                      <a:pt x="17953" y="5459"/>
                    </a:lnTo>
                    <a:lnTo>
                      <a:pt x="17927" y="5931"/>
                    </a:lnTo>
                    <a:lnTo>
                      <a:pt x="17905" y="6402"/>
                    </a:lnTo>
                    <a:lnTo>
                      <a:pt x="17861" y="7481"/>
                    </a:lnTo>
                    <a:lnTo>
                      <a:pt x="17847" y="8054"/>
                    </a:lnTo>
                    <a:lnTo>
                      <a:pt x="17836" y="8593"/>
                    </a:lnTo>
                    <a:lnTo>
                      <a:pt x="17825" y="9199"/>
                    </a:lnTo>
                    <a:lnTo>
                      <a:pt x="17817" y="9772"/>
                    </a:lnTo>
                    <a:lnTo>
                      <a:pt x="17810" y="11053"/>
                    </a:lnTo>
                    <a:lnTo>
                      <a:pt x="17814" y="11659"/>
                    </a:lnTo>
                    <a:lnTo>
                      <a:pt x="17817" y="12198"/>
                    </a:lnTo>
                    <a:lnTo>
                      <a:pt x="17821" y="12805"/>
                    </a:lnTo>
                    <a:lnTo>
                      <a:pt x="17832" y="13310"/>
                    </a:lnTo>
                    <a:lnTo>
                      <a:pt x="17843" y="13883"/>
                    </a:lnTo>
                    <a:lnTo>
                      <a:pt x="17854" y="14389"/>
                    </a:lnTo>
                    <a:lnTo>
                      <a:pt x="17872" y="14861"/>
                    </a:lnTo>
                    <a:lnTo>
                      <a:pt x="17891" y="15400"/>
                    </a:lnTo>
                    <a:lnTo>
                      <a:pt x="17913" y="15838"/>
                    </a:lnTo>
                    <a:lnTo>
                      <a:pt x="17935" y="16310"/>
                    </a:lnTo>
                    <a:lnTo>
                      <a:pt x="17960" y="16748"/>
                    </a:lnTo>
                    <a:lnTo>
                      <a:pt x="17986" y="17152"/>
                    </a:lnTo>
                    <a:lnTo>
                      <a:pt x="18015" y="17590"/>
                    </a:lnTo>
                    <a:lnTo>
                      <a:pt x="18052" y="17994"/>
                    </a:lnTo>
                    <a:lnTo>
                      <a:pt x="18085" y="18331"/>
                    </a:lnTo>
                    <a:lnTo>
                      <a:pt x="18118" y="18702"/>
                    </a:lnTo>
                    <a:lnTo>
                      <a:pt x="18162" y="19039"/>
                    </a:lnTo>
                    <a:lnTo>
                      <a:pt x="18199" y="19342"/>
                    </a:lnTo>
                    <a:lnTo>
                      <a:pt x="18287" y="19949"/>
                    </a:lnTo>
                    <a:lnTo>
                      <a:pt x="18382" y="20421"/>
                    </a:lnTo>
                    <a:lnTo>
                      <a:pt x="18484" y="20825"/>
                    </a:lnTo>
                    <a:lnTo>
                      <a:pt x="18539" y="20993"/>
                    </a:lnTo>
                    <a:lnTo>
                      <a:pt x="18598" y="21162"/>
                    </a:lnTo>
                    <a:lnTo>
                      <a:pt x="18653" y="21297"/>
                    </a:lnTo>
                    <a:lnTo>
                      <a:pt x="18715" y="21398"/>
                    </a:lnTo>
                    <a:lnTo>
                      <a:pt x="18774" y="21465"/>
                    </a:lnTo>
                    <a:lnTo>
                      <a:pt x="18836" y="21533"/>
                    </a:lnTo>
                    <a:lnTo>
                      <a:pt x="18906" y="21566"/>
                    </a:lnTo>
                    <a:lnTo>
                      <a:pt x="18968" y="21600"/>
                    </a:lnTo>
                    <a:lnTo>
                      <a:pt x="19071" y="21566"/>
                    </a:lnTo>
                    <a:lnTo>
                      <a:pt x="19166" y="21499"/>
                    </a:lnTo>
                    <a:lnTo>
                      <a:pt x="19254" y="21398"/>
                    </a:lnTo>
                    <a:lnTo>
                      <a:pt x="19331" y="21297"/>
                    </a:lnTo>
                    <a:lnTo>
                      <a:pt x="19404" y="21162"/>
                    </a:lnTo>
                    <a:lnTo>
                      <a:pt x="19463" y="20960"/>
                    </a:lnTo>
                    <a:lnTo>
                      <a:pt x="19514" y="20791"/>
                    </a:lnTo>
                    <a:lnTo>
                      <a:pt x="19562" y="20623"/>
                    </a:lnTo>
                    <a:lnTo>
                      <a:pt x="19492" y="17624"/>
                    </a:lnTo>
                    <a:close/>
                    <a:moveTo>
                      <a:pt x="16032" y="21263"/>
                    </a:moveTo>
                    <a:lnTo>
                      <a:pt x="16032" y="10143"/>
                    </a:lnTo>
                    <a:lnTo>
                      <a:pt x="16021" y="6908"/>
                    </a:lnTo>
                    <a:lnTo>
                      <a:pt x="16018" y="5897"/>
                    </a:lnTo>
                    <a:lnTo>
                      <a:pt x="16014" y="4852"/>
                    </a:lnTo>
                    <a:lnTo>
                      <a:pt x="16021" y="4852"/>
                    </a:lnTo>
                    <a:lnTo>
                      <a:pt x="16065" y="5729"/>
                    </a:lnTo>
                    <a:lnTo>
                      <a:pt x="16113" y="6672"/>
                    </a:lnTo>
                    <a:lnTo>
                      <a:pt x="16164" y="7548"/>
                    </a:lnTo>
                    <a:lnTo>
                      <a:pt x="16212" y="8458"/>
                    </a:lnTo>
                    <a:lnTo>
                      <a:pt x="16267" y="9402"/>
                    </a:lnTo>
                    <a:lnTo>
                      <a:pt x="16322" y="10311"/>
                    </a:lnTo>
                    <a:lnTo>
                      <a:pt x="16432" y="12064"/>
                    </a:lnTo>
                    <a:lnTo>
                      <a:pt x="17022" y="21263"/>
                    </a:lnTo>
                    <a:lnTo>
                      <a:pt x="17451" y="21263"/>
                    </a:lnTo>
                    <a:lnTo>
                      <a:pt x="17451" y="337"/>
                    </a:lnTo>
                    <a:lnTo>
                      <a:pt x="17070" y="337"/>
                    </a:lnTo>
                    <a:lnTo>
                      <a:pt x="17070" y="8795"/>
                    </a:lnTo>
                    <a:lnTo>
                      <a:pt x="17073" y="9941"/>
                    </a:lnTo>
                    <a:lnTo>
                      <a:pt x="17073" y="11053"/>
                    </a:lnTo>
                    <a:lnTo>
                      <a:pt x="17077" y="12131"/>
                    </a:lnTo>
                    <a:lnTo>
                      <a:pt x="17084" y="13176"/>
                    </a:lnTo>
                    <a:lnTo>
                      <a:pt x="17088" y="14220"/>
                    </a:lnTo>
                    <a:lnTo>
                      <a:pt x="17099" y="15265"/>
                    </a:lnTo>
                    <a:lnTo>
                      <a:pt x="17106" y="16310"/>
                    </a:lnTo>
                    <a:lnTo>
                      <a:pt x="17099" y="16343"/>
                    </a:lnTo>
                    <a:lnTo>
                      <a:pt x="17055" y="15467"/>
                    </a:lnTo>
                    <a:lnTo>
                      <a:pt x="17015" y="14591"/>
                    </a:lnTo>
                    <a:lnTo>
                      <a:pt x="16971" y="13715"/>
                    </a:lnTo>
                    <a:lnTo>
                      <a:pt x="16919" y="12839"/>
                    </a:lnTo>
                    <a:lnTo>
                      <a:pt x="16872" y="11963"/>
                    </a:lnTo>
                    <a:lnTo>
                      <a:pt x="16820" y="11053"/>
                    </a:lnTo>
                    <a:lnTo>
                      <a:pt x="16765" y="10177"/>
                    </a:lnTo>
                    <a:lnTo>
                      <a:pt x="16710" y="9334"/>
                    </a:lnTo>
                    <a:lnTo>
                      <a:pt x="16124" y="337"/>
                    </a:lnTo>
                    <a:lnTo>
                      <a:pt x="15651" y="337"/>
                    </a:lnTo>
                    <a:lnTo>
                      <a:pt x="15651" y="21263"/>
                    </a:lnTo>
                    <a:lnTo>
                      <a:pt x="16032" y="21263"/>
                    </a:lnTo>
                    <a:close/>
                    <a:moveTo>
                      <a:pt x="14027" y="12434"/>
                    </a:moveTo>
                    <a:lnTo>
                      <a:pt x="14207" y="7279"/>
                    </a:lnTo>
                    <a:lnTo>
                      <a:pt x="14236" y="6301"/>
                    </a:lnTo>
                    <a:lnTo>
                      <a:pt x="14313" y="3370"/>
                    </a:lnTo>
                    <a:lnTo>
                      <a:pt x="14324" y="3370"/>
                    </a:lnTo>
                    <a:lnTo>
                      <a:pt x="14350" y="4313"/>
                    </a:lnTo>
                    <a:lnTo>
                      <a:pt x="14376" y="5290"/>
                    </a:lnTo>
                    <a:lnTo>
                      <a:pt x="14434" y="7312"/>
                    </a:lnTo>
                    <a:lnTo>
                      <a:pt x="14617" y="12434"/>
                    </a:lnTo>
                    <a:lnTo>
                      <a:pt x="14027" y="12434"/>
                    </a:lnTo>
                    <a:close/>
                    <a:moveTo>
                      <a:pt x="14683" y="15366"/>
                    </a:moveTo>
                    <a:lnTo>
                      <a:pt x="14892" y="21263"/>
                    </a:lnTo>
                    <a:lnTo>
                      <a:pt x="15336" y="21263"/>
                    </a:lnTo>
                    <a:lnTo>
                      <a:pt x="14599" y="337"/>
                    </a:lnTo>
                    <a:lnTo>
                      <a:pt x="14071" y="337"/>
                    </a:lnTo>
                    <a:lnTo>
                      <a:pt x="13338" y="21263"/>
                    </a:lnTo>
                    <a:lnTo>
                      <a:pt x="13767" y="21263"/>
                    </a:lnTo>
                    <a:lnTo>
                      <a:pt x="13961" y="15366"/>
                    </a:lnTo>
                    <a:lnTo>
                      <a:pt x="14683" y="15366"/>
                    </a:lnTo>
                    <a:close/>
                    <a:moveTo>
                      <a:pt x="12422" y="21263"/>
                    </a:moveTo>
                    <a:lnTo>
                      <a:pt x="12836" y="21263"/>
                    </a:lnTo>
                    <a:lnTo>
                      <a:pt x="12836" y="3538"/>
                    </a:lnTo>
                    <a:lnTo>
                      <a:pt x="13489" y="3538"/>
                    </a:lnTo>
                    <a:lnTo>
                      <a:pt x="13489" y="337"/>
                    </a:lnTo>
                    <a:lnTo>
                      <a:pt x="11769" y="337"/>
                    </a:lnTo>
                    <a:lnTo>
                      <a:pt x="11769" y="3538"/>
                    </a:lnTo>
                    <a:lnTo>
                      <a:pt x="12422" y="3538"/>
                    </a:lnTo>
                    <a:lnTo>
                      <a:pt x="12422" y="21263"/>
                    </a:lnTo>
                    <a:close/>
                    <a:moveTo>
                      <a:pt x="10652" y="21263"/>
                    </a:moveTo>
                    <a:lnTo>
                      <a:pt x="12004" y="21263"/>
                    </a:lnTo>
                    <a:lnTo>
                      <a:pt x="12004" y="18062"/>
                    </a:lnTo>
                    <a:lnTo>
                      <a:pt x="11069" y="18062"/>
                    </a:lnTo>
                    <a:lnTo>
                      <a:pt x="11069" y="337"/>
                    </a:lnTo>
                    <a:lnTo>
                      <a:pt x="10652" y="337"/>
                    </a:lnTo>
                    <a:lnTo>
                      <a:pt x="10652" y="21263"/>
                    </a:lnTo>
                    <a:close/>
                    <a:moveTo>
                      <a:pt x="8405" y="337"/>
                    </a:moveTo>
                    <a:lnTo>
                      <a:pt x="8405" y="12906"/>
                    </a:lnTo>
                    <a:lnTo>
                      <a:pt x="8412" y="14052"/>
                    </a:lnTo>
                    <a:lnTo>
                      <a:pt x="8427" y="15130"/>
                    </a:lnTo>
                    <a:lnTo>
                      <a:pt x="8441" y="15602"/>
                    </a:lnTo>
                    <a:lnTo>
                      <a:pt x="8452" y="16074"/>
                    </a:lnTo>
                    <a:lnTo>
                      <a:pt x="8467" y="16545"/>
                    </a:lnTo>
                    <a:lnTo>
                      <a:pt x="8482" y="16950"/>
                    </a:lnTo>
                    <a:lnTo>
                      <a:pt x="8500" y="17354"/>
                    </a:lnTo>
                    <a:lnTo>
                      <a:pt x="8518" y="17792"/>
                    </a:lnTo>
                    <a:lnTo>
                      <a:pt x="8562" y="18466"/>
                    </a:lnTo>
                    <a:lnTo>
                      <a:pt x="8588" y="18837"/>
                    </a:lnTo>
                    <a:lnTo>
                      <a:pt x="8614" y="19140"/>
                    </a:lnTo>
                    <a:lnTo>
                      <a:pt x="8639" y="19410"/>
                    </a:lnTo>
                    <a:lnTo>
                      <a:pt x="8698" y="19949"/>
                    </a:lnTo>
                    <a:lnTo>
                      <a:pt x="8735" y="20185"/>
                    </a:lnTo>
                    <a:lnTo>
                      <a:pt x="8801" y="20589"/>
                    </a:lnTo>
                    <a:lnTo>
                      <a:pt x="8837" y="20758"/>
                    </a:lnTo>
                    <a:lnTo>
                      <a:pt x="8878" y="20926"/>
                    </a:lnTo>
                    <a:lnTo>
                      <a:pt x="8914" y="21061"/>
                    </a:lnTo>
                    <a:lnTo>
                      <a:pt x="8954" y="21196"/>
                    </a:lnTo>
                    <a:lnTo>
                      <a:pt x="8998" y="21330"/>
                    </a:lnTo>
                    <a:lnTo>
                      <a:pt x="9039" y="21398"/>
                    </a:lnTo>
                    <a:lnTo>
                      <a:pt x="9083" y="21465"/>
                    </a:lnTo>
                    <a:lnTo>
                      <a:pt x="9174" y="21566"/>
                    </a:lnTo>
                    <a:lnTo>
                      <a:pt x="9273" y="21600"/>
                    </a:lnTo>
                    <a:lnTo>
                      <a:pt x="9321" y="21600"/>
                    </a:lnTo>
                    <a:lnTo>
                      <a:pt x="9369" y="21566"/>
                    </a:lnTo>
                    <a:lnTo>
                      <a:pt x="9420" y="21533"/>
                    </a:lnTo>
                    <a:lnTo>
                      <a:pt x="9468" y="21465"/>
                    </a:lnTo>
                    <a:lnTo>
                      <a:pt x="9512" y="21398"/>
                    </a:lnTo>
                    <a:lnTo>
                      <a:pt x="9559" y="21297"/>
                    </a:lnTo>
                    <a:lnTo>
                      <a:pt x="9600" y="21196"/>
                    </a:lnTo>
                    <a:lnTo>
                      <a:pt x="9644" y="21027"/>
                    </a:lnTo>
                    <a:lnTo>
                      <a:pt x="9688" y="20892"/>
                    </a:lnTo>
                    <a:lnTo>
                      <a:pt x="9761" y="20555"/>
                    </a:lnTo>
                    <a:lnTo>
                      <a:pt x="9834" y="20151"/>
                    </a:lnTo>
                    <a:lnTo>
                      <a:pt x="9867" y="19915"/>
                    </a:lnTo>
                    <a:lnTo>
                      <a:pt x="9929" y="19342"/>
                    </a:lnTo>
                    <a:lnTo>
                      <a:pt x="9962" y="19073"/>
                    </a:lnTo>
                    <a:lnTo>
                      <a:pt x="9988" y="18769"/>
                    </a:lnTo>
                    <a:lnTo>
                      <a:pt x="10014" y="18399"/>
                    </a:lnTo>
                    <a:lnTo>
                      <a:pt x="10036" y="18062"/>
                    </a:lnTo>
                    <a:lnTo>
                      <a:pt x="10058" y="17691"/>
                    </a:lnTo>
                    <a:lnTo>
                      <a:pt x="10080" y="17287"/>
                    </a:lnTo>
                    <a:lnTo>
                      <a:pt x="10116" y="16478"/>
                    </a:lnTo>
                    <a:lnTo>
                      <a:pt x="10131" y="16006"/>
                    </a:lnTo>
                    <a:lnTo>
                      <a:pt x="10142" y="15534"/>
                    </a:lnTo>
                    <a:lnTo>
                      <a:pt x="10153" y="15029"/>
                    </a:lnTo>
                    <a:lnTo>
                      <a:pt x="10168" y="14018"/>
                    </a:lnTo>
                    <a:lnTo>
                      <a:pt x="10175" y="13445"/>
                    </a:lnTo>
                    <a:lnTo>
                      <a:pt x="10179" y="12906"/>
                    </a:lnTo>
                    <a:lnTo>
                      <a:pt x="10179" y="337"/>
                    </a:lnTo>
                    <a:lnTo>
                      <a:pt x="9765" y="337"/>
                    </a:lnTo>
                    <a:lnTo>
                      <a:pt x="9765" y="12535"/>
                    </a:lnTo>
                    <a:lnTo>
                      <a:pt x="9761" y="13277"/>
                    </a:lnTo>
                    <a:lnTo>
                      <a:pt x="9754" y="13984"/>
                    </a:lnTo>
                    <a:lnTo>
                      <a:pt x="9746" y="14591"/>
                    </a:lnTo>
                    <a:lnTo>
                      <a:pt x="9732" y="15198"/>
                    </a:lnTo>
                    <a:lnTo>
                      <a:pt x="9713" y="15737"/>
                    </a:lnTo>
                    <a:lnTo>
                      <a:pt x="9669" y="16680"/>
                    </a:lnTo>
                    <a:lnTo>
                      <a:pt x="9636" y="17051"/>
                    </a:lnTo>
                    <a:lnTo>
                      <a:pt x="9570" y="17725"/>
                    </a:lnTo>
                    <a:lnTo>
                      <a:pt x="9530" y="17961"/>
                    </a:lnTo>
                    <a:lnTo>
                      <a:pt x="9486" y="18163"/>
                    </a:lnTo>
                    <a:lnTo>
                      <a:pt x="9442" y="18331"/>
                    </a:lnTo>
                    <a:lnTo>
                      <a:pt x="9394" y="18432"/>
                    </a:lnTo>
                    <a:lnTo>
                      <a:pt x="9339" y="18500"/>
                    </a:lnTo>
                    <a:lnTo>
                      <a:pt x="9233" y="18500"/>
                    </a:lnTo>
                    <a:lnTo>
                      <a:pt x="9185" y="18432"/>
                    </a:lnTo>
                    <a:lnTo>
                      <a:pt x="9138" y="18298"/>
                    </a:lnTo>
                    <a:lnTo>
                      <a:pt x="9094" y="18163"/>
                    </a:lnTo>
                    <a:lnTo>
                      <a:pt x="9053" y="17961"/>
                    </a:lnTo>
                    <a:lnTo>
                      <a:pt x="9017" y="17725"/>
                    </a:lnTo>
                    <a:lnTo>
                      <a:pt x="8976" y="17388"/>
                    </a:lnTo>
                    <a:lnTo>
                      <a:pt x="8947" y="17051"/>
                    </a:lnTo>
                    <a:lnTo>
                      <a:pt x="8918" y="16680"/>
                    </a:lnTo>
                    <a:lnTo>
                      <a:pt x="8892" y="16208"/>
                    </a:lnTo>
                    <a:lnTo>
                      <a:pt x="8874" y="15737"/>
                    </a:lnTo>
                    <a:lnTo>
                      <a:pt x="8856" y="15198"/>
                    </a:lnTo>
                    <a:lnTo>
                      <a:pt x="8837" y="14591"/>
                    </a:lnTo>
                    <a:lnTo>
                      <a:pt x="8826" y="13984"/>
                    </a:lnTo>
                    <a:lnTo>
                      <a:pt x="8819" y="13277"/>
                    </a:lnTo>
                    <a:lnTo>
                      <a:pt x="8819" y="337"/>
                    </a:lnTo>
                    <a:lnTo>
                      <a:pt x="8405" y="337"/>
                    </a:lnTo>
                    <a:close/>
                    <a:moveTo>
                      <a:pt x="6557" y="20252"/>
                    </a:moveTo>
                    <a:lnTo>
                      <a:pt x="6609" y="20522"/>
                    </a:lnTo>
                    <a:lnTo>
                      <a:pt x="6675" y="20758"/>
                    </a:lnTo>
                    <a:lnTo>
                      <a:pt x="6744" y="20960"/>
                    </a:lnTo>
                    <a:lnTo>
                      <a:pt x="6821" y="21196"/>
                    </a:lnTo>
                    <a:lnTo>
                      <a:pt x="6902" y="21364"/>
                    </a:lnTo>
                    <a:lnTo>
                      <a:pt x="6994" y="21465"/>
                    </a:lnTo>
                    <a:lnTo>
                      <a:pt x="7081" y="21566"/>
                    </a:lnTo>
                    <a:lnTo>
                      <a:pt x="7169" y="21600"/>
                    </a:lnTo>
                    <a:lnTo>
                      <a:pt x="7279" y="21566"/>
                    </a:lnTo>
                    <a:lnTo>
                      <a:pt x="7378" y="21465"/>
                    </a:lnTo>
                    <a:lnTo>
                      <a:pt x="7422" y="21398"/>
                    </a:lnTo>
                    <a:lnTo>
                      <a:pt x="7466" y="21297"/>
                    </a:lnTo>
                    <a:lnTo>
                      <a:pt x="7514" y="21196"/>
                    </a:lnTo>
                    <a:lnTo>
                      <a:pt x="7554" y="21061"/>
                    </a:lnTo>
                    <a:lnTo>
                      <a:pt x="7591" y="20926"/>
                    </a:lnTo>
                    <a:lnTo>
                      <a:pt x="7631" y="20791"/>
                    </a:lnTo>
                    <a:lnTo>
                      <a:pt x="7668" y="20656"/>
                    </a:lnTo>
                    <a:lnTo>
                      <a:pt x="7734" y="20320"/>
                    </a:lnTo>
                    <a:lnTo>
                      <a:pt x="7767" y="20117"/>
                    </a:lnTo>
                    <a:lnTo>
                      <a:pt x="7796" y="19915"/>
                    </a:lnTo>
                    <a:lnTo>
                      <a:pt x="7822" y="19679"/>
                    </a:lnTo>
                    <a:lnTo>
                      <a:pt x="7848" y="19477"/>
                    </a:lnTo>
                    <a:lnTo>
                      <a:pt x="7870" y="19241"/>
                    </a:lnTo>
                    <a:lnTo>
                      <a:pt x="7895" y="19005"/>
                    </a:lnTo>
                    <a:lnTo>
                      <a:pt x="7917" y="18769"/>
                    </a:lnTo>
                    <a:lnTo>
                      <a:pt x="7954" y="18230"/>
                    </a:lnTo>
                    <a:lnTo>
                      <a:pt x="7980" y="17725"/>
                    </a:lnTo>
                    <a:lnTo>
                      <a:pt x="8001" y="17118"/>
                    </a:lnTo>
                    <a:lnTo>
                      <a:pt x="8023" y="16545"/>
                    </a:lnTo>
                    <a:lnTo>
                      <a:pt x="8031" y="15905"/>
                    </a:lnTo>
                    <a:lnTo>
                      <a:pt x="8034" y="15299"/>
                    </a:lnTo>
                    <a:lnTo>
                      <a:pt x="8034" y="14726"/>
                    </a:lnTo>
                    <a:lnTo>
                      <a:pt x="8027" y="14220"/>
                    </a:lnTo>
                    <a:lnTo>
                      <a:pt x="8012" y="13715"/>
                    </a:lnTo>
                    <a:lnTo>
                      <a:pt x="7998" y="13243"/>
                    </a:lnTo>
                    <a:lnTo>
                      <a:pt x="7954" y="12367"/>
                    </a:lnTo>
                    <a:lnTo>
                      <a:pt x="7925" y="11963"/>
                    </a:lnTo>
                    <a:lnTo>
                      <a:pt x="7892" y="11592"/>
                    </a:lnTo>
                    <a:lnTo>
                      <a:pt x="7851" y="11188"/>
                    </a:lnTo>
                    <a:lnTo>
                      <a:pt x="7807" y="10851"/>
                    </a:lnTo>
                    <a:lnTo>
                      <a:pt x="7760" y="10547"/>
                    </a:lnTo>
                    <a:lnTo>
                      <a:pt x="7705" y="10210"/>
                    </a:lnTo>
                    <a:lnTo>
                      <a:pt x="7650" y="9907"/>
                    </a:lnTo>
                    <a:lnTo>
                      <a:pt x="7587" y="9637"/>
                    </a:lnTo>
                    <a:lnTo>
                      <a:pt x="7521" y="9368"/>
                    </a:lnTo>
                    <a:lnTo>
                      <a:pt x="7448" y="9098"/>
                    </a:lnTo>
                    <a:lnTo>
                      <a:pt x="7345" y="8694"/>
                    </a:lnTo>
                    <a:lnTo>
                      <a:pt x="7254" y="8323"/>
                    </a:lnTo>
                    <a:lnTo>
                      <a:pt x="7217" y="8155"/>
                    </a:lnTo>
                    <a:lnTo>
                      <a:pt x="7177" y="7953"/>
                    </a:lnTo>
                    <a:lnTo>
                      <a:pt x="7118" y="7548"/>
                    </a:lnTo>
                    <a:lnTo>
                      <a:pt x="7096" y="7380"/>
                    </a:lnTo>
                    <a:lnTo>
                      <a:pt x="7074" y="7178"/>
                    </a:lnTo>
                    <a:lnTo>
                      <a:pt x="7052" y="6942"/>
                    </a:lnTo>
                    <a:lnTo>
                      <a:pt x="7038" y="6739"/>
                    </a:lnTo>
                    <a:lnTo>
                      <a:pt x="7027" y="6470"/>
                    </a:lnTo>
                    <a:lnTo>
                      <a:pt x="7019" y="6200"/>
                    </a:lnTo>
                    <a:lnTo>
                      <a:pt x="7016" y="5964"/>
                    </a:lnTo>
                    <a:lnTo>
                      <a:pt x="7016" y="5459"/>
                    </a:lnTo>
                    <a:lnTo>
                      <a:pt x="7019" y="5189"/>
                    </a:lnTo>
                    <a:lnTo>
                      <a:pt x="7027" y="4954"/>
                    </a:lnTo>
                    <a:lnTo>
                      <a:pt x="7034" y="4751"/>
                    </a:lnTo>
                    <a:lnTo>
                      <a:pt x="7048" y="4549"/>
                    </a:lnTo>
                    <a:lnTo>
                      <a:pt x="7067" y="4347"/>
                    </a:lnTo>
                    <a:lnTo>
                      <a:pt x="7085" y="4111"/>
                    </a:lnTo>
                    <a:lnTo>
                      <a:pt x="7103" y="3943"/>
                    </a:lnTo>
                    <a:lnTo>
                      <a:pt x="7155" y="3606"/>
                    </a:lnTo>
                    <a:lnTo>
                      <a:pt x="7184" y="3471"/>
                    </a:lnTo>
                    <a:lnTo>
                      <a:pt x="7257" y="3269"/>
                    </a:lnTo>
                    <a:lnTo>
                      <a:pt x="7298" y="3201"/>
                    </a:lnTo>
                    <a:lnTo>
                      <a:pt x="7345" y="3168"/>
                    </a:lnTo>
                    <a:lnTo>
                      <a:pt x="7466" y="3168"/>
                    </a:lnTo>
                    <a:lnTo>
                      <a:pt x="7540" y="3235"/>
                    </a:lnTo>
                    <a:lnTo>
                      <a:pt x="7606" y="3370"/>
                    </a:lnTo>
                    <a:lnTo>
                      <a:pt x="7668" y="3505"/>
                    </a:lnTo>
                    <a:lnTo>
                      <a:pt x="7719" y="3639"/>
                    </a:lnTo>
                    <a:lnTo>
                      <a:pt x="7771" y="3808"/>
                    </a:lnTo>
                    <a:lnTo>
                      <a:pt x="7811" y="3976"/>
                    </a:lnTo>
                    <a:lnTo>
                      <a:pt x="7844" y="4111"/>
                    </a:lnTo>
                    <a:lnTo>
                      <a:pt x="7943" y="1045"/>
                    </a:lnTo>
                    <a:lnTo>
                      <a:pt x="7899" y="842"/>
                    </a:lnTo>
                    <a:lnTo>
                      <a:pt x="7840" y="674"/>
                    </a:lnTo>
                    <a:lnTo>
                      <a:pt x="7785" y="472"/>
                    </a:lnTo>
                    <a:lnTo>
                      <a:pt x="7719" y="303"/>
                    </a:lnTo>
                    <a:lnTo>
                      <a:pt x="7650" y="202"/>
                    </a:lnTo>
                    <a:lnTo>
                      <a:pt x="7569" y="101"/>
                    </a:lnTo>
                    <a:lnTo>
                      <a:pt x="7488" y="34"/>
                    </a:lnTo>
                    <a:lnTo>
                      <a:pt x="7400" y="0"/>
                    </a:lnTo>
                    <a:lnTo>
                      <a:pt x="7309" y="34"/>
                    </a:lnTo>
                    <a:lnTo>
                      <a:pt x="7224" y="135"/>
                    </a:lnTo>
                    <a:lnTo>
                      <a:pt x="7140" y="270"/>
                    </a:lnTo>
                    <a:lnTo>
                      <a:pt x="7067" y="472"/>
                    </a:lnTo>
                    <a:lnTo>
                      <a:pt x="6994" y="741"/>
                    </a:lnTo>
                    <a:lnTo>
                      <a:pt x="6928" y="1011"/>
                    </a:lnTo>
                    <a:lnTo>
                      <a:pt x="6865" y="1348"/>
                    </a:lnTo>
                    <a:lnTo>
                      <a:pt x="6814" y="1719"/>
                    </a:lnTo>
                    <a:lnTo>
                      <a:pt x="6763" y="2157"/>
                    </a:lnTo>
                    <a:lnTo>
                      <a:pt x="6719" y="2595"/>
                    </a:lnTo>
                    <a:lnTo>
                      <a:pt x="6682" y="3134"/>
                    </a:lnTo>
                    <a:lnTo>
                      <a:pt x="6653" y="3639"/>
                    </a:lnTo>
                    <a:lnTo>
                      <a:pt x="6627" y="4178"/>
                    </a:lnTo>
                    <a:lnTo>
                      <a:pt x="6609" y="4785"/>
                    </a:lnTo>
                    <a:lnTo>
                      <a:pt x="6598" y="5358"/>
                    </a:lnTo>
                    <a:lnTo>
                      <a:pt x="6594" y="6032"/>
                    </a:lnTo>
                    <a:lnTo>
                      <a:pt x="6598" y="6537"/>
                    </a:lnTo>
                    <a:lnTo>
                      <a:pt x="6605" y="7110"/>
                    </a:lnTo>
                    <a:lnTo>
                      <a:pt x="6620" y="7582"/>
                    </a:lnTo>
                    <a:lnTo>
                      <a:pt x="6638" y="8087"/>
                    </a:lnTo>
                    <a:lnTo>
                      <a:pt x="6664" y="8525"/>
                    </a:lnTo>
                    <a:lnTo>
                      <a:pt x="6689" y="8930"/>
                    </a:lnTo>
                    <a:lnTo>
                      <a:pt x="6722" y="9334"/>
                    </a:lnTo>
                    <a:lnTo>
                      <a:pt x="6759" y="9705"/>
                    </a:lnTo>
                    <a:lnTo>
                      <a:pt x="6807" y="10076"/>
                    </a:lnTo>
                    <a:lnTo>
                      <a:pt x="6851" y="10446"/>
                    </a:lnTo>
                    <a:lnTo>
                      <a:pt x="6898" y="10749"/>
                    </a:lnTo>
                    <a:lnTo>
                      <a:pt x="6957" y="11053"/>
                    </a:lnTo>
                    <a:lnTo>
                      <a:pt x="7012" y="11322"/>
                    </a:lnTo>
                    <a:lnTo>
                      <a:pt x="7078" y="11626"/>
                    </a:lnTo>
                    <a:lnTo>
                      <a:pt x="7140" y="11861"/>
                    </a:lnTo>
                    <a:lnTo>
                      <a:pt x="7210" y="12097"/>
                    </a:lnTo>
                    <a:lnTo>
                      <a:pt x="7309" y="12434"/>
                    </a:lnTo>
                    <a:lnTo>
                      <a:pt x="7393" y="12839"/>
                    </a:lnTo>
                    <a:lnTo>
                      <a:pt x="7430" y="13007"/>
                    </a:lnTo>
                    <a:lnTo>
                      <a:pt x="7463" y="13209"/>
                    </a:lnTo>
                    <a:lnTo>
                      <a:pt x="7492" y="13378"/>
                    </a:lnTo>
                    <a:lnTo>
                      <a:pt x="7518" y="13580"/>
                    </a:lnTo>
                    <a:lnTo>
                      <a:pt x="7540" y="13782"/>
                    </a:lnTo>
                    <a:lnTo>
                      <a:pt x="7558" y="14052"/>
                    </a:lnTo>
                    <a:lnTo>
                      <a:pt x="7576" y="14254"/>
                    </a:lnTo>
                    <a:lnTo>
                      <a:pt x="7598" y="14726"/>
                    </a:lnTo>
                    <a:lnTo>
                      <a:pt x="7606" y="14995"/>
                    </a:lnTo>
                    <a:lnTo>
                      <a:pt x="7613" y="15299"/>
                    </a:lnTo>
                    <a:lnTo>
                      <a:pt x="7613" y="15871"/>
                    </a:lnTo>
                    <a:lnTo>
                      <a:pt x="7602" y="16175"/>
                    </a:lnTo>
                    <a:lnTo>
                      <a:pt x="7595" y="16478"/>
                    </a:lnTo>
                    <a:lnTo>
                      <a:pt x="7584" y="16748"/>
                    </a:lnTo>
                    <a:lnTo>
                      <a:pt x="7569" y="16983"/>
                    </a:lnTo>
                    <a:lnTo>
                      <a:pt x="7551" y="17219"/>
                    </a:lnTo>
                    <a:lnTo>
                      <a:pt x="7529" y="17422"/>
                    </a:lnTo>
                    <a:lnTo>
                      <a:pt x="7507" y="17657"/>
                    </a:lnTo>
                    <a:lnTo>
                      <a:pt x="7477" y="17826"/>
                    </a:lnTo>
                    <a:lnTo>
                      <a:pt x="7411" y="18095"/>
                    </a:lnTo>
                    <a:lnTo>
                      <a:pt x="7338" y="18298"/>
                    </a:lnTo>
                    <a:lnTo>
                      <a:pt x="7290" y="18365"/>
                    </a:lnTo>
                    <a:lnTo>
                      <a:pt x="7246" y="18399"/>
                    </a:lnTo>
                    <a:lnTo>
                      <a:pt x="7122" y="18399"/>
                    </a:lnTo>
                    <a:lnTo>
                      <a:pt x="7041" y="18298"/>
                    </a:lnTo>
                    <a:lnTo>
                      <a:pt x="6968" y="18197"/>
                    </a:lnTo>
                    <a:lnTo>
                      <a:pt x="6895" y="18028"/>
                    </a:lnTo>
                    <a:lnTo>
                      <a:pt x="6763" y="17624"/>
                    </a:lnTo>
                    <a:lnTo>
                      <a:pt x="6704" y="17320"/>
                    </a:lnTo>
                    <a:lnTo>
                      <a:pt x="6653" y="17085"/>
                    </a:lnTo>
                    <a:lnTo>
                      <a:pt x="6557" y="20252"/>
                    </a:lnTo>
                    <a:close/>
                    <a:moveTo>
                      <a:pt x="4765" y="21263"/>
                    </a:moveTo>
                    <a:lnTo>
                      <a:pt x="4765" y="12502"/>
                    </a:lnTo>
                    <a:lnTo>
                      <a:pt x="4761" y="11289"/>
                    </a:lnTo>
                    <a:lnTo>
                      <a:pt x="4761" y="10143"/>
                    </a:lnTo>
                    <a:lnTo>
                      <a:pt x="4758" y="9065"/>
                    </a:lnTo>
                    <a:lnTo>
                      <a:pt x="4758" y="7986"/>
                    </a:lnTo>
                    <a:lnTo>
                      <a:pt x="4754" y="6908"/>
                    </a:lnTo>
                    <a:lnTo>
                      <a:pt x="4747" y="5897"/>
                    </a:lnTo>
                    <a:lnTo>
                      <a:pt x="4743" y="4852"/>
                    </a:lnTo>
                    <a:lnTo>
                      <a:pt x="4754" y="4852"/>
                    </a:lnTo>
                    <a:lnTo>
                      <a:pt x="4794" y="5729"/>
                    </a:lnTo>
                    <a:lnTo>
                      <a:pt x="4842" y="6672"/>
                    </a:lnTo>
                    <a:lnTo>
                      <a:pt x="4893" y="7548"/>
                    </a:lnTo>
                    <a:lnTo>
                      <a:pt x="4941" y="8458"/>
                    </a:lnTo>
                    <a:lnTo>
                      <a:pt x="4992" y="9402"/>
                    </a:lnTo>
                    <a:lnTo>
                      <a:pt x="5051" y="10311"/>
                    </a:lnTo>
                    <a:lnTo>
                      <a:pt x="5102" y="11188"/>
                    </a:lnTo>
                    <a:lnTo>
                      <a:pt x="5161" y="12064"/>
                    </a:lnTo>
                    <a:lnTo>
                      <a:pt x="5751" y="21263"/>
                    </a:lnTo>
                    <a:lnTo>
                      <a:pt x="6180" y="21263"/>
                    </a:lnTo>
                    <a:lnTo>
                      <a:pt x="6180" y="337"/>
                    </a:lnTo>
                    <a:lnTo>
                      <a:pt x="5799" y="337"/>
                    </a:lnTo>
                    <a:lnTo>
                      <a:pt x="5799" y="9941"/>
                    </a:lnTo>
                    <a:lnTo>
                      <a:pt x="5802" y="11053"/>
                    </a:lnTo>
                    <a:lnTo>
                      <a:pt x="5806" y="12131"/>
                    </a:lnTo>
                    <a:lnTo>
                      <a:pt x="5810" y="13176"/>
                    </a:lnTo>
                    <a:lnTo>
                      <a:pt x="5824" y="15265"/>
                    </a:lnTo>
                    <a:lnTo>
                      <a:pt x="5835" y="16310"/>
                    </a:lnTo>
                    <a:lnTo>
                      <a:pt x="5824" y="16343"/>
                    </a:lnTo>
                    <a:lnTo>
                      <a:pt x="5744" y="14591"/>
                    </a:lnTo>
                    <a:lnTo>
                      <a:pt x="5700" y="13715"/>
                    </a:lnTo>
                    <a:lnTo>
                      <a:pt x="5648" y="12839"/>
                    </a:lnTo>
                    <a:lnTo>
                      <a:pt x="5601" y="11963"/>
                    </a:lnTo>
                    <a:lnTo>
                      <a:pt x="5546" y="11053"/>
                    </a:lnTo>
                    <a:lnTo>
                      <a:pt x="5494" y="10177"/>
                    </a:lnTo>
                    <a:lnTo>
                      <a:pt x="5439" y="9334"/>
                    </a:lnTo>
                    <a:lnTo>
                      <a:pt x="4853" y="337"/>
                    </a:lnTo>
                    <a:lnTo>
                      <a:pt x="4380" y="337"/>
                    </a:lnTo>
                    <a:lnTo>
                      <a:pt x="4380" y="21263"/>
                    </a:lnTo>
                    <a:lnTo>
                      <a:pt x="4765" y="21263"/>
                    </a:lnTo>
                    <a:close/>
                    <a:moveTo>
                      <a:pt x="2947" y="18534"/>
                    </a:moveTo>
                    <a:lnTo>
                      <a:pt x="2914" y="18500"/>
                    </a:lnTo>
                    <a:lnTo>
                      <a:pt x="2877" y="18500"/>
                    </a:lnTo>
                    <a:lnTo>
                      <a:pt x="2844" y="18432"/>
                    </a:lnTo>
                    <a:lnTo>
                      <a:pt x="2808" y="18365"/>
                    </a:lnTo>
                    <a:lnTo>
                      <a:pt x="2775" y="18298"/>
                    </a:lnTo>
                    <a:lnTo>
                      <a:pt x="2745" y="18197"/>
                    </a:lnTo>
                    <a:lnTo>
                      <a:pt x="2687" y="17927"/>
                    </a:lnTo>
                    <a:lnTo>
                      <a:pt x="2654" y="17759"/>
                    </a:lnTo>
                    <a:lnTo>
                      <a:pt x="2628" y="17624"/>
                    </a:lnTo>
                    <a:lnTo>
                      <a:pt x="2602" y="17388"/>
                    </a:lnTo>
                    <a:lnTo>
                      <a:pt x="2577" y="17186"/>
                    </a:lnTo>
                    <a:lnTo>
                      <a:pt x="2529" y="16748"/>
                    </a:lnTo>
                    <a:lnTo>
                      <a:pt x="2489" y="16242"/>
                    </a:lnTo>
                    <a:lnTo>
                      <a:pt x="2448" y="15703"/>
                    </a:lnTo>
                    <a:lnTo>
                      <a:pt x="2419" y="15130"/>
                    </a:lnTo>
                    <a:lnTo>
                      <a:pt x="2386" y="14490"/>
                    </a:lnTo>
                    <a:lnTo>
                      <a:pt x="2364" y="13816"/>
                    </a:lnTo>
                    <a:lnTo>
                      <a:pt x="2346" y="13108"/>
                    </a:lnTo>
                    <a:lnTo>
                      <a:pt x="2335" y="12367"/>
                    </a:lnTo>
                    <a:lnTo>
                      <a:pt x="2324" y="11659"/>
                    </a:lnTo>
                    <a:lnTo>
                      <a:pt x="2324" y="10076"/>
                    </a:lnTo>
                    <a:lnTo>
                      <a:pt x="2331" y="9334"/>
                    </a:lnTo>
                    <a:lnTo>
                      <a:pt x="2346" y="8593"/>
                    </a:lnTo>
                    <a:lnTo>
                      <a:pt x="2364" y="7919"/>
                    </a:lnTo>
                    <a:lnTo>
                      <a:pt x="2386" y="7211"/>
                    </a:lnTo>
                    <a:lnTo>
                      <a:pt x="2415" y="6537"/>
                    </a:lnTo>
                    <a:lnTo>
                      <a:pt x="2481" y="5392"/>
                    </a:lnTo>
                    <a:lnTo>
                      <a:pt x="2525" y="4886"/>
                    </a:lnTo>
                    <a:lnTo>
                      <a:pt x="2573" y="4448"/>
                    </a:lnTo>
                    <a:lnTo>
                      <a:pt x="2599" y="4246"/>
                    </a:lnTo>
                    <a:lnTo>
                      <a:pt x="2624" y="4010"/>
                    </a:lnTo>
                    <a:lnTo>
                      <a:pt x="2650" y="3841"/>
                    </a:lnTo>
                    <a:lnTo>
                      <a:pt x="2683" y="3673"/>
                    </a:lnTo>
                    <a:lnTo>
                      <a:pt x="2712" y="3538"/>
                    </a:lnTo>
                    <a:lnTo>
                      <a:pt x="2742" y="3437"/>
                    </a:lnTo>
                    <a:lnTo>
                      <a:pt x="2808" y="3235"/>
                    </a:lnTo>
                    <a:lnTo>
                      <a:pt x="2881" y="3100"/>
                    </a:lnTo>
                    <a:lnTo>
                      <a:pt x="2914" y="3066"/>
                    </a:lnTo>
                    <a:lnTo>
                      <a:pt x="2995" y="3066"/>
                    </a:lnTo>
                    <a:lnTo>
                      <a:pt x="3031" y="3100"/>
                    </a:lnTo>
                    <a:lnTo>
                      <a:pt x="3064" y="3168"/>
                    </a:lnTo>
                    <a:lnTo>
                      <a:pt x="3101" y="3235"/>
                    </a:lnTo>
                    <a:lnTo>
                      <a:pt x="3167" y="3437"/>
                    </a:lnTo>
                    <a:lnTo>
                      <a:pt x="3196" y="3572"/>
                    </a:lnTo>
                    <a:lnTo>
                      <a:pt x="3229" y="3707"/>
                    </a:lnTo>
                    <a:lnTo>
                      <a:pt x="3259" y="3841"/>
                    </a:lnTo>
                    <a:lnTo>
                      <a:pt x="3335" y="4448"/>
                    </a:lnTo>
                    <a:lnTo>
                      <a:pt x="3383" y="4886"/>
                    </a:lnTo>
                    <a:lnTo>
                      <a:pt x="3423" y="5392"/>
                    </a:lnTo>
                    <a:lnTo>
                      <a:pt x="3460" y="5964"/>
                    </a:lnTo>
                    <a:lnTo>
                      <a:pt x="3489" y="6537"/>
                    </a:lnTo>
                    <a:lnTo>
                      <a:pt x="3522" y="7211"/>
                    </a:lnTo>
                    <a:lnTo>
                      <a:pt x="3544" y="7885"/>
                    </a:lnTo>
                    <a:lnTo>
                      <a:pt x="3559" y="8559"/>
                    </a:lnTo>
                    <a:lnTo>
                      <a:pt x="3570" y="9267"/>
                    </a:lnTo>
                    <a:lnTo>
                      <a:pt x="3577" y="9974"/>
                    </a:lnTo>
                    <a:lnTo>
                      <a:pt x="3581" y="10716"/>
                    </a:lnTo>
                    <a:lnTo>
                      <a:pt x="3577" y="11558"/>
                    </a:lnTo>
                    <a:lnTo>
                      <a:pt x="3570" y="12300"/>
                    </a:lnTo>
                    <a:lnTo>
                      <a:pt x="3559" y="13075"/>
                    </a:lnTo>
                    <a:lnTo>
                      <a:pt x="3541" y="13782"/>
                    </a:lnTo>
                    <a:lnTo>
                      <a:pt x="3519" y="14490"/>
                    </a:lnTo>
                    <a:lnTo>
                      <a:pt x="3486" y="15130"/>
                    </a:lnTo>
                    <a:lnTo>
                      <a:pt x="3456" y="15737"/>
                    </a:lnTo>
                    <a:lnTo>
                      <a:pt x="3420" y="16242"/>
                    </a:lnTo>
                    <a:lnTo>
                      <a:pt x="3376" y="16781"/>
                    </a:lnTo>
                    <a:lnTo>
                      <a:pt x="3328" y="17219"/>
                    </a:lnTo>
                    <a:lnTo>
                      <a:pt x="3277" y="17624"/>
                    </a:lnTo>
                    <a:lnTo>
                      <a:pt x="3251" y="17792"/>
                    </a:lnTo>
                    <a:lnTo>
                      <a:pt x="3218" y="17927"/>
                    </a:lnTo>
                    <a:lnTo>
                      <a:pt x="3160" y="18197"/>
                    </a:lnTo>
                    <a:lnTo>
                      <a:pt x="3130" y="18298"/>
                    </a:lnTo>
                    <a:lnTo>
                      <a:pt x="3097" y="18365"/>
                    </a:lnTo>
                    <a:lnTo>
                      <a:pt x="3061" y="18432"/>
                    </a:lnTo>
                    <a:lnTo>
                      <a:pt x="3028" y="18500"/>
                    </a:lnTo>
                    <a:lnTo>
                      <a:pt x="2991" y="18500"/>
                    </a:lnTo>
                    <a:lnTo>
                      <a:pt x="2951" y="18534"/>
                    </a:lnTo>
                    <a:lnTo>
                      <a:pt x="2947" y="18534"/>
                    </a:lnTo>
                    <a:close/>
                    <a:moveTo>
                      <a:pt x="2940" y="21600"/>
                    </a:moveTo>
                    <a:lnTo>
                      <a:pt x="2998" y="21600"/>
                    </a:lnTo>
                    <a:lnTo>
                      <a:pt x="3053" y="21566"/>
                    </a:lnTo>
                    <a:lnTo>
                      <a:pt x="3112" y="21499"/>
                    </a:lnTo>
                    <a:lnTo>
                      <a:pt x="3163" y="21432"/>
                    </a:lnTo>
                    <a:lnTo>
                      <a:pt x="3218" y="21330"/>
                    </a:lnTo>
                    <a:lnTo>
                      <a:pt x="3273" y="21196"/>
                    </a:lnTo>
                    <a:lnTo>
                      <a:pt x="3321" y="21027"/>
                    </a:lnTo>
                    <a:lnTo>
                      <a:pt x="3372" y="20859"/>
                    </a:lnTo>
                    <a:lnTo>
                      <a:pt x="3467" y="20454"/>
                    </a:lnTo>
                    <a:lnTo>
                      <a:pt x="3515" y="20218"/>
                    </a:lnTo>
                    <a:lnTo>
                      <a:pt x="3555" y="19983"/>
                    </a:lnTo>
                    <a:lnTo>
                      <a:pt x="3599" y="19679"/>
                    </a:lnTo>
                    <a:lnTo>
                      <a:pt x="3680" y="19073"/>
                    </a:lnTo>
                    <a:lnTo>
                      <a:pt x="3713" y="18736"/>
                    </a:lnTo>
                    <a:lnTo>
                      <a:pt x="3750" y="18365"/>
                    </a:lnTo>
                    <a:lnTo>
                      <a:pt x="3786" y="17961"/>
                    </a:lnTo>
                    <a:lnTo>
                      <a:pt x="3816" y="17590"/>
                    </a:lnTo>
                    <a:lnTo>
                      <a:pt x="3845" y="17152"/>
                    </a:lnTo>
                    <a:lnTo>
                      <a:pt x="3871" y="16714"/>
                    </a:lnTo>
                    <a:lnTo>
                      <a:pt x="3922" y="15770"/>
                    </a:lnTo>
                    <a:lnTo>
                      <a:pt x="3944" y="15265"/>
                    </a:lnTo>
                    <a:lnTo>
                      <a:pt x="3962" y="14726"/>
                    </a:lnTo>
                    <a:lnTo>
                      <a:pt x="3977" y="14220"/>
                    </a:lnTo>
                    <a:lnTo>
                      <a:pt x="3992" y="13647"/>
                    </a:lnTo>
                    <a:lnTo>
                      <a:pt x="4003" y="13075"/>
                    </a:lnTo>
                    <a:lnTo>
                      <a:pt x="4017" y="11861"/>
                    </a:lnTo>
                    <a:lnTo>
                      <a:pt x="4021" y="11221"/>
                    </a:lnTo>
                    <a:lnTo>
                      <a:pt x="4021" y="10008"/>
                    </a:lnTo>
                    <a:lnTo>
                      <a:pt x="4014" y="8930"/>
                    </a:lnTo>
                    <a:lnTo>
                      <a:pt x="4006" y="8424"/>
                    </a:lnTo>
                    <a:lnTo>
                      <a:pt x="3995" y="7919"/>
                    </a:lnTo>
                    <a:lnTo>
                      <a:pt x="3984" y="7380"/>
                    </a:lnTo>
                    <a:lnTo>
                      <a:pt x="3970" y="6908"/>
                    </a:lnTo>
                    <a:lnTo>
                      <a:pt x="3951" y="6402"/>
                    </a:lnTo>
                    <a:lnTo>
                      <a:pt x="3933" y="5931"/>
                    </a:lnTo>
                    <a:lnTo>
                      <a:pt x="3915" y="5493"/>
                    </a:lnTo>
                    <a:lnTo>
                      <a:pt x="3889" y="5021"/>
                    </a:lnTo>
                    <a:lnTo>
                      <a:pt x="3863" y="4617"/>
                    </a:lnTo>
                    <a:lnTo>
                      <a:pt x="3838" y="4178"/>
                    </a:lnTo>
                    <a:lnTo>
                      <a:pt x="3779" y="3437"/>
                    </a:lnTo>
                    <a:lnTo>
                      <a:pt x="3742" y="3066"/>
                    </a:lnTo>
                    <a:lnTo>
                      <a:pt x="3709" y="2696"/>
                    </a:lnTo>
                    <a:lnTo>
                      <a:pt x="3673" y="2393"/>
                    </a:lnTo>
                    <a:lnTo>
                      <a:pt x="3632" y="2089"/>
                    </a:lnTo>
                    <a:lnTo>
                      <a:pt x="3592" y="1752"/>
                    </a:lnTo>
                    <a:lnTo>
                      <a:pt x="3552" y="1483"/>
                    </a:lnTo>
                    <a:lnTo>
                      <a:pt x="3508" y="1247"/>
                    </a:lnTo>
                    <a:lnTo>
                      <a:pt x="3460" y="1011"/>
                    </a:lnTo>
                    <a:lnTo>
                      <a:pt x="3416" y="809"/>
                    </a:lnTo>
                    <a:lnTo>
                      <a:pt x="3361" y="640"/>
                    </a:lnTo>
                    <a:lnTo>
                      <a:pt x="3313" y="438"/>
                    </a:lnTo>
                    <a:lnTo>
                      <a:pt x="3262" y="303"/>
                    </a:lnTo>
                    <a:lnTo>
                      <a:pt x="3204" y="202"/>
                    </a:lnTo>
                    <a:lnTo>
                      <a:pt x="3149" y="101"/>
                    </a:lnTo>
                    <a:lnTo>
                      <a:pt x="3094" y="67"/>
                    </a:lnTo>
                    <a:lnTo>
                      <a:pt x="3031" y="0"/>
                    </a:lnTo>
                    <a:lnTo>
                      <a:pt x="2910" y="0"/>
                    </a:lnTo>
                    <a:lnTo>
                      <a:pt x="2852" y="67"/>
                    </a:lnTo>
                    <a:lnTo>
                      <a:pt x="2793" y="101"/>
                    </a:lnTo>
                    <a:lnTo>
                      <a:pt x="2738" y="202"/>
                    </a:lnTo>
                    <a:lnTo>
                      <a:pt x="2687" y="303"/>
                    </a:lnTo>
                    <a:lnTo>
                      <a:pt x="2632" y="438"/>
                    </a:lnTo>
                    <a:lnTo>
                      <a:pt x="2580" y="640"/>
                    </a:lnTo>
                    <a:lnTo>
                      <a:pt x="2529" y="809"/>
                    </a:lnTo>
                    <a:lnTo>
                      <a:pt x="2481" y="1011"/>
                    </a:lnTo>
                    <a:lnTo>
                      <a:pt x="2437" y="1247"/>
                    </a:lnTo>
                    <a:lnTo>
                      <a:pt x="2390" y="1483"/>
                    </a:lnTo>
                    <a:lnTo>
                      <a:pt x="2346" y="1752"/>
                    </a:lnTo>
                    <a:lnTo>
                      <a:pt x="2306" y="2089"/>
                    </a:lnTo>
                    <a:lnTo>
                      <a:pt x="2262" y="2393"/>
                    </a:lnTo>
                    <a:lnTo>
                      <a:pt x="2225" y="2696"/>
                    </a:lnTo>
                    <a:lnTo>
                      <a:pt x="2188" y="3100"/>
                    </a:lnTo>
                    <a:lnTo>
                      <a:pt x="2155" y="3437"/>
                    </a:lnTo>
                    <a:lnTo>
                      <a:pt x="2119" y="3841"/>
                    </a:lnTo>
                    <a:lnTo>
                      <a:pt x="2089" y="4246"/>
                    </a:lnTo>
                    <a:lnTo>
                      <a:pt x="2060" y="4684"/>
                    </a:lnTo>
                    <a:lnTo>
                      <a:pt x="2034" y="5088"/>
                    </a:lnTo>
                    <a:lnTo>
                      <a:pt x="2012" y="5594"/>
                    </a:lnTo>
                    <a:lnTo>
                      <a:pt x="1987" y="6032"/>
                    </a:lnTo>
                    <a:lnTo>
                      <a:pt x="1965" y="6537"/>
                    </a:lnTo>
                    <a:lnTo>
                      <a:pt x="1946" y="7043"/>
                    </a:lnTo>
                    <a:lnTo>
                      <a:pt x="1932" y="7548"/>
                    </a:lnTo>
                    <a:lnTo>
                      <a:pt x="1921" y="8121"/>
                    </a:lnTo>
                    <a:lnTo>
                      <a:pt x="1910" y="8627"/>
                    </a:lnTo>
                    <a:lnTo>
                      <a:pt x="1899" y="9199"/>
                    </a:lnTo>
                    <a:lnTo>
                      <a:pt x="1895" y="9772"/>
                    </a:lnTo>
                    <a:lnTo>
                      <a:pt x="1891" y="10379"/>
                    </a:lnTo>
                    <a:lnTo>
                      <a:pt x="1888" y="10952"/>
                    </a:lnTo>
                    <a:lnTo>
                      <a:pt x="1895" y="12097"/>
                    </a:lnTo>
                    <a:lnTo>
                      <a:pt x="1899" y="12603"/>
                    </a:lnTo>
                    <a:lnTo>
                      <a:pt x="1906" y="13176"/>
                    </a:lnTo>
                    <a:lnTo>
                      <a:pt x="1917" y="13681"/>
                    </a:lnTo>
                    <a:lnTo>
                      <a:pt x="1928" y="14220"/>
                    </a:lnTo>
                    <a:lnTo>
                      <a:pt x="1943" y="14692"/>
                    </a:lnTo>
                    <a:lnTo>
                      <a:pt x="1961" y="15231"/>
                    </a:lnTo>
                    <a:lnTo>
                      <a:pt x="1979" y="15669"/>
                    </a:lnTo>
                    <a:lnTo>
                      <a:pt x="2005" y="16141"/>
                    </a:lnTo>
                    <a:lnTo>
                      <a:pt x="2049" y="17017"/>
                    </a:lnTo>
                    <a:lnTo>
                      <a:pt x="2108" y="17826"/>
                    </a:lnTo>
                    <a:lnTo>
                      <a:pt x="2207" y="18938"/>
                    </a:lnTo>
                    <a:lnTo>
                      <a:pt x="2243" y="19241"/>
                    </a:lnTo>
                    <a:lnTo>
                      <a:pt x="2284" y="19544"/>
                    </a:lnTo>
                    <a:lnTo>
                      <a:pt x="2324" y="19814"/>
                    </a:lnTo>
                    <a:lnTo>
                      <a:pt x="2364" y="20117"/>
                    </a:lnTo>
                    <a:lnTo>
                      <a:pt x="2412" y="20353"/>
                    </a:lnTo>
                    <a:lnTo>
                      <a:pt x="2456" y="20589"/>
                    </a:lnTo>
                    <a:lnTo>
                      <a:pt x="2500" y="20791"/>
                    </a:lnTo>
                    <a:lnTo>
                      <a:pt x="2551" y="20960"/>
                    </a:lnTo>
                    <a:lnTo>
                      <a:pt x="2602" y="21162"/>
                    </a:lnTo>
                    <a:lnTo>
                      <a:pt x="2654" y="21297"/>
                    </a:lnTo>
                    <a:lnTo>
                      <a:pt x="2709" y="21398"/>
                    </a:lnTo>
                    <a:lnTo>
                      <a:pt x="2760" y="21499"/>
                    </a:lnTo>
                    <a:lnTo>
                      <a:pt x="2819" y="21566"/>
                    </a:lnTo>
                    <a:lnTo>
                      <a:pt x="2877" y="21600"/>
                    </a:lnTo>
                    <a:lnTo>
                      <a:pt x="2940" y="21600"/>
                    </a:lnTo>
                    <a:close/>
                    <a:moveTo>
                      <a:pt x="1679" y="17624"/>
                    </a:moveTo>
                    <a:lnTo>
                      <a:pt x="1638" y="17792"/>
                    </a:lnTo>
                    <a:lnTo>
                      <a:pt x="1591" y="17927"/>
                    </a:lnTo>
                    <a:lnTo>
                      <a:pt x="1532" y="18062"/>
                    </a:lnTo>
                    <a:lnTo>
                      <a:pt x="1477" y="18163"/>
                    </a:lnTo>
                    <a:lnTo>
                      <a:pt x="1415" y="18264"/>
                    </a:lnTo>
                    <a:lnTo>
                      <a:pt x="1356" y="18331"/>
                    </a:lnTo>
                    <a:lnTo>
                      <a:pt x="1290" y="18365"/>
                    </a:lnTo>
                    <a:lnTo>
                      <a:pt x="1184" y="18365"/>
                    </a:lnTo>
                    <a:lnTo>
                      <a:pt x="1136" y="18331"/>
                    </a:lnTo>
                    <a:lnTo>
                      <a:pt x="1092" y="18298"/>
                    </a:lnTo>
                    <a:lnTo>
                      <a:pt x="1052" y="18230"/>
                    </a:lnTo>
                    <a:lnTo>
                      <a:pt x="1008" y="18163"/>
                    </a:lnTo>
                    <a:lnTo>
                      <a:pt x="971" y="18095"/>
                    </a:lnTo>
                    <a:lnTo>
                      <a:pt x="931" y="17994"/>
                    </a:lnTo>
                    <a:lnTo>
                      <a:pt x="891" y="17860"/>
                    </a:lnTo>
                    <a:lnTo>
                      <a:pt x="825" y="17590"/>
                    </a:lnTo>
                    <a:lnTo>
                      <a:pt x="792" y="17388"/>
                    </a:lnTo>
                    <a:lnTo>
                      <a:pt x="759" y="17219"/>
                    </a:lnTo>
                    <a:lnTo>
                      <a:pt x="726" y="17017"/>
                    </a:lnTo>
                    <a:lnTo>
                      <a:pt x="700" y="16815"/>
                    </a:lnTo>
                    <a:lnTo>
                      <a:pt x="671" y="16579"/>
                    </a:lnTo>
                    <a:lnTo>
                      <a:pt x="649" y="16377"/>
                    </a:lnTo>
                    <a:lnTo>
                      <a:pt x="619" y="16074"/>
                    </a:lnTo>
                    <a:lnTo>
                      <a:pt x="597" y="15838"/>
                    </a:lnTo>
                    <a:lnTo>
                      <a:pt x="575" y="15568"/>
                    </a:lnTo>
                    <a:lnTo>
                      <a:pt x="557" y="15265"/>
                    </a:lnTo>
                    <a:lnTo>
                      <a:pt x="539" y="14928"/>
                    </a:lnTo>
                    <a:lnTo>
                      <a:pt x="520" y="14625"/>
                    </a:lnTo>
                    <a:lnTo>
                      <a:pt x="506" y="14321"/>
                    </a:lnTo>
                    <a:lnTo>
                      <a:pt x="491" y="13984"/>
                    </a:lnTo>
                    <a:lnTo>
                      <a:pt x="466" y="13243"/>
                    </a:lnTo>
                    <a:lnTo>
                      <a:pt x="451" y="12502"/>
                    </a:lnTo>
                    <a:lnTo>
                      <a:pt x="440" y="11693"/>
                    </a:lnTo>
                    <a:lnTo>
                      <a:pt x="436" y="10851"/>
                    </a:lnTo>
                    <a:lnTo>
                      <a:pt x="436" y="10412"/>
                    </a:lnTo>
                    <a:lnTo>
                      <a:pt x="440" y="9941"/>
                    </a:lnTo>
                    <a:lnTo>
                      <a:pt x="447" y="9503"/>
                    </a:lnTo>
                    <a:lnTo>
                      <a:pt x="451" y="9098"/>
                    </a:lnTo>
                    <a:lnTo>
                      <a:pt x="458" y="8660"/>
                    </a:lnTo>
                    <a:lnTo>
                      <a:pt x="480" y="7919"/>
                    </a:lnTo>
                    <a:lnTo>
                      <a:pt x="498" y="7515"/>
                    </a:lnTo>
                    <a:lnTo>
                      <a:pt x="513" y="7178"/>
                    </a:lnTo>
                    <a:lnTo>
                      <a:pt x="531" y="6841"/>
                    </a:lnTo>
                    <a:lnTo>
                      <a:pt x="546" y="6504"/>
                    </a:lnTo>
                    <a:lnTo>
                      <a:pt x="568" y="6200"/>
                    </a:lnTo>
                    <a:lnTo>
                      <a:pt x="586" y="5931"/>
                    </a:lnTo>
                    <a:lnTo>
                      <a:pt x="612" y="5661"/>
                    </a:lnTo>
                    <a:lnTo>
                      <a:pt x="638" y="5358"/>
                    </a:lnTo>
                    <a:lnTo>
                      <a:pt x="689" y="4886"/>
                    </a:lnTo>
                    <a:lnTo>
                      <a:pt x="748" y="4482"/>
                    </a:lnTo>
                    <a:lnTo>
                      <a:pt x="781" y="4280"/>
                    </a:lnTo>
                    <a:lnTo>
                      <a:pt x="810" y="4077"/>
                    </a:lnTo>
                    <a:lnTo>
                      <a:pt x="843" y="3943"/>
                    </a:lnTo>
                    <a:lnTo>
                      <a:pt x="876" y="3774"/>
                    </a:lnTo>
                    <a:lnTo>
                      <a:pt x="916" y="3673"/>
                    </a:lnTo>
                    <a:lnTo>
                      <a:pt x="990" y="3437"/>
                    </a:lnTo>
                    <a:lnTo>
                      <a:pt x="1067" y="3302"/>
                    </a:lnTo>
                    <a:lnTo>
                      <a:pt x="1147" y="3201"/>
                    </a:lnTo>
                    <a:lnTo>
                      <a:pt x="1235" y="3168"/>
                    </a:lnTo>
                    <a:lnTo>
                      <a:pt x="1367" y="3235"/>
                    </a:lnTo>
                    <a:lnTo>
                      <a:pt x="1426" y="3302"/>
                    </a:lnTo>
                    <a:lnTo>
                      <a:pt x="1484" y="3403"/>
                    </a:lnTo>
                    <a:lnTo>
                      <a:pt x="1539" y="3538"/>
                    </a:lnTo>
                    <a:lnTo>
                      <a:pt x="1591" y="3673"/>
                    </a:lnTo>
                    <a:lnTo>
                      <a:pt x="1635" y="3808"/>
                    </a:lnTo>
                    <a:lnTo>
                      <a:pt x="1675" y="3976"/>
                    </a:lnTo>
                    <a:lnTo>
                      <a:pt x="1767" y="944"/>
                    </a:lnTo>
                    <a:lnTo>
                      <a:pt x="1734" y="809"/>
                    </a:lnTo>
                    <a:lnTo>
                      <a:pt x="1682" y="640"/>
                    </a:lnTo>
                    <a:lnTo>
                      <a:pt x="1627" y="438"/>
                    </a:lnTo>
                    <a:lnTo>
                      <a:pt x="1561" y="303"/>
                    </a:lnTo>
                    <a:lnTo>
                      <a:pt x="1488" y="202"/>
                    </a:lnTo>
                    <a:lnTo>
                      <a:pt x="1404" y="101"/>
                    </a:lnTo>
                    <a:lnTo>
                      <a:pt x="1316" y="34"/>
                    </a:lnTo>
                    <a:lnTo>
                      <a:pt x="1217" y="0"/>
                    </a:lnTo>
                    <a:lnTo>
                      <a:pt x="1151" y="34"/>
                    </a:lnTo>
                    <a:lnTo>
                      <a:pt x="1089" y="67"/>
                    </a:lnTo>
                    <a:lnTo>
                      <a:pt x="964" y="202"/>
                    </a:lnTo>
                    <a:lnTo>
                      <a:pt x="905" y="303"/>
                    </a:lnTo>
                    <a:lnTo>
                      <a:pt x="847" y="438"/>
                    </a:lnTo>
                    <a:lnTo>
                      <a:pt x="792" y="573"/>
                    </a:lnTo>
                    <a:lnTo>
                      <a:pt x="733" y="775"/>
                    </a:lnTo>
                    <a:lnTo>
                      <a:pt x="678" y="977"/>
                    </a:lnTo>
                    <a:lnTo>
                      <a:pt x="630" y="1179"/>
                    </a:lnTo>
                    <a:lnTo>
                      <a:pt x="575" y="1415"/>
                    </a:lnTo>
                    <a:lnTo>
                      <a:pt x="528" y="1685"/>
                    </a:lnTo>
                    <a:lnTo>
                      <a:pt x="476" y="1988"/>
                    </a:lnTo>
                    <a:lnTo>
                      <a:pt x="433" y="2291"/>
                    </a:lnTo>
                    <a:lnTo>
                      <a:pt x="392" y="2595"/>
                    </a:lnTo>
                    <a:lnTo>
                      <a:pt x="345" y="2932"/>
                    </a:lnTo>
                    <a:lnTo>
                      <a:pt x="308" y="3336"/>
                    </a:lnTo>
                    <a:lnTo>
                      <a:pt x="271" y="3707"/>
                    </a:lnTo>
                    <a:lnTo>
                      <a:pt x="238" y="4111"/>
                    </a:lnTo>
                    <a:lnTo>
                      <a:pt x="202" y="4549"/>
                    </a:lnTo>
                    <a:lnTo>
                      <a:pt x="172" y="4987"/>
                    </a:lnTo>
                    <a:lnTo>
                      <a:pt x="143" y="5459"/>
                    </a:lnTo>
                    <a:lnTo>
                      <a:pt x="117" y="5931"/>
                    </a:lnTo>
                    <a:lnTo>
                      <a:pt x="95" y="6402"/>
                    </a:lnTo>
                    <a:lnTo>
                      <a:pt x="70" y="6942"/>
                    </a:lnTo>
                    <a:lnTo>
                      <a:pt x="51" y="7481"/>
                    </a:lnTo>
                    <a:lnTo>
                      <a:pt x="37" y="8054"/>
                    </a:lnTo>
                    <a:lnTo>
                      <a:pt x="22" y="8593"/>
                    </a:lnTo>
                    <a:lnTo>
                      <a:pt x="15" y="9199"/>
                    </a:lnTo>
                    <a:lnTo>
                      <a:pt x="7" y="9772"/>
                    </a:lnTo>
                    <a:lnTo>
                      <a:pt x="0" y="11053"/>
                    </a:lnTo>
                    <a:lnTo>
                      <a:pt x="4" y="11659"/>
                    </a:lnTo>
                    <a:lnTo>
                      <a:pt x="7" y="12198"/>
                    </a:lnTo>
                    <a:lnTo>
                      <a:pt x="11" y="12805"/>
                    </a:lnTo>
                    <a:lnTo>
                      <a:pt x="22" y="13310"/>
                    </a:lnTo>
                    <a:lnTo>
                      <a:pt x="33" y="13883"/>
                    </a:lnTo>
                    <a:lnTo>
                      <a:pt x="44" y="14389"/>
                    </a:lnTo>
                    <a:lnTo>
                      <a:pt x="59" y="14861"/>
                    </a:lnTo>
                    <a:lnTo>
                      <a:pt x="81" y="15400"/>
                    </a:lnTo>
                    <a:lnTo>
                      <a:pt x="103" y="15838"/>
                    </a:lnTo>
                    <a:lnTo>
                      <a:pt x="125" y="16310"/>
                    </a:lnTo>
                    <a:lnTo>
                      <a:pt x="150" y="16748"/>
                    </a:lnTo>
                    <a:lnTo>
                      <a:pt x="176" y="17152"/>
                    </a:lnTo>
                    <a:lnTo>
                      <a:pt x="205" y="17590"/>
                    </a:lnTo>
                    <a:lnTo>
                      <a:pt x="242" y="17994"/>
                    </a:lnTo>
                    <a:lnTo>
                      <a:pt x="275" y="18331"/>
                    </a:lnTo>
                    <a:lnTo>
                      <a:pt x="308" y="18702"/>
                    </a:lnTo>
                    <a:lnTo>
                      <a:pt x="348" y="19039"/>
                    </a:lnTo>
                    <a:lnTo>
                      <a:pt x="389" y="19342"/>
                    </a:lnTo>
                    <a:lnTo>
                      <a:pt x="476" y="19949"/>
                    </a:lnTo>
                    <a:lnTo>
                      <a:pt x="572" y="20421"/>
                    </a:lnTo>
                    <a:lnTo>
                      <a:pt x="619" y="20623"/>
                    </a:lnTo>
                    <a:lnTo>
                      <a:pt x="674" y="20825"/>
                    </a:lnTo>
                    <a:lnTo>
                      <a:pt x="729" y="20993"/>
                    </a:lnTo>
                    <a:lnTo>
                      <a:pt x="788" y="21162"/>
                    </a:lnTo>
                    <a:lnTo>
                      <a:pt x="843" y="21297"/>
                    </a:lnTo>
                    <a:lnTo>
                      <a:pt x="905" y="21398"/>
                    </a:lnTo>
                    <a:lnTo>
                      <a:pt x="964" y="21465"/>
                    </a:lnTo>
                    <a:lnTo>
                      <a:pt x="1026" y="21533"/>
                    </a:lnTo>
                    <a:lnTo>
                      <a:pt x="1158" y="21600"/>
                    </a:lnTo>
                    <a:lnTo>
                      <a:pt x="1261" y="21566"/>
                    </a:lnTo>
                    <a:lnTo>
                      <a:pt x="1356" y="21499"/>
                    </a:lnTo>
                    <a:lnTo>
                      <a:pt x="1440" y="21398"/>
                    </a:lnTo>
                    <a:lnTo>
                      <a:pt x="1521" y="21297"/>
                    </a:lnTo>
                    <a:lnTo>
                      <a:pt x="1594" y="21162"/>
                    </a:lnTo>
                    <a:lnTo>
                      <a:pt x="1653" y="20960"/>
                    </a:lnTo>
                    <a:lnTo>
                      <a:pt x="1704" y="20791"/>
                    </a:lnTo>
                    <a:lnTo>
                      <a:pt x="1752" y="20623"/>
                    </a:lnTo>
                    <a:lnTo>
                      <a:pt x="1679" y="17624"/>
                    </a:lnTo>
                    <a:close/>
                  </a:path>
                </a:pathLst>
              </a:custGeom>
              <a:solidFill>
                <a:srgbClr val="4473B1"/>
              </a:solidFill>
              <a:ln w="3175" cap="flat">
                <a:noFill/>
                <a:miter lim="400000"/>
              </a:ln>
              <a:effectLst/>
            </p:spPr>
            <p:txBody>
              <a:bodyPr wrap="square" lIns="60959" tIns="60959" rIns="60959" bIns="60959" numCol="1" anchor="t">
                <a:noAutofit/>
              </a:bodyPr>
              <a:lstStyle/>
              <a:p>
                <a:pPr defTabSz="685347">
                  <a:defRPr sz="2400">
                    <a:latin typeface="Myriad Pro"/>
                    <a:ea typeface="Myriad Pro"/>
                    <a:cs typeface="Myriad Pro"/>
                    <a:sym typeface="Myriad Pro"/>
                  </a:defRPr>
                </a:pPr>
                <a:endParaRPr sz="2400" kern="0" dirty="0">
                  <a:solidFill>
                    <a:sysClr val="windowText" lastClr="000000"/>
                  </a:solidFill>
                  <a:latin typeface="Myriad Pro"/>
                  <a:ea typeface="Myriad Pro"/>
                  <a:cs typeface="Myriad Pro"/>
                  <a:sym typeface="Myriad Pro"/>
                </a:endParaRPr>
              </a:p>
            </p:txBody>
          </p:sp>
          <p:sp>
            <p:nvSpPr>
              <p:cNvPr id="13" name="Shape 8"/>
              <p:cNvSpPr/>
              <p:nvPr/>
            </p:nvSpPr>
            <p:spPr>
              <a:xfrm>
                <a:off x="8457887" y="3734150"/>
                <a:ext cx="366639" cy="9042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5185" y="6226"/>
                    </a:moveTo>
                    <a:lnTo>
                      <a:pt x="5185" y="0"/>
                    </a:lnTo>
                    <a:lnTo>
                      <a:pt x="0" y="0"/>
                    </a:lnTo>
                    <a:lnTo>
                      <a:pt x="0" y="6226"/>
                    </a:lnTo>
                    <a:lnTo>
                      <a:pt x="1526" y="6226"/>
                    </a:lnTo>
                    <a:lnTo>
                      <a:pt x="1526" y="21600"/>
                    </a:lnTo>
                    <a:lnTo>
                      <a:pt x="3668" y="21600"/>
                    </a:lnTo>
                    <a:lnTo>
                      <a:pt x="3668" y="6226"/>
                    </a:lnTo>
                    <a:lnTo>
                      <a:pt x="5185" y="6226"/>
                    </a:lnTo>
                    <a:close/>
                    <a:moveTo>
                      <a:pt x="7865" y="8696"/>
                    </a:moveTo>
                    <a:lnTo>
                      <a:pt x="6772" y="21600"/>
                    </a:lnTo>
                    <a:lnTo>
                      <a:pt x="4674" y="21600"/>
                    </a:lnTo>
                    <a:lnTo>
                      <a:pt x="6729" y="0"/>
                    </a:lnTo>
                    <a:lnTo>
                      <a:pt x="9001" y="0"/>
                    </a:lnTo>
                    <a:lnTo>
                      <a:pt x="11056" y="21600"/>
                    </a:lnTo>
                    <a:lnTo>
                      <a:pt x="8957" y="21600"/>
                    </a:lnTo>
                    <a:lnTo>
                      <a:pt x="7865" y="8696"/>
                    </a:lnTo>
                    <a:close/>
                    <a:moveTo>
                      <a:pt x="15730" y="6226"/>
                    </a:moveTo>
                    <a:lnTo>
                      <a:pt x="15730" y="0"/>
                    </a:lnTo>
                    <a:lnTo>
                      <a:pt x="10544" y="0"/>
                    </a:lnTo>
                    <a:lnTo>
                      <a:pt x="10544" y="6226"/>
                    </a:lnTo>
                    <a:lnTo>
                      <a:pt x="12062" y="6226"/>
                    </a:lnTo>
                    <a:lnTo>
                      <a:pt x="12062" y="21600"/>
                    </a:lnTo>
                    <a:lnTo>
                      <a:pt x="14212" y="21600"/>
                    </a:lnTo>
                    <a:lnTo>
                      <a:pt x="14212" y="6226"/>
                    </a:lnTo>
                    <a:lnTo>
                      <a:pt x="15730" y="6226"/>
                    </a:lnTo>
                    <a:close/>
                    <a:moveTo>
                      <a:pt x="18409" y="8696"/>
                    </a:moveTo>
                    <a:lnTo>
                      <a:pt x="17308" y="21600"/>
                    </a:lnTo>
                    <a:lnTo>
                      <a:pt x="15209" y="21600"/>
                    </a:lnTo>
                    <a:lnTo>
                      <a:pt x="17264" y="0"/>
                    </a:lnTo>
                    <a:lnTo>
                      <a:pt x="19536" y="0"/>
                    </a:lnTo>
                    <a:lnTo>
                      <a:pt x="21600" y="21600"/>
                    </a:lnTo>
                    <a:lnTo>
                      <a:pt x="19493" y="21600"/>
                    </a:lnTo>
                    <a:lnTo>
                      <a:pt x="18409" y="8696"/>
                    </a:lnTo>
                    <a:close/>
                  </a:path>
                </a:pathLst>
              </a:custGeom>
              <a:solidFill>
                <a:srgbClr val="4473B1"/>
              </a:solidFill>
              <a:ln w="3175" cap="flat">
                <a:noFill/>
                <a:miter lim="400000"/>
              </a:ln>
              <a:effectLst/>
            </p:spPr>
            <p:txBody>
              <a:bodyPr wrap="square" lIns="60959" tIns="60959" rIns="60959" bIns="60959" numCol="1" anchor="t">
                <a:noAutofit/>
              </a:bodyPr>
              <a:lstStyle/>
              <a:p>
                <a:pPr defTabSz="685347">
                  <a:defRPr sz="2400">
                    <a:latin typeface="Myriad Pro"/>
                    <a:ea typeface="Myriad Pro"/>
                    <a:cs typeface="Myriad Pro"/>
                    <a:sym typeface="Myriad Pro"/>
                  </a:defRPr>
                </a:pPr>
                <a:endParaRPr sz="2400" kern="0" dirty="0">
                  <a:solidFill>
                    <a:sysClr val="windowText" lastClr="000000"/>
                  </a:solidFill>
                  <a:latin typeface="Myriad Pro"/>
                  <a:ea typeface="Myriad Pro"/>
                  <a:cs typeface="Myriad Pro"/>
                  <a:sym typeface="Myriad Pro"/>
                </a:endParaRPr>
              </a:p>
            </p:txBody>
          </p:sp>
        </p:grpSp>
        <p:grpSp>
          <p:nvGrpSpPr>
            <p:cNvPr id="16" name="Group 15"/>
            <p:cNvGrpSpPr/>
            <p:nvPr userDrawn="1"/>
          </p:nvGrpSpPr>
          <p:grpSpPr>
            <a:xfrm flipV="1">
              <a:off x="11327674" y="6667939"/>
              <a:ext cx="791610" cy="133198"/>
              <a:chOff x="628314" y="1076374"/>
              <a:chExt cx="3621665" cy="142826"/>
            </a:xfrm>
          </p:grpSpPr>
          <p:sp>
            <p:nvSpPr>
              <p:cNvPr id="18" name="Rounded Rectangle 17"/>
              <p:cNvSpPr/>
              <p:nvPr/>
            </p:nvSpPr>
            <p:spPr>
              <a:xfrm>
                <a:off x="2496513" y="1076374"/>
                <a:ext cx="508000" cy="142826"/>
              </a:xfrm>
              <a:prstGeom prst="roundRect">
                <a:avLst/>
              </a:prstGeom>
              <a:solidFill>
                <a:srgbClr val="019DB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9" name="Rounded Rectangle 18"/>
              <p:cNvSpPr/>
              <p:nvPr/>
            </p:nvSpPr>
            <p:spPr>
              <a:xfrm>
                <a:off x="628314" y="1076374"/>
                <a:ext cx="508000" cy="142826"/>
              </a:xfrm>
              <a:prstGeom prst="roundRect">
                <a:avLst/>
              </a:prstGeom>
              <a:solidFill>
                <a:srgbClr val="FD4D1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0" name="Rounded Rectangle 19"/>
              <p:cNvSpPr/>
              <p:nvPr/>
            </p:nvSpPr>
            <p:spPr>
              <a:xfrm>
                <a:off x="1251047" y="1076374"/>
                <a:ext cx="508000" cy="142826"/>
              </a:xfrm>
              <a:prstGeom prst="roundRect">
                <a:avLst/>
              </a:prstGeom>
              <a:solidFill>
                <a:srgbClr val="FFA01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1" name="Rounded Rectangle 20"/>
              <p:cNvSpPr/>
              <p:nvPr/>
            </p:nvSpPr>
            <p:spPr>
              <a:xfrm>
                <a:off x="1873780" y="1076374"/>
                <a:ext cx="508000" cy="142826"/>
              </a:xfrm>
              <a:prstGeom prst="roundRect">
                <a:avLst/>
              </a:prstGeom>
              <a:solidFill>
                <a:srgbClr val="6BD4D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2" name="Rounded Rectangle 21"/>
              <p:cNvSpPr/>
              <p:nvPr/>
            </p:nvSpPr>
            <p:spPr>
              <a:xfrm>
                <a:off x="3119246" y="1076374"/>
                <a:ext cx="508000" cy="142826"/>
              </a:xfrm>
              <a:prstGeom prst="roundRect">
                <a:avLst/>
              </a:prstGeom>
              <a:solidFill>
                <a:srgbClr val="005C7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3" name="Rounded Rectangle 22"/>
              <p:cNvSpPr/>
              <p:nvPr/>
            </p:nvSpPr>
            <p:spPr>
              <a:xfrm>
                <a:off x="3741979" y="1076374"/>
                <a:ext cx="508000" cy="142826"/>
              </a:xfrm>
              <a:prstGeom prst="roundRect">
                <a:avLst/>
              </a:prstGeom>
              <a:solidFill>
                <a:srgbClr val="443B3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151056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</p:sldLayoutIdLst>
  <p:hf sldNum="0" hdr="0" ftr="0" dt="0"/>
  <p:txStyles>
    <p:titleStyle>
      <a:lvl1pPr algn="l" defTabSz="91392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480" indent="-228480" algn="l" defTabSz="91392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440" indent="-228480" algn="l" defTabSz="91392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400" indent="-228480" algn="l" defTabSz="91392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360" indent="-228480" algn="l" defTabSz="91392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320" indent="-228480" algn="l" defTabSz="91392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280" indent="-228480" algn="l" defTabSz="91392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240" indent="-228480" algn="l" defTabSz="91392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200" indent="-228480" algn="l" defTabSz="91392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160" indent="-228480" algn="l" defTabSz="91392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2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60" algn="l" defTabSz="91392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20" algn="l" defTabSz="91392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80" algn="l" defTabSz="91392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840" algn="l" defTabSz="91392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800" algn="l" defTabSz="91392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760" algn="l" defTabSz="91392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720" algn="l" defTabSz="91392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680" algn="l" defTabSz="91392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1" y="273851"/>
            <a:ext cx="7886700" cy="994172"/>
          </a:xfrm>
          <a:prstGeom prst="rect">
            <a:avLst/>
          </a:prstGeom>
        </p:spPr>
        <p:txBody>
          <a:bodyPr vert="horz" lIns="91392" tIns="45696" rIns="91392" bIns="45696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1" y="1369219"/>
            <a:ext cx="7886700" cy="3263504"/>
          </a:xfrm>
          <a:prstGeom prst="rect">
            <a:avLst/>
          </a:prstGeom>
        </p:spPr>
        <p:txBody>
          <a:bodyPr vert="horz" lIns="91392" tIns="45696" rIns="91392" bIns="45696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307"/>
            <a:ext cx="2057400" cy="273844"/>
          </a:xfrm>
          <a:prstGeom prst="rect">
            <a:avLst/>
          </a:prstGeom>
        </p:spPr>
        <p:txBody>
          <a:bodyPr vert="horz" lIns="91392" tIns="45696" rIns="91392" bIns="45696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4BF558-2C5A-4AD9-A5F7-EC33C3DA9200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0/201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1" y="4767307"/>
            <a:ext cx="3086100" cy="273844"/>
          </a:xfrm>
          <a:prstGeom prst="rect">
            <a:avLst/>
          </a:prstGeom>
        </p:spPr>
        <p:txBody>
          <a:bodyPr vert="horz" lIns="91392" tIns="45696" rIns="91392" bIns="45696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307"/>
            <a:ext cx="2057400" cy="273844"/>
          </a:xfrm>
          <a:prstGeom prst="rect">
            <a:avLst/>
          </a:prstGeom>
        </p:spPr>
        <p:txBody>
          <a:bodyPr vert="horz" lIns="91392" tIns="45696" rIns="91392" bIns="45696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A4FA0C-746F-4F62-85E6-E4F9991900E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670508"/>
            <a:ext cx="9144000" cy="1473035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13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" y="-11104"/>
            <a:ext cx="9144000" cy="1473035"/>
          </a:xfrm>
          <a:prstGeom prst="rect">
            <a:avLst/>
          </a:prstGeom>
        </p:spPr>
      </p:pic>
      <p:cxnSp>
        <p:nvCxnSpPr>
          <p:cNvPr id="17" name="Straight Connector 16"/>
          <p:cNvCxnSpPr/>
          <p:nvPr/>
        </p:nvCxnSpPr>
        <p:spPr>
          <a:xfrm>
            <a:off x="407016" y="591208"/>
            <a:ext cx="828373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/>
          <p:nvPr/>
        </p:nvGrpSpPr>
        <p:grpSpPr>
          <a:xfrm>
            <a:off x="7025240" y="5000954"/>
            <a:ext cx="2064251" cy="99899"/>
            <a:chOff x="9366950" y="6667939"/>
            <a:chExt cx="2752334" cy="133198"/>
          </a:xfrm>
        </p:grpSpPr>
        <p:grpSp>
          <p:nvGrpSpPr>
            <p:cNvPr id="7" name="Group 6"/>
            <p:cNvGrpSpPr/>
            <p:nvPr userDrawn="1"/>
          </p:nvGrpSpPr>
          <p:grpSpPr>
            <a:xfrm>
              <a:off x="9366950" y="6684167"/>
              <a:ext cx="1859128" cy="92748"/>
              <a:chOff x="8457887" y="3732990"/>
              <a:chExt cx="1859128" cy="92748"/>
            </a:xfrm>
          </p:grpSpPr>
          <p:sp>
            <p:nvSpPr>
              <p:cNvPr id="11" name="Shape 6"/>
              <p:cNvSpPr/>
              <p:nvPr/>
            </p:nvSpPr>
            <p:spPr>
              <a:xfrm>
                <a:off x="9772362" y="3732990"/>
                <a:ext cx="544653" cy="9274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9242" y="20252"/>
                    </a:moveTo>
                    <a:lnTo>
                      <a:pt x="19324" y="20522"/>
                    </a:lnTo>
                    <a:lnTo>
                      <a:pt x="19423" y="20758"/>
                    </a:lnTo>
                    <a:lnTo>
                      <a:pt x="19534" y="20960"/>
                    </a:lnTo>
                    <a:lnTo>
                      <a:pt x="19663" y="21196"/>
                    </a:lnTo>
                    <a:lnTo>
                      <a:pt x="19792" y="21364"/>
                    </a:lnTo>
                    <a:lnTo>
                      <a:pt x="19932" y="21465"/>
                    </a:lnTo>
                    <a:lnTo>
                      <a:pt x="20078" y="21566"/>
                    </a:lnTo>
                    <a:lnTo>
                      <a:pt x="20219" y="21600"/>
                    </a:lnTo>
                    <a:lnTo>
                      <a:pt x="20389" y="21566"/>
                    </a:lnTo>
                    <a:lnTo>
                      <a:pt x="20547" y="21465"/>
                    </a:lnTo>
                    <a:lnTo>
                      <a:pt x="20623" y="21398"/>
                    </a:lnTo>
                    <a:lnTo>
                      <a:pt x="20763" y="21196"/>
                    </a:lnTo>
                    <a:lnTo>
                      <a:pt x="20956" y="20791"/>
                    </a:lnTo>
                    <a:lnTo>
                      <a:pt x="21009" y="20656"/>
                    </a:lnTo>
                    <a:lnTo>
                      <a:pt x="21067" y="20488"/>
                    </a:lnTo>
                    <a:lnTo>
                      <a:pt x="21114" y="20320"/>
                    </a:lnTo>
                    <a:lnTo>
                      <a:pt x="21173" y="20117"/>
                    </a:lnTo>
                    <a:lnTo>
                      <a:pt x="21214" y="19915"/>
                    </a:lnTo>
                    <a:lnTo>
                      <a:pt x="21261" y="19679"/>
                    </a:lnTo>
                    <a:lnTo>
                      <a:pt x="21378" y="19005"/>
                    </a:lnTo>
                    <a:lnTo>
                      <a:pt x="21407" y="18769"/>
                    </a:lnTo>
                    <a:lnTo>
                      <a:pt x="21465" y="18230"/>
                    </a:lnTo>
                    <a:lnTo>
                      <a:pt x="21512" y="17725"/>
                    </a:lnTo>
                    <a:lnTo>
                      <a:pt x="21547" y="17118"/>
                    </a:lnTo>
                    <a:lnTo>
                      <a:pt x="21577" y="16545"/>
                    </a:lnTo>
                    <a:lnTo>
                      <a:pt x="21594" y="15905"/>
                    </a:lnTo>
                    <a:lnTo>
                      <a:pt x="21600" y="15299"/>
                    </a:lnTo>
                    <a:lnTo>
                      <a:pt x="21594" y="14726"/>
                    </a:lnTo>
                    <a:lnTo>
                      <a:pt x="21582" y="14220"/>
                    </a:lnTo>
                    <a:lnTo>
                      <a:pt x="21559" y="13715"/>
                    </a:lnTo>
                    <a:lnTo>
                      <a:pt x="21536" y="13243"/>
                    </a:lnTo>
                    <a:lnTo>
                      <a:pt x="21506" y="12805"/>
                    </a:lnTo>
                    <a:lnTo>
                      <a:pt x="21465" y="12367"/>
                    </a:lnTo>
                    <a:lnTo>
                      <a:pt x="21419" y="11963"/>
                    </a:lnTo>
                    <a:lnTo>
                      <a:pt x="21366" y="11592"/>
                    </a:lnTo>
                    <a:lnTo>
                      <a:pt x="21302" y="11188"/>
                    </a:lnTo>
                    <a:lnTo>
                      <a:pt x="21237" y="10851"/>
                    </a:lnTo>
                    <a:lnTo>
                      <a:pt x="21161" y="10547"/>
                    </a:lnTo>
                    <a:lnTo>
                      <a:pt x="21073" y="10210"/>
                    </a:lnTo>
                    <a:lnTo>
                      <a:pt x="20986" y="9907"/>
                    </a:lnTo>
                    <a:lnTo>
                      <a:pt x="20775" y="9368"/>
                    </a:lnTo>
                    <a:lnTo>
                      <a:pt x="20658" y="9098"/>
                    </a:lnTo>
                    <a:lnTo>
                      <a:pt x="20494" y="8694"/>
                    </a:lnTo>
                    <a:lnTo>
                      <a:pt x="20348" y="8323"/>
                    </a:lnTo>
                    <a:lnTo>
                      <a:pt x="20289" y="8155"/>
                    </a:lnTo>
                    <a:lnTo>
                      <a:pt x="20231" y="7953"/>
                    </a:lnTo>
                    <a:lnTo>
                      <a:pt x="20178" y="7750"/>
                    </a:lnTo>
                    <a:lnTo>
                      <a:pt x="20137" y="7548"/>
                    </a:lnTo>
                    <a:lnTo>
                      <a:pt x="20096" y="7380"/>
                    </a:lnTo>
                    <a:lnTo>
                      <a:pt x="20061" y="7178"/>
                    </a:lnTo>
                    <a:lnTo>
                      <a:pt x="20032" y="6942"/>
                    </a:lnTo>
                    <a:lnTo>
                      <a:pt x="20008" y="6739"/>
                    </a:lnTo>
                    <a:lnTo>
                      <a:pt x="19991" y="6470"/>
                    </a:lnTo>
                    <a:lnTo>
                      <a:pt x="19979" y="6200"/>
                    </a:lnTo>
                    <a:lnTo>
                      <a:pt x="19967" y="5964"/>
                    </a:lnTo>
                    <a:lnTo>
                      <a:pt x="19967" y="5459"/>
                    </a:lnTo>
                    <a:lnTo>
                      <a:pt x="19973" y="5189"/>
                    </a:lnTo>
                    <a:lnTo>
                      <a:pt x="19985" y="4954"/>
                    </a:lnTo>
                    <a:lnTo>
                      <a:pt x="20020" y="4549"/>
                    </a:lnTo>
                    <a:lnTo>
                      <a:pt x="20049" y="4347"/>
                    </a:lnTo>
                    <a:lnTo>
                      <a:pt x="20078" y="4111"/>
                    </a:lnTo>
                    <a:lnTo>
                      <a:pt x="20149" y="3774"/>
                    </a:lnTo>
                    <a:lnTo>
                      <a:pt x="20190" y="3606"/>
                    </a:lnTo>
                    <a:lnTo>
                      <a:pt x="20242" y="3471"/>
                    </a:lnTo>
                    <a:lnTo>
                      <a:pt x="20359" y="3269"/>
                    </a:lnTo>
                    <a:lnTo>
                      <a:pt x="20418" y="3201"/>
                    </a:lnTo>
                    <a:lnTo>
                      <a:pt x="20494" y="3168"/>
                    </a:lnTo>
                    <a:lnTo>
                      <a:pt x="20687" y="3168"/>
                    </a:lnTo>
                    <a:lnTo>
                      <a:pt x="20804" y="3235"/>
                    </a:lnTo>
                    <a:lnTo>
                      <a:pt x="20909" y="3370"/>
                    </a:lnTo>
                    <a:lnTo>
                      <a:pt x="21009" y="3505"/>
                    </a:lnTo>
                    <a:lnTo>
                      <a:pt x="21091" y="3639"/>
                    </a:lnTo>
                    <a:lnTo>
                      <a:pt x="21173" y="3808"/>
                    </a:lnTo>
                    <a:lnTo>
                      <a:pt x="21237" y="3976"/>
                    </a:lnTo>
                    <a:lnTo>
                      <a:pt x="21290" y="4111"/>
                    </a:lnTo>
                    <a:lnTo>
                      <a:pt x="21454" y="1045"/>
                    </a:lnTo>
                    <a:lnTo>
                      <a:pt x="21378" y="842"/>
                    </a:lnTo>
                    <a:lnTo>
                      <a:pt x="21290" y="674"/>
                    </a:lnTo>
                    <a:lnTo>
                      <a:pt x="21196" y="472"/>
                    </a:lnTo>
                    <a:lnTo>
                      <a:pt x="21091" y="303"/>
                    </a:lnTo>
                    <a:lnTo>
                      <a:pt x="20980" y="202"/>
                    </a:lnTo>
                    <a:lnTo>
                      <a:pt x="20857" y="101"/>
                    </a:lnTo>
                    <a:lnTo>
                      <a:pt x="20728" y="34"/>
                    </a:lnTo>
                    <a:lnTo>
                      <a:pt x="20582" y="0"/>
                    </a:lnTo>
                    <a:lnTo>
                      <a:pt x="20435" y="34"/>
                    </a:lnTo>
                    <a:lnTo>
                      <a:pt x="20301" y="135"/>
                    </a:lnTo>
                    <a:lnTo>
                      <a:pt x="20172" y="270"/>
                    </a:lnTo>
                    <a:lnTo>
                      <a:pt x="20049" y="472"/>
                    </a:lnTo>
                    <a:lnTo>
                      <a:pt x="19932" y="741"/>
                    </a:lnTo>
                    <a:lnTo>
                      <a:pt x="19833" y="1011"/>
                    </a:lnTo>
                    <a:lnTo>
                      <a:pt x="19733" y="1348"/>
                    </a:lnTo>
                    <a:lnTo>
                      <a:pt x="19645" y="1719"/>
                    </a:lnTo>
                    <a:lnTo>
                      <a:pt x="19563" y="2157"/>
                    </a:lnTo>
                    <a:lnTo>
                      <a:pt x="19493" y="2595"/>
                    </a:lnTo>
                    <a:lnTo>
                      <a:pt x="19441" y="3134"/>
                    </a:lnTo>
                    <a:lnTo>
                      <a:pt x="19382" y="3639"/>
                    </a:lnTo>
                    <a:lnTo>
                      <a:pt x="19347" y="4178"/>
                    </a:lnTo>
                    <a:lnTo>
                      <a:pt x="19318" y="4785"/>
                    </a:lnTo>
                    <a:lnTo>
                      <a:pt x="19300" y="5358"/>
                    </a:lnTo>
                    <a:lnTo>
                      <a:pt x="19294" y="6032"/>
                    </a:lnTo>
                    <a:lnTo>
                      <a:pt x="19300" y="6537"/>
                    </a:lnTo>
                    <a:lnTo>
                      <a:pt x="19312" y="7110"/>
                    </a:lnTo>
                    <a:lnTo>
                      <a:pt x="19335" y="7582"/>
                    </a:lnTo>
                    <a:lnTo>
                      <a:pt x="19365" y="8087"/>
                    </a:lnTo>
                    <a:lnTo>
                      <a:pt x="19405" y="8525"/>
                    </a:lnTo>
                    <a:lnTo>
                      <a:pt x="19452" y="8930"/>
                    </a:lnTo>
                    <a:lnTo>
                      <a:pt x="19505" y="9334"/>
                    </a:lnTo>
                    <a:lnTo>
                      <a:pt x="19563" y="9705"/>
                    </a:lnTo>
                    <a:lnTo>
                      <a:pt x="19704" y="10446"/>
                    </a:lnTo>
                    <a:lnTo>
                      <a:pt x="19786" y="10749"/>
                    </a:lnTo>
                    <a:lnTo>
                      <a:pt x="19874" y="11053"/>
                    </a:lnTo>
                    <a:lnTo>
                      <a:pt x="19967" y="11322"/>
                    </a:lnTo>
                    <a:lnTo>
                      <a:pt x="20067" y="11626"/>
                    </a:lnTo>
                    <a:lnTo>
                      <a:pt x="20172" y="11861"/>
                    </a:lnTo>
                    <a:lnTo>
                      <a:pt x="20283" y="12097"/>
                    </a:lnTo>
                    <a:lnTo>
                      <a:pt x="20435" y="12434"/>
                    </a:lnTo>
                    <a:lnTo>
                      <a:pt x="20576" y="12839"/>
                    </a:lnTo>
                    <a:lnTo>
                      <a:pt x="20629" y="13007"/>
                    </a:lnTo>
                    <a:lnTo>
                      <a:pt x="20681" y="13209"/>
                    </a:lnTo>
                    <a:lnTo>
                      <a:pt x="20734" y="13378"/>
                    </a:lnTo>
                    <a:lnTo>
                      <a:pt x="20775" y="13580"/>
                    </a:lnTo>
                    <a:lnTo>
                      <a:pt x="20810" y="13782"/>
                    </a:lnTo>
                    <a:lnTo>
                      <a:pt x="20839" y="14052"/>
                    </a:lnTo>
                    <a:lnTo>
                      <a:pt x="20863" y="14254"/>
                    </a:lnTo>
                    <a:lnTo>
                      <a:pt x="20886" y="14490"/>
                    </a:lnTo>
                    <a:lnTo>
                      <a:pt x="20898" y="14726"/>
                    </a:lnTo>
                    <a:lnTo>
                      <a:pt x="20909" y="14995"/>
                    </a:lnTo>
                    <a:lnTo>
                      <a:pt x="20921" y="15299"/>
                    </a:lnTo>
                    <a:lnTo>
                      <a:pt x="20927" y="15568"/>
                    </a:lnTo>
                    <a:lnTo>
                      <a:pt x="20921" y="15871"/>
                    </a:lnTo>
                    <a:lnTo>
                      <a:pt x="20898" y="16478"/>
                    </a:lnTo>
                    <a:lnTo>
                      <a:pt x="20874" y="16748"/>
                    </a:lnTo>
                    <a:lnTo>
                      <a:pt x="20851" y="16983"/>
                    </a:lnTo>
                    <a:lnTo>
                      <a:pt x="20822" y="17219"/>
                    </a:lnTo>
                    <a:lnTo>
                      <a:pt x="20792" y="17422"/>
                    </a:lnTo>
                    <a:lnTo>
                      <a:pt x="20751" y="17657"/>
                    </a:lnTo>
                    <a:lnTo>
                      <a:pt x="20710" y="17826"/>
                    </a:lnTo>
                    <a:lnTo>
                      <a:pt x="20605" y="18095"/>
                    </a:lnTo>
                    <a:lnTo>
                      <a:pt x="20547" y="18197"/>
                    </a:lnTo>
                    <a:lnTo>
                      <a:pt x="20482" y="18298"/>
                    </a:lnTo>
                    <a:lnTo>
                      <a:pt x="20412" y="18365"/>
                    </a:lnTo>
                    <a:lnTo>
                      <a:pt x="20342" y="18399"/>
                    </a:lnTo>
                    <a:lnTo>
                      <a:pt x="20137" y="18399"/>
                    </a:lnTo>
                    <a:lnTo>
                      <a:pt x="20014" y="18298"/>
                    </a:lnTo>
                    <a:lnTo>
                      <a:pt x="19897" y="18197"/>
                    </a:lnTo>
                    <a:lnTo>
                      <a:pt x="19774" y="18028"/>
                    </a:lnTo>
                    <a:lnTo>
                      <a:pt x="19563" y="17624"/>
                    </a:lnTo>
                    <a:lnTo>
                      <a:pt x="19470" y="17320"/>
                    </a:lnTo>
                    <a:lnTo>
                      <a:pt x="19382" y="17085"/>
                    </a:lnTo>
                    <a:lnTo>
                      <a:pt x="19242" y="20252"/>
                    </a:lnTo>
                    <a:close/>
                    <a:moveTo>
                      <a:pt x="18656" y="8862"/>
                    </a:moveTo>
                    <a:lnTo>
                      <a:pt x="17293" y="8862"/>
                    </a:lnTo>
                    <a:lnTo>
                      <a:pt x="17293" y="3505"/>
                    </a:lnTo>
                    <a:lnTo>
                      <a:pt x="18738" y="3505"/>
                    </a:lnTo>
                    <a:lnTo>
                      <a:pt x="18738" y="337"/>
                    </a:lnTo>
                    <a:lnTo>
                      <a:pt x="16626" y="337"/>
                    </a:lnTo>
                    <a:lnTo>
                      <a:pt x="16626" y="21263"/>
                    </a:lnTo>
                    <a:lnTo>
                      <a:pt x="18820" y="21263"/>
                    </a:lnTo>
                    <a:lnTo>
                      <a:pt x="18820" y="18095"/>
                    </a:lnTo>
                    <a:lnTo>
                      <a:pt x="17293" y="18095"/>
                    </a:lnTo>
                    <a:lnTo>
                      <a:pt x="17293" y="11963"/>
                    </a:lnTo>
                    <a:lnTo>
                      <a:pt x="18656" y="11963"/>
                    </a:lnTo>
                    <a:lnTo>
                      <a:pt x="18656" y="8862"/>
                    </a:lnTo>
                    <a:close/>
                    <a:moveTo>
                      <a:pt x="15959" y="17624"/>
                    </a:moveTo>
                    <a:lnTo>
                      <a:pt x="15883" y="17792"/>
                    </a:lnTo>
                    <a:lnTo>
                      <a:pt x="15806" y="17927"/>
                    </a:lnTo>
                    <a:lnTo>
                      <a:pt x="15725" y="18062"/>
                    </a:lnTo>
                    <a:lnTo>
                      <a:pt x="15537" y="18264"/>
                    </a:lnTo>
                    <a:lnTo>
                      <a:pt x="15432" y="18331"/>
                    </a:lnTo>
                    <a:lnTo>
                      <a:pt x="15338" y="18365"/>
                    </a:lnTo>
                    <a:lnTo>
                      <a:pt x="15157" y="18365"/>
                    </a:lnTo>
                    <a:lnTo>
                      <a:pt x="15092" y="18331"/>
                    </a:lnTo>
                    <a:lnTo>
                      <a:pt x="15022" y="18298"/>
                    </a:lnTo>
                    <a:lnTo>
                      <a:pt x="14952" y="18230"/>
                    </a:lnTo>
                    <a:lnTo>
                      <a:pt x="14823" y="18095"/>
                    </a:lnTo>
                    <a:lnTo>
                      <a:pt x="14759" y="17994"/>
                    </a:lnTo>
                    <a:lnTo>
                      <a:pt x="14642" y="17725"/>
                    </a:lnTo>
                    <a:lnTo>
                      <a:pt x="14589" y="17590"/>
                    </a:lnTo>
                    <a:lnTo>
                      <a:pt x="14531" y="17388"/>
                    </a:lnTo>
                    <a:lnTo>
                      <a:pt x="14484" y="17219"/>
                    </a:lnTo>
                    <a:lnTo>
                      <a:pt x="14390" y="16815"/>
                    </a:lnTo>
                    <a:lnTo>
                      <a:pt x="14343" y="16579"/>
                    </a:lnTo>
                    <a:lnTo>
                      <a:pt x="14302" y="16377"/>
                    </a:lnTo>
                    <a:lnTo>
                      <a:pt x="14262" y="16074"/>
                    </a:lnTo>
                    <a:lnTo>
                      <a:pt x="14226" y="15838"/>
                    </a:lnTo>
                    <a:lnTo>
                      <a:pt x="14197" y="15568"/>
                    </a:lnTo>
                    <a:lnTo>
                      <a:pt x="14162" y="15265"/>
                    </a:lnTo>
                    <a:lnTo>
                      <a:pt x="14127" y="14928"/>
                    </a:lnTo>
                    <a:lnTo>
                      <a:pt x="14080" y="14321"/>
                    </a:lnTo>
                    <a:lnTo>
                      <a:pt x="14057" y="13984"/>
                    </a:lnTo>
                    <a:lnTo>
                      <a:pt x="14022" y="13243"/>
                    </a:lnTo>
                    <a:lnTo>
                      <a:pt x="13992" y="12502"/>
                    </a:lnTo>
                    <a:lnTo>
                      <a:pt x="13981" y="11693"/>
                    </a:lnTo>
                    <a:lnTo>
                      <a:pt x="13975" y="10851"/>
                    </a:lnTo>
                    <a:lnTo>
                      <a:pt x="13975" y="10412"/>
                    </a:lnTo>
                    <a:lnTo>
                      <a:pt x="13981" y="9941"/>
                    </a:lnTo>
                    <a:lnTo>
                      <a:pt x="13986" y="9503"/>
                    </a:lnTo>
                    <a:lnTo>
                      <a:pt x="13998" y="9098"/>
                    </a:lnTo>
                    <a:lnTo>
                      <a:pt x="14010" y="8660"/>
                    </a:lnTo>
                    <a:lnTo>
                      <a:pt x="14045" y="7919"/>
                    </a:lnTo>
                    <a:lnTo>
                      <a:pt x="14063" y="7515"/>
                    </a:lnTo>
                    <a:lnTo>
                      <a:pt x="14092" y="7178"/>
                    </a:lnTo>
                    <a:lnTo>
                      <a:pt x="14115" y="6841"/>
                    </a:lnTo>
                    <a:lnTo>
                      <a:pt x="14150" y="6504"/>
                    </a:lnTo>
                    <a:lnTo>
                      <a:pt x="14180" y="6200"/>
                    </a:lnTo>
                    <a:lnTo>
                      <a:pt x="14250" y="5661"/>
                    </a:lnTo>
                    <a:lnTo>
                      <a:pt x="14285" y="5358"/>
                    </a:lnTo>
                    <a:lnTo>
                      <a:pt x="14326" y="5122"/>
                    </a:lnTo>
                    <a:lnTo>
                      <a:pt x="14379" y="4886"/>
                    </a:lnTo>
                    <a:lnTo>
                      <a:pt x="14420" y="4684"/>
                    </a:lnTo>
                    <a:lnTo>
                      <a:pt x="14513" y="4280"/>
                    </a:lnTo>
                    <a:lnTo>
                      <a:pt x="14566" y="4077"/>
                    </a:lnTo>
                    <a:lnTo>
                      <a:pt x="14624" y="3943"/>
                    </a:lnTo>
                    <a:lnTo>
                      <a:pt x="14677" y="3774"/>
                    </a:lnTo>
                    <a:lnTo>
                      <a:pt x="14853" y="3437"/>
                    </a:lnTo>
                    <a:lnTo>
                      <a:pt x="14975" y="3302"/>
                    </a:lnTo>
                    <a:lnTo>
                      <a:pt x="15110" y="3201"/>
                    </a:lnTo>
                    <a:lnTo>
                      <a:pt x="15245" y="3168"/>
                    </a:lnTo>
                    <a:lnTo>
                      <a:pt x="15455" y="3235"/>
                    </a:lnTo>
                    <a:lnTo>
                      <a:pt x="15555" y="3302"/>
                    </a:lnTo>
                    <a:lnTo>
                      <a:pt x="15643" y="3403"/>
                    </a:lnTo>
                    <a:lnTo>
                      <a:pt x="15730" y="3538"/>
                    </a:lnTo>
                    <a:lnTo>
                      <a:pt x="15883" y="3808"/>
                    </a:lnTo>
                    <a:lnTo>
                      <a:pt x="15953" y="3976"/>
                    </a:lnTo>
                    <a:lnTo>
                      <a:pt x="16093" y="944"/>
                    </a:lnTo>
                    <a:lnTo>
                      <a:pt x="16035" y="809"/>
                    </a:lnTo>
                    <a:lnTo>
                      <a:pt x="15964" y="640"/>
                    </a:lnTo>
                    <a:lnTo>
                      <a:pt x="15871" y="438"/>
                    </a:lnTo>
                    <a:lnTo>
                      <a:pt x="15771" y="303"/>
                    </a:lnTo>
                    <a:lnTo>
                      <a:pt x="15648" y="202"/>
                    </a:lnTo>
                    <a:lnTo>
                      <a:pt x="15520" y="101"/>
                    </a:lnTo>
                    <a:lnTo>
                      <a:pt x="15373" y="34"/>
                    </a:lnTo>
                    <a:lnTo>
                      <a:pt x="15215" y="0"/>
                    </a:lnTo>
                    <a:lnTo>
                      <a:pt x="15016" y="67"/>
                    </a:lnTo>
                    <a:lnTo>
                      <a:pt x="14911" y="135"/>
                    </a:lnTo>
                    <a:lnTo>
                      <a:pt x="14817" y="202"/>
                    </a:lnTo>
                    <a:lnTo>
                      <a:pt x="14718" y="303"/>
                    </a:lnTo>
                    <a:lnTo>
                      <a:pt x="14531" y="573"/>
                    </a:lnTo>
                    <a:lnTo>
                      <a:pt x="14443" y="775"/>
                    </a:lnTo>
                    <a:lnTo>
                      <a:pt x="14361" y="977"/>
                    </a:lnTo>
                    <a:lnTo>
                      <a:pt x="14273" y="1179"/>
                    </a:lnTo>
                    <a:lnTo>
                      <a:pt x="14197" y="1415"/>
                    </a:lnTo>
                    <a:lnTo>
                      <a:pt x="14109" y="1685"/>
                    </a:lnTo>
                    <a:lnTo>
                      <a:pt x="13969" y="2291"/>
                    </a:lnTo>
                    <a:lnTo>
                      <a:pt x="13893" y="2595"/>
                    </a:lnTo>
                    <a:lnTo>
                      <a:pt x="13828" y="2932"/>
                    </a:lnTo>
                    <a:lnTo>
                      <a:pt x="13764" y="3336"/>
                    </a:lnTo>
                    <a:lnTo>
                      <a:pt x="13706" y="3707"/>
                    </a:lnTo>
                    <a:lnTo>
                      <a:pt x="13647" y="4111"/>
                    </a:lnTo>
                    <a:lnTo>
                      <a:pt x="13594" y="4549"/>
                    </a:lnTo>
                    <a:lnTo>
                      <a:pt x="13548" y="4987"/>
                    </a:lnTo>
                    <a:lnTo>
                      <a:pt x="13501" y="5459"/>
                    </a:lnTo>
                    <a:lnTo>
                      <a:pt x="13419" y="6402"/>
                    </a:lnTo>
                    <a:lnTo>
                      <a:pt x="13360" y="7481"/>
                    </a:lnTo>
                    <a:lnTo>
                      <a:pt x="13331" y="8054"/>
                    </a:lnTo>
                    <a:lnTo>
                      <a:pt x="13313" y="8593"/>
                    </a:lnTo>
                    <a:lnTo>
                      <a:pt x="13296" y="9199"/>
                    </a:lnTo>
                    <a:lnTo>
                      <a:pt x="13284" y="9772"/>
                    </a:lnTo>
                    <a:lnTo>
                      <a:pt x="13278" y="10412"/>
                    </a:lnTo>
                    <a:lnTo>
                      <a:pt x="13278" y="11659"/>
                    </a:lnTo>
                    <a:lnTo>
                      <a:pt x="13284" y="12198"/>
                    </a:lnTo>
                    <a:lnTo>
                      <a:pt x="13296" y="12805"/>
                    </a:lnTo>
                    <a:lnTo>
                      <a:pt x="13308" y="13310"/>
                    </a:lnTo>
                    <a:lnTo>
                      <a:pt x="13325" y="13883"/>
                    </a:lnTo>
                    <a:lnTo>
                      <a:pt x="13349" y="14389"/>
                    </a:lnTo>
                    <a:lnTo>
                      <a:pt x="13372" y="14861"/>
                    </a:lnTo>
                    <a:lnTo>
                      <a:pt x="13401" y="15400"/>
                    </a:lnTo>
                    <a:lnTo>
                      <a:pt x="13431" y="15838"/>
                    </a:lnTo>
                    <a:lnTo>
                      <a:pt x="13471" y="16310"/>
                    </a:lnTo>
                    <a:lnTo>
                      <a:pt x="13512" y="16748"/>
                    </a:lnTo>
                    <a:lnTo>
                      <a:pt x="13559" y="17152"/>
                    </a:lnTo>
                    <a:lnTo>
                      <a:pt x="13606" y="17590"/>
                    </a:lnTo>
                    <a:lnTo>
                      <a:pt x="13653" y="17994"/>
                    </a:lnTo>
                    <a:lnTo>
                      <a:pt x="13711" y="18331"/>
                    </a:lnTo>
                    <a:lnTo>
                      <a:pt x="13770" y="18702"/>
                    </a:lnTo>
                    <a:lnTo>
                      <a:pt x="13828" y="19039"/>
                    </a:lnTo>
                    <a:lnTo>
                      <a:pt x="13893" y="19342"/>
                    </a:lnTo>
                    <a:lnTo>
                      <a:pt x="14033" y="19949"/>
                    </a:lnTo>
                    <a:lnTo>
                      <a:pt x="14185" y="20421"/>
                    </a:lnTo>
                    <a:lnTo>
                      <a:pt x="14349" y="20825"/>
                    </a:lnTo>
                    <a:lnTo>
                      <a:pt x="14525" y="21162"/>
                    </a:lnTo>
                    <a:lnTo>
                      <a:pt x="14624" y="21297"/>
                    </a:lnTo>
                    <a:lnTo>
                      <a:pt x="14718" y="21398"/>
                    </a:lnTo>
                    <a:lnTo>
                      <a:pt x="14917" y="21533"/>
                    </a:lnTo>
                    <a:lnTo>
                      <a:pt x="15128" y="21600"/>
                    </a:lnTo>
                    <a:lnTo>
                      <a:pt x="15286" y="21566"/>
                    </a:lnTo>
                    <a:lnTo>
                      <a:pt x="15432" y="21499"/>
                    </a:lnTo>
                    <a:lnTo>
                      <a:pt x="15572" y="21398"/>
                    </a:lnTo>
                    <a:lnTo>
                      <a:pt x="15707" y="21297"/>
                    </a:lnTo>
                    <a:lnTo>
                      <a:pt x="15812" y="21162"/>
                    </a:lnTo>
                    <a:lnTo>
                      <a:pt x="15918" y="20960"/>
                    </a:lnTo>
                    <a:lnTo>
                      <a:pt x="16000" y="20791"/>
                    </a:lnTo>
                    <a:lnTo>
                      <a:pt x="16064" y="20623"/>
                    </a:lnTo>
                    <a:lnTo>
                      <a:pt x="15959" y="17624"/>
                    </a:lnTo>
                    <a:close/>
                    <a:moveTo>
                      <a:pt x="12044" y="337"/>
                    </a:moveTo>
                    <a:lnTo>
                      <a:pt x="12044" y="21263"/>
                    </a:lnTo>
                    <a:lnTo>
                      <a:pt x="12705" y="21263"/>
                    </a:lnTo>
                    <a:lnTo>
                      <a:pt x="12705" y="337"/>
                    </a:lnTo>
                    <a:lnTo>
                      <a:pt x="12044" y="337"/>
                    </a:lnTo>
                    <a:close/>
                    <a:moveTo>
                      <a:pt x="10393" y="21263"/>
                    </a:moveTo>
                    <a:lnTo>
                      <a:pt x="11651" y="337"/>
                    </a:lnTo>
                    <a:lnTo>
                      <a:pt x="10949" y="337"/>
                    </a:lnTo>
                    <a:lnTo>
                      <a:pt x="10417" y="9907"/>
                    </a:lnTo>
                    <a:lnTo>
                      <a:pt x="10364" y="10851"/>
                    </a:lnTo>
                    <a:lnTo>
                      <a:pt x="10311" y="11828"/>
                    </a:lnTo>
                    <a:lnTo>
                      <a:pt x="10124" y="15602"/>
                    </a:lnTo>
                    <a:lnTo>
                      <a:pt x="10089" y="16545"/>
                    </a:lnTo>
                    <a:lnTo>
                      <a:pt x="10048" y="17455"/>
                    </a:lnTo>
                    <a:lnTo>
                      <a:pt x="10036" y="17455"/>
                    </a:lnTo>
                    <a:lnTo>
                      <a:pt x="10001" y="16545"/>
                    </a:lnTo>
                    <a:lnTo>
                      <a:pt x="9960" y="15568"/>
                    </a:lnTo>
                    <a:lnTo>
                      <a:pt x="9878" y="13681"/>
                    </a:lnTo>
                    <a:lnTo>
                      <a:pt x="9831" y="12771"/>
                    </a:lnTo>
                    <a:lnTo>
                      <a:pt x="9785" y="11794"/>
                    </a:lnTo>
                    <a:lnTo>
                      <a:pt x="9679" y="9840"/>
                    </a:lnTo>
                    <a:lnTo>
                      <a:pt x="9188" y="337"/>
                    </a:lnTo>
                    <a:lnTo>
                      <a:pt x="8468" y="337"/>
                    </a:lnTo>
                    <a:lnTo>
                      <a:pt x="9638" y="21263"/>
                    </a:lnTo>
                    <a:lnTo>
                      <a:pt x="10393" y="21263"/>
                    </a:lnTo>
                    <a:close/>
                    <a:moveTo>
                      <a:pt x="6379" y="3269"/>
                    </a:moveTo>
                    <a:lnTo>
                      <a:pt x="6443" y="3201"/>
                    </a:lnTo>
                    <a:lnTo>
                      <a:pt x="6537" y="3134"/>
                    </a:lnTo>
                    <a:lnTo>
                      <a:pt x="6648" y="3100"/>
                    </a:lnTo>
                    <a:lnTo>
                      <a:pt x="6794" y="3066"/>
                    </a:lnTo>
                    <a:lnTo>
                      <a:pt x="6946" y="3134"/>
                    </a:lnTo>
                    <a:lnTo>
                      <a:pt x="7017" y="3201"/>
                    </a:lnTo>
                    <a:lnTo>
                      <a:pt x="7081" y="3269"/>
                    </a:lnTo>
                    <a:lnTo>
                      <a:pt x="7151" y="3370"/>
                    </a:lnTo>
                    <a:lnTo>
                      <a:pt x="7204" y="3538"/>
                    </a:lnTo>
                    <a:lnTo>
                      <a:pt x="7257" y="3673"/>
                    </a:lnTo>
                    <a:lnTo>
                      <a:pt x="7350" y="4077"/>
                    </a:lnTo>
                    <a:lnTo>
                      <a:pt x="7391" y="4381"/>
                    </a:lnTo>
                    <a:lnTo>
                      <a:pt x="7420" y="4617"/>
                    </a:lnTo>
                    <a:lnTo>
                      <a:pt x="7450" y="4920"/>
                    </a:lnTo>
                    <a:lnTo>
                      <a:pt x="7473" y="5257"/>
                    </a:lnTo>
                    <a:lnTo>
                      <a:pt x="7497" y="5998"/>
                    </a:lnTo>
                    <a:lnTo>
                      <a:pt x="7497" y="6807"/>
                    </a:lnTo>
                    <a:lnTo>
                      <a:pt x="7473" y="7481"/>
                    </a:lnTo>
                    <a:lnTo>
                      <a:pt x="7450" y="7818"/>
                    </a:lnTo>
                    <a:lnTo>
                      <a:pt x="7420" y="8155"/>
                    </a:lnTo>
                    <a:lnTo>
                      <a:pt x="7391" y="8424"/>
                    </a:lnTo>
                    <a:lnTo>
                      <a:pt x="7344" y="8660"/>
                    </a:lnTo>
                    <a:lnTo>
                      <a:pt x="7303" y="8896"/>
                    </a:lnTo>
                    <a:lnTo>
                      <a:pt x="7257" y="9132"/>
                    </a:lnTo>
                    <a:lnTo>
                      <a:pt x="7204" y="9334"/>
                    </a:lnTo>
                    <a:lnTo>
                      <a:pt x="7145" y="9469"/>
                    </a:lnTo>
                    <a:lnTo>
                      <a:pt x="7075" y="9604"/>
                    </a:lnTo>
                    <a:lnTo>
                      <a:pt x="6935" y="9806"/>
                    </a:lnTo>
                    <a:lnTo>
                      <a:pt x="6853" y="9840"/>
                    </a:lnTo>
                    <a:lnTo>
                      <a:pt x="6379" y="9840"/>
                    </a:lnTo>
                    <a:lnTo>
                      <a:pt x="6379" y="3269"/>
                    </a:lnTo>
                    <a:close/>
                    <a:moveTo>
                      <a:pt x="5723" y="21263"/>
                    </a:moveTo>
                    <a:lnTo>
                      <a:pt x="6379" y="21263"/>
                    </a:lnTo>
                    <a:lnTo>
                      <a:pt x="6379" y="12637"/>
                    </a:lnTo>
                    <a:lnTo>
                      <a:pt x="6718" y="12637"/>
                    </a:lnTo>
                    <a:lnTo>
                      <a:pt x="6783" y="12704"/>
                    </a:lnTo>
                    <a:lnTo>
                      <a:pt x="6847" y="12738"/>
                    </a:lnTo>
                    <a:lnTo>
                      <a:pt x="6964" y="12872"/>
                    </a:lnTo>
                    <a:lnTo>
                      <a:pt x="7011" y="12973"/>
                    </a:lnTo>
                    <a:lnTo>
                      <a:pt x="7058" y="13108"/>
                    </a:lnTo>
                    <a:lnTo>
                      <a:pt x="7099" y="13277"/>
                    </a:lnTo>
                    <a:lnTo>
                      <a:pt x="7145" y="13479"/>
                    </a:lnTo>
                    <a:lnTo>
                      <a:pt x="7180" y="13715"/>
                    </a:lnTo>
                    <a:lnTo>
                      <a:pt x="7216" y="13984"/>
                    </a:lnTo>
                    <a:lnTo>
                      <a:pt x="7274" y="14591"/>
                    </a:lnTo>
                    <a:lnTo>
                      <a:pt x="7298" y="14962"/>
                    </a:lnTo>
                    <a:lnTo>
                      <a:pt x="7344" y="15838"/>
                    </a:lnTo>
                    <a:lnTo>
                      <a:pt x="7368" y="16343"/>
                    </a:lnTo>
                    <a:lnTo>
                      <a:pt x="7444" y="18095"/>
                    </a:lnTo>
                    <a:lnTo>
                      <a:pt x="7508" y="19511"/>
                    </a:lnTo>
                    <a:lnTo>
                      <a:pt x="7537" y="20117"/>
                    </a:lnTo>
                    <a:lnTo>
                      <a:pt x="7561" y="20589"/>
                    </a:lnTo>
                    <a:lnTo>
                      <a:pt x="7590" y="20960"/>
                    </a:lnTo>
                    <a:lnTo>
                      <a:pt x="7614" y="21263"/>
                    </a:lnTo>
                    <a:lnTo>
                      <a:pt x="8292" y="21263"/>
                    </a:lnTo>
                    <a:lnTo>
                      <a:pt x="8269" y="20859"/>
                    </a:lnTo>
                    <a:lnTo>
                      <a:pt x="8228" y="20387"/>
                    </a:lnTo>
                    <a:lnTo>
                      <a:pt x="8199" y="19713"/>
                    </a:lnTo>
                    <a:lnTo>
                      <a:pt x="8164" y="19039"/>
                    </a:lnTo>
                    <a:lnTo>
                      <a:pt x="8129" y="18197"/>
                    </a:lnTo>
                    <a:lnTo>
                      <a:pt x="8088" y="17320"/>
                    </a:lnTo>
                    <a:lnTo>
                      <a:pt x="8052" y="16411"/>
                    </a:lnTo>
                    <a:lnTo>
                      <a:pt x="8006" y="15433"/>
                    </a:lnTo>
                    <a:lnTo>
                      <a:pt x="7971" y="14692"/>
                    </a:lnTo>
                    <a:lnTo>
                      <a:pt x="7924" y="14018"/>
                    </a:lnTo>
                    <a:lnTo>
                      <a:pt x="7877" y="13412"/>
                    </a:lnTo>
                    <a:lnTo>
                      <a:pt x="7818" y="12872"/>
                    </a:lnTo>
                    <a:lnTo>
                      <a:pt x="7783" y="12603"/>
                    </a:lnTo>
                    <a:lnTo>
                      <a:pt x="7748" y="12367"/>
                    </a:lnTo>
                    <a:lnTo>
                      <a:pt x="7678" y="11963"/>
                    </a:lnTo>
                    <a:lnTo>
                      <a:pt x="7637" y="11794"/>
                    </a:lnTo>
                    <a:lnTo>
                      <a:pt x="7596" y="11659"/>
                    </a:lnTo>
                    <a:lnTo>
                      <a:pt x="7549" y="11524"/>
                    </a:lnTo>
                    <a:lnTo>
                      <a:pt x="7502" y="11356"/>
                    </a:lnTo>
                    <a:lnTo>
                      <a:pt x="7502" y="11289"/>
                    </a:lnTo>
                    <a:lnTo>
                      <a:pt x="7561" y="11120"/>
                    </a:lnTo>
                    <a:lnTo>
                      <a:pt x="7631" y="10985"/>
                    </a:lnTo>
                    <a:lnTo>
                      <a:pt x="7748" y="10581"/>
                    </a:lnTo>
                    <a:lnTo>
                      <a:pt x="7807" y="10311"/>
                    </a:lnTo>
                    <a:lnTo>
                      <a:pt x="7859" y="10042"/>
                    </a:lnTo>
                    <a:lnTo>
                      <a:pt x="7912" y="9739"/>
                    </a:lnTo>
                    <a:lnTo>
                      <a:pt x="7959" y="9435"/>
                    </a:lnTo>
                    <a:lnTo>
                      <a:pt x="8000" y="9098"/>
                    </a:lnTo>
                    <a:lnTo>
                      <a:pt x="8041" y="8694"/>
                    </a:lnTo>
                    <a:lnTo>
                      <a:pt x="8076" y="8323"/>
                    </a:lnTo>
                    <a:lnTo>
                      <a:pt x="8105" y="7919"/>
                    </a:lnTo>
                    <a:lnTo>
                      <a:pt x="8129" y="7481"/>
                    </a:lnTo>
                    <a:lnTo>
                      <a:pt x="8146" y="7043"/>
                    </a:lnTo>
                    <a:lnTo>
                      <a:pt x="8158" y="6537"/>
                    </a:lnTo>
                    <a:lnTo>
                      <a:pt x="8158" y="6066"/>
                    </a:lnTo>
                    <a:lnTo>
                      <a:pt x="8152" y="5392"/>
                    </a:lnTo>
                    <a:lnTo>
                      <a:pt x="8140" y="4785"/>
                    </a:lnTo>
                    <a:lnTo>
                      <a:pt x="8111" y="4178"/>
                    </a:lnTo>
                    <a:lnTo>
                      <a:pt x="8082" y="3639"/>
                    </a:lnTo>
                    <a:lnTo>
                      <a:pt x="8035" y="3168"/>
                    </a:lnTo>
                    <a:lnTo>
                      <a:pt x="7976" y="2662"/>
                    </a:lnTo>
                    <a:lnTo>
                      <a:pt x="7918" y="2258"/>
                    </a:lnTo>
                    <a:lnTo>
                      <a:pt x="7848" y="1887"/>
                    </a:lnTo>
                    <a:lnTo>
                      <a:pt x="7801" y="1651"/>
                    </a:lnTo>
                    <a:lnTo>
                      <a:pt x="7748" y="1449"/>
                    </a:lnTo>
                    <a:lnTo>
                      <a:pt x="7643" y="1112"/>
                    </a:lnTo>
                    <a:lnTo>
                      <a:pt x="7584" y="944"/>
                    </a:lnTo>
                    <a:lnTo>
                      <a:pt x="7520" y="809"/>
                    </a:lnTo>
                    <a:lnTo>
                      <a:pt x="7461" y="708"/>
                    </a:lnTo>
                    <a:lnTo>
                      <a:pt x="7391" y="573"/>
                    </a:lnTo>
                    <a:lnTo>
                      <a:pt x="7245" y="404"/>
                    </a:lnTo>
                    <a:lnTo>
                      <a:pt x="7087" y="270"/>
                    </a:lnTo>
                    <a:lnTo>
                      <a:pt x="6911" y="202"/>
                    </a:lnTo>
                    <a:lnTo>
                      <a:pt x="6730" y="168"/>
                    </a:lnTo>
                    <a:lnTo>
                      <a:pt x="6584" y="168"/>
                    </a:lnTo>
                    <a:lnTo>
                      <a:pt x="6443" y="202"/>
                    </a:lnTo>
                    <a:lnTo>
                      <a:pt x="6309" y="236"/>
                    </a:lnTo>
                    <a:lnTo>
                      <a:pt x="6174" y="303"/>
                    </a:lnTo>
                    <a:lnTo>
                      <a:pt x="6051" y="371"/>
                    </a:lnTo>
                    <a:lnTo>
                      <a:pt x="5934" y="438"/>
                    </a:lnTo>
                    <a:lnTo>
                      <a:pt x="5823" y="505"/>
                    </a:lnTo>
                    <a:lnTo>
                      <a:pt x="5723" y="640"/>
                    </a:lnTo>
                    <a:lnTo>
                      <a:pt x="5723" y="21263"/>
                    </a:lnTo>
                    <a:close/>
                    <a:moveTo>
                      <a:pt x="4986" y="8862"/>
                    </a:moveTo>
                    <a:lnTo>
                      <a:pt x="3611" y="8862"/>
                    </a:lnTo>
                    <a:lnTo>
                      <a:pt x="3611" y="3505"/>
                    </a:lnTo>
                    <a:lnTo>
                      <a:pt x="5062" y="3505"/>
                    </a:lnTo>
                    <a:lnTo>
                      <a:pt x="5062" y="337"/>
                    </a:lnTo>
                    <a:lnTo>
                      <a:pt x="2949" y="337"/>
                    </a:lnTo>
                    <a:lnTo>
                      <a:pt x="2949" y="21263"/>
                    </a:lnTo>
                    <a:lnTo>
                      <a:pt x="5144" y="21263"/>
                    </a:lnTo>
                    <a:lnTo>
                      <a:pt x="5144" y="18095"/>
                    </a:lnTo>
                    <a:lnTo>
                      <a:pt x="3611" y="18095"/>
                    </a:lnTo>
                    <a:lnTo>
                      <a:pt x="3611" y="11963"/>
                    </a:lnTo>
                    <a:lnTo>
                      <a:pt x="4986" y="11963"/>
                    </a:lnTo>
                    <a:lnTo>
                      <a:pt x="4986" y="8862"/>
                    </a:lnTo>
                    <a:close/>
                    <a:moveTo>
                      <a:pt x="0" y="20252"/>
                    </a:moveTo>
                    <a:lnTo>
                      <a:pt x="82" y="20522"/>
                    </a:lnTo>
                    <a:lnTo>
                      <a:pt x="187" y="20758"/>
                    </a:lnTo>
                    <a:lnTo>
                      <a:pt x="293" y="20960"/>
                    </a:lnTo>
                    <a:lnTo>
                      <a:pt x="421" y="21196"/>
                    </a:lnTo>
                    <a:lnTo>
                      <a:pt x="550" y="21364"/>
                    </a:lnTo>
                    <a:lnTo>
                      <a:pt x="691" y="21465"/>
                    </a:lnTo>
                    <a:lnTo>
                      <a:pt x="837" y="21566"/>
                    </a:lnTo>
                    <a:lnTo>
                      <a:pt x="977" y="21600"/>
                    </a:lnTo>
                    <a:lnTo>
                      <a:pt x="1147" y="21566"/>
                    </a:lnTo>
                    <a:lnTo>
                      <a:pt x="1311" y="21465"/>
                    </a:lnTo>
                    <a:lnTo>
                      <a:pt x="1381" y="21398"/>
                    </a:lnTo>
                    <a:lnTo>
                      <a:pt x="1451" y="21297"/>
                    </a:lnTo>
                    <a:lnTo>
                      <a:pt x="1527" y="21196"/>
                    </a:lnTo>
                    <a:lnTo>
                      <a:pt x="1592" y="21061"/>
                    </a:lnTo>
                    <a:lnTo>
                      <a:pt x="1650" y="20926"/>
                    </a:lnTo>
                    <a:lnTo>
                      <a:pt x="1715" y="20791"/>
                    </a:lnTo>
                    <a:lnTo>
                      <a:pt x="1773" y="20656"/>
                    </a:lnTo>
                    <a:lnTo>
                      <a:pt x="1879" y="20320"/>
                    </a:lnTo>
                    <a:lnTo>
                      <a:pt x="1931" y="20117"/>
                    </a:lnTo>
                    <a:lnTo>
                      <a:pt x="1978" y="19915"/>
                    </a:lnTo>
                    <a:lnTo>
                      <a:pt x="2019" y="19679"/>
                    </a:lnTo>
                    <a:lnTo>
                      <a:pt x="2060" y="19477"/>
                    </a:lnTo>
                    <a:lnTo>
                      <a:pt x="2095" y="19241"/>
                    </a:lnTo>
                    <a:lnTo>
                      <a:pt x="2136" y="19005"/>
                    </a:lnTo>
                    <a:lnTo>
                      <a:pt x="2171" y="18769"/>
                    </a:lnTo>
                    <a:lnTo>
                      <a:pt x="2224" y="18230"/>
                    </a:lnTo>
                    <a:lnTo>
                      <a:pt x="2271" y="17725"/>
                    </a:lnTo>
                    <a:lnTo>
                      <a:pt x="2306" y="17118"/>
                    </a:lnTo>
                    <a:lnTo>
                      <a:pt x="2341" y="16545"/>
                    </a:lnTo>
                    <a:lnTo>
                      <a:pt x="2353" y="15905"/>
                    </a:lnTo>
                    <a:lnTo>
                      <a:pt x="2358" y="15299"/>
                    </a:lnTo>
                    <a:lnTo>
                      <a:pt x="2353" y="14726"/>
                    </a:lnTo>
                    <a:lnTo>
                      <a:pt x="2347" y="14220"/>
                    </a:lnTo>
                    <a:lnTo>
                      <a:pt x="2323" y="13715"/>
                    </a:lnTo>
                    <a:lnTo>
                      <a:pt x="2300" y="13243"/>
                    </a:lnTo>
                    <a:lnTo>
                      <a:pt x="2230" y="12367"/>
                    </a:lnTo>
                    <a:lnTo>
                      <a:pt x="2183" y="11963"/>
                    </a:lnTo>
                    <a:lnTo>
                      <a:pt x="2130" y="11592"/>
                    </a:lnTo>
                    <a:lnTo>
                      <a:pt x="2066" y="11188"/>
                    </a:lnTo>
                    <a:lnTo>
                      <a:pt x="1996" y="10851"/>
                    </a:lnTo>
                    <a:lnTo>
                      <a:pt x="1919" y="10547"/>
                    </a:lnTo>
                    <a:lnTo>
                      <a:pt x="1832" y="10210"/>
                    </a:lnTo>
                    <a:lnTo>
                      <a:pt x="1744" y="9907"/>
                    </a:lnTo>
                    <a:lnTo>
                      <a:pt x="1644" y="9637"/>
                    </a:lnTo>
                    <a:lnTo>
                      <a:pt x="1539" y="9368"/>
                    </a:lnTo>
                    <a:lnTo>
                      <a:pt x="1422" y="9098"/>
                    </a:lnTo>
                    <a:lnTo>
                      <a:pt x="1258" y="8694"/>
                    </a:lnTo>
                    <a:lnTo>
                      <a:pt x="1112" y="8323"/>
                    </a:lnTo>
                    <a:lnTo>
                      <a:pt x="1048" y="8155"/>
                    </a:lnTo>
                    <a:lnTo>
                      <a:pt x="989" y="7953"/>
                    </a:lnTo>
                    <a:lnTo>
                      <a:pt x="895" y="7548"/>
                    </a:lnTo>
                    <a:lnTo>
                      <a:pt x="854" y="7380"/>
                    </a:lnTo>
                    <a:lnTo>
                      <a:pt x="825" y="7178"/>
                    </a:lnTo>
                    <a:lnTo>
                      <a:pt x="790" y="6942"/>
                    </a:lnTo>
                    <a:lnTo>
                      <a:pt x="767" y="6739"/>
                    </a:lnTo>
                    <a:lnTo>
                      <a:pt x="749" y="6470"/>
                    </a:lnTo>
                    <a:lnTo>
                      <a:pt x="737" y="6200"/>
                    </a:lnTo>
                    <a:lnTo>
                      <a:pt x="732" y="5964"/>
                    </a:lnTo>
                    <a:lnTo>
                      <a:pt x="732" y="5459"/>
                    </a:lnTo>
                    <a:lnTo>
                      <a:pt x="737" y="5189"/>
                    </a:lnTo>
                    <a:lnTo>
                      <a:pt x="749" y="4954"/>
                    </a:lnTo>
                    <a:lnTo>
                      <a:pt x="761" y="4751"/>
                    </a:lnTo>
                    <a:lnTo>
                      <a:pt x="784" y="4549"/>
                    </a:lnTo>
                    <a:lnTo>
                      <a:pt x="813" y="4347"/>
                    </a:lnTo>
                    <a:lnTo>
                      <a:pt x="837" y="4111"/>
                    </a:lnTo>
                    <a:lnTo>
                      <a:pt x="872" y="3943"/>
                    </a:lnTo>
                    <a:lnTo>
                      <a:pt x="954" y="3606"/>
                    </a:lnTo>
                    <a:lnTo>
                      <a:pt x="1001" y="3471"/>
                    </a:lnTo>
                    <a:lnTo>
                      <a:pt x="1118" y="3269"/>
                    </a:lnTo>
                    <a:lnTo>
                      <a:pt x="1182" y="3201"/>
                    </a:lnTo>
                    <a:lnTo>
                      <a:pt x="1258" y="3168"/>
                    </a:lnTo>
                    <a:lnTo>
                      <a:pt x="1451" y="3168"/>
                    </a:lnTo>
                    <a:lnTo>
                      <a:pt x="1568" y="3235"/>
                    </a:lnTo>
                    <a:lnTo>
                      <a:pt x="1767" y="3505"/>
                    </a:lnTo>
                    <a:lnTo>
                      <a:pt x="1855" y="3639"/>
                    </a:lnTo>
                    <a:lnTo>
                      <a:pt x="1937" y="3808"/>
                    </a:lnTo>
                    <a:lnTo>
                      <a:pt x="2001" y="3976"/>
                    </a:lnTo>
                    <a:lnTo>
                      <a:pt x="2054" y="4111"/>
                    </a:lnTo>
                    <a:lnTo>
                      <a:pt x="2212" y="1045"/>
                    </a:lnTo>
                    <a:lnTo>
                      <a:pt x="2142" y="842"/>
                    </a:lnTo>
                    <a:lnTo>
                      <a:pt x="2048" y="674"/>
                    </a:lnTo>
                    <a:lnTo>
                      <a:pt x="1960" y="472"/>
                    </a:lnTo>
                    <a:lnTo>
                      <a:pt x="1849" y="303"/>
                    </a:lnTo>
                    <a:lnTo>
                      <a:pt x="1744" y="202"/>
                    </a:lnTo>
                    <a:lnTo>
                      <a:pt x="1615" y="101"/>
                    </a:lnTo>
                    <a:lnTo>
                      <a:pt x="1486" y="34"/>
                    </a:lnTo>
                    <a:lnTo>
                      <a:pt x="1340" y="0"/>
                    </a:lnTo>
                    <a:lnTo>
                      <a:pt x="1194" y="34"/>
                    </a:lnTo>
                    <a:lnTo>
                      <a:pt x="1065" y="135"/>
                    </a:lnTo>
                    <a:lnTo>
                      <a:pt x="930" y="270"/>
                    </a:lnTo>
                    <a:lnTo>
                      <a:pt x="813" y="472"/>
                    </a:lnTo>
                    <a:lnTo>
                      <a:pt x="696" y="741"/>
                    </a:lnTo>
                    <a:lnTo>
                      <a:pt x="591" y="1011"/>
                    </a:lnTo>
                    <a:lnTo>
                      <a:pt x="492" y="1348"/>
                    </a:lnTo>
                    <a:lnTo>
                      <a:pt x="410" y="1719"/>
                    </a:lnTo>
                    <a:lnTo>
                      <a:pt x="328" y="2157"/>
                    </a:lnTo>
                    <a:lnTo>
                      <a:pt x="257" y="2595"/>
                    </a:lnTo>
                    <a:lnTo>
                      <a:pt x="199" y="3134"/>
                    </a:lnTo>
                    <a:lnTo>
                      <a:pt x="152" y="3639"/>
                    </a:lnTo>
                    <a:lnTo>
                      <a:pt x="105" y="4178"/>
                    </a:lnTo>
                    <a:lnTo>
                      <a:pt x="82" y="4785"/>
                    </a:lnTo>
                    <a:lnTo>
                      <a:pt x="64" y="5358"/>
                    </a:lnTo>
                    <a:lnTo>
                      <a:pt x="59" y="6032"/>
                    </a:lnTo>
                    <a:lnTo>
                      <a:pt x="64" y="6537"/>
                    </a:lnTo>
                    <a:lnTo>
                      <a:pt x="76" y="7110"/>
                    </a:lnTo>
                    <a:lnTo>
                      <a:pt x="94" y="7582"/>
                    </a:lnTo>
                    <a:lnTo>
                      <a:pt x="123" y="8087"/>
                    </a:lnTo>
                    <a:lnTo>
                      <a:pt x="170" y="8525"/>
                    </a:lnTo>
                    <a:lnTo>
                      <a:pt x="211" y="8930"/>
                    </a:lnTo>
                    <a:lnTo>
                      <a:pt x="263" y="9334"/>
                    </a:lnTo>
                    <a:lnTo>
                      <a:pt x="322" y="9705"/>
                    </a:lnTo>
                    <a:lnTo>
                      <a:pt x="392" y="10076"/>
                    </a:lnTo>
                    <a:lnTo>
                      <a:pt x="468" y="10446"/>
                    </a:lnTo>
                    <a:lnTo>
                      <a:pt x="544" y="10749"/>
                    </a:lnTo>
                    <a:lnTo>
                      <a:pt x="638" y="11053"/>
                    </a:lnTo>
                    <a:lnTo>
                      <a:pt x="726" y="11322"/>
                    </a:lnTo>
                    <a:lnTo>
                      <a:pt x="831" y="11626"/>
                    </a:lnTo>
                    <a:lnTo>
                      <a:pt x="930" y="11861"/>
                    </a:lnTo>
                    <a:lnTo>
                      <a:pt x="1042" y="12097"/>
                    </a:lnTo>
                    <a:lnTo>
                      <a:pt x="1200" y="12434"/>
                    </a:lnTo>
                    <a:lnTo>
                      <a:pt x="1334" y="12839"/>
                    </a:lnTo>
                    <a:lnTo>
                      <a:pt x="1393" y="13007"/>
                    </a:lnTo>
                    <a:lnTo>
                      <a:pt x="1445" y="13209"/>
                    </a:lnTo>
                    <a:lnTo>
                      <a:pt x="1492" y="13378"/>
                    </a:lnTo>
                    <a:lnTo>
                      <a:pt x="1533" y="13580"/>
                    </a:lnTo>
                    <a:lnTo>
                      <a:pt x="1568" y="13782"/>
                    </a:lnTo>
                    <a:lnTo>
                      <a:pt x="1598" y="14052"/>
                    </a:lnTo>
                    <a:lnTo>
                      <a:pt x="1627" y="14254"/>
                    </a:lnTo>
                    <a:lnTo>
                      <a:pt x="1662" y="14726"/>
                    </a:lnTo>
                    <a:lnTo>
                      <a:pt x="1680" y="14995"/>
                    </a:lnTo>
                    <a:lnTo>
                      <a:pt x="1685" y="15299"/>
                    </a:lnTo>
                    <a:lnTo>
                      <a:pt x="1685" y="15871"/>
                    </a:lnTo>
                    <a:lnTo>
                      <a:pt x="1668" y="16175"/>
                    </a:lnTo>
                    <a:lnTo>
                      <a:pt x="1656" y="16478"/>
                    </a:lnTo>
                    <a:lnTo>
                      <a:pt x="1639" y="16748"/>
                    </a:lnTo>
                    <a:lnTo>
                      <a:pt x="1615" y="16983"/>
                    </a:lnTo>
                    <a:lnTo>
                      <a:pt x="1586" y="17219"/>
                    </a:lnTo>
                    <a:lnTo>
                      <a:pt x="1551" y="17422"/>
                    </a:lnTo>
                    <a:lnTo>
                      <a:pt x="1516" y="17657"/>
                    </a:lnTo>
                    <a:lnTo>
                      <a:pt x="1469" y="17826"/>
                    </a:lnTo>
                    <a:lnTo>
                      <a:pt x="1364" y="18095"/>
                    </a:lnTo>
                    <a:lnTo>
                      <a:pt x="1246" y="18298"/>
                    </a:lnTo>
                    <a:lnTo>
                      <a:pt x="1170" y="18365"/>
                    </a:lnTo>
                    <a:lnTo>
                      <a:pt x="1100" y="18399"/>
                    </a:lnTo>
                    <a:lnTo>
                      <a:pt x="901" y="18399"/>
                    </a:lnTo>
                    <a:lnTo>
                      <a:pt x="772" y="18298"/>
                    </a:lnTo>
                    <a:lnTo>
                      <a:pt x="655" y="18197"/>
                    </a:lnTo>
                    <a:lnTo>
                      <a:pt x="538" y="18028"/>
                    </a:lnTo>
                    <a:lnTo>
                      <a:pt x="328" y="17624"/>
                    </a:lnTo>
                    <a:lnTo>
                      <a:pt x="234" y="17320"/>
                    </a:lnTo>
                    <a:lnTo>
                      <a:pt x="152" y="17085"/>
                    </a:lnTo>
                    <a:lnTo>
                      <a:pt x="0" y="20252"/>
                    </a:lnTo>
                    <a:close/>
                  </a:path>
                </a:pathLst>
              </a:custGeom>
              <a:solidFill>
                <a:srgbClr val="4473B1"/>
              </a:solidFill>
              <a:ln w="3175" cap="flat">
                <a:noFill/>
                <a:miter lim="400000"/>
              </a:ln>
              <a:effectLst/>
            </p:spPr>
            <p:txBody>
              <a:bodyPr wrap="square" lIns="60959" tIns="60959" rIns="60959" bIns="60959" numCol="1" anchor="t">
                <a:noAutofit/>
              </a:bodyPr>
              <a:lstStyle/>
              <a:p>
                <a:pPr defTabSz="685347">
                  <a:defRPr sz="2400">
                    <a:latin typeface="Myriad Pro"/>
                    <a:ea typeface="Myriad Pro"/>
                    <a:cs typeface="Myriad Pro"/>
                    <a:sym typeface="Myriad Pro"/>
                  </a:defRPr>
                </a:pPr>
                <a:endParaRPr kern="0" dirty="0">
                  <a:solidFill>
                    <a:sysClr val="windowText" lastClr="000000"/>
                  </a:solidFill>
                  <a:latin typeface="Myriad Pro"/>
                  <a:ea typeface="Myriad Pro"/>
                  <a:cs typeface="Myriad Pro"/>
                  <a:sym typeface="Myriad Pro"/>
                </a:endParaRPr>
              </a:p>
            </p:txBody>
          </p:sp>
          <p:sp>
            <p:nvSpPr>
              <p:cNvPr id="12" name="Shape 7"/>
              <p:cNvSpPr/>
              <p:nvPr/>
            </p:nvSpPr>
            <p:spPr>
              <a:xfrm>
                <a:off x="8870502" y="3732990"/>
                <a:ext cx="868851" cy="9274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841" y="21263"/>
                    </a:moveTo>
                    <a:lnTo>
                      <a:pt x="20841" y="12434"/>
                    </a:lnTo>
                    <a:lnTo>
                      <a:pt x="21600" y="337"/>
                    </a:lnTo>
                    <a:lnTo>
                      <a:pt x="21127" y="337"/>
                    </a:lnTo>
                    <a:lnTo>
                      <a:pt x="20856" y="5695"/>
                    </a:lnTo>
                    <a:lnTo>
                      <a:pt x="20801" y="6807"/>
                    </a:lnTo>
                    <a:lnTo>
                      <a:pt x="20750" y="7818"/>
                    </a:lnTo>
                    <a:lnTo>
                      <a:pt x="20702" y="8829"/>
                    </a:lnTo>
                    <a:lnTo>
                      <a:pt x="20658" y="9840"/>
                    </a:lnTo>
                    <a:lnTo>
                      <a:pt x="20654" y="9840"/>
                    </a:lnTo>
                    <a:lnTo>
                      <a:pt x="20603" y="8795"/>
                    </a:lnTo>
                    <a:lnTo>
                      <a:pt x="20559" y="7818"/>
                    </a:lnTo>
                    <a:lnTo>
                      <a:pt x="20511" y="6807"/>
                    </a:lnTo>
                    <a:lnTo>
                      <a:pt x="20453" y="5729"/>
                    </a:lnTo>
                    <a:lnTo>
                      <a:pt x="20182" y="337"/>
                    </a:lnTo>
                    <a:lnTo>
                      <a:pt x="19709" y="337"/>
                    </a:lnTo>
                    <a:lnTo>
                      <a:pt x="20427" y="12535"/>
                    </a:lnTo>
                    <a:lnTo>
                      <a:pt x="20427" y="21263"/>
                    </a:lnTo>
                    <a:lnTo>
                      <a:pt x="20841" y="21263"/>
                    </a:lnTo>
                    <a:close/>
                    <a:moveTo>
                      <a:pt x="19492" y="17624"/>
                    </a:moveTo>
                    <a:lnTo>
                      <a:pt x="19448" y="17792"/>
                    </a:lnTo>
                    <a:lnTo>
                      <a:pt x="19401" y="17927"/>
                    </a:lnTo>
                    <a:lnTo>
                      <a:pt x="19342" y="18062"/>
                    </a:lnTo>
                    <a:lnTo>
                      <a:pt x="19287" y="18163"/>
                    </a:lnTo>
                    <a:lnTo>
                      <a:pt x="19225" y="18264"/>
                    </a:lnTo>
                    <a:lnTo>
                      <a:pt x="19166" y="18331"/>
                    </a:lnTo>
                    <a:lnTo>
                      <a:pt x="19100" y="18365"/>
                    </a:lnTo>
                    <a:lnTo>
                      <a:pt x="18994" y="18365"/>
                    </a:lnTo>
                    <a:lnTo>
                      <a:pt x="18946" y="18331"/>
                    </a:lnTo>
                    <a:lnTo>
                      <a:pt x="18902" y="18298"/>
                    </a:lnTo>
                    <a:lnTo>
                      <a:pt x="18862" y="18230"/>
                    </a:lnTo>
                    <a:lnTo>
                      <a:pt x="18818" y="18163"/>
                    </a:lnTo>
                    <a:lnTo>
                      <a:pt x="18781" y="18095"/>
                    </a:lnTo>
                    <a:lnTo>
                      <a:pt x="18741" y="17994"/>
                    </a:lnTo>
                    <a:lnTo>
                      <a:pt x="18708" y="17860"/>
                    </a:lnTo>
                    <a:lnTo>
                      <a:pt x="18668" y="17725"/>
                    </a:lnTo>
                    <a:lnTo>
                      <a:pt x="18635" y="17590"/>
                    </a:lnTo>
                    <a:lnTo>
                      <a:pt x="18602" y="17388"/>
                    </a:lnTo>
                    <a:lnTo>
                      <a:pt x="18572" y="17219"/>
                    </a:lnTo>
                    <a:lnTo>
                      <a:pt x="18536" y="17017"/>
                    </a:lnTo>
                    <a:lnTo>
                      <a:pt x="18510" y="16815"/>
                    </a:lnTo>
                    <a:lnTo>
                      <a:pt x="18481" y="16579"/>
                    </a:lnTo>
                    <a:lnTo>
                      <a:pt x="18459" y="16377"/>
                    </a:lnTo>
                    <a:lnTo>
                      <a:pt x="18433" y="16074"/>
                    </a:lnTo>
                    <a:lnTo>
                      <a:pt x="18407" y="15838"/>
                    </a:lnTo>
                    <a:lnTo>
                      <a:pt x="18385" y="15568"/>
                    </a:lnTo>
                    <a:lnTo>
                      <a:pt x="18367" y="15265"/>
                    </a:lnTo>
                    <a:lnTo>
                      <a:pt x="18349" y="14928"/>
                    </a:lnTo>
                    <a:lnTo>
                      <a:pt x="18330" y="14625"/>
                    </a:lnTo>
                    <a:lnTo>
                      <a:pt x="18316" y="14321"/>
                    </a:lnTo>
                    <a:lnTo>
                      <a:pt x="18301" y="13984"/>
                    </a:lnTo>
                    <a:lnTo>
                      <a:pt x="18276" y="13243"/>
                    </a:lnTo>
                    <a:lnTo>
                      <a:pt x="18261" y="12502"/>
                    </a:lnTo>
                    <a:lnTo>
                      <a:pt x="18250" y="11693"/>
                    </a:lnTo>
                    <a:lnTo>
                      <a:pt x="18246" y="10851"/>
                    </a:lnTo>
                    <a:lnTo>
                      <a:pt x="18250" y="10412"/>
                    </a:lnTo>
                    <a:lnTo>
                      <a:pt x="18250" y="9941"/>
                    </a:lnTo>
                    <a:lnTo>
                      <a:pt x="18257" y="9503"/>
                    </a:lnTo>
                    <a:lnTo>
                      <a:pt x="18261" y="9098"/>
                    </a:lnTo>
                    <a:lnTo>
                      <a:pt x="18272" y="8660"/>
                    </a:lnTo>
                    <a:lnTo>
                      <a:pt x="18279" y="8290"/>
                    </a:lnTo>
                    <a:lnTo>
                      <a:pt x="18294" y="7919"/>
                    </a:lnTo>
                    <a:lnTo>
                      <a:pt x="18309" y="7515"/>
                    </a:lnTo>
                    <a:lnTo>
                      <a:pt x="18323" y="7178"/>
                    </a:lnTo>
                    <a:lnTo>
                      <a:pt x="18341" y="6841"/>
                    </a:lnTo>
                    <a:lnTo>
                      <a:pt x="18356" y="6504"/>
                    </a:lnTo>
                    <a:lnTo>
                      <a:pt x="18378" y="6200"/>
                    </a:lnTo>
                    <a:lnTo>
                      <a:pt x="18396" y="5931"/>
                    </a:lnTo>
                    <a:lnTo>
                      <a:pt x="18422" y="5661"/>
                    </a:lnTo>
                    <a:lnTo>
                      <a:pt x="18448" y="5358"/>
                    </a:lnTo>
                    <a:lnTo>
                      <a:pt x="18499" y="4886"/>
                    </a:lnTo>
                    <a:lnTo>
                      <a:pt x="18558" y="4482"/>
                    </a:lnTo>
                    <a:lnTo>
                      <a:pt x="18591" y="4280"/>
                    </a:lnTo>
                    <a:lnTo>
                      <a:pt x="18620" y="4077"/>
                    </a:lnTo>
                    <a:lnTo>
                      <a:pt x="18653" y="3943"/>
                    </a:lnTo>
                    <a:lnTo>
                      <a:pt x="18686" y="3774"/>
                    </a:lnTo>
                    <a:lnTo>
                      <a:pt x="18726" y="3673"/>
                    </a:lnTo>
                    <a:lnTo>
                      <a:pt x="18800" y="3437"/>
                    </a:lnTo>
                    <a:lnTo>
                      <a:pt x="18877" y="3302"/>
                    </a:lnTo>
                    <a:lnTo>
                      <a:pt x="18957" y="3201"/>
                    </a:lnTo>
                    <a:lnTo>
                      <a:pt x="19045" y="3168"/>
                    </a:lnTo>
                    <a:lnTo>
                      <a:pt x="19115" y="3201"/>
                    </a:lnTo>
                    <a:lnTo>
                      <a:pt x="19177" y="3235"/>
                    </a:lnTo>
                    <a:lnTo>
                      <a:pt x="19236" y="3302"/>
                    </a:lnTo>
                    <a:lnTo>
                      <a:pt x="19294" y="3403"/>
                    </a:lnTo>
                    <a:lnTo>
                      <a:pt x="19349" y="3538"/>
                    </a:lnTo>
                    <a:lnTo>
                      <a:pt x="19401" y="3673"/>
                    </a:lnTo>
                    <a:lnTo>
                      <a:pt x="19445" y="3808"/>
                    </a:lnTo>
                    <a:lnTo>
                      <a:pt x="19485" y="3976"/>
                    </a:lnTo>
                    <a:lnTo>
                      <a:pt x="19577" y="944"/>
                    </a:lnTo>
                    <a:lnTo>
                      <a:pt x="19544" y="809"/>
                    </a:lnTo>
                    <a:lnTo>
                      <a:pt x="19492" y="640"/>
                    </a:lnTo>
                    <a:lnTo>
                      <a:pt x="19437" y="438"/>
                    </a:lnTo>
                    <a:lnTo>
                      <a:pt x="19371" y="303"/>
                    </a:lnTo>
                    <a:lnTo>
                      <a:pt x="19298" y="202"/>
                    </a:lnTo>
                    <a:lnTo>
                      <a:pt x="19214" y="101"/>
                    </a:lnTo>
                    <a:lnTo>
                      <a:pt x="19126" y="34"/>
                    </a:lnTo>
                    <a:lnTo>
                      <a:pt x="19027" y="0"/>
                    </a:lnTo>
                    <a:lnTo>
                      <a:pt x="18961" y="34"/>
                    </a:lnTo>
                    <a:lnTo>
                      <a:pt x="18899" y="67"/>
                    </a:lnTo>
                    <a:lnTo>
                      <a:pt x="18774" y="202"/>
                    </a:lnTo>
                    <a:lnTo>
                      <a:pt x="18715" y="303"/>
                    </a:lnTo>
                    <a:lnTo>
                      <a:pt x="18657" y="438"/>
                    </a:lnTo>
                    <a:lnTo>
                      <a:pt x="18602" y="573"/>
                    </a:lnTo>
                    <a:lnTo>
                      <a:pt x="18543" y="775"/>
                    </a:lnTo>
                    <a:lnTo>
                      <a:pt x="18440" y="1179"/>
                    </a:lnTo>
                    <a:lnTo>
                      <a:pt x="18385" y="1415"/>
                    </a:lnTo>
                    <a:lnTo>
                      <a:pt x="18338" y="1685"/>
                    </a:lnTo>
                    <a:lnTo>
                      <a:pt x="18287" y="1988"/>
                    </a:lnTo>
                    <a:lnTo>
                      <a:pt x="18243" y="2291"/>
                    </a:lnTo>
                    <a:lnTo>
                      <a:pt x="18202" y="2595"/>
                    </a:lnTo>
                    <a:lnTo>
                      <a:pt x="18162" y="2932"/>
                    </a:lnTo>
                    <a:lnTo>
                      <a:pt x="18118" y="3336"/>
                    </a:lnTo>
                    <a:lnTo>
                      <a:pt x="18081" y="3707"/>
                    </a:lnTo>
                    <a:lnTo>
                      <a:pt x="18048" y="4111"/>
                    </a:lnTo>
                    <a:lnTo>
                      <a:pt x="18012" y="4549"/>
                    </a:lnTo>
                    <a:lnTo>
                      <a:pt x="17982" y="4987"/>
                    </a:lnTo>
                    <a:lnTo>
                      <a:pt x="17953" y="5459"/>
                    </a:lnTo>
                    <a:lnTo>
                      <a:pt x="17927" y="5931"/>
                    </a:lnTo>
                    <a:lnTo>
                      <a:pt x="17905" y="6402"/>
                    </a:lnTo>
                    <a:lnTo>
                      <a:pt x="17861" y="7481"/>
                    </a:lnTo>
                    <a:lnTo>
                      <a:pt x="17847" y="8054"/>
                    </a:lnTo>
                    <a:lnTo>
                      <a:pt x="17836" y="8593"/>
                    </a:lnTo>
                    <a:lnTo>
                      <a:pt x="17825" y="9199"/>
                    </a:lnTo>
                    <a:lnTo>
                      <a:pt x="17817" y="9772"/>
                    </a:lnTo>
                    <a:lnTo>
                      <a:pt x="17810" y="11053"/>
                    </a:lnTo>
                    <a:lnTo>
                      <a:pt x="17814" y="11659"/>
                    </a:lnTo>
                    <a:lnTo>
                      <a:pt x="17817" y="12198"/>
                    </a:lnTo>
                    <a:lnTo>
                      <a:pt x="17821" y="12805"/>
                    </a:lnTo>
                    <a:lnTo>
                      <a:pt x="17832" y="13310"/>
                    </a:lnTo>
                    <a:lnTo>
                      <a:pt x="17843" y="13883"/>
                    </a:lnTo>
                    <a:lnTo>
                      <a:pt x="17854" y="14389"/>
                    </a:lnTo>
                    <a:lnTo>
                      <a:pt x="17872" y="14861"/>
                    </a:lnTo>
                    <a:lnTo>
                      <a:pt x="17891" y="15400"/>
                    </a:lnTo>
                    <a:lnTo>
                      <a:pt x="17913" y="15838"/>
                    </a:lnTo>
                    <a:lnTo>
                      <a:pt x="17935" y="16310"/>
                    </a:lnTo>
                    <a:lnTo>
                      <a:pt x="17960" y="16748"/>
                    </a:lnTo>
                    <a:lnTo>
                      <a:pt x="17986" y="17152"/>
                    </a:lnTo>
                    <a:lnTo>
                      <a:pt x="18015" y="17590"/>
                    </a:lnTo>
                    <a:lnTo>
                      <a:pt x="18052" y="17994"/>
                    </a:lnTo>
                    <a:lnTo>
                      <a:pt x="18085" y="18331"/>
                    </a:lnTo>
                    <a:lnTo>
                      <a:pt x="18118" y="18702"/>
                    </a:lnTo>
                    <a:lnTo>
                      <a:pt x="18162" y="19039"/>
                    </a:lnTo>
                    <a:lnTo>
                      <a:pt x="18199" y="19342"/>
                    </a:lnTo>
                    <a:lnTo>
                      <a:pt x="18287" y="19949"/>
                    </a:lnTo>
                    <a:lnTo>
                      <a:pt x="18382" y="20421"/>
                    </a:lnTo>
                    <a:lnTo>
                      <a:pt x="18484" y="20825"/>
                    </a:lnTo>
                    <a:lnTo>
                      <a:pt x="18539" y="20993"/>
                    </a:lnTo>
                    <a:lnTo>
                      <a:pt x="18598" y="21162"/>
                    </a:lnTo>
                    <a:lnTo>
                      <a:pt x="18653" y="21297"/>
                    </a:lnTo>
                    <a:lnTo>
                      <a:pt x="18715" y="21398"/>
                    </a:lnTo>
                    <a:lnTo>
                      <a:pt x="18774" y="21465"/>
                    </a:lnTo>
                    <a:lnTo>
                      <a:pt x="18836" y="21533"/>
                    </a:lnTo>
                    <a:lnTo>
                      <a:pt x="18906" y="21566"/>
                    </a:lnTo>
                    <a:lnTo>
                      <a:pt x="18968" y="21600"/>
                    </a:lnTo>
                    <a:lnTo>
                      <a:pt x="19071" y="21566"/>
                    </a:lnTo>
                    <a:lnTo>
                      <a:pt x="19166" y="21499"/>
                    </a:lnTo>
                    <a:lnTo>
                      <a:pt x="19254" y="21398"/>
                    </a:lnTo>
                    <a:lnTo>
                      <a:pt x="19331" y="21297"/>
                    </a:lnTo>
                    <a:lnTo>
                      <a:pt x="19404" y="21162"/>
                    </a:lnTo>
                    <a:lnTo>
                      <a:pt x="19463" y="20960"/>
                    </a:lnTo>
                    <a:lnTo>
                      <a:pt x="19514" y="20791"/>
                    </a:lnTo>
                    <a:lnTo>
                      <a:pt x="19562" y="20623"/>
                    </a:lnTo>
                    <a:lnTo>
                      <a:pt x="19492" y="17624"/>
                    </a:lnTo>
                    <a:close/>
                    <a:moveTo>
                      <a:pt x="16032" y="21263"/>
                    </a:moveTo>
                    <a:lnTo>
                      <a:pt x="16032" y="10143"/>
                    </a:lnTo>
                    <a:lnTo>
                      <a:pt x="16021" y="6908"/>
                    </a:lnTo>
                    <a:lnTo>
                      <a:pt x="16018" y="5897"/>
                    </a:lnTo>
                    <a:lnTo>
                      <a:pt x="16014" y="4852"/>
                    </a:lnTo>
                    <a:lnTo>
                      <a:pt x="16021" y="4852"/>
                    </a:lnTo>
                    <a:lnTo>
                      <a:pt x="16065" y="5729"/>
                    </a:lnTo>
                    <a:lnTo>
                      <a:pt x="16113" y="6672"/>
                    </a:lnTo>
                    <a:lnTo>
                      <a:pt x="16164" y="7548"/>
                    </a:lnTo>
                    <a:lnTo>
                      <a:pt x="16212" y="8458"/>
                    </a:lnTo>
                    <a:lnTo>
                      <a:pt x="16267" y="9402"/>
                    </a:lnTo>
                    <a:lnTo>
                      <a:pt x="16322" y="10311"/>
                    </a:lnTo>
                    <a:lnTo>
                      <a:pt x="16432" y="12064"/>
                    </a:lnTo>
                    <a:lnTo>
                      <a:pt x="17022" y="21263"/>
                    </a:lnTo>
                    <a:lnTo>
                      <a:pt x="17451" y="21263"/>
                    </a:lnTo>
                    <a:lnTo>
                      <a:pt x="17451" y="337"/>
                    </a:lnTo>
                    <a:lnTo>
                      <a:pt x="17070" y="337"/>
                    </a:lnTo>
                    <a:lnTo>
                      <a:pt x="17070" y="8795"/>
                    </a:lnTo>
                    <a:lnTo>
                      <a:pt x="17073" y="9941"/>
                    </a:lnTo>
                    <a:lnTo>
                      <a:pt x="17073" y="11053"/>
                    </a:lnTo>
                    <a:lnTo>
                      <a:pt x="17077" y="12131"/>
                    </a:lnTo>
                    <a:lnTo>
                      <a:pt x="17084" y="13176"/>
                    </a:lnTo>
                    <a:lnTo>
                      <a:pt x="17088" y="14220"/>
                    </a:lnTo>
                    <a:lnTo>
                      <a:pt x="17099" y="15265"/>
                    </a:lnTo>
                    <a:lnTo>
                      <a:pt x="17106" y="16310"/>
                    </a:lnTo>
                    <a:lnTo>
                      <a:pt x="17099" y="16343"/>
                    </a:lnTo>
                    <a:lnTo>
                      <a:pt x="17055" y="15467"/>
                    </a:lnTo>
                    <a:lnTo>
                      <a:pt x="17015" y="14591"/>
                    </a:lnTo>
                    <a:lnTo>
                      <a:pt x="16971" y="13715"/>
                    </a:lnTo>
                    <a:lnTo>
                      <a:pt x="16919" y="12839"/>
                    </a:lnTo>
                    <a:lnTo>
                      <a:pt x="16872" y="11963"/>
                    </a:lnTo>
                    <a:lnTo>
                      <a:pt x="16820" y="11053"/>
                    </a:lnTo>
                    <a:lnTo>
                      <a:pt x="16765" y="10177"/>
                    </a:lnTo>
                    <a:lnTo>
                      <a:pt x="16710" y="9334"/>
                    </a:lnTo>
                    <a:lnTo>
                      <a:pt x="16124" y="337"/>
                    </a:lnTo>
                    <a:lnTo>
                      <a:pt x="15651" y="337"/>
                    </a:lnTo>
                    <a:lnTo>
                      <a:pt x="15651" y="21263"/>
                    </a:lnTo>
                    <a:lnTo>
                      <a:pt x="16032" y="21263"/>
                    </a:lnTo>
                    <a:close/>
                    <a:moveTo>
                      <a:pt x="14027" y="12434"/>
                    </a:moveTo>
                    <a:lnTo>
                      <a:pt x="14207" y="7279"/>
                    </a:lnTo>
                    <a:lnTo>
                      <a:pt x="14236" y="6301"/>
                    </a:lnTo>
                    <a:lnTo>
                      <a:pt x="14313" y="3370"/>
                    </a:lnTo>
                    <a:lnTo>
                      <a:pt x="14324" y="3370"/>
                    </a:lnTo>
                    <a:lnTo>
                      <a:pt x="14350" y="4313"/>
                    </a:lnTo>
                    <a:lnTo>
                      <a:pt x="14376" y="5290"/>
                    </a:lnTo>
                    <a:lnTo>
                      <a:pt x="14434" y="7312"/>
                    </a:lnTo>
                    <a:lnTo>
                      <a:pt x="14617" y="12434"/>
                    </a:lnTo>
                    <a:lnTo>
                      <a:pt x="14027" y="12434"/>
                    </a:lnTo>
                    <a:close/>
                    <a:moveTo>
                      <a:pt x="14683" y="15366"/>
                    </a:moveTo>
                    <a:lnTo>
                      <a:pt x="14892" y="21263"/>
                    </a:lnTo>
                    <a:lnTo>
                      <a:pt x="15336" y="21263"/>
                    </a:lnTo>
                    <a:lnTo>
                      <a:pt x="14599" y="337"/>
                    </a:lnTo>
                    <a:lnTo>
                      <a:pt x="14071" y="337"/>
                    </a:lnTo>
                    <a:lnTo>
                      <a:pt x="13338" y="21263"/>
                    </a:lnTo>
                    <a:lnTo>
                      <a:pt x="13767" y="21263"/>
                    </a:lnTo>
                    <a:lnTo>
                      <a:pt x="13961" y="15366"/>
                    </a:lnTo>
                    <a:lnTo>
                      <a:pt x="14683" y="15366"/>
                    </a:lnTo>
                    <a:close/>
                    <a:moveTo>
                      <a:pt x="12422" y="21263"/>
                    </a:moveTo>
                    <a:lnTo>
                      <a:pt x="12836" y="21263"/>
                    </a:lnTo>
                    <a:lnTo>
                      <a:pt x="12836" y="3538"/>
                    </a:lnTo>
                    <a:lnTo>
                      <a:pt x="13489" y="3538"/>
                    </a:lnTo>
                    <a:lnTo>
                      <a:pt x="13489" y="337"/>
                    </a:lnTo>
                    <a:lnTo>
                      <a:pt x="11769" y="337"/>
                    </a:lnTo>
                    <a:lnTo>
                      <a:pt x="11769" y="3538"/>
                    </a:lnTo>
                    <a:lnTo>
                      <a:pt x="12422" y="3538"/>
                    </a:lnTo>
                    <a:lnTo>
                      <a:pt x="12422" y="21263"/>
                    </a:lnTo>
                    <a:close/>
                    <a:moveTo>
                      <a:pt x="10652" y="21263"/>
                    </a:moveTo>
                    <a:lnTo>
                      <a:pt x="12004" y="21263"/>
                    </a:lnTo>
                    <a:lnTo>
                      <a:pt x="12004" y="18062"/>
                    </a:lnTo>
                    <a:lnTo>
                      <a:pt x="11069" y="18062"/>
                    </a:lnTo>
                    <a:lnTo>
                      <a:pt x="11069" y="337"/>
                    </a:lnTo>
                    <a:lnTo>
                      <a:pt x="10652" y="337"/>
                    </a:lnTo>
                    <a:lnTo>
                      <a:pt x="10652" y="21263"/>
                    </a:lnTo>
                    <a:close/>
                    <a:moveTo>
                      <a:pt x="8405" y="337"/>
                    </a:moveTo>
                    <a:lnTo>
                      <a:pt x="8405" y="12906"/>
                    </a:lnTo>
                    <a:lnTo>
                      <a:pt x="8412" y="14052"/>
                    </a:lnTo>
                    <a:lnTo>
                      <a:pt x="8427" y="15130"/>
                    </a:lnTo>
                    <a:lnTo>
                      <a:pt x="8441" y="15602"/>
                    </a:lnTo>
                    <a:lnTo>
                      <a:pt x="8452" y="16074"/>
                    </a:lnTo>
                    <a:lnTo>
                      <a:pt x="8467" y="16545"/>
                    </a:lnTo>
                    <a:lnTo>
                      <a:pt x="8482" y="16950"/>
                    </a:lnTo>
                    <a:lnTo>
                      <a:pt x="8500" y="17354"/>
                    </a:lnTo>
                    <a:lnTo>
                      <a:pt x="8518" y="17792"/>
                    </a:lnTo>
                    <a:lnTo>
                      <a:pt x="8562" y="18466"/>
                    </a:lnTo>
                    <a:lnTo>
                      <a:pt x="8588" y="18837"/>
                    </a:lnTo>
                    <a:lnTo>
                      <a:pt x="8614" y="19140"/>
                    </a:lnTo>
                    <a:lnTo>
                      <a:pt x="8639" y="19410"/>
                    </a:lnTo>
                    <a:lnTo>
                      <a:pt x="8698" y="19949"/>
                    </a:lnTo>
                    <a:lnTo>
                      <a:pt x="8735" y="20185"/>
                    </a:lnTo>
                    <a:lnTo>
                      <a:pt x="8801" y="20589"/>
                    </a:lnTo>
                    <a:lnTo>
                      <a:pt x="8837" y="20758"/>
                    </a:lnTo>
                    <a:lnTo>
                      <a:pt x="8878" y="20926"/>
                    </a:lnTo>
                    <a:lnTo>
                      <a:pt x="8914" y="21061"/>
                    </a:lnTo>
                    <a:lnTo>
                      <a:pt x="8954" y="21196"/>
                    </a:lnTo>
                    <a:lnTo>
                      <a:pt x="8998" y="21330"/>
                    </a:lnTo>
                    <a:lnTo>
                      <a:pt x="9039" y="21398"/>
                    </a:lnTo>
                    <a:lnTo>
                      <a:pt x="9083" y="21465"/>
                    </a:lnTo>
                    <a:lnTo>
                      <a:pt x="9174" y="21566"/>
                    </a:lnTo>
                    <a:lnTo>
                      <a:pt x="9273" y="21600"/>
                    </a:lnTo>
                    <a:lnTo>
                      <a:pt x="9321" y="21600"/>
                    </a:lnTo>
                    <a:lnTo>
                      <a:pt x="9369" y="21566"/>
                    </a:lnTo>
                    <a:lnTo>
                      <a:pt x="9420" y="21533"/>
                    </a:lnTo>
                    <a:lnTo>
                      <a:pt x="9468" y="21465"/>
                    </a:lnTo>
                    <a:lnTo>
                      <a:pt x="9512" y="21398"/>
                    </a:lnTo>
                    <a:lnTo>
                      <a:pt x="9559" y="21297"/>
                    </a:lnTo>
                    <a:lnTo>
                      <a:pt x="9600" y="21196"/>
                    </a:lnTo>
                    <a:lnTo>
                      <a:pt x="9644" y="21027"/>
                    </a:lnTo>
                    <a:lnTo>
                      <a:pt x="9688" y="20892"/>
                    </a:lnTo>
                    <a:lnTo>
                      <a:pt x="9761" y="20555"/>
                    </a:lnTo>
                    <a:lnTo>
                      <a:pt x="9834" y="20151"/>
                    </a:lnTo>
                    <a:lnTo>
                      <a:pt x="9867" y="19915"/>
                    </a:lnTo>
                    <a:lnTo>
                      <a:pt x="9929" y="19342"/>
                    </a:lnTo>
                    <a:lnTo>
                      <a:pt x="9962" y="19073"/>
                    </a:lnTo>
                    <a:lnTo>
                      <a:pt x="9988" y="18769"/>
                    </a:lnTo>
                    <a:lnTo>
                      <a:pt x="10014" y="18399"/>
                    </a:lnTo>
                    <a:lnTo>
                      <a:pt x="10036" y="18062"/>
                    </a:lnTo>
                    <a:lnTo>
                      <a:pt x="10058" y="17691"/>
                    </a:lnTo>
                    <a:lnTo>
                      <a:pt x="10080" y="17287"/>
                    </a:lnTo>
                    <a:lnTo>
                      <a:pt x="10116" y="16478"/>
                    </a:lnTo>
                    <a:lnTo>
                      <a:pt x="10131" y="16006"/>
                    </a:lnTo>
                    <a:lnTo>
                      <a:pt x="10142" y="15534"/>
                    </a:lnTo>
                    <a:lnTo>
                      <a:pt x="10153" y="15029"/>
                    </a:lnTo>
                    <a:lnTo>
                      <a:pt x="10168" y="14018"/>
                    </a:lnTo>
                    <a:lnTo>
                      <a:pt x="10175" y="13445"/>
                    </a:lnTo>
                    <a:lnTo>
                      <a:pt x="10179" y="12906"/>
                    </a:lnTo>
                    <a:lnTo>
                      <a:pt x="10179" y="337"/>
                    </a:lnTo>
                    <a:lnTo>
                      <a:pt x="9765" y="337"/>
                    </a:lnTo>
                    <a:lnTo>
                      <a:pt x="9765" y="12535"/>
                    </a:lnTo>
                    <a:lnTo>
                      <a:pt x="9761" y="13277"/>
                    </a:lnTo>
                    <a:lnTo>
                      <a:pt x="9754" y="13984"/>
                    </a:lnTo>
                    <a:lnTo>
                      <a:pt x="9746" y="14591"/>
                    </a:lnTo>
                    <a:lnTo>
                      <a:pt x="9732" y="15198"/>
                    </a:lnTo>
                    <a:lnTo>
                      <a:pt x="9713" y="15737"/>
                    </a:lnTo>
                    <a:lnTo>
                      <a:pt x="9669" y="16680"/>
                    </a:lnTo>
                    <a:lnTo>
                      <a:pt x="9636" y="17051"/>
                    </a:lnTo>
                    <a:lnTo>
                      <a:pt x="9570" y="17725"/>
                    </a:lnTo>
                    <a:lnTo>
                      <a:pt x="9530" y="17961"/>
                    </a:lnTo>
                    <a:lnTo>
                      <a:pt x="9486" y="18163"/>
                    </a:lnTo>
                    <a:lnTo>
                      <a:pt x="9442" y="18331"/>
                    </a:lnTo>
                    <a:lnTo>
                      <a:pt x="9394" y="18432"/>
                    </a:lnTo>
                    <a:lnTo>
                      <a:pt x="9339" y="18500"/>
                    </a:lnTo>
                    <a:lnTo>
                      <a:pt x="9233" y="18500"/>
                    </a:lnTo>
                    <a:lnTo>
                      <a:pt x="9185" y="18432"/>
                    </a:lnTo>
                    <a:lnTo>
                      <a:pt x="9138" y="18298"/>
                    </a:lnTo>
                    <a:lnTo>
                      <a:pt x="9094" y="18163"/>
                    </a:lnTo>
                    <a:lnTo>
                      <a:pt x="9053" y="17961"/>
                    </a:lnTo>
                    <a:lnTo>
                      <a:pt x="9017" y="17725"/>
                    </a:lnTo>
                    <a:lnTo>
                      <a:pt x="8976" y="17388"/>
                    </a:lnTo>
                    <a:lnTo>
                      <a:pt x="8947" y="17051"/>
                    </a:lnTo>
                    <a:lnTo>
                      <a:pt x="8918" y="16680"/>
                    </a:lnTo>
                    <a:lnTo>
                      <a:pt x="8892" y="16208"/>
                    </a:lnTo>
                    <a:lnTo>
                      <a:pt x="8874" y="15737"/>
                    </a:lnTo>
                    <a:lnTo>
                      <a:pt x="8856" y="15198"/>
                    </a:lnTo>
                    <a:lnTo>
                      <a:pt x="8837" y="14591"/>
                    </a:lnTo>
                    <a:lnTo>
                      <a:pt x="8826" y="13984"/>
                    </a:lnTo>
                    <a:lnTo>
                      <a:pt x="8819" y="13277"/>
                    </a:lnTo>
                    <a:lnTo>
                      <a:pt x="8819" y="337"/>
                    </a:lnTo>
                    <a:lnTo>
                      <a:pt x="8405" y="337"/>
                    </a:lnTo>
                    <a:close/>
                    <a:moveTo>
                      <a:pt x="6557" y="20252"/>
                    </a:moveTo>
                    <a:lnTo>
                      <a:pt x="6609" y="20522"/>
                    </a:lnTo>
                    <a:lnTo>
                      <a:pt x="6675" y="20758"/>
                    </a:lnTo>
                    <a:lnTo>
                      <a:pt x="6744" y="20960"/>
                    </a:lnTo>
                    <a:lnTo>
                      <a:pt x="6821" y="21196"/>
                    </a:lnTo>
                    <a:lnTo>
                      <a:pt x="6902" y="21364"/>
                    </a:lnTo>
                    <a:lnTo>
                      <a:pt x="6994" y="21465"/>
                    </a:lnTo>
                    <a:lnTo>
                      <a:pt x="7081" y="21566"/>
                    </a:lnTo>
                    <a:lnTo>
                      <a:pt x="7169" y="21600"/>
                    </a:lnTo>
                    <a:lnTo>
                      <a:pt x="7279" y="21566"/>
                    </a:lnTo>
                    <a:lnTo>
                      <a:pt x="7378" y="21465"/>
                    </a:lnTo>
                    <a:lnTo>
                      <a:pt x="7422" y="21398"/>
                    </a:lnTo>
                    <a:lnTo>
                      <a:pt x="7466" y="21297"/>
                    </a:lnTo>
                    <a:lnTo>
                      <a:pt x="7514" y="21196"/>
                    </a:lnTo>
                    <a:lnTo>
                      <a:pt x="7554" y="21061"/>
                    </a:lnTo>
                    <a:lnTo>
                      <a:pt x="7591" y="20926"/>
                    </a:lnTo>
                    <a:lnTo>
                      <a:pt x="7631" y="20791"/>
                    </a:lnTo>
                    <a:lnTo>
                      <a:pt x="7668" y="20656"/>
                    </a:lnTo>
                    <a:lnTo>
                      <a:pt x="7734" y="20320"/>
                    </a:lnTo>
                    <a:lnTo>
                      <a:pt x="7767" y="20117"/>
                    </a:lnTo>
                    <a:lnTo>
                      <a:pt x="7796" y="19915"/>
                    </a:lnTo>
                    <a:lnTo>
                      <a:pt x="7822" y="19679"/>
                    </a:lnTo>
                    <a:lnTo>
                      <a:pt x="7848" y="19477"/>
                    </a:lnTo>
                    <a:lnTo>
                      <a:pt x="7870" y="19241"/>
                    </a:lnTo>
                    <a:lnTo>
                      <a:pt x="7895" y="19005"/>
                    </a:lnTo>
                    <a:lnTo>
                      <a:pt x="7917" y="18769"/>
                    </a:lnTo>
                    <a:lnTo>
                      <a:pt x="7954" y="18230"/>
                    </a:lnTo>
                    <a:lnTo>
                      <a:pt x="7980" y="17725"/>
                    </a:lnTo>
                    <a:lnTo>
                      <a:pt x="8001" y="17118"/>
                    </a:lnTo>
                    <a:lnTo>
                      <a:pt x="8023" y="16545"/>
                    </a:lnTo>
                    <a:lnTo>
                      <a:pt x="8031" y="15905"/>
                    </a:lnTo>
                    <a:lnTo>
                      <a:pt x="8034" y="15299"/>
                    </a:lnTo>
                    <a:lnTo>
                      <a:pt x="8034" y="14726"/>
                    </a:lnTo>
                    <a:lnTo>
                      <a:pt x="8027" y="14220"/>
                    </a:lnTo>
                    <a:lnTo>
                      <a:pt x="8012" y="13715"/>
                    </a:lnTo>
                    <a:lnTo>
                      <a:pt x="7998" y="13243"/>
                    </a:lnTo>
                    <a:lnTo>
                      <a:pt x="7954" y="12367"/>
                    </a:lnTo>
                    <a:lnTo>
                      <a:pt x="7925" y="11963"/>
                    </a:lnTo>
                    <a:lnTo>
                      <a:pt x="7892" y="11592"/>
                    </a:lnTo>
                    <a:lnTo>
                      <a:pt x="7851" y="11188"/>
                    </a:lnTo>
                    <a:lnTo>
                      <a:pt x="7807" y="10851"/>
                    </a:lnTo>
                    <a:lnTo>
                      <a:pt x="7760" y="10547"/>
                    </a:lnTo>
                    <a:lnTo>
                      <a:pt x="7705" y="10210"/>
                    </a:lnTo>
                    <a:lnTo>
                      <a:pt x="7650" y="9907"/>
                    </a:lnTo>
                    <a:lnTo>
                      <a:pt x="7587" y="9637"/>
                    </a:lnTo>
                    <a:lnTo>
                      <a:pt x="7521" y="9368"/>
                    </a:lnTo>
                    <a:lnTo>
                      <a:pt x="7448" y="9098"/>
                    </a:lnTo>
                    <a:lnTo>
                      <a:pt x="7345" y="8694"/>
                    </a:lnTo>
                    <a:lnTo>
                      <a:pt x="7254" y="8323"/>
                    </a:lnTo>
                    <a:lnTo>
                      <a:pt x="7217" y="8155"/>
                    </a:lnTo>
                    <a:lnTo>
                      <a:pt x="7177" y="7953"/>
                    </a:lnTo>
                    <a:lnTo>
                      <a:pt x="7118" y="7548"/>
                    </a:lnTo>
                    <a:lnTo>
                      <a:pt x="7096" y="7380"/>
                    </a:lnTo>
                    <a:lnTo>
                      <a:pt x="7074" y="7178"/>
                    </a:lnTo>
                    <a:lnTo>
                      <a:pt x="7052" y="6942"/>
                    </a:lnTo>
                    <a:lnTo>
                      <a:pt x="7038" y="6739"/>
                    </a:lnTo>
                    <a:lnTo>
                      <a:pt x="7027" y="6470"/>
                    </a:lnTo>
                    <a:lnTo>
                      <a:pt x="7019" y="6200"/>
                    </a:lnTo>
                    <a:lnTo>
                      <a:pt x="7016" y="5964"/>
                    </a:lnTo>
                    <a:lnTo>
                      <a:pt x="7016" y="5459"/>
                    </a:lnTo>
                    <a:lnTo>
                      <a:pt x="7019" y="5189"/>
                    </a:lnTo>
                    <a:lnTo>
                      <a:pt x="7027" y="4954"/>
                    </a:lnTo>
                    <a:lnTo>
                      <a:pt x="7034" y="4751"/>
                    </a:lnTo>
                    <a:lnTo>
                      <a:pt x="7048" y="4549"/>
                    </a:lnTo>
                    <a:lnTo>
                      <a:pt x="7067" y="4347"/>
                    </a:lnTo>
                    <a:lnTo>
                      <a:pt x="7085" y="4111"/>
                    </a:lnTo>
                    <a:lnTo>
                      <a:pt x="7103" y="3943"/>
                    </a:lnTo>
                    <a:lnTo>
                      <a:pt x="7155" y="3606"/>
                    </a:lnTo>
                    <a:lnTo>
                      <a:pt x="7184" y="3471"/>
                    </a:lnTo>
                    <a:lnTo>
                      <a:pt x="7257" y="3269"/>
                    </a:lnTo>
                    <a:lnTo>
                      <a:pt x="7298" y="3201"/>
                    </a:lnTo>
                    <a:lnTo>
                      <a:pt x="7345" y="3168"/>
                    </a:lnTo>
                    <a:lnTo>
                      <a:pt x="7466" y="3168"/>
                    </a:lnTo>
                    <a:lnTo>
                      <a:pt x="7540" y="3235"/>
                    </a:lnTo>
                    <a:lnTo>
                      <a:pt x="7606" y="3370"/>
                    </a:lnTo>
                    <a:lnTo>
                      <a:pt x="7668" y="3505"/>
                    </a:lnTo>
                    <a:lnTo>
                      <a:pt x="7719" y="3639"/>
                    </a:lnTo>
                    <a:lnTo>
                      <a:pt x="7771" y="3808"/>
                    </a:lnTo>
                    <a:lnTo>
                      <a:pt x="7811" y="3976"/>
                    </a:lnTo>
                    <a:lnTo>
                      <a:pt x="7844" y="4111"/>
                    </a:lnTo>
                    <a:lnTo>
                      <a:pt x="7943" y="1045"/>
                    </a:lnTo>
                    <a:lnTo>
                      <a:pt x="7899" y="842"/>
                    </a:lnTo>
                    <a:lnTo>
                      <a:pt x="7840" y="674"/>
                    </a:lnTo>
                    <a:lnTo>
                      <a:pt x="7785" y="472"/>
                    </a:lnTo>
                    <a:lnTo>
                      <a:pt x="7719" y="303"/>
                    </a:lnTo>
                    <a:lnTo>
                      <a:pt x="7650" y="202"/>
                    </a:lnTo>
                    <a:lnTo>
                      <a:pt x="7569" y="101"/>
                    </a:lnTo>
                    <a:lnTo>
                      <a:pt x="7488" y="34"/>
                    </a:lnTo>
                    <a:lnTo>
                      <a:pt x="7400" y="0"/>
                    </a:lnTo>
                    <a:lnTo>
                      <a:pt x="7309" y="34"/>
                    </a:lnTo>
                    <a:lnTo>
                      <a:pt x="7224" y="135"/>
                    </a:lnTo>
                    <a:lnTo>
                      <a:pt x="7140" y="270"/>
                    </a:lnTo>
                    <a:lnTo>
                      <a:pt x="7067" y="472"/>
                    </a:lnTo>
                    <a:lnTo>
                      <a:pt x="6994" y="741"/>
                    </a:lnTo>
                    <a:lnTo>
                      <a:pt x="6928" y="1011"/>
                    </a:lnTo>
                    <a:lnTo>
                      <a:pt x="6865" y="1348"/>
                    </a:lnTo>
                    <a:lnTo>
                      <a:pt x="6814" y="1719"/>
                    </a:lnTo>
                    <a:lnTo>
                      <a:pt x="6763" y="2157"/>
                    </a:lnTo>
                    <a:lnTo>
                      <a:pt x="6719" y="2595"/>
                    </a:lnTo>
                    <a:lnTo>
                      <a:pt x="6682" y="3134"/>
                    </a:lnTo>
                    <a:lnTo>
                      <a:pt x="6653" y="3639"/>
                    </a:lnTo>
                    <a:lnTo>
                      <a:pt x="6627" y="4178"/>
                    </a:lnTo>
                    <a:lnTo>
                      <a:pt x="6609" y="4785"/>
                    </a:lnTo>
                    <a:lnTo>
                      <a:pt x="6598" y="5358"/>
                    </a:lnTo>
                    <a:lnTo>
                      <a:pt x="6594" y="6032"/>
                    </a:lnTo>
                    <a:lnTo>
                      <a:pt x="6598" y="6537"/>
                    </a:lnTo>
                    <a:lnTo>
                      <a:pt x="6605" y="7110"/>
                    </a:lnTo>
                    <a:lnTo>
                      <a:pt x="6620" y="7582"/>
                    </a:lnTo>
                    <a:lnTo>
                      <a:pt x="6638" y="8087"/>
                    </a:lnTo>
                    <a:lnTo>
                      <a:pt x="6664" y="8525"/>
                    </a:lnTo>
                    <a:lnTo>
                      <a:pt x="6689" y="8930"/>
                    </a:lnTo>
                    <a:lnTo>
                      <a:pt x="6722" y="9334"/>
                    </a:lnTo>
                    <a:lnTo>
                      <a:pt x="6759" y="9705"/>
                    </a:lnTo>
                    <a:lnTo>
                      <a:pt x="6807" y="10076"/>
                    </a:lnTo>
                    <a:lnTo>
                      <a:pt x="6851" y="10446"/>
                    </a:lnTo>
                    <a:lnTo>
                      <a:pt x="6898" y="10749"/>
                    </a:lnTo>
                    <a:lnTo>
                      <a:pt x="6957" y="11053"/>
                    </a:lnTo>
                    <a:lnTo>
                      <a:pt x="7012" y="11322"/>
                    </a:lnTo>
                    <a:lnTo>
                      <a:pt x="7078" y="11626"/>
                    </a:lnTo>
                    <a:lnTo>
                      <a:pt x="7140" y="11861"/>
                    </a:lnTo>
                    <a:lnTo>
                      <a:pt x="7210" y="12097"/>
                    </a:lnTo>
                    <a:lnTo>
                      <a:pt x="7309" y="12434"/>
                    </a:lnTo>
                    <a:lnTo>
                      <a:pt x="7393" y="12839"/>
                    </a:lnTo>
                    <a:lnTo>
                      <a:pt x="7430" y="13007"/>
                    </a:lnTo>
                    <a:lnTo>
                      <a:pt x="7463" y="13209"/>
                    </a:lnTo>
                    <a:lnTo>
                      <a:pt x="7492" y="13378"/>
                    </a:lnTo>
                    <a:lnTo>
                      <a:pt x="7518" y="13580"/>
                    </a:lnTo>
                    <a:lnTo>
                      <a:pt x="7540" y="13782"/>
                    </a:lnTo>
                    <a:lnTo>
                      <a:pt x="7558" y="14052"/>
                    </a:lnTo>
                    <a:lnTo>
                      <a:pt x="7576" y="14254"/>
                    </a:lnTo>
                    <a:lnTo>
                      <a:pt x="7598" y="14726"/>
                    </a:lnTo>
                    <a:lnTo>
                      <a:pt x="7606" y="14995"/>
                    </a:lnTo>
                    <a:lnTo>
                      <a:pt x="7613" y="15299"/>
                    </a:lnTo>
                    <a:lnTo>
                      <a:pt x="7613" y="15871"/>
                    </a:lnTo>
                    <a:lnTo>
                      <a:pt x="7602" y="16175"/>
                    </a:lnTo>
                    <a:lnTo>
                      <a:pt x="7595" y="16478"/>
                    </a:lnTo>
                    <a:lnTo>
                      <a:pt x="7584" y="16748"/>
                    </a:lnTo>
                    <a:lnTo>
                      <a:pt x="7569" y="16983"/>
                    </a:lnTo>
                    <a:lnTo>
                      <a:pt x="7551" y="17219"/>
                    </a:lnTo>
                    <a:lnTo>
                      <a:pt x="7529" y="17422"/>
                    </a:lnTo>
                    <a:lnTo>
                      <a:pt x="7507" y="17657"/>
                    </a:lnTo>
                    <a:lnTo>
                      <a:pt x="7477" y="17826"/>
                    </a:lnTo>
                    <a:lnTo>
                      <a:pt x="7411" y="18095"/>
                    </a:lnTo>
                    <a:lnTo>
                      <a:pt x="7338" y="18298"/>
                    </a:lnTo>
                    <a:lnTo>
                      <a:pt x="7290" y="18365"/>
                    </a:lnTo>
                    <a:lnTo>
                      <a:pt x="7246" y="18399"/>
                    </a:lnTo>
                    <a:lnTo>
                      <a:pt x="7122" y="18399"/>
                    </a:lnTo>
                    <a:lnTo>
                      <a:pt x="7041" y="18298"/>
                    </a:lnTo>
                    <a:lnTo>
                      <a:pt x="6968" y="18197"/>
                    </a:lnTo>
                    <a:lnTo>
                      <a:pt x="6895" y="18028"/>
                    </a:lnTo>
                    <a:lnTo>
                      <a:pt x="6763" y="17624"/>
                    </a:lnTo>
                    <a:lnTo>
                      <a:pt x="6704" y="17320"/>
                    </a:lnTo>
                    <a:lnTo>
                      <a:pt x="6653" y="17085"/>
                    </a:lnTo>
                    <a:lnTo>
                      <a:pt x="6557" y="20252"/>
                    </a:lnTo>
                    <a:close/>
                    <a:moveTo>
                      <a:pt x="4765" y="21263"/>
                    </a:moveTo>
                    <a:lnTo>
                      <a:pt x="4765" y="12502"/>
                    </a:lnTo>
                    <a:lnTo>
                      <a:pt x="4761" y="11289"/>
                    </a:lnTo>
                    <a:lnTo>
                      <a:pt x="4761" y="10143"/>
                    </a:lnTo>
                    <a:lnTo>
                      <a:pt x="4758" y="9065"/>
                    </a:lnTo>
                    <a:lnTo>
                      <a:pt x="4758" y="7986"/>
                    </a:lnTo>
                    <a:lnTo>
                      <a:pt x="4754" y="6908"/>
                    </a:lnTo>
                    <a:lnTo>
                      <a:pt x="4747" y="5897"/>
                    </a:lnTo>
                    <a:lnTo>
                      <a:pt x="4743" y="4852"/>
                    </a:lnTo>
                    <a:lnTo>
                      <a:pt x="4754" y="4852"/>
                    </a:lnTo>
                    <a:lnTo>
                      <a:pt x="4794" y="5729"/>
                    </a:lnTo>
                    <a:lnTo>
                      <a:pt x="4842" y="6672"/>
                    </a:lnTo>
                    <a:lnTo>
                      <a:pt x="4893" y="7548"/>
                    </a:lnTo>
                    <a:lnTo>
                      <a:pt x="4941" y="8458"/>
                    </a:lnTo>
                    <a:lnTo>
                      <a:pt x="4992" y="9402"/>
                    </a:lnTo>
                    <a:lnTo>
                      <a:pt x="5051" y="10311"/>
                    </a:lnTo>
                    <a:lnTo>
                      <a:pt x="5102" y="11188"/>
                    </a:lnTo>
                    <a:lnTo>
                      <a:pt x="5161" y="12064"/>
                    </a:lnTo>
                    <a:lnTo>
                      <a:pt x="5751" y="21263"/>
                    </a:lnTo>
                    <a:lnTo>
                      <a:pt x="6180" y="21263"/>
                    </a:lnTo>
                    <a:lnTo>
                      <a:pt x="6180" y="337"/>
                    </a:lnTo>
                    <a:lnTo>
                      <a:pt x="5799" y="337"/>
                    </a:lnTo>
                    <a:lnTo>
                      <a:pt x="5799" y="9941"/>
                    </a:lnTo>
                    <a:lnTo>
                      <a:pt x="5802" y="11053"/>
                    </a:lnTo>
                    <a:lnTo>
                      <a:pt x="5806" y="12131"/>
                    </a:lnTo>
                    <a:lnTo>
                      <a:pt x="5810" y="13176"/>
                    </a:lnTo>
                    <a:lnTo>
                      <a:pt x="5824" y="15265"/>
                    </a:lnTo>
                    <a:lnTo>
                      <a:pt x="5835" y="16310"/>
                    </a:lnTo>
                    <a:lnTo>
                      <a:pt x="5824" y="16343"/>
                    </a:lnTo>
                    <a:lnTo>
                      <a:pt x="5744" y="14591"/>
                    </a:lnTo>
                    <a:lnTo>
                      <a:pt x="5700" y="13715"/>
                    </a:lnTo>
                    <a:lnTo>
                      <a:pt x="5648" y="12839"/>
                    </a:lnTo>
                    <a:lnTo>
                      <a:pt x="5601" y="11963"/>
                    </a:lnTo>
                    <a:lnTo>
                      <a:pt x="5546" y="11053"/>
                    </a:lnTo>
                    <a:lnTo>
                      <a:pt x="5494" y="10177"/>
                    </a:lnTo>
                    <a:lnTo>
                      <a:pt x="5439" y="9334"/>
                    </a:lnTo>
                    <a:lnTo>
                      <a:pt x="4853" y="337"/>
                    </a:lnTo>
                    <a:lnTo>
                      <a:pt x="4380" y="337"/>
                    </a:lnTo>
                    <a:lnTo>
                      <a:pt x="4380" y="21263"/>
                    </a:lnTo>
                    <a:lnTo>
                      <a:pt x="4765" y="21263"/>
                    </a:lnTo>
                    <a:close/>
                    <a:moveTo>
                      <a:pt x="2947" y="18534"/>
                    </a:moveTo>
                    <a:lnTo>
                      <a:pt x="2914" y="18500"/>
                    </a:lnTo>
                    <a:lnTo>
                      <a:pt x="2877" y="18500"/>
                    </a:lnTo>
                    <a:lnTo>
                      <a:pt x="2844" y="18432"/>
                    </a:lnTo>
                    <a:lnTo>
                      <a:pt x="2808" y="18365"/>
                    </a:lnTo>
                    <a:lnTo>
                      <a:pt x="2775" y="18298"/>
                    </a:lnTo>
                    <a:lnTo>
                      <a:pt x="2745" y="18197"/>
                    </a:lnTo>
                    <a:lnTo>
                      <a:pt x="2687" y="17927"/>
                    </a:lnTo>
                    <a:lnTo>
                      <a:pt x="2654" y="17759"/>
                    </a:lnTo>
                    <a:lnTo>
                      <a:pt x="2628" y="17624"/>
                    </a:lnTo>
                    <a:lnTo>
                      <a:pt x="2602" y="17388"/>
                    </a:lnTo>
                    <a:lnTo>
                      <a:pt x="2577" y="17186"/>
                    </a:lnTo>
                    <a:lnTo>
                      <a:pt x="2529" y="16748"/>
                    </a:lnTo>
                    <a:lnTo>
                      <a:pt x="2489" y="16242"/>
                    </a:lnTo>
                    <a:lnTo>
                      <a:pt x="2448" y="15703"/>
                    </a:lnTo>
                    <a:lnTo>
                      <a:pt x="2419" y="15130"/>
                    </a:lnTo>
                    <a:lnTo>
                      <a:pt x="2386" y="14490"/>
                    </a:lnTo>
                    <a:lnTo>
                      <a:pt x="2364" y="13816"/>
                    </a:lnTo>
                    <a:lnTo>
                      <a:pt x="2346" y="13108"/>
                    </a:lnTo>
                    <a:lnTo>
                      <a:pt x="2335" y="12367"/>
                    </a:lnTo>
                    <a:lnTo>
                      <a:pt x="2324" y="11659"/>
                    </a:lnTo>
                    <a:lnTo>
                      <a:pt x="2324" y="10076"/>
                    </a:lnTo>
                    <a:lnTo>
                      <a:pt x="2331" y="9334"/>
                    </a:lnTo>
                    <a:lnTo>
                      <a:pt x="2346" y="8593"/>
                    </a:lnTo>
                    <a:lnTo>
                      <a:pt x="2364" y="7919"/>
                    </a:lnTo>
                    <a:lnTo>
                      <a:pt x="2386" y="7211"/>
                    </a:lnTo>
                    <a:lnTo>
                      <a:pt x="2415" y="6537"/>
                    </a:lnTo>
                    <a:lnTo>
                      <a:pt x="2481" y="5392"/>
                    </a:lnTo>
                    <a:lnTo>
                      <a:pt x="2525" y="4886"/>
                    </a:lnTo>
                    <a:lnTo>
                      <a:pt x="2573" y="4448"/>
                    </a:lnTo>
                    <a:lnTo>
                      <a:pt x="2599" y="4246"/>
                    </a:lnTo>
                    <a:lnTo>
                      <a:pt x="2624" y="4010"/>
                    </a:lnTo>
                    <a:lnTo>
                      <a:pt x="2650" y="3841"/>
                    </a:lnTo>
                    <a:lnTo>
                      <a:pt x="2683" y="3673"/>
                    </a:lnTo>
                    <a:lnTo>
                      <a:pt x="2712" y="3538"/>
                    </a:lnTo>
                    <a:lnTo>
                      <a:pt x="2742" y="3437"/>
                    </a:lnTo>
                    <a:lnTo>
                      <a:pt x="2808" y="3235"/>
                    </a:lnTo>
                    <a:lnTo>
                      <a:pt x="2881" y="3100"/>
                    </a:lnTo>
                    <a:lnTo>
                      <a:pt x="2914" y="3066"/>
                    </a:lnTo>
                    <a:lnTo>
                      <a:pt x="2995" y="3066"/>
                    </a:lnTo>
                    <a:lnTo>
                      <a:pt x="3031" y="3100"/>
                    </a:lnTo>
                    <a:lnTo>
                      <a:pt x="3064" y="3168"/>
                    </a:lnTo>
                    <a:lnTo>
                      <a:pt x="3101" y="3235"/>
                    </a:lnTo>
                    <a:lnTo>
                      <a:pt x="3167" y="3437"/>
                    </a:lnTo>
                    <a:lnTo>
                      <a:pt x="3196" y="3572"/>
                    </a:lnTo>
                    <a:lnTo>
                      <a:pt x="3229" y="3707"/>
                    </a:lnTo>
                    <a:lnTo>
                      <a:pt x="3259" y="3841"/>
                    </a:lnTo>
                    <a:lnTo>
                      <a:pt x="3335" y="4448"/>
                    </a:lnTo>
                    <a:lnTo>
                      <a:pt x="3383" y="4886"/>
                    </a:lnTo>
                    <a:lnTo>
                      <a:pt x="3423" y="5392"/>
                    </a:lnTo>
                    <a:lnTo>
                      <a:pt x="3460" y="5964"/>
                    </a:lnTo>
                    <a:lnTo>
                      <a:pt x="3489" y="6537"/>
                    </a:lnTo>
                    <a:lnTo>
                      <a:pt x="3522" y="7211"/>
                    </a:lnTo>
                    <a:lnTo>
                      <a:pt x="3544" y="7885"/>
                    </a:lnTo>
                    <a:lnTo>
                      <a:pt x="3559" y="8559"/>
                    </a:lnTo>
                    <a:lnTo>
                      <a:pt x="3570" y="9267"/>
                    </a:lnTo>
                    <a:lnTo>
                      <a:pt x="3577" y="9974"/>
                    </a:lnTo>
                    <a:lnTo>
                      <a:pt x="3581" y="10716"/>
                    </a:lnTo>
                    <a:lnTo>
                      <a:pt x="3577" y="11558"/>
                    </a:lnTo>
                    <a:lnTo>
                      <a:pt x="3570" y="12300"/>
                    </a:lnTo>
                    <a:lnTo>
                      <a:pt x="3559" y="13075"/>
                    </a:lnTo>
                    <a:lnTo>
                      <a:pt x="3541" y="13782"/>
                    </a:lnTo>
                    <a:lnTo>
                      <a:pt x="3519" y="14490"/>
                    </a:lnTo>
                    <a:lnTo>
                      <a:pt x="3486" y="15130"/>
                    </a:lnTo>
                    <a:lnTo>
                      <a:pt x="3456" y="15737"/>
                    </a:lnTo>
                    <a:lnTo>
                      <a:pt x="3420" y="16242"/>
                    </a:lnTo>
                    <a:lnTo>
                      <a:pt x="3376" y="16781"/>
                    </a:lnTo>
                    <a:lnTo>
                      <a:pt x="3328" y="17219"/>
                    </a:lnTo>
                    <a:lnTo>
                      <a:pt x="3277" y="17624"/>
                    </a:lnTo>
                    <a:lnTo>
                      <a:pt x="3251" y="17792"/>
                    </a:lnTo>
                    <a:lnTo>
                      <a:pt x="3218" y="17927"/>
                    </a:lnTo>
                    <a:lnTo>
                      <a:pt x="3160" y="18197"/>
                    </a:lnTo>
                    <a:lnTo>
                      <a:pt x="3130" y="18298"/>
                    </a:lnTo>
                    <a:lnTo>
                      <a:pt x="3097" y="18365"/>
                    </a:lnTo>
                    <a:lnTo>
                      <a:pt x="3061" y="18432"/>
                    </a:lnTo>
                    <a:lnTo>
                      <a:pt x="3028" y="18500"/>
                    </a:lnTo>
                    <a:lnTo>
                      <a:pt x="2991" y="18500"/>
                    </a:lnTo>
                    <a:lnTo>
                      <a:pt x="2951" y="18534"/>
                    </a:lnTo>
                    <a:lnTo>
                      <a:pt x="2947" y="18534"/>
                    </a:lnTo>
                    <a:close/>
                    <a:moveTo>
                      <a:pt x="2940" y="21600"/>
                    </a:moveTo>
                    <a:lnTo>
                      <a:pt x="2998" y="21600"/>
                    </a:lnTo>
                    <a:lnTo>
                      <a:pt x="3053" y="21566"/>
                    </a:lnTo>
                    <a:lnTo>
                      <a:pt x="3112" y="21499"/>
                    </a:lnTo>
                    <a:lnTo>
                      <a:pt x="3163" y="21432"/>
                    </a:lnTo>
                    <a:lnTo>
                      <a:pt x="3218" y="21330"/>
                    </a:lnTo>
                    <a:lnTo>
                      <a:pt x="3273" y="21196"/>
                    </a:lnTo>
                    <a:lnTo>
                      <a:pt x="3321" y="21027"/>
                    </a:lnTo>
                    <a:lnTo>
                      <a:pt x="3372" y="20859"/>
                    </a:lnTo>
                    <a:lnTo>
                      <a:pt x="3467" y="20454"/>
                    </a:lnTo>
                    <a:lnTo>
                      <a:pt x="3515" y="20218"/>
                    </a:lnTo>
                    <a:lnTo>
                      <a:pt x="3555" y="19983"/>
                    </a:lnTo>
                    <a:lnTo>
                      <a:pt x="3599" y="19679"/>
                    </a:lnTo>
                    <a:lnTo>
                      <a:pt x="3680" y="19073"/>
                    </a:lnTo>
                    <a:lnTo>
                      <a:pt x="3713" y="18736"/>
                    </a:lnTo>
                    <a:lnTo>
                      <a:pt x="3750" y="18365"/>
                    </a:lnTo>
                    <a:lnTo>
                      <a:pt x="3786" y="17961"/>
                    </a:lnTo>
                    <a:lnTo>
                      <a:pt x="3816" y="17590"/>
                    </a:lnTo>
                    <a:lnTo>
                      <a:pt x="3845" y="17152"/>
                    </a:lnTo>
                    <a:lnTo>
                      <a:pt x="3871" y="16714"/>
                    </a:lnTo>
                    <a:lnTo>
                      <a:pt x="3922" y="15770"/>
                    </a:lnTo>
                    <a:lnTo>
                      <a:pt x="3944" y="15265"/>
                    </a:lnTo>
                    <a:lnTo>
                      <a:pt x="3962" y="14726"/>
                    </a:lnTo>
                    <a:lnTo>
                      <a:pt x="3977" y="14220"/>
                    </a:lnTo>
                    <a:lnTo>
                      <a:pt x="3992" y="13647"/>
                    </a:lnTo>
                    <a:lnTo>
                      <a:pt x="4003" y="13075"/>
                    </a:lnTo>
                    <a:lnTo>
                      <a:pt x="4017" y="11861"/>
                    </a:lnTo>
                    <a:lnTo>
                      <a:pt x="4021" y="11221"/>
                    </a:lnTo>
                    <a:lnTo>
                      <a:pt x="4021" y="10008"/>
                    </a:lnTo>
                    <a:lnTo>
                      <a:pt x="4014" y="8930"/>
                    </a:lnTo>
                    <a:lnTo>
                      <a:pt x="4006" y="8424"/>
                    </a:lnTo>
                    <a:lnTo>
                      <a:pt x="3995" y="7919"/>
                    </a:lnTo>
                    <a:lnTo>
                      <a:pt x="3984" y="7380"/>
                    </a:lnTo>
                    <a:lnTo>
                      <a:pt x="3970" y="6908"/>
                    </a:lnTo>
                    <a:lnTo>
                      <a:pt x="3951" y="6402"/>
                    </a:lnTo>
                    <a:lnTo>
                      <a:pt x="3933" y="5931"/>
                    </a:lnTo>
                    <a:lnTo>
                      <a:pt x="3915" y="5493"/>
                    </a:lnTo>
                    <a:lnTo>
                      <a:pt x="3889" y="5021"/>
                    </a:lnTo>
                    <a:lnTo>
                      <a:pt x="3863" y="4617"/>
                    </a:lnTo>
                    <a:lnTo>
                      <a:pt x="3838" y="4178"/>
                    </a:lnTo>
                    <a:lnTo>
                      <a:pt x="3779" y="3437"/>
                    </a:lnTo>
                    <a:lnTo>
                      <a:pt x="3742" y="3066"/>
                    </a:lnTo>
                    <a:lnTo>
                      <a:pt x="3709" y="2696"/>
                    </a:lnTo>
                    <a:lnTo>
                      <a:pt x="3673" y="2393"/>
                    </a:lnTo>
                    <a:lnTo>
                      <a:pt x="3632" y="2089"/>
                    </a:lnTo>
                    <a:lnTo>
                      <a:pt x="3592" y="1752"/>
                    </a:lnTo>
                    <a:lnTo>
                      <a:pt x="3552" y="1483"/>
                    </a:lnTo>
                    <a:lnTo>
                      <a:pt x="3508" y="1247"/>
                    </a:lnTo>
                    <a:lnTo>
                      <a:pt x="3460" y="1011"/>
                    </a:lnTo>
                    <a:lnTo>
                      <a:pt x="3416" y="809"/>
                    </a:lnTo>
                    <a:lnTo>
                      <a:pt x="3361" y="640"/>
                    </a:lnTo>
                    <a:lnTo>
                      <a:pt x="3313" y="438"/>
                    </a:lnTo>
                    <a:lnTo>
                      <a:pt x="3262" y="303"/>
                    </a:lnTo>
                    <a:lnTo>
                      <a:pt x="3204" y="202"/>
                    </a:lnTo>
                    <a:lnTo>
                      <a:pt x="3149" y="101"/>
                    </a:lnTo>
                    <a:lnTo>
                      <a:pt x="3094" y="67"/>
                    </a:lnTo>
                    <a:lnTo>
                      <a:pt x="3031" y="0"/>
                    </a:lnTo>
                    <a:lnTo>
                      <a:pt x="2910" y="0"/>
                    </a:lnTo>
                    <a:lnTo>
                      <a:pt x="2852" y="67"/>
                    </a:lnTo>
                    <a:lnTo>
                      <a:pt x="2793" y="101"/>
                    </a:lnTo>
                    <a:lnTo>
                      <a:pt x="2738" y="202"/>
                    </a:lnTo>
                    <a:lnTo>
                      <a:pt x="2687" y="303"/>
                    </a:lnTo>
                    <a:lnTo>
                      <a:pt x="2632" y="438"/>
                    </a:lnTo>
                    <a:lnTo>
                      <a:pt x="2580" y="640"/>
                    </a:lnTo>
                    <a:lnTo>
                      <a:pt x="2529" y="809"/>
                    </a:lnTo>
                    <a:lnTo>
                      <a:pt x="2481" y="1011"/>
                    </a:lnTo>
                    <a:lnTo>
                      <a:pt x="2437" y="1247"/>
                    </a:lnTo>
                    <a:lnTo>
                      <a:pt x="2390" y="1483"/>
                    </a:lnTo>
                    <a:lnTo>
                      <a:pt x="2346" y="1752"/>
                    </a:lnTo>
                    <a:lnTo>
                      <a:pt x="2306" y="2089"/>
                    </a:lnTo>
                    <a:lnTo>
                      <a:pt x="2262" y="2393"/>
                    </a:lnTo>
                    <a:lnTo>
                      <a:pt x="2225" y="2696"/>
                    </a:lnTo>
                    <a:lnTo>
                      <a:pt x="2188" y="3100"/>
                    </a:lnTo>
                    <a:lnTo>
                      <a:pt x="2155" y="3437"/>
                    </a:lnTo>
                    <a:lnTo>
                      <a:pt x="2119" y="3841"/>
                    </a:lnTo>
                    <a:lnTo>
                      <a:pt x="2089" y="4246"/>
                    </a:lnTo>
                    <a:lnTo>
                      <a:pt x="2060" y="4684"/>
                    </a:lnTo>
                    <a:lnTo>
                      <a:pt x="2034" y="5088"/>
                    </a:lnTo>
                    <a:lnTo>
                      <a:pt x="2012" y="5594"/>
                    </a:lnTo>
                    <a:lnTo>
                      <a:pt x="1987" y="6032"/>
                    </a:lnTo>
                    <a:lnTo>
                      <a:pt x="1965" y="6537"/>
                    </a:lnTo>
                    <a:lnTo>
                      <a:pt x="1946" y="7043"/>
                    </a:lnTo>
                    <a:lnTo>
                      <a:pt x="1932" y="7548"/>
                    </a:lnTo>
                    <a:lnTo>
                      <a:pt x="1921" y="8121"/>
                    </a:lnTo>
                    <a:lnTo>
                      <a:pt x="1910" y="8627"/>
                    </a:lnTo>
                    <a:lnTo>
                      <a:pt x="1899" y="9199"/>
                    </a:lnTo>
                    <a:lnTo>
                      <a:pt x="1895" y="9772"/>
                    </a:lnTo>
                    <a:lnTo>
                      <a:pt x="1891" y="10379"/>
                    </a:lnTo>
                    <a:lnTo>
                      <a:pt x="1888" y="10952"/>
                    </a:lnTo>
                    <a:lnTo>
                      <a:pt x="1895" y="12097"/>
                    </a:lnTo>
                    <a:lnTo>
                      <a:pt x="1899" y="12603"/>
                    </a:lnTo>
                    <a:lnTo>
                      <a:pt x="1906" y="13176"/>
                    </a:lnTo>
                    <a:lnTo>
                      <a:pt x="1917" y="13681"/>
                    </a:lnTo>
                    <a:lnTo>
                      <a:pt x="1928" y="14220"/>
                    </a:lnTo>
                    <a:lnTo>
                      <a:pt x="1943" y="14692"/>
                    </a:lnTo>
                    <a:lnTo>
                      <a:pt x="1961" y="15231"/>
                    </a:lnTo>
                    <a:lnTo>
                      <a:pt x="1979" y="15669"/>
                    </a:lnTo>
                    <a:lnTo>
                      <a:pt x="2005" y="16141"/>
                    </a:lnTo>
                    <a:lnTo>
                      <a:pt x="2049" y="17017"/>
                    </a:lnTo>
                    <a:lnTo>
                      <a:pt x="2108" y="17826"/>
                    </a:lnTo>
                    <a:lnTo>
                      <a:pt x="2207" y="18938"/>
                    </a:lnTo>
                    <a:lnTo>
                      <a:pt x="2243" y="19241"/>
                    </a:lnTo>
                    <a:lnTo>
                      <a:pt x="2284" y="19544"/>
                    </a:lnTo>
                    <a:lnTo>
                      <a:pt x="2324" y="19814"/>
                    </a:lnTo>
                    <a:lnTo>
                      <a:pt x="2364" y="20117"/>
                    </a:lnTo>
                    <a:lnTo>
                      <a:pt x="2412" y="20353"/>
                    </a:lnTo>
                    <a:lnTo>
                      <a:pt x="2456" y="20589"/>
                    </a:lnTo>
                    <a:lnTo>
                      <a:pt x="2500" y="20791"/>
                    </a:lnTo>
                    <a:lnTo>
                      <a:pt x="2551" y="20960"/>
                    </a:lnTo>
                    <a:lnTo>
                      <a:pt x="2602" y="21162"/>
                    </a:lnTo>
                    <a:lnTo>
                      <a:pt x="2654" y="21297"/>
                    </a:lnTo>
                    <a:lnTo>
                      <a:pt x="2709" y="21398"/>
                    </a:lnTo>
                    <a:lnTo>
                      <a:pt x="2760" y="21499"/>
                    </a:lnTo>
                    <a:lnTo>
                      <a:pt x="2819" y="21566"/>
                    </a:lnTo>
                    <a:lnTo>
                      <a:pt x="2877" y="21600"/>
                    </a:lnTo>
                    <a:lnTo>
                      <a:pt x="2940" y="21600"/>
                    </a:lnTo>
                    <a:close/>
                    <a:moveTo>
                      <a:pt x="1679" y="17624"/>
                    </a:moveTo>
                    <a:lnTo>
                      <a:pt x="1638" y="17792"/>
                    </a:lnTo>
                    <a:lnTo>
                      <a:pt x="1591" y="17927"/>
                    </a:lnTo>
                    <a:lnTo>
                      <a:pt x="1532" y="18062"/>
                    </a:lnTo>
                    <a:lnTo>
                      <a:pt x="1477" y="18163"/>
                    </a:lnTo>
                    <a:lnTo>
                      <a:pt x="1415" y="18264"/>
                    </a:lnTo>
                    <a:lnTo>
                      <a:pt x="1356" y="18331"/>
                    </a:lnTo>
                    <a:lnTo>
                      <a:pt x="1290" y="18365"/>
                    </a:lnTo>
                    <a:lnTo>
                      <a:pt x="1184" y="18365"/>
                    </a:lnTo>
                    <a:lnTo>
                      <a:pt x="1136" y="18331"/>
                    </a:lnTo>
                    <a:lnTo>
                      <a:pt x="1092" y="18298"/>
                    </a:lnTo>
                    <a:lnTo>
                      <a:pt x="1052" y="18230"/>
                    </a:lnTo>
                    <a:lnTo>
                      <a:pt x="1008" y="18163"/>
                    </a:lnTo>
                    <a:lnTo>
                      <a:pt x="971" y="18095"/>
                    </a:lnTo>
                    <a:lnTo>
                      <a:pt x="931" y="17994"/>
                    </a:lnTo>
                    <a:lnTo>
                      <a:pt x="891" y="17860"/>
                    </a:lnTo>
                    <a:lnTo>
                      <a:pt x="825" y="17590"/>
                    </a:lnTo>
                    <a:lnTo>
                      <a:pt x="792" y="17388"/>
                    </a:lnTo>
                    <a:lnTo>
                      <a:pt x="759" y="17219"/>
                    </a:lnTo>
                    <a:lnTo>
                      <a:pt x="726" y="17017"/>
                    </a:lnTo>
                    <a:lnTo>
                      <a:pt x="700" y="16815"/>
                    </a:lnTo>
                    <a:lnTo>
                      <a:pt x="671" y="16579"/>
                    </a:lnTo>
                    <a:lnTo>
                      <a:pt x="649" y="16377"/>
                    </a:lnTo>
                    <a:lnTo>
                      <a:pt x="619" y="16074"/>
                    </a:lnTo>
                    <a:lnTo>
                      <a:pt x="597" y="15838"/>
                    </a:lnTo>
                    <a:lnTo>
                      <a:pt x="575" y="15568"/>
                    </a:lnTo>
                    <a:lnTo>
                      <a:pt x="557" y="15265"/>
                    </a:lnTo>
                    <a:lnTo>
                      <a:pt x="539" y="14928"/>
                    </a:lnTo>
                    <a:lnTo>
                      <a:pt x="520" y="14625"/>
                    </a:lnTo>
                    <a:lnTo>
                      <a:pt x="506" y="14321"/>
                    </a:lnTo>
                    <a:lnTo>
                      <a:pt x="491" y="13984"/>
                    </a:lnTo>
                    <a:lnTo>
                      <a:pt x="466" y="13243"/>
                    </a:lnTo>
                    <a:lnTo>
                      <a:pt x="451" y="12502"/>
                    </a:lnTo>
                    <a:lnTo>
                      <a:pt x="440" y="11693"/>
                    </a:lnTo>
                    <a:lnTo>
                      <a:pt x="436" y="10851"/>
                    </a:lnTo>
                    <a:lnTo>
                      <a:pt x="436" y="10412"/>
                    </a:lnTo>
                    <a:lnTo>
                      <a:pt x="440" y="9941"/>
                    </a:lnTo>
                    <a:lnTo>
                      <a:pt x="447" y="9503"/>
                    </a:lnTo>
                    <a:lnTo>
                      <a:pt x="451" y="9098"/>
                    </a:lnTo>
                    <a:lnTo>
                      <a:pt x="458" y="8660"/>
                    </a:lnTo>
                    <a:lnTo>
                      <a:pt x="480" y="7919"/>
                    </a:lnTo>
                    <a:lnTo>
                      <a:pt x="498" y="7515"/>
                    </a:lnTo>
                    <a:lnTo>
                      <a:pt x="513" y="7178"/>
                    </a:lnTo>
                    <a:lnTo>
                      <a:pt x="531" y="6841"/>
                    </a:lnTo>
                    <a:lnTo>
                      <a:pt x="546" y="6504"/>
                    </a:lnTo>
                    <a:lnTo>
                      <a:pt x="568" y="6200"/>
                    </a:lnTo>
                    <a:lnTo>
                      <a:pt x="586" y="5931"/>
                    </a:lnTo>
                    <a:lnTo>
                      <a:pt x="612" y="5661"/>
                    </a:lnTo>
                    <a:lnTo>
                      <a:pt x="638" y="5358"/>
                    </a:lnTo>
                    <a:lnTo>
                      <a:pt x="689" y="4886"/>
                    </a:lnTo>
                    <a:lnTo>
                      <a:pt x="748" y="4482"/>
                    </a:lnTo>
                    <a:lnTo>
                      <a:pt x="781" y="4280"/>
                    </a:lnTo>
                    <a:lnTo>
                      <a:pt x="810" y="4077"/>
                    </a:lnTo>
                    <a:lnTo>
                      <a:pt x="843" y="3943"/>
                    </a:lnTo>
                    <a:lnTo>
                      <a:pt x="876" y="3774"/>
                    </a:lnTo>
                    <a:lnTo>
                      <a:pt x="916" y="3673"/>
                    </a:lnTo>
                    <a:lnTo>
                      <a:pt x="990" y="3437"/>
                    </a:lnTo>
                    <a:lnTo>
                      <a:pt x="1067" y="3302"/>
                    </a:lnTo>
                    <a:lnTo>
                      <a:pt x="1147" y="3201"/>
                    </a:lnTo>
                    <a:lnTo>
                      <a:pt x="1235" y="3168"/>
                    </a:lnTo>
                    <a:lnTo>
                      <a:pt x="1367" y="3235"/>
                    </a:lnTo>
                    <a:lnTo>
                      <a:pt x="1426" y="3302"/>
                    </a:lnTo>
                    <a:lnTo>
                      <a:pt x="1484" y="3403"/>
                    </a:lnTo>
                    <a:lnTo>
                      <a:pt x="1539" y="3538"/>
                    </a:lnTo>
                    <a:lnTo>
                      <a:pt x="1591" y="3673"/>
                    </a:lnTo>
                    <a:lnTo>
                      <a:pt x="1635" y="3808"/>
                    </a:lnTo>
                    <a:lnTo>
                      <a:pt x="1675" y="3976"/>
                    </a:lnTo>
                    <a:lnTo>
                      <a:pt x="1767" y="944"/>
                    </a:lnTo>
                    <a:lnTo>
                      <a:pt x="1734" y="809"/>
                    </a:lnTo>
                    <a:lnTo>
                      <a:pt x="1682" y="640"/>
                    </a:lnTo>
                    <a:lnTo>
                      <a:pt x="1627" y="438"/>
                    </a:lnTo>
                    <a:lnTo>
                      <a:pt x="1561" y="303"/>
                    </a:lnTo>
                    <a:lnTo>
                      <a:pt x="1488" y="202"/>
                    </a:lnTo>
                    <a:lnTo>
                      <a:pt x="1404" y="101"/>
                    </a:lnTo>
                    <a:lnTo>
                      <a:pt x="1316" y="34"/>
                    </a:lnTo>
                    <a:lnTo>
                      <a:pt x="1217" y="0"/>
                    </a:lnTo>
                    <a:lnTo>
                      <a:pt x="1151" y="34"/>
                    </a:lnTo>
                    <a:lnTo>
                      <a:pt x="1089" y="67"/>
                    </a:lnTo>
                    <a:lnTo>
                      <a:pt x="964" y="202"/>
                    </a:lnTo>
                    <a:lnTo>
                      <a:pt x="905" y="303"/>
                    </a:lnTo>
                    <a:lnTo>
                      <a:pt x="847" y="438"/>
                    </a:lnTo>
                    <a:lnTo>
                      <a:pt x="792" y="573"/>
                    </a:lnTo>
                    <a:lnTo>
                      <a:pt x="733" y="775"/>
                    </a:lnTo>
                    <a:lnTo>
                      <a:pt x="678" y="977"/>
                    </a:lnTo>
                    <a:lnTo>
                      <a:pt x="630" y="1179"/>
                    </a:lnTo>
                    <a:lnTo>
                      <a:pt x="575" y="1415"/>
                    </a:lnTo>
                    <a:lnTo>
                      <a:pt x="528" y="1685"/>
                    </a:lnTo>
                    <a:lnTo>
                      <a:pt x="476" y="1988"/>
                    </a:lnTo>
                    <a:lnTo>
                      <a:pt x="433" y="2291"/>
                    </a:lnTo>
                    <a:lnTo>
                      <a:pt x="392" y="2595"/>
                    </a:lnTo>
                    <a:lnTo>
                      <a:pt x="345" y="2932"/>
                    </a:lnTo>
                    <a:lnTo>
                      <a:pt x="308" y="3336"/>
                    </a:lnTo>
                    <a:lnTo>
                      <a:pt x="271" y="3707"/>
                    </a:lnTo>
                    <a:lnTo>
                      <a:pt x="238" y="4111"/>
                    </a:lnTo>
                    <a:lnTo>
                      <a:pt x="202" y="4549"/>
                    </a:lnTo>
                    <a:lnTo>
                      <a:pt x="172" y="4987"/>
                    </a:lnTo>
                    <a:lnTo>
                      <a:pt x="143" y="5459"/>
                    </a:lnTo>
                    <a:lnTo>
                      <a:pt x="117" y="5931"/>
                    </a:lnTo>
                    <a:lnTo>
                      <a:pt x="95" y="6402"/>
                    </a:lnTo>
                    <a:lnTo>
                      <a:pt x="70" y="6942"/>
                    </a:lnTo>
                    <a:lnTo>
                      <a:pt x="51" y="7481"/>
                    </a:lnTo>
                    <a:lnTo>
                      <a:pt x="37" y="8054"/>
                    </a:lnTo>
                    <a:lnTo>
                      <a:pt x="22" y="8593"/>
                    </a:lnTo>
                    <a:lnTo>
                      <a:pt x="15" y="9199"/>
                    </a:lnTo>
                    <a:lnTo>
                      <a:pt x="7" y="9772"/>
                    </a:lnTo>
                    <a:lnTo>
                      <a:pt x="0" y="11053"/>
                    </a:lnTo>
                    <a:lnTo>
                      <a:pt x="4" y="11659"/>
                    </a:lnTo>
                    <a:lnTo>
                      <a:pt x="7" y="12198"/>
                    </a:lnTo>
                    <a:lnTo>
                      <a:pt x="11" y="12805"/>
                    </a:lnTo>
                    <a:lnTo>
                      <a:pt x="22" y="13310"/>
                    </a:lnTo>
                    <a:lnTo>
                      <a:pt x="33" y="13883"/>
                    </a:lnTo>
                    <a:lnTo>
                      <a:pt x="44" y="14389"/>
                    </a:lnTo>
                    <a:lnTo>
                      <a:pt x="59" y="14861"/>
                    </a:lnTo>
                    <a:lnTo>
                      <a:pt x="81" y="15400"/>
                    </a:lnTo>
                    <a:lnTo>
                      <a:pt x="103" y="15838"/>
                    </a:lnTo>
                    <a:lnTo>
                      <a:pt x="125" y="16310"/>
                    </a:lnTo>
                    <a:lnTo>
                      <a:pt x="150" y="16748"/>
                    </a:lnTo>
                    <a:lnTo>
                      <a:pt x="176" y="17152"/>
                    </a:lnTo>
                    <a:lnTo>
                      <a:pt x="205" y="17590"/>
                    </a:lnTo>
                    <a:lnTo>
                      <a:pt x="242" y="17994"/>
                    </a:lnTo>
                    <a:lnTo>
                      <a:pt x="275" y="18331"/>
                    </a:lnTo>
                    <a:lnTo>
                      <a:pt x="308" y="18702"/>
                    </a:lnTo>
                    <a:lnTo>
                      <a:pt x="348" y="19039"/>
                    </a:lnTo>
                    <a:lnTo>
                      <a:pt x="389" y="19342"/>
                    </a:lnTo>
                    <a:lnTo>
                      <a:pt x="476" y="19949"/>
                    </a:lnTo>
                    <a:lnTo>
                      <a:pt x="572" y="20421"/>
                    </a:lnTo>
                    <a:lnTo>
                      <a:pt x="619" y="20623"/>
                    </a:lnTo>
                    <a:lnTo>
                      <a:pt x="674" y="20825"/>
                    </a:lnTo>
                    <a:lnTo>
                      <a:pt x="729" y="20993"/>
                    </a:lnTo>
                    <a:lnTo>
                      <a:pt x="788" y="21162"/>
                    </a:lnTo>
                    <a:lnTo>
                      <a:pt x="843" y="21297"/>
                    </a:lnTo>
                    <a:lnTo>
                      <a:pt x="905" y="21398"/>
                    </a:lnTo>
                    <a:lnTo>
                      <a:pt x="964" y="21465"/>
                    </a:lnTo>
                    <a:lnTo>
                      <a:pt x="1026" y="21533"/>
                    </a:lnTo>
                    <a:lnTo>
                      <a:pt x="1158" y="21600"/>
                    </a:lnTo>
                    <a:lnTo>
                      <a:pt x="1261" y="21566"/>
                    </a:lnTo>
                    <a:lnTo>
                      <a:pt x="1356" y="21499"/>
                    </a:lnTo>
                    <a:lnTo>
                      <a:pt x="1440" y="21398"/>
                    </a:lnTo>
                    <a:lnTo>
                      <a:pt x="1521" y="21297"/>
                    </a:lnTo>
                    <a:lnTo>
                      <a:pt x="1594" y="21162"/>
                    </a:lnTo>
                    <a:lnTo>
                      <a:pt x="1653" y="20960"/>
                    </a:lnTo>
                    <a:lnTo>
                      <a:pt x="1704" y="20791"/>
                    </a:lnTo>
                    <a:lnTo>
                      <a:pt x="1752" y="20623"/>
                    </a:lnTo>
                    <a:lnTo>
                      <a:pt x="1679" y="17624"/>
                    </a:lnTo>
                    <a:close/>
                  </a:path>
                </a:pathLst>
              </a:custGeom>
              <a:solidFill>
                <a:srgbClr val="4473B1"/>
              </a:solidFill>
              <a:ln w="3175" cap="flat">
                <a:noFill/>
                <a:miter lim="400000"/>
              </a:ln>
              <a:effectLst/>
            </p:spPr>
            <p:txBody>
              <a:bodyPr wrap="square" lIns="60959" tIns="60959" rIns="60959" bIns="60959" numCol="1" anchor="t">
                <a:noAutofit/>
              </a:bodyPr>
              <a:lstStyle/>
              <a:p>
                <a:pPr defTabSz="685347">
                  <a:defRPr sz="2400">
                    <a:latin typeface="Myriad Pro"/>
                    <a:ea typeface="Myriad Pro"/>
                    <a:cs typeface="Myriad Pro"/>
                    <a:sym typeface="Myriad Pro"/>
                  </a:defRPr>
                </a:pPr>
                <a:endParaRPr kern="0" dirty="0">
                  <a:solidFill>
                    <a:sysClr val="windowText" lastClr="000000"/>
                  </a:solidFill>
                  <a:latin typeface="Myriad Pro"/>
                  <a:ea typeface="Myriad Pro"/>
                  <a:cs typeface="Myriad Pro"/>
                  <a:sym typeface="Myriad Pro"/>
                </a:endParaRPr>
              </a:p>
            </p:txBody>
          </p:sp>
          <p:sp>
            <p:nvSpPr>
              <p:cNvPr id="13" name="Shape 8"/>
              <p:cNvSpPr/>
              <p:nvPr/>
            </p:nvSpPr>
            <p:spPr>
              <a:xfrm>
                <a:off x="8457887" y="3734150"/>
                <a:ext cx="366639" cy="9042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5185" y="6226"/>
                    </a:moveTo>
                    <a:lnTo>
                      <a:pt x="5185" y="0"/>
                    </a:lnTo>
                    <a:lnTo>
                      <a:pt x="0" y="0"/>
                    </a:lnTo>
                    <a:lnTo>
                      <a:pt x="0" y="6226"/>
                    </a:lnTo>
                    <a:lnTo>
                      <a:pt x="1526" y="6226"/>
                    </a:lnTo>
                    <a:lnTo>
                      <a:pt x="1526" y="21600"/>
                    </a:lnTo>
                    <a:lnTo>
                      <a:pt x="3668" y="21600"/>
                    </a:lnTo>
                    <a:lnTo>
                      <a:pt x="3668" y="6226"/>
                    </a:lnTo>
                    <a:lnTo>
                      <a:pt x="5185" y="6226"/>
                    </a:lnTo>
                    <a:close/>
                    <a:moveTo>
                      <a:pt x="7865" y="8696"/>
                    </a:moveTo>
                    <a:lnTo>
                      <a:pt x="6772" y="21600"/>
                    </a:lnTo>
                    <a:lnTo>
                      <a:pt x="4674" y="21600"/>
                    </a:lnTo>
                    <a:lnTo>
                      <a:pt x="6729" y="0"/>
                    </a:lnTo>
                    <a:lnTo>
                      <a:pt x="9001" y="0"/>
                    </a:lnTo>
                    <a:lnTo>
                      <a:pt x="11056" y="21600"/>
                    </a:lnTo>
                    <a:lnTo>
                      <a:pt x="8957" y="21600"/>
                    </a:lnTo>
                    <a:lnTo>
                      <a:pt x="7865" y="8696"/>
                    </a:lnTo>
                    <a:close/>
                    <a:moveTo>
                      <a:pt x="15730" y="6226"/>
                    </a:moveTo>
                    <a:lnTo>
                      <a:pt x="15730" y="0"/>
                    </a:lnTo>
                    <a:lnTo>
                      <a:pt x="10544" y="0"/>
                    </a:lnTo>
                    <a:lnTo>
                      <a:pt x="10544" y="6226"/>
                    </a:lnTo>
                    <a:lnTo>
                      <a:pt x="12062" y="6226"/>
                    </a:lnTo>
                    <a:lnTo>
                      <a:pt x="12062" y="21600"/>
                    </a:lnTo>
                    <a:lnTo>
                      <a:pt x="14212" y="21600"/>
                    </a:lnTo>
                    <a:lnTo>
                      <a:pt x="14212" y="6226"/>
                    </a:lnTo>
                    <a:lnTo>
                      <a:pt x="15730" y="6226"/>
                    </a:lnTo>
                    <a:close/>
                    <a:moveTo>
                      <a:pt x="18409" y="8696"/>
                    </a:moveTo>
                    <a:lnTo>
                      <a:pt x="17308" y="21600"/>
                    </a:lnTo>
                    <a:lnTo>
                      <a:pt x="15209" y="21600"/>
                    </a:lnTo>
                    <a:lnTo>
                      <a:pt x="17264" y="0"/>
                    </a:lnTo>
                    <a:lnTo>
                      <a:pt x="19536" y="0"/>
                    </a:lnTo>
                    <a:lnTo>
                      <a:pt x="21600" y="21600"/>
                    </a:lnTo>
                    <a:lnTo>
                      <a:pt x="19493" y="21600"/>
                    </a:lnTo>
                    <a:lnTo>
                      <a:pt x="18409" y="8696"/>
                    </a:lnTo>
                    <a:close/>
                  </a:path>
                </a:pathLst>
              </a:custGeom>
              <a:solidFill>
                <a:srgbClr val="4473B1"/>
              </a:solidFill>
              <a:ln w="3175" cap="flat">
                <a:noFill/>
                <a:miter lim="400000"/>
              </a:ln>
              <a:effectLst/>
            </p:spPr>
            <p:txBody>
              <a:bodyPr wrap="square" lIns="60959" tIns="60959" rIns="60959" bIns="60959" numCol="1" anchor="t">
                <a:noAutofit/>
              </a:bodyPr>
              <a:lstStyle/>
              <a:p>
                <a:pPr defTabSz="685347">
                  <a:defRPr sz="2400">
                    <a:latin typeface="Myriad Pro"/>
                    <a:ea typeface="Myriad Pro"/>
                    <a:cs typeface="Myriad Pro"/>
                    <a:sym typeface="Myriad Pro"/>
                  </a:defRPr>
                </a:pPr>
                <a:endParaRPr kern="0" dirty="0">
                  <a:solidFill>
                    <a:sysClr val="windowText" lastClr="000000"/>
                  </a:solidFill>
                  <a:latin typeface="Myriad Pro"/>
                  <a:ea typeface="Myriad Pro"/>
                  <a:cs typeface="Myriad Pro"/>
                  <a:sym typeface="Myriad Pro"/>
                </a:endParaRPr>
              </a:p>
            </p:txBody>
          </p:sp>
        </p:grpSp>
        <p:grpSp>
          <p:nvGrpSpPr>
            <p:cNvPr id="16" name="Group 15"/>
            <p:cNvGrpSpPr/>
            <p:nvPr userDrawn="1"/>
          </p:nvGrpSpPr>
          <p:grpSpPr>
            <a:xfrm flipV="1">
              <a:off x="11327674" y="6667939"/>
              <a:ext cx="791610" cy="133198"/>
              <a:chOff x="628314" y="1076374"/>
              <a:chExt cx="3621665" cy="142826"/>
            </a:xfrm>
          </p:grpSpPr>
          <p:sp>
            <p:nvSpPr>
              <p:cNvPr id="18" name="Rounded Rectangle 17"/>
              <p:cNvSpPr/>
              <p:nvPr/>
            </p:nvSpPr>
            <p:spPr>
              <a:xfrm>
                <a:off x="2496513" y="1076374"/>
                <a:ext cx="508000" cy="142826"/>
              </a:xfrm>
              <a:prstGeom prst="roundRect">
                <a:avLst/>
              </a:prstGeom>
              <a:solidFill>
                <a:srgbClr val="019DB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9" name="Rounded Rectangle 18"/>
              <p:cNvSpPr/>
              <p:nvPr/>
            </p:nvSpPr>
            <p:spPr>
              <a:xfrm>
                <a:off x="628314" y="1076374"/>
                <a:ext cx="508000" cy="142826"/>
              </a:xfrm>
              <a:prstGeom prst="roundRect">
                <a:avLst/>
              </a:prstGeom>
              <a:solidFill>
                <a:srgbClr val="FD4D1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0" name="Rounded Rectangle 19"/>
              <p:cNvSpPr/>
              <p:nvPr/>
            </p:nvSpPr>
            <p:spPr>
              <a:xfrm>
                <a:off x="1251047" y="1076374"/>
                <a:ext cx="508000" cy="142826"/>
              </a:xfrm>
              <a:prstGeom prst="roundRect">
                <a:avLst/>
              </a:prstGeom>
              <a:solidFill>
                <a:srgbClr val="FFA01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1" name="Rounded Rectangle 20"/>
              <p:cNvSpPr/>
              <p:nvPr/>
            </p:nvSpPr>
            <p:spPr>
              <a:xfrm>
                <a:off x="1873780" y="1076374"/>
                <a:ext cx="508000" cy="142826"/>
              </a:xfrm>
              <a:prstGeom prst="roundRect">
                <a:avLst/>
              </a:prstGeom>
              <a:solidFill>
                <a:srgbClr val="6BD4D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2" name="Rounded Rectangle 21"/>
              <p:cNvSpPr/>
              <p:nvPr/>
            </p:nvSpPr>
            <p:spPr>
              <a:xfrm>
                <a:off x="3119246" y="1076374"/>
                <a:ext cx="508000" cy="142826"/>
              </a:xfrm>
              <a:prstGeom prst="roundRect">
                <a:avLst/>
              </a:prstGeom>
              <a:solidFill>
                <a:srgbClr val="005C7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3" name="Rounded Rectangle 22"/>
              <p:cNvSpPr/>
              <p:nvPr/>
            </p:nvSpPr>
            <p:spPr>
              <a:xfrm>
                <a:off x="3741979" y="1076374"/>
                <a:ext cx="508000" cy="142826"/>
              </a:xfrm>
              <a:prstGeom prst="roundRect">
                <a:avLst/>
              </a:prstGeom>
              <a:solidFill>
                <a:srgbClr val="443B3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46446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</p:sldLayoutIdLst>
  <p:hf sldNum="0" hdr="0" ftr="0" dt="0"/>
  <p:txStyles>
    <p:titleStyle>
      <a:lvl1pPr algn="l" defTabSz="91392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480" indent="-228480" algn="l" defTabSz="91392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440" indent="-228480" algn="l" defTabSz="91392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400" indent="-228480" algn="l" defTabSz="91392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360" indent="-228480" algn="l" defTabSz="91392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320" indent="-228480" algn="l" defTabSz="91392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280" indent="-228480" algn="l" defTabSz="91392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240" indent="-228480" algn="l" defTabSz="91392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200" indent="-228480" algn="l" defTabSz="91392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160" indent="-228480" algn="l" defTabSz="91392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2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60" algn="l" defTabSz="91392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20" algn="l" defTabSz="91392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80" algn="l" defTabSz="91392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840" algn="l" defTabSz="91392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800" algn="l" defTabSz="91392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760" algn="l" defTabSz="91392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720" algn="l" defTabSz="91392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680" algn="l" defTabSz="91392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26" cstate="print"/>
          <a:srcRect l="19375" t="20410" r="5469" b="9375"/>
          <a:stretch>
            <a:fillRect/>
          </a:stretch>
        </p:blipFill>
        <p:spPr bwMode="auto">
          <a:xfrm>
            <a:off x="-28575" y="10"/>
            <a:ext cx="9163050" cy="51363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80160" y="50301"/>
            <a:ext cx="7467600" cy="422672"/>
          </a:xfrm>
          <a:prstGeom prst="rect">
            <a:avLst/>
          </a:prstGeom>
        </p:spPr>
        <p:txBody>
          <a:bodyPr vert="horz" lIns="121901" tIns="60949" rIns="121901" bIns="60949" rtlCol="0" anchor="ctr">
            <a:normAutofit/>
          </a:bodyPr>
          <a:lstStyle/>
          <a:p>
            <a:pPr lvl="0" algn="l" defTabSz="1219004" rtl="0" eaLnBrk="1" fontAlgn="base" latinLnBrk="0" hangingPunct="1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5760" y="678952"/>
            <a:ext cx="8229600" cy="3394472"/>
          </a:xfrm>
          <a:prstGeom prst="rect">
            <a:avLst/>
          </a:prstGeom>
        </p:spPr>
        <p:txBody>
          <a:bodyPr vert="horz" lIns="121901" tIns="60949" rIns="121901" bIns="60949" rtlCol="0">
            <a:normAutofit/>
          </a:bodyPr>
          <a:lstStyle/>
          <a:p>
            <a:pPr marL="457126" marR="0" lvl="0" indent="-457126" algn="l" defTabSz="1219004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4E84C4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en-US" dirty="0" smtClean="0"/>
              <a:t>Click to edit Master text styles</a:t>
            </a:r>
          </a:p>
          <a:p>
            <a:pPr marL="988325" lvl="1" indent="-380938" algn="l" defTabSz="1219004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6CCFF6"/>
              </a:buClr>
              <a:buFont typeface="Wingdings" pitchFamily="2" charset="2"/>
              <a:buChar char="§"/>
            </a:pPr>
            <a:r>
              <a:rPr lang="en-US" dirty="0" smtClean="0"/>
              <a:t>Second lev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73"/>
            <a:ext cx="2133600" cy="273844"/>
          </a:xfrm>
          <a:prstGeom prst="rect">
            <a:avLst/>
          </a:prstGeom>
        </p:spPr>
        <p:txBody>
          <a:bodyPr vert="horz" lIns="121901" tIns="60949" rIns="121901" bIns="60949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pPr defTabSz="1219004"/>
            <a:fld id="{92FB1339-D7F6-4131-9674-1CEA3F017B2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1219004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9960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14" r:id="rId8"/>
    <p:sldLayoutId id="2147483715" r:id="rId9"/>
    <p:sldLayoutId id="2147483716" r:id="rId10"/>
    <p:sldLayoutId id="2147483717" r:id="rId11"/>
    <p:sldLayoutId id="2147483718" r:id="rId12"/>
    <p:sldLayoutId id="2147483719" r:id="rId13"/>
    <p:sldLayoutId id="2147483720" r:id="rId14"/>
    <p:sldLayoutId id="2147483721" r:id="rId15"/>
    <p:sldLayoutId id="2147483722" r:id="rId16"/>
    <p:sldLayoutId id="2147483723" r:id="rId17"/>
    <p:sldLayoutId id="2147483724" r:id="rId18"/>
    <p:sldLayoutId id="2147483725" r:id="rId19"/>
    <p:sldLayoutId id="2147483726" r:id="rId20"/>
    <p:sldLayoutId id="2147483727" r:id="rId21"/>
    <p:sldLayoutId id="2147483728" r:id="rId22"/>
    <p:sldLayoutId id="2147483729" r:id="rId23"/>
    <p:sldLayoutId id="2147483730" r:id="rId24"/>
  </p:sldLayoutIdLst>
  <p:timing>
    <p:tnLst>
      <p:par>
        <p:cTn id="1" dur="indefinite" restart="never" nodeType="tmRoot"/>
      </p:par>
    </p:tnLst>
  </p:timing>
  <p:txStyles>
    <p:titleStyle>
      <a:lvl1pPr eaLnBrk="1" hangingPunct="1">
        <a:defRPr lang="en-US" sz="2700" b="0" kern="1200" dirty="0" smtClean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457126" indent="-457126" algn="l" defTabSz="1219004" rtl="0" eaLnBrk="1" fontAlgn="base" latinLnBrk="0" hangingPunct="1">
        <a:spcBef>
          <a:spcPct val="20000"/>
        </a:spcBef>
        <a:spcAft>
          <a:spcPct val="0"/>
        </a:spcAft>
        <a:buFont typeface="Wingdings" pitchFamily="2" charset="2"/>
        <a:buChar char="§"/>
        <a:tabLst/>
        <a:defRPr lang="en-US" sz="2100" b="0" kern="1200" noProof="0" dirty="0" smtClean="0">
          <a:solidFill>
            <a:srgbClr val="4E84C4"/>
          </a:solidFill>
          <a:latin typeface="+mj-lt"/>
          <a:ea typeface="+mn-ea"/>
          <a:cs typeface="+mn-cs"/>
        </a:defRPr>
      </a:lvl1pPr>
      <a:lvl2pPr algn="l" defTabSz="1219004" rtl="0" eaLnBrk="1" fontAlgn="base" latinLnBrk="0" hangingPunct="1">
        <a:spcBef>
          <a:spcPct val="20000"/>
        </a:spcBef>
        <a:spcAft>
          <a:spcPct val="0"/>
        </a:spcAft>
        <a:buFont typeface="Wingdings" pitchFamily="2" charset="2"/>
        <a:buChar char="§"/>
        <a:defRPr lang="en-US" sz="2100" kern="1200" dirty="0" smtClean="0">
          <a:solidFill>
            <a:srgbClr val="4E84C4"/>
          </a:solidFill>
          <a:latin typeface="+mj-lt"/>
          <a:ea typeface="+mn-ea"/>
          <a:cs typeface="+mn-cs"/>
        </a:defRPr>
      </a:lvl2pPr>
      <a:lvl3pPr algn="l" defTabSz="1219004" rtl="0" eaLnBrk="1" fontAlgn="base" latinLnBrk="0" hangingPunct="1">
        <a:spcBef>
          <a:spcPct val="20000"/>
        </a:spcBef>
        <a:spcAft>
          <a:spcPct val="0"/>
        </a:spcAft>
        <a:buFont typeface="Wingdings" pitchFamily="2" charset="2"/>
        <a:buNone/>
        <a:defRPr lang="en-US" sz="2900" kern="1200" dirty="0" smtClean="0">
          <a:solidFill>
            <a:srgbClr val="4E84C4"/>
          </a:solidFill>
          <a:latin typeface="Myriad Pro" pitchFamily="34" charset="0"/>
          <a:ea typeface="+mn-ea"/>
          <a:cs typeface="+mn-cs"/>
        </a:defRPr>
      </a:lvl3pPr>
    </p:bodyStyle>
    <p:otherStyle/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1" y="273847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1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309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734BF558-2C5A-4AD9-A5F7-EC33C3DA9200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00"/>
              <a:t>5/10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1" y="4767309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309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11A4FA0C-746F-4F62-85E6-E4F9991900E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670511"/>
            <a:ext cx="9144000" cy="1473035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13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" y="-11106"/>
            <a:ext cx="9144000" cy="1473035"/>
          </a:xfrm>
          <a:prstGeom prst="rect">
            <a:avLst/>
          </a:prstGeom>
        </p:spPr>
      </p:pic>
      <p:cxnSp>
        <p:nvCxnSpPr>
          <p:cNvPr id="17" name="Straight Connector 16"/>
          <p:cNvCxnSpPr/>
          <p:nvPr/>
        </p:nvCxnSpPr>
        <p:spPr>
          <a:xfrm>
            <a:off x="407016" y="591207"/>
            <a:ext cx="828373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/>
          <p:nvPr/>
        </p:nvGrpSpPr>
        <p:grpSpPr>
          <a:xfrm>
            <a:off x="7025239" y="5000954"/>
            <a:ext cx="2064251" cy="99899"/>
            <a:chOff x="9366950" y="6667939"/>
            <a:chExt cx="2752334" cy="133198"/>
          </a:xfrm>
        </p:grpSpPr>
        <p:grpSp>
          <p:nvGrpSpPr>
            <p:cNvPr id="7" name="Group 6"/>
            <p:cNvGrpSpPr/>
            <p:nvPr userDrawn="1"/>
          </p:nvGrpSpPr>
          <p:grpSpPr>
            <a:xfrm>
              <a:off x="9366950" y="6684167"/>
              <a:ext cx="1859128" cy="92748"/>
              <a:chOff x="8457887" y="3732990"/>
              <a:chExt cx="1859128" cy="92748"/>
            </a:xfrm>
          </p:grpSpPr>
          <p:sp>
            <p:nvSpPr>
              <p:cNvPr id="11" name="Shape 6"/>
              <p:cNvSpPr/>
              <p:nvPr/>
            </p:nvSpPr>
            <p:spPr>
              <a:xfrm>
                <a:off x="9772362" y="3732990"/>
                <a:ext cx="544653" cy="9274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9242" y="20252"/>
                    </a:moveTo>
                    <a:lnTo>
                      <a:pt x="19324" y="20522"/>
                    </a:lnTo>
                    <a:lnTo>
                      <a:pt x="19423" y="20758"/>
                    </a:lnTo>
                    <a:lnTo>
                      <a:pt x="19534" y="20960"/>
                    </a:lnTo>
                    <a:lnTo>
                      <a:pt x="19663" y="21196"/>
                    </a:lnTo>
                    <a:lnTo>
                      <a:pt x="19792" y="21364"/>
                    </a:lnTo>
                    <a:lnTo>
                      <a:pt x="19932" y="21465"/>
                    </a:lnTo>
                    <a:lnTo>
                      <a:pt x="20078" y="21566"/>
                    </a:lnTo>
                    <a:lnTo>
                      <a:pt x="20219" y="21600"/>
                    </a:lnTo>
                    <a:lnTo>
                      <a:pt x="20389" y="21566"/>
                    </a:lnTo>
                    <a:lnTo>
                      <a:pt x="20547" y="21465"/>
                    </a:lnTo>
                    <a:lnTo>
                      <a:pt x="20623" y="21398"/>
                    </a:lnTo>
                    <a:lnTo>
                      <a:pt x="20763" y="21196"/>
                    </a:lnTo>
                    <a:lnTo>
                      <a:pt x="20956" y="20791"/>
                    </a:lnTo>
                    <a:lnTo>
                      <a:pt x="21009" y="20656"/>
                    </a:lnTo>
                    <a:lnTo>
                      <a:pt x="21067" y="20488"/>
                    </a:lnTo>
                    <a:lnTo>
                      <a:pt x="21114" y="20320"/>
                    </a:lnTo>
                    <a:lnTo>
                      <a:pt x="21173" y="20117"/>
                    </a:lnTo>
                    <a:lnTo>
                      <a:pt x="21214" y="19915"/>
                    </a:lnTo>
                    <a:lnTo>
                      <a:pt x="21261" y="19679"/>
                    </a:lnTo>
                    <a:lnTo>
                      <a:pt x="21378" y="19005"/>
                    </a:lnTo>
                    <a:lnTo>
                      <a:pt x="21407" y="18769"/>
                    </a:lnTo>
                    <a:lnTo>
                      <a:pt x="21465" y="18230"/>
                    </a:lnTo>
                    <a:lnTo>
                      <a:pt x="21512" y="17725"/>
                    </a:lnTo>
                    <a:lnTo>
                      <a:pt x="21547" y="17118"/>
                    </a:lnTo>
                    <a:lnTo>
                      <a:pt x="21577" y="16545"/>
                    </a:lnTo>
                    <a:lnTo>
                      <a:pt x="21594" y="15905"/>
                    </a:lnTo>
                    <a:lnTo>
                      <a:pt x="21600" y="15299"/>
                    </a:lnTo>
                    <a:lnTo>
                      <a:pt x="21594" y="14726"/>
                    </a:lnTo>
                    <a:lnTo>
                      <a:pt x="21582" y="14220"/>
                    </a:lnTo>
                    <a:lnTo>
                      <a:pt x="21559" y="13715"/>
                    </a:lnTo>
                    <a:lnTo>
                      <a:pt x="21536" y="13243"/>
                    </a:lnTo>
                    <a:lnTo>
                      <a:pt x="21506" y="12805"/>
                    </a:lnTo>
                    <a:lnTo>
                      <a:pt x="21465" y="12367"/>
                    </a:lnTo>
                    <a:lnTo>
                      <a:pt x="21419" y="11963"/>
                    </a:lnTo>
                    <a:lnTo>
                      <a:pt x="21366" y="11592"/>
                    </a:lnTo>
                    <a:lnTo>
                      <a:pt x="21302" y="11188"/>
                    </a:lnTo>
                    <a:lnTo>
                      <a:pt x="21237" y="10851"/>
                    </a:lnTo>
                    <a:lnTo>
                      <a:pt x="21161" y="10547"/>
                    </a:lnTo>
                    <a:lnTo>
                      <a:pt x="21073" y="10210"/>
                    </a:lnTo>
                    <a:lnTo>
                      <a:pt x="20986" y="9907"/>
                    </a:lnTo>
                    <a:lnTo>
                      <a:pt x="20775" y="9368"/>
                    </a:lnTo>
                    <a:lnTo>
                      <a:pt x="20658" y="9098"/>
                    </a:lnTo>
                    <a:lnTo>
                      <a:pt x="20494" y="8694"/>
                    </a:lnTo>
                    <a:lnTo>
                      <a:pt x="20348" y="8323"/>
                    </a:lnTo>
                    <a:lnTo>
                      <a:pt x="20289" y="8155"/>
                    </a:lnTo>
                    <a:lnTo>
                      <a:pt x="20231" y="7953"/>
                    </a:lnTo>
                    <a:lnTo>
                      <a:pt x="20178" y="7750"/>
                    </a:lnTo>
                    <a:lnTo>
                      <a:pt x="20137" y="7548"/>
                    </a:lnTo>
                    <a:lnTo>
                      <a:pt x="20096" y="7380"/>
                    </a:lnTo>
                    <a:lnTo>
                      <a:pt x="20061" y="7178"/>
                    </a:lnTo>
                    <a:lnTo>
                      <a:pt x="20032" y="6942"/>
                    </a:lnTo>
                    <a:lnTo>
                      <a:pt x="20008" y="6739"/>
                    </a:lnTo>
                    <a:lnTo>
                      <a:pt x="19991" y="6470"/>
                    </a:lnTo>
                    <a:lnTo>
                      <a:pt x="19979" y="6200"/>
                    </a:lnTo>
                    <a:lnTo>
                      <a:pt x="19967" y="5964"/>
                    </a:lnTo>
                    <a:lnTo>
                      <a:pt x="19967" y="5459"/>
                    </a:lnTo>
                    <a:lnTo>
                      <a:pt x="19973" y="5189"/>
                    </a:lnTo>
                    <a:lnTo>
                      <a:pt x="19985" y="4954"/>
                    </a:lnTo>
                    <a:lnTo>
                      <a:pt x="20020" y="4549"/>
                    </a:lnTo>
                    <a:lnTo>
                      <a:pt x="20049" y="4347"/>
                    </a:lnTo>
                    <a:lnTo>
                      <a:pt x="20078" y="4111"/>
                    </a:lnTo>
                    <a:lnTo>
                      <a:pt x="20149" y="3774"/>
                    </a:lnTo>
                    <a:lnTo>
                      <a:pt x="20190" y="3606"/>
                    </a:lnTo>
                    <a:lnTo>
                      <a:pt x="20242" y="3471"/>
                    </a:lnTo>
                    <a:lnTo>
                      <a:pt x="20359" y="3269"/>
                    </a:lnTo>
                    <a:lnTo>
                      <a:pt x="20418" y="3201"/>
                    </a:lnTo>
                    <a:lnTo>
                      <a:pt x="20494" y="3168"/>
                    </a:lnTo>
                    <a:lnTo>
                      <a:pt x="20687" y="3168"/>
                    </a:lnTo>
                    <a:lnTo>
                      <a:pt x="20804" y="3235"/>
                    </a:lnTo>
                    <a:lnTo>
                      <a:pt x="20909" y="3370"/>
                    </a:lnTo>
                    <a:lnTo>
                      <a:pt x="21009" y="3505"/>
                    </a:lnTo>
                    <a:lnTo>
                      <a:pt x="21091" y="3639"/>
                    </a:lnTo>
                    <a:lnTo>
                      <a:pt x="21173" y="3808"/>
                    </a:lnTo>
                    <a:lnTo>
                      <a:pt x="21237" y="3976"/>
                    </a:lnTo>
                    <a:lnTo>
                      <a:pt x="21290" y="4111"/>
                    </a:lnTo>
                    <a:lnTo>
                      <a:pt x="21454" y="1045"/>
                    </a:lnTo>
                    <a:lnTo>
                      <a:pt x="21378" y="842"/>
                    </a:lnTo>
                    <a:lnTo>
                      <a:pt x="21290" y="674"/>
                    </a:lnTo>
                    <a:lnTo>
                      <a:pt x="21196" y="472"/>
                    </a:lnTo>
                    <a:lnTo>
                      <a:pt x="21091" y="303"/>
                    </a:lnTo>
                    <a:lnTo>
                      <a:pt x="20980" y="202"/>
                    </a:lnTo>
                    <a:lnTo>
                      <a:pt x="20857" y="101"/>
                    </a:lnTo>
                    <a:lnTo>
                      <a:pt x="20728" y="34"/>
                    </a:lnTo>
                    <a:lnTo>
                      <a:pt x="20582" y="0"/>
                    </a:lnTo>
                    <a:lnTo>
                      <a:pt x="20435" y="34"/>
                    </a:lnTo>
                    <a:lnTo>
                      <a:pt x="20301" y="135"/>
                    </a:lnTo>
                    <a:lnTo>
                      <a:pt x="20172" y="270"/>
                    </a:lnTo>
                    <a:lnTo>
                      <a:pt x="20049" y="472"/>
                    </a:lnTo>
                    <a:lnTo>
                      <a:pt x="19932" y="741"/>
                    </a:lnTo>
                    <a:lnTo>
                      <a:pt x="19833" y="1011"/>
                    </a:lnTo>
                    <a:lnTo>
                      <a:pt x="19733" y="1348"/>
                    </a:lnTo>
                    <a:lnTo>
                      <a:pt x="19645" y="1719"/>
                    </a:lnTo>
                    <a:lnTo>
                      <a:pt x="19563" y="2157"/>
                    </a:lnTo>
                    <a:lnTo>
                      <a:pt x="19493" y="2595"/>
                    </a:lnTo>
                    <a:lnTo>
                      <a:pt x="19441" y="3134"/>
                    </a:lnTo>
                    <a:lnTo>
                      <a:pt x="19382" y="3639"/>
                    </a:lnTo>
                    <a:lnTo>
                      <a:pt x="19347" y="4178"/>
                    </a:lnTo>
                    <a:lnTo>
                      <a:pt x="19318" y="4785"/>
                    </a:lnTo>
                    <a:lnTo>
                      <a:pt x="19300" y="5358"/>
                    </a:lnTo>
                    <a:lnTo>
                      <a:pt x="19294" y="6032"/>
                    </a:lnTo>
                    <a:lnTo>
                      <a:pt x="19300" y="6537"/>
                    </a:lnTo>
                    <a:lnTo>
                      <a:pt x="19312" y="7110"/>
                    </a:lnTo>
                    <a:lnTo>
                      <a:pt x="19335" y="7582"/>
                    </a:lnTo>
                    <a:lnTo>
                      <a:pt x="19365" y="8087"/>
                    </a:lnTo>
                    <a:lnTo>
                      <a:pt x="19405" y="8525"/>
                    </a:lnTo>
                    <a:lnTo>
                      <a:pt x="19452" y="8930"/>
                    </a:lnTo>
                    <a:lnTo>
                      <a:pt x="19505" y="9334"/>
                    </a:lnTo>
                    <a:lnTo>
                      <a:pt x="19563" y="9705"/>
                    </a:lnTo>
                    <a:lnTo>
                      <a:pt x="19704" y="10446"/>
                    </a:lnTo>
                    <a:lnTo>
                      <a:pt x="19786" y="10749"/>
                    </a:lnTo>
                    <a:lnTo>
                      <a:pt x="19874" y="11053"/>
                    </a:lnTo>
                    <a:lnTo>
                      <a:pt x="19967" y="11322"/>
                    </a:lnTo>
                    <a:lnTo>
                      <a:pt x="20067" y="11626"/>
                    </a:lnTo>
                    <a:lnTo>
                      <a:pt x="20172" y="11861"/>
                    </a:lnTo>
                    <a:lnTo>
                      <a:pt x="20283" y="12097"/>
                    </a:lnTo>
                    <a:lnTo>
                      <a:pt x="20435" y="12434"/>
                    </a:lnTo>
                    <a:lnTo>
                      <a:pt x="20576" y="12839"/>
                    </a:lnTo>
                    <a:lnTo>
                      <a:pt x="20629" y="13007"/>
                    </a:lnTo>
                    <a:lnTo>
                      <a:pt x="20681" y="13209"/>
                    </a:lnTo>
                    <a:lnTo>
                      <a:pt x="20734" y="13378"/>
                    </a:lnTo>
                    <a:lnTo>
                      <a:pt x="20775" y="13580"/>
                    </a:lnTo>
                    <a:lnTo>
                      <a:pt x="20810" y="13782"/>
                    </a:lnTo>
                    <a:lnTo>
                      <a:pt x="20839" y="14052"/>
                    </a:lnTo>
                    <a:lnTo>
                      <a:pt x="20863" y="14254"/>
                    </a:lnTo>
                    <a:lnTo>
                      <a:pt x="20886" y="14490"/>
                    </a:lnTo>
                    <a:lnTo>
                      <a:pt x="20898" y="14726"/>
                    </a:lnTo>
                    <a:lnTo>
                      <a:pt x="20909" y="14995"/>
                    </a:lnTo>
                    <a:lnTo>
                      <a:pt x="20921" y="15299"/>
                    </a:lnTo>
                    <a:lnTo>
                      <a:pt x="20927" y="15568"/>
                    </a:lnTo>
                    <a:lnTo>
                      <a:pt x="20921" y="15871"/>
                    </a:lnTo>
                    <a:lnTo>
                      <a:pt x="20898" y="16478"/>
                    </a:lnTo>
                    <a:lnTo>
                      <a:pt x="20874" y="16748"/>
                    </a:lnTo>
                    <a:lnTo>
                      <a:pt x="20851" y="16983"/>
                    </a:lnTo>
                    <a:lnTo>
                      <a:pt x="20822" y="17219"/>
                    </a:lnTo>
                    <a:lnTo>
                      <a:pt x="20792" y="17422"/>
                    </a:lnTo>
                    <a:lnTo>
                      <a:pt x="20751" y="17657"/>
                    </a:lnTo>
                    <a:lnTo>
                      <a:pt x="20710" y="17826"/>
                    </a:lnTo>
                    <a:lnTo>
                      <a:pt x="20605" y="18095"/>
                    </a:lnTo>
                    <a:lnTo>
                      <a:pt x="20547" y="18197"/>
                    </a:lnTo>
                    <a:lnTo>
                      <a:pt x="20482" y="18298"/>
                    </a:lnTo>
                    <a:lnTo>
                      <a:pt x="20412" y="18365"/>
                    </a:lnTo>
                    <a:lnTo>
                      <a:pt x="20342" y="18399"/>
                    </a:lnTo>
                    <a:lnTo>
                      <a:pt x="20137" y="18399"/>
                    </a:lnTo>
                    <a:lnTo>
                      <a:pt x="20014" y="18298"/>
                    </a:lnTo>
                    <a:lnTo>
                      <a:pt x="19897" y="18197"/>
                    </a:lnTo>
                    <a:lnTo>
                      <a:pt x="19774" y="18028"/>
                    </a:lnTo>
                    <a:lnTo>
                      <a:pt x="19563" y="17624"/>
                    </a:lnTo>
                    <a:lnTo>
                      <a:pt x="19470" y="17320"/>
                    </a:lnTo>
                    <a:lnTo>
                      <a:pt x="19382" y="17085"/>
                    </a:lnTo>
                    <a:lnTo>
                      <a:pt x="19242" y="20252"/>
                    </a:lnTo>
                    <a:close/>
                    <a:moveTo>
                      <a:pt x="18656" y="8862"/>
                    </a:moveTo>
                    <a:lnTo>
                      <a:pt x="17293" y="8862"/>
                    </a:lnTo>
                    <a:lnTo>
                      <a:pt x="17293" y="3505"/>
                    </a:lnTo>
                    <a:lnTo>
                      <a:pt x="18738" y="3505"/>
                    </a:lnTo>
                    <a:lnTo>
                      <a:pt x="18738" y="337"/>
                    </a:lnTo>
                    <a:lnTo>
                      <a:pt x="16626" y="337"/>
                    </a:lnTo>
                    <a:lnTo>
                      <a:pt x="16626" y="21263"/>
                    </a:lnTo>
                    <a:lnTo>
                      <a:pt x="18820" y="21263"/>
                    </a:lnTo>
                    <a:lnTo>
                      <a:pt x="18820" y="18095"/>
                    </a:lnTo>
                    <a:lnTo>
                      <a:pt x="17293" y="18095"/>
                    </a:lnTo>
                    <a:lnTo>
                      <a:pt x="17293" y="11963"/>
                    </a:lnTo>
                    <a:lnTo>
                      <a:pt x="18656" y="11963"/>
                    </a:lnTo>
                    <a:lnTo>
                      <a:pt x="18656" y="8862"/>
                    </a:lnTo>
                    <a:close/>
                    <a:moveTo>
                      <a:pt x="15959" y="17624"/>
                    </a:moveTo>
                    <a:lnTo>
                      <a:pt x="15883" y="17792"/>
                    </a:lnTo>
                    <a:lnTo>
                      <a:pt x="15806" y="17927"/>
                    </a:lnTo>
                    <a:lnTo>
                      <a:pt x="15725" y="18062"/>
                    </a:lnTo>
                    <a:lnTo>
                      <a:pt x="15537" y="18264"/>
                    </a:lnTo>
                    <a:lnTo>
                      <a:pt x="15432" y="18331"/>
                    </a:lnTo>
                    <a:lnTo>
                      <a:pt x="15338" y="18365"/>
                    </a:lnTo>
                    <a:lnTo>
                      <a:pt x="15157" y="18365"/>
                    </a:lnTo>
                    <a:lnTo>
                      <a:pt x="15092" y="18331"/>
                    </a:lnTo>
                    <a:lnTo>
                      <a:pt x="15022" y="18298"/>
                    </a:lnTo>
                    <a:lnTo>
                      <a:pt x="14952" y="18230"/>
                    </a:lnTo>
                    <a:lnTo>
                      <a:pt x="14823" y="18095"/>
                    </a:lnTo>
                    <a:lnTo>
                      <a:pt x="14759" y="17994"/>
                    </a:lnTo>
                    <a:lnTo>
                      <a:pt x="14642" y="17725"/>
                    </a:lnTo>
                    <a:lnTo>
                      <a:pt x="14589" y="17590"/>
                    </a:lnTo>
                    <a:lnTo>
                      <a:pt x="14531" y="17388"/>
                    </a:lnTo>
                    <a:lnTo>
                      <a:pt x="14484" y="17219"/>
                    </a:lnTo>
                    <a:lnTo>
                      <a:pt x="14390" y="16815"/>
                    </a:lnTo>
                    <a:lnTo>
                      <a:pt x="14343" y="16579"/>
                    </a:lnTo>
                    <a:lnTo>
                      <a:pt x="14302" y="16377"/>
                    </a:lnTo>
                    <a:lnTo>
                      <a:pt x="14262" y="16074"/>
                    </a:lnTo>
                    <a:lnTo>
                      <a:pt x="14226" y="15838"/>
                    </a:lnTo>
                    <a:lnTo>
                      <a:pt x="14197" y="15568"/>
                    </a:lnTo>
                    <a:lnTo>
                      <a:pt x="14162" y="15265"/>
                    </a:lnTo>
                    <a:lnTo>
                      <a:pt x="14127" y="14928"/>
                    </a:lnTo>
                    <a:lnTo>
                      <a:pt x="14080" y="14321"/>
                    </a:lnTo>
                    <a:lnTo>
                      <a:pt x="14057" y="13984"/>
                    </a:lnTo>
                    <a:lnTo>
                      <a:pt x="14022" y="13243"/>
                    </a:lnTo>
                    <a:lnTo>
                      <a:pt x="13992" y="12502"/>
                    </a:lnTo>
                    <a:lnTo>
                      <a:pt x="13981" y="11693"/>
                    </a:lnTo>
                    <a:lnTo>
                      <a:pt x="13975" y="10851"/>
                    </a:lnTo>
                    <a:lnTo>
                      <a:pt x="13975" y="10412"/>
                    </a:lnTo>
                    <a:lnTo>
                      <a:pt x="13981" y="9941"/>
                    </a:lnTo>
                    <a:lnTo>
                      <a:pt x="13986" y="9503"/>
                    </a:lnTo>
                    <a:lnTo>
                      <a:pt x="13998" y="9098"/>
                    </a:lnTo>
                    <a:lnTo>
                      <a:pt x="14010" y="8660"/>
                    </a:lnTo>
                    <a:lnTo>
                      <a:pt x="14045" y="7919"/>
                    </a:lnTo>
                    <a:lnTo>
                      <a:pt x="14063" y="7515"/>
                    </a:lnTo>
                    <a:lnTo>
                      <a:pt x="14092" y="7178"/>
                    </a:lnTo>
                    <a:lnTo>
                      <a:pt x="14115" y="6841"/>
                    </a:lnTo>
                    <a:lnTo>
                      <a:pt x="14150" y="6504"/>
                    </a:lnTo>
                    <a:lnTo>
                      <a:pt x="14180" y="6200"/>
                    </a:lnTo>
                    <a:lnTo>
                      <a:pt x="14250" y="5661"/>
                    </a:lnTo>
                    <a:lnTo>
                      <a:pt x="14285" y="5358"/>
                    </a:lnTo>
                    <a:lnTo>
                      <a:pt x="14326" y="5122"/>
                    </a:lnTo>
                    <a:lnTo>
                      <a:pt x="14379" y="4886"/>
                    </a:lnTo>
                    <a:lnTo>
                      <a:pt x="14420" y="4684"/>
                    </a:lnTo>
                    <a:lnTo>
                      <a:pt x="14513" y="4280"/>
                    </a:lnTo>
                    <a:lnTo>
                      <a:pt x="14566" y="4077"/>
                    </a:lnTo>
                    <a:lnTo>
                      <a:pt x="14624" y="3943"/>
                    </a:lnTo>
                    <a:lnTo>
                      <a:pt x="14677" y="3774"/>
                    </a:lnTo>
                    <a:lnTo>
                      <a:pt x="14853" y="3437"/>
                    </a:lnTo>
                    <a:lnTo>
                      <a:pt x="14975" y="3302"/>
                    </a:lnTo>
                    <a:lnTo>
                      <a:pt x="15110" y="3201"/>
                    </a:lnTo>
                    <a:lnTo>
                      <a:pt x="15245" y="3168"/>
                    </a:lnTo>
                    <a:lnTo>
                      <a:pt x="15455" y="3235"/>
                    </a:lnTo>
                    <a:lnTo>
                      <a:pt x="15555" y="3302"/>
                    </a:lnTo>
                    <a:lnTo>
                      <a:pt x="15643" y="3403"/>
                    </a:lnTo>
                    <a:lnTo>
                      <a:pt x="15730" y="3538"/>
                    </a:lnTo>
                    <a:lnTo>
                      <a:pt x="15883" y="3808"/>
                    </a:lnTo>
                    <a:lnTo>
                      <a:pt x="15953" y="3976"/>
                    </a:lnTo>
                    <a:lnTo>
                      <a:pt x="16093" y="944"/>
                    </a:lnTo>
                    <a:lnTo>
                      <a:pt x="16035" y="809"/>
                    </a:lnTo>
                    <a:lnTo>
                      <a:pt x="15964" y="640"/>
                    </a:lnTo>
                    <a:lnTo>
                      <a:pt x="15871" y="438"/>
                    </a:lnTo>
                    <a:lnTo>
                      <a:pt x="15771" y="303"/>
                    </a:lnTo>
                    <a:lnTo>
                      <a:pt x="15648" y="202"/>
                    </a:lnTo>
                    <a:lnTo>
                      <a:pt x="15520" y="101"/>
                    </a:lnTo>
                    <a:lnTo>
                      <a:pt x="15373" y="34"/>
                    </a:lnTo>
                    <a:lnTo>
                      <a:pt x="15215" y="0"/>
                    </a:lnTo>
                    <a:lnTo>
                      <a:pt x="15016" y="67"/>
                    </a:lnTo>
                    <a:lnTo>
                      <a:pt x="14911" y="135"/>
                    </a:lnTo>
                    <a:lnTo>
                      <a:pt x="14817" y="202"/>
                    </a:lnTo>
                    <a:lnTo>
                      <a:pt x="14718" y="303"/>
                    </a:lnTo>
                    <a:lnTo>
                      <a:pt x="14531" y="573"/>
                    </a:lnTo>
                    <a:lnTo>
                      <a:pt x="14443" y="775"/>
                    </a:lnTo>
                    <a:lnTo>
                      <a:pt x="14361" y="977"/>
                    </a:lnTo>
                    <a:lnTo>
                      <a:pt x="14273" y="1179"/>
                    </a:lnTo>
                    <a:lnTo>
                      <a:pt x="14197" y="1415"/>
                    </a:lnTo>
                    <a:lnTo>
                      <a:pt x="14109" y="1685"/>
                    </a:lnTo>
                    <a:lnTo>
                      <a:pt x="13969" y="2291"/>
                    </a:lnTo>
                    <a:lnTo>
                      <a:pt x="13893" y="2595"/>
                    </a:lnTo>
                    <a:lnTo>
                      <a:pt x="13828" y="2932"/>
                    </a:lnTo>
                    <a:lnTo>
                      <a:pt x="13764" y="3336"/>
                    </a:lnTo>
                    <a:lnTo>
                      <a:pt x="13706" y="3707"/>
                    </a:lnTo>
                    <a:lnTo>
                      <a:pt x="13647" y="4111"/>
                    </a:lnTo>
                    <a:lnTo>
                      <a:pt x="13594" y="4549"/>
                    </a:lnTo>
                    <a:lnTo>
                      <a:pt x="13548" y="4987"/>
                    </a:lnTo>
                    <a:lnTo>
                      <a:pt x="13501" y="5459"/>
                    </a:lnTo>
                    <a:lnTo>
                      <a:pt x="13419" y="6402"/>
                    </a:lnTo>
                    <a:lnTo>
                      <a:pt x="13360" y="7481"/>
                    </a:lnTo>
                    <a:lnTo>
                      <a:pt x="13331" y="8054"/>
                    </a:lnTo>
                    <a:lnTo>
                      <a:pt x="13313" y="8593"/>
                    </a:lnTo>
                    <a:lnTo>
                      <a:pt x="13296" y="9199"/>
                    </a:lnTo>
                    <a:lnTo>
                      <a:pt x="13284" y="9772"/>
                    </a:lnTo>
                    <a:lnTo>
                      <a:pt x="13278" y="10412"/>
                    </a:lnTo>
                    <a:lnTo>
                      <a:pt x="13278" y="11659"/>
                    </a:lnTo>
                    <a:lnTo>
                      <a:pt x="13284" y="12198"/>
                    </a:lnTo>
                    <a:lnTo>
                      <a:pt x="13296" y="12805"/>
                    </a:lnTo>
                    <a:lnTo>
                      <a:pt x="13308" y="13310"/>
                    </a:lnTo>
                    <a:lnTo>
                      <a:pt x="13325" y="13883"/>
                    </a:lnTo>
                    <a:lnTo>
                      <a:pt x="13349" y="14389"/>
                    </a:lnTo>
                    <a:lnTo>
                      <a:pt x="13372" y="14861"/>
                    </a:lnTo>
                    <a:lnTo>
                      <a:pt x="13401" y="15400"/>
                    </a:lnTo>
                    <a:lnTo>
                      <a:pt x="13431" y="15838"/>
                    </a:lnTo>
                    <a:lnTo>
                      <a:pt x="13471" y="16310"/>
                    </a:lnTo>
                    <a:lnTo>
                      <a:pt x="13512" y="16748"/>
                    </a:lnTo>
                    <a:lnTo>
                      <a:pt x="13559" y="17152"/>
                    </a:lnTo>
                    <a:lnTo>
                      <a:pt x="13606" y="17590"/>
                    </a:lnTo>
                    <a:lnTo>
                      <a:pt x="13653" y="17994"/>
                    </a:lnTo>
                    <a:lnTo>
                      <a:pt x="13711" y="18331"/>
                    </a:lnTo>
                    <a:lnTo>
                      <a:pt x="13770" y="18702"/>
                    </a:lnTo>
                    <a:lnTo>
                      <a:pt x="13828" y="19039"/>
                    </a:lnTo>
                    <a:lnTo>
                      <a:pt x="13893" y="19342"/>
                    </a:lnTo>
                    <a:lnTo>
                      <a:pt x="14033" y="19949"/>
                    </a:lnTo>
                    <a:lnTo>
                      <a:pt x="14185" y="20421"/>
                    </a:lnTo>
                    <a:lnTo>
                      <a:pt x="14349" y="20825"/>
                    </a:lnTo>
                    <a:lnTo>
                      <a:pt x="14525" y="21162"/>
                    </a:lnTo>
                    <a:lnTo>
                      <a:pt x="14624" y="21297"/>
                    </a:lnTo>
                    <a:lnTo>
                      <a:pt x="14718" y="21398"/>
                    </a:lnTo>
                    <a:lnTo>
                      <a:pt x="14917" y="21533"/>
                    </a:lnTo>
                    <a:lnTo>
                      <a:pt x="15128" y="21600"/>
                    </a:lnTo>
                    <a:lnTo>
                      <a:pt x="15286" y="21566"/>
                    </a:lnTo>
                    <a:lnTo>
                      <a:pt x="15432" y="21499"/>
                    </a:lnTo>
                    <a:lnTo>
                      <a:pt x="15572" y="21398"/>
                    </a:lnTo>
                    <a:lnTo>
                      <a:pt x="15707" y="21297"/>
                    </a:lnTo>
                    <a:lnTo>
                      <a:pt x="15812" y="21162"/>
                    </a:lnTo>
                    <a:lnTo>
                      <a:pt x="15918" y="20960"/>
                    </a:lnTo>
                    <a:lnTo>
                      <a:pt x="16000" y="20791"/>
                    </a:lnTo>
                    <a:lnTo>
                      <a:pt x="16064" y="20623"/>
                    </a:lnTo>
                    <a:lnTo>
                      <a:pt x="15959" y="17624"/>
                    </a:lnTo>
                    <a:close/>
                    <a:moveTo>
                      <a:pt x="12044" y="337"/>
                    </a:moveTo>
                    <a:lnTo>
                      <a:pt x="12044" y="21263"/>
                    </a:lnTo>
                    <a:lnTo>
                      <a:pt x="12705" y="21263"/>
                    </a:lnTo>
                    <a:lnTo>
                      <a:pt x="12705" y="337"/>
                    </a:lnTo>
                    <a:lnTo>
                      <a:pt x="12044" y="337"/>
                    </a:lnTo>
                    <a:close/>
                    <a:moveTo>
                      <a:pt x="10393" y="21263"/>
                    </a:moveTo>
                    <a:lnTo>
                      <a:pt x="11651" y="337"/>
                    </a:lnTo>
                    <a:lnTo>
                      <a:pt x="10949" y="337"/>
                    </a:lnTo>
                    <a:lnTo>
                      <a:pt x="10417" y="9907"/>
                    </a:lnTo>
                    <a:lnTo>
                      <a:pt x="10364" y="10851"/>
                    </a:lnTo>
                    <a:lnTo>
                      <a:pt x="10311" y="11828"/>
                    </a:lnTo>
                    <a:lnTo>
                      <a:pt x="10124" y="15602"/>
                    </a:lnTo>
                    <a:lnTo>
                      <a:pt x="10089" y="16545"/>
                    </a:lnTo>
                    <a:lnTo>
                      <a:pt x="10048" y="17455"/>
                    </a:lnTo>
                    <a:lnTo>
                      <a:pt x="10036" y="17455"/>
                    </a:lnTo>
                    <a:lnTo>
                      <a:pt x="10001" y="16545"/>
                    </a:lnTo>
                    <a:lnTo>
                      <a:pt x="9960" y="15568"/>
                    </a:lnTo>
                    <a:lnTo>
                      <a:pt x="9878" y="13681"/>
                    </a:lnTo>
                    <a:lnTo>
                      <a:pt x="9831" y="12771"/>
                    </a:lnTo>
                    <a:lnTo>
                      <a:pt x="9785" y="11794"/>
                    </a:lnTo>
                    <a:lnTo>
                      <a:pt x="9679" y="9840"/>
                    </a:lnTo>
                    <a:lnTo>
                      <a:pt x="9188" y="337"/>
                    </a:lnTo>
                    <a:lnTo>
                      <a:pt x="8468" y="337"/>
                    </a:lnTo>
                    <a:lnTo>
                      <a:pt x="9638" y="21263"/>
                    </a:lnTo>
                    <a:lnTo>
                      <a:pt x="10393" y="21263"/>
                    </a:lnTo>
                    <a:close/>
                    <a:moveTo>
                      <a:pt x="6379" y="3269"/>
                    </a:moveTo>
                    <a:lnTo>
                      <a:pt x="6443" y="3201"/>
                    </a:lnTo>
                    <a:lnTo>
                      <a:pt x="6537" y="3134"/>
                    </a:lnTo>
                    <a:lnTo>
                      <a:pt x="6648" y="3100"/>
                    </a:lnTo>
                    <a:lnTo>
                      <a:pt x="6794" y="3066"/>
                    </a:lnTo>
                    <a:lnTo>
                      <a:pt x="6946" y="3134"/>
                    </a:lnTo>
                    <a:lnTo>
                      <a:pt x="7017" y="3201"/>
                    </a:lnTo>
                    <a:lnTo>
                      <a:pt x="7081" y="3269"/>
                    </a:lnTo>
                    <a:lnTo>
                      <a:pt x="7151" y="3370"/>
                    </a:lnTo>
                    <a:lnTo>
                      <a:pt x="7204" y="3538"/>
                    </a:lnTo>
                    <a:lnTo>
                      <a:pt x="7257" y="3673"/>
                    </a:lnTo>
                    <a:lnTo>
                      <a:pt x="7350" y="4077"/>
                    </a:lnTo>
                    <a:lnTo>
                      <a:pt x="7391" y="4381"/>
                    </a:lnTo>
                    <a:lnTo>
                      <a:pt x="7420" y="4617"/>
                    </a:lnTo>
                    <a:lnTo>
                      <a:pt x="7450" y="4920"/>
                    </a:lnTo>
                    <a:lnTo>
                      <a:pt x="7473" y="5257"/>
                    </a:lnTo>
                    <a:lnTo>
                      <a:pt x="7497" y="5998"/>
                    </a:lnTo>
                    <a:lnTo>
                      <a:pt x="7497" y="6807"/>
                    </a:lnTo>
                    <a:lnTo>
                      <a:pt x="7473" y="7481"/>
                    </a:lnTo>
                    <a:lnTo>
                      <a:pt x="7450" y="7818"/>
                    </a:lnTo>
                    <a:lnTo>
                      <a:pt x="7420" y="8155"/>
                    </a:lnTo>
                    <a:lnTo>
                      <a:pt x="7391" y="8424"/>
                    </a:lnTo>
                    <a:lnTo>
                      <a:pt x="7344" y="8660"/>
                    </a:lnTo>
                    <a:lnTo>
                      <a:pt x="7303" y="8896"/>
                    </a:lnTo>
                    <a:lnTo>
                      <a:pt x="7257" y="9132"/>
                    </a:lnTo>
                    <a:lnTo>
                      <a:pt x="7204" y="9334"/>
                    </a:lnTo>
                    <a:lnTo>
                      <a:pt x="7145" y="9469"/>
                    </a:lnTo>
                    <a:lnTo>
                      <a:pt x="7075" y="9604"/>
                    </a:lnTo>
                    <a:lnTo>
                      <a:pt x="6935" y="9806"/>
                    </a:lnTo>
                    <a:lnTo>
                      <a:pt x="6853" y="9840"/>
                    </a:lnTo>
                    <a:lnTo>
                      <a:pt x="6379" y="9840"/>
                    </a:lnTo>
                    <a:lnTo>
                      <a:pt x="6379" y="3269"/>
                    </a:lnTo>
                    <a:close/>
                    <a:moveTo>
                      <a:pt x="5723" y="21263"/>
                    </a:moveTo>
                    <a:lnTo>
                      <a:pt x="6379" y="21263"/>
                    </a:lnTo>
                    <a:lnTo>
                      <a:pt x="6379" y="12637"/>
                    </a:lnTo>
                    <a:lnTo>
                      <a:pt x="6718" y="12637"/>
                    </a:lnTo>
                    <a:lnTo>
                      <a:pt x="6783" y="12704"/>
                    </a:lnTo>
                    <a:lnTo>
                      <a:pt x="6847" y="12738"/>
                    </a:lnTo>
                    <a:lnTo>
                      <a:pt x="6964" y="12872"/>
                    </a:lnTo>
                    <a:lnTo>
                      <a:pt x="7011" y="12973"/>
                    </a:lnTo>
                    <a:lnTo>
                      <a:pt x="7058" y="13108"/>
                    </a:lnTo>
                    <a:lnTo>
                      <a:pt x="7099" y="13277"/>
                    </a:lnTo>
                    <a:lnTo>
                      <a:pt x="7145" y="13479"/>
                    </a:lnTo>
                    <a:lnTo>
                      <a:pt x="7180" y="13715"/>
                    </a:lnTo>
                    <a:lnTo>
                      <a:pt x="7216" y="13984"/>
                    </a:lnTo>
                    <a:lnTo>
                      <a:pt x="7274" y="14591"/>
                    </a:lnTo>
                    <a:lnTo>
                      <a:pt x="7298" y="14962"/>
                    </a:lnTo>
                    <a:lnTo>
                      <a:pt x="7344" y="15838"/>
                    </a:lnTo>
                    <a:lnTo>
                      <a:pt x="7368" y="16343"/>
                    </a:lnTo>
                    <a:lnTo>
                      <a:pt x="7444" y="18095"/>
                    </a:lnTo>
                    <a:lnTo>
                      <a:pt x="7508" y="19511"/>
                    </a:lnTo>
                    <a:lnTo>
                      <a:pt x="7537" y="20117"/>
                    </a:lnTo>
                    <a:lnTo>
                      <a:pt x="7561" y="20589"/>
                    </a:lnTo>
                    <a:lnTo>
                      <a:pt x="7590" y="20960"/>
                    </a:lnTo>
                    <a:lnTo>
                      <a:pt x="7614" y="21263"/>
                    </a:lnTo>
                    <a:lnTo>
                      <a:pt x="8292" y="21263"/>
                    </a:lnTo>
                    <a:lnTo>
                      <a:pt x="8269" y="20859"/>
                    </a:lnTo>
                    <a:lnTo>
                      <a:pt x="8228" y="20387"/>
                    </a:lnTo>
                    <a:lnTo>
                      <a:pt x="8199" y="19713"/>
                    </a:lnTo>
                    <a:lnTo>
                      <a:pt x="8164" y="19039"/>
                    </a:lnTo>
                    <a:lnTo>
                      <a:pt x="8129" y="18197"/>
                    </a:lnTo>
                    <a:lnTo>
                      <a:pt x="8088" y="17320"/>
                    </a:lnTo>
                    <a:lnTo>
                      <a:pt x="8052" y="16411"/>
                    </a:lnTo>
                    <a:lnTo>
                      <a:pt x="8006" y="15433"/>
                    </a:lnTo>
                    <a:lnTo>
                      <a:pt x="7971" y="14692"/>
                    </a:lnTo>
                    <a:lnTo>
                      <a:pt x="7924" y="14018"/>
                    </a:lnTo>
                    <a:lnTo>
                      <a:pt x="7877" y="13412"/>
                    </a:lnTo>
                    <a:lnTo>
                      <a:pt x="7818" y="12872"/>
                    </a:lnTo>
                    <a:lnTo>
                      <a:pt x="7783" y="12603"/>
                    </a:lnTo>
                    <a:lnTo>
                      <a:pt x="7748" y="12367"/>
                    </a:lnTo>
                    <a:lnTo>
                      <a:pt x="7678" y="11963"/>
                    </a:lnTo>
                    <a:lnTo>
                      <a:pt x="7637" y="11794"/>
                    </a:lnTo>
                    <a:lnTo>
                      <a:pt x="7596" y="11659"/>
                    </a:lnTo>
                    <a:lnTo>
                      <a:pt x="7549" y="11524"/>
                    </a:lnTo>
                    <a:lnTo>
                      <a:pt x="7502" y="11356"/>
                    </a:lnTo>
                    <a:lnTo>
                      <a:pt x="7502" y="11289"/>
                    </a:lnTo>
                    <a:lnTo>
                      <a:pt x="7561" y="11120"/>
                    </a:lnTo>
                    <a:lnTo>
                      <a:pt x="7631" y="10985"/>
                    </a:lnTo>
                    <a:lnTo>
                      <a:pt x="7748" y="10581"/>
                    </a:lnTo>
                    <a:lnTo>
                      <a:pt x="7807" y="10311"/>
                    </a:lnTo>
                    <a:lnTo>
                      <a:pt x="7859" y="10042"/>
                    </a:lnTo>
                    <a:lnTo>
                      <a:pt x="7912" y="9739"/>
                    </a:lnTo>
                    <a:lnTo>
                      <a:pt x="7959" y="9435"/>
                    </a:lnTo>
                    <a:lnTo>
                      <a:pt x="8000" y="9098"/>
                    </a:lnTo>
                    <a:lnTo>
                      <a:pt x="8041" y="8694"/>
                    </a:lnTo>
                    <a:lnTo>
                      <a:pt x="8076" y="8323"/>
                    </a:lnTo>
                    <a:lnTo>
                      <a:pt x="8105" y="7919"/>
                    </a:lnTo>
                    <a:lnTo>
                      <a:pt x="8129" y="7481"/>
                    </a:lnTo>
                    <a:lnTo>
                      <a:pt x="8146" y="7043"/>
                    </a:lnTo>
                    <a:lnTo>
                      <a:pt x="8158" y="6537"/>
                    </a:lnTo>
                    <a:lnTo>
                      <a:pt x="8158" y="6066"/>
                    </a:lnTo>
                    <a:lnTo>
                      <a:pt x="8152" y="5392"/>
                    </a:lnTo>
                    <a:lnTo>
                      <a:pt x="8140" y="4785"/>
                    </a:lnTo>
                    <a:lnTo>
                      <a:pt x="8111" y="4178"/>
                    </a:lnTo>
                    <a:lnTo>
                      <a:pt x="8082" y="3639"/>
                    </a:lnTo>
                    <a:lnTo>
                      <a:pt x="8035" y="3168"/>
                    </a:lnTo>
                    <a:lnTo>
                      <a:pt x="7976" y="2662"/>
                    </a:lnTo>
                    <a:lnTo>
                      <a:pt x="7918" y="2258"/>
                    </a:lnTo>
                    <a:lnTo>
                      <a:pt x="7848" y="1887"/>
                    </a:lnTo>
                    <a:lnTo>
                      <a:pt x="7801" y="1651"/>
                    </a:lnTo>
                    <a:lnTo>
                      <a:pt x="7748" y="1449"/>
                    </a:lnTo>
                    <a:lnTo>
                      <a:pt x="7643" y="1112"/>
                    </a:lnTo>
                    <a:lnTo>
                      <a:pt x="7584" y="944"/>
                    </a:lnTo>
                    <a:lnTo>
                      <a:pt x="7520" y="809"/>
                    </a:lnTo>
                    <a:lnTo>
                      <a:pt x="7461" y="708"/>
                    </a:lnTo>
                    <a:lnTo>
                      <a:pt x="7391" y="573"/>
                    </a:lnTo>
                    <a:lnTo>
                      <a:pt x="7245" y="404"/>
                    </a:lnTo>
                    <a:lnTo>
                      <a:pt x="7087" y="270"/>
                    </a:lnTo>
                    <a:lnTo>
                      <a:pt x="6911" y="202"/>
                    </a:lnTo>
                    <a:lnTo>
                      <a:pt x="6730" y="168"/>
                    </a:lnTo>
                    <a:lnTo>
                      <a:pt x="6584" y="168"/>
                    </a:lnTo>
                    <a:lnTo>
                      <a:pt x="6443" y="202"/>
                    </a:lnTo>
                    <a:lnTo>
                      <a:pt x="6309" y="236"/>
                    </a:lnTo>
                    <a:lnTo>
                      <a:pt x="6174" y="303"/>
                    </a:lnTo>
                    <a:lnTo>
                      <a:pt x="6051" y="371"/>
                    </a:lnTo>
                    <a:lnTo>
                      <a:pt x="5934" y="438"/>
                    </a:lnTo>
                    <a:lnTo>
                      <a:pt x="5823" y="505"/>
                    </a:lnTo>
                    <a:lnTo>
                      <a:pt x="5723" y="640"/>
                    </a:lnTo>
                    <a:lnTo>
                      <a:pt x="5723" y="21263"/>
                    </a:lnTo>
                    <a:close/>
                    <a:moveTo>
                      <a:pt x="4986" y="8862"/>
                    </a:moveTo>
                    <a:lnTo>
                      <a:pt x="3611" y="8862"/>
                    </a:lnTo>
                    <a:lnTo>
                      <a:pt x="3611" y="3505"/>
                    </a:lnTo>
                    <a:lnTo>
                      <a:pt x="5062" y="3505"/>
                    </a:lnTo>
                    <a:lnTo>
                      <a:pt x="5062" y="337"/>
                    </a:lnTo>
                    <a:lnTo>
                      <a:pt x="2949" y="337"/>
                    </a:lnTo>
                    <a:lnTo>
                      <a:pt x="2949" y="21263"/>
                    </a:lnTo>
                    <a:lnTo>
                      <a:pt x="5144" y="21263"/>
                    </a:lnTo>
                    <a:lnTo>
                      <a:pt x="5144" y="18095"/>
                    </a:lnTo>
                    <a:lnTo>
                      <a:pt x="3611" y="18095"/>
                    </a:lnTo>
                    <a:lnTo>
                      <a:pt x="3611" y="11963"/>
                    </a:lnTo>
                    <a:lnTo>
                      <a:pt x="4986" y="11963"/>
                    </a:lnTo>
                    <a:lnTo>
                      <a:pt x="4986" y="8862"/>
                    </a:lnTo>
                    <a:close/>
                    <a:moveTo>
                      <a:pt x="0" y="20252"/>
                    </a:moveTo>
                    <a:lnTo>
                      <a:pt x="82" y="20522"/>
                    </a:lnTo>
                    <a:lnTo>
                      <a:pt x="187" y="20758"/>
                    </a:lnTo>
                    <a:lnTo>
                      <a:pt x="293" y="20960"/>
                    </a:lnTo>
                    <a:lnTo>
                      <a:pt x="421" y="21196"/>
                    </a:lnTo>
                    <a:lnTo>
                      <a:pt x="550" y="21364"/>
                    </a:lnTo>
                    <a:lnTo>
                      <a:pt x="691" y="21465"/>
                    </a:lnTo>
                    <a:lnTo>
                      <a:pt x="837" y="21566"/>
                    </a:lnTo>
                    <a:lnTo>
                      <a:pt x="977" y="21600"/>
                    </a:lnTo>
                    <a:lnTo>
                      <a:pt x="1147" y="21566"/>
                    </a:lnTo>
                    <a:lnTo>
                      <a:pt x="1311" y="21465"/>
                    </a:lnTo>
                    <a:lnTo>
                      <a:pt x="1381" y="21398"/>
                    </a:lnTo>
                    <a:lnTo>
                      <a:pt x="1451" y="21297"/>
                    </a:lnTo>
                    <a:lnTo>
                      <a:pt x="1527" y="21196"/>
                    </a:lnTo>
                    <a:lnTo>
                      <a:pt x="1592" y="21061"/>
                    </a:lnTo>
                    <a:lnTo>
                      <a:pt x="1650" y="20926"/>
                    </a:lnTo>
                    <a:lnTo>
                      <a:pt x="1715" y="20791"/>
                    </a:lnTo>
                    <a:lnTo>
                      <a:pt x="1773" y="20656"/>
                    </a:lnTo>
                    <a:lnTo>
                      <a:pt x="1879" y="20320"/>
                    </a:lnTo>
                    <a:lnTo>
                      <a:pt x="1931" y="20117"/>
                    </a:lnTo>
                    <a:lnTo>
                      <a:pt x="1978" y="19915"/>
                    </a:lnTo>
                    <a:lnTo>
                      <a:pt x="2019" y="19679"/>
                    </a:lnTo>
                    <a:lnTo>
                      <a:pt x="2060" y="19477"/>
                    </a:lnTo>
                    <a:lnTo>
                      <a:pt x="2095" y="19241"/>
                    </a:lnTo>
                    <a:lnTo>
                      <a:pt x="2136" y="19005"/>
                    </a:lnTo>
                    <a:lnTo>
                      <a:pt x="2171" y="18769"/>
                    </a:lnTo>
                    <a:lnTo>
                      <a:pt x="2224" y="18230"/>
                    </a:lnTo>
                    <a:lnTo>
                      <a:pt x="2271" y="17725"/>
                    </a:lnTo>
                    <a:lnTo>
                      <a:pt x="2306" y="17118"/>
                    </a:lnTo>
                    <a:lnTo>
                      <a:pt x="2341" y="16545"/>
                    </a:lnTo>
                    <a:lnTo>
                      <a:pt x="2353" y="15905"/>
                    </a:lnTo>
                    <a:lnTo>
                      <a:pt x="2358" y="15299"/>
                    </a:lnTo>
                    <a:lnTo>
                      <a:pt x="2353" y="14726"/>
                    </a:lnTo>
                    <a:lnTo>
                      <a:pt x="2347" y="14220"/>
                    </a:lnTo>
                    <a:lnTo>
                      <a:pt x="2323" y="13715"/>
                    </a:lnTo>
                    <a:lnTo>
                      <a:pt x="2300" y="13243"/>
                    </a:lnTo>
                    <a:lnTo>
                      <a:pt x="2230" y="12367"/>
                    </a:lnTo>
                    <a:lnTo>
                      <a:pt x="2183" y="11963"/>
                    </a:lnTo>
                    <a:lnTo>
                      <a:pt x="2130" y="11592"/>
                    </a:lnTo>
                    <a:lnTo>
                      <a:pt x="2066" y="11188"/>
                    </a:lnTo>
                    <a:lnTo>
                      <a:pt x="1996" y="10851"/>
                    </a:lnTo>
                    <a:lnTo>
                      <a:pt x="1919" y="10547"/>
                    </a:lnTo>
                    <a:lnTo>
                      <a:pt x="1832" y="10210"/>
                    </a:lnTo>
                    <a:lnTo>
                      <a:pt x="1744" y="9907"/>
                    </a:lnTo>
                    <a:lnTo>
                      <a:pt x="1644" y="9637"/>
                    </a:lnTo>
                    <a:lnTo>
                      <a:pt x="1539" y="9368"/>
                    </a:lnTo>
                    <a:lnTo>
                      <a:pt x="1422" y="9098"/>
                    </a:lnTo>
                    <a:lnTo>
                      <a:pt x="1258" y="8694"/>
                    </a:lnTo>
                    <a:lnTo>
                      <a:pt x="1112" y="8323"/>
                    </a:lnTo>
                    <a:lnTo>
                      <a:pt x="1048" y="8155"/>
                    </a:lnTo>
                    <a:lnTo>
                      <a:pt x="989" y="7953"/>
                    </a:lnTo>
                    <a:lnTo>
                      <a:pt x="895" y="7548"/>
                    </a:lnTo>
                    <a:lnTo>
                      <a:pt x="854" y="7380"/>
                    </a:lnTo>
                    <a:lnTo>
                      <a:pt x="825" y="7178"/>
                    </a:lnTo>
                    <a:lnTo>
                      <a:pt x="790" y="6942"/>
                    </a:lnTo>
                    <a:lnTo>
                      <a:pt x="767" y="6739"/>
                    </a:lnTo>
                    <a:lnTo>
                      <a:pt x="749" y="6470"/>
                    </a:lnTo>
                    <a:lnTo>
                      <a:pt x="737" y="6200"/>
                    </a:lnTo>
                    <a:lnTo>
                      <a:pt x="732" y="5964"/>
                    </a:lnTo>
                    <a:lnTo>
                      <a:pt x="732" y="5459"/>
                    </a:lnTo>
                    <a:lnTo>
                      <a:pt x="737" y="5189"/>
                    </a:lnTo>
                    <a:lnTo>
                      <a:pt x="749" y="4954"/>
                    </a:lnTo>
                    <a:lnTo>
                      <a:pt x="761" y="4751"/>
                    </a:lnTo>
                    <a:lnTo>
                      <a:pt x="784" y="4549"/>
                    </a:lnTo>
                    <a:lnTo>
                      <a:pt x="813" y="4347"/>
                    </a:lnTo>
                    <a:lnTo>
                      <a:pt x="837" y="4111"/>
                    </a:lnTo>
                    <a:lnTo>
                      <a:pt x="872" y="3943"/>
                    </a:lnTo>
                    <a:lnTo>
                      <a:pt x="954" y="3606"/>
                    </a:lnTo>
                    <a:lnTo>
                      <a:pt x="1001" y="3471"/>
                    </a:lnTo>
                    <a:lnTo>
                      <a:pt x="1118" y="3269"/>
                    </a:lnTo>
                    <a:lnTo>
                      <a:pt x="1182" y="3201"/>
                    </a:lnTo>
                    <a:lnTo>
                      <a:pt x="1258" y="3168"/>
                    </a:lnTo>
                    <a:lnTo>
                      <a:pt x="1451" y="3168"/>
                    </a:lnTo>
                    <a:lnTo>
                      <a:pt x="1568" y="3235"/>
                    </a:lnTo>
                    <a:lnTo>
                      <a:pt x="1767" y="3505"/>
                    </a:lnTo>
                    <a:lnTo>
                      <a:pt x="1855" y="3639"/>
                    </a:lnTo>
                    <a:lnTo>
                      <a:pt x="1937" y="3808"/>
                    </a:lnTo>
                    <a:lnTo>
                      <a:pt x="2001" y="3976"/>
                    </a:lnTo>
                    <a:lnTo>
                      <a:pt x="2054" y="4111"/>
                    </a:lnTo>
                    <a:lnTo>
                      <a:pt x="2212" y="1045"/>
                    </a:lnTo>
                    <a:lnTo>
                      <a:pt x="2142" y="842"/>
                    </a:lnTo>
                    <a:lnTo>
                      <a:pt x="2048" y="674"/>
                    </a:lnTo>
                    <a:lnTo>
                      <a:pt x="1960" y="472"/>
                    </a:lnTo>
                    <a:lnTo>
                      <a:pt x="1849" y="303"/>
                    </a:lnTo>
                    <a:lnTo>
                      <a:pt x="1744" y="202"/>
                    </a:lnTo>
                    <a:lnTo>
                      <a:pt x="1615" y="101"/>
                    </a:lnTo>
                    <a:lnTo>
                      <a:pt x="1486" y="34"/>
                    </a:lnTo>
                    <a:lnTo>
                      <a:pt x="1340" y="0"/>
                    </a:lnTo>
                    <a:lnTo>
                      <a:pt x="1194" y="34"/>
                    </a:lnTo>
                    <a:lnTo>
                      <a:pt x="1065" y="135"/>
                    </a:lnTo>
                    <a:lnTo>
                      <a:pt x="930" y="270"/>
                    </a:lnTo>
                    <a:lnTo>
                      <a:pt x="813" y="472"/>
                    </a:lnTo>
                    <a:lnTo>
                      <a:pt x="696" y="741"/>
                    </a:lnTo>
                    <a:lnTo>
                      <a:pt x="591" y="1011"/>
                    </a:lnTo>
                    <a:lnTo>
                      <a:pt x="492" y="1348"/>
                    </a:lnTo>
                    <a:lnTo>
                      <a:pt x="410" y="1719"/>
                    </a:lnTo>
                    <a:lnTo>
                      <a:pt x="328" y="2157"/>
                    </a:lnTo>
                    <a:lnTo>
                      <a:pt x="257" y="2595"/>
                    </a:lnTo>
                    <a:lnTo>
                      <a:pt x="199" y="3134"/>
                    </a:lnTo>
                    <a:lnTo>
                      <a:pt x="152" y="3639"/>
                    </a:lnTo>
                    <a:lnTo>
                      <a:pt x="105" y="4178"/>
                    </a:lnTo>
                    <a:lnTo>
                      <a:pt x="82" y="4785"/>
                    </a:lnTo>
                    <a:lnTo>
                      <a:pt x="64" y="5358"/>
                    </a:lnTo>
                    <a:lnTo>
                      <a:pt x="59" y="6032"/>
                    </a:lnTo>
                    <a:lnTo>
                      <a:pt x="64" y="6537"/>
                    </a:lnTo>
                    <a:lnTo>
                      <a:pt x="76" y="7110"/>
                    </a:lnTo>
                    <a:lnTo>
                      <a:pt x="94" y="7582"/>
                    </a:lnTo>
                    <a:lnTo>
                      <a:pt x="123" y="8087"/>
                    </a:lnTo>
                    <a:lnTo>
                      <a:pt x="170" y="8525"/>
                    </a:lnTo>
                    <a:lnTo>
                      <a:pt x="211" y="8930"/>
                    </a:lnTo>
                    <a:lnTo>
                      <a:pt x="263" y="9334"/>
                    </a:lnTo>
                    <a:lnTo>
                      <a:pt x="322" y="9705"/>
                    </a:lnTo>
                    <a:lnTo>
                      <a:pt x="392" y="10076"/>
                    </a:lnTo>
                    <a:lnTo>
                      <a:pt x="468" y="10446"/>
                    </a:lnTo>
                    <a:lnTo>
                      <a:pt x="544" y="10749"/>
                    </a:lnTo>
                    <a:lnTo>
                      <a:pt x="638" y="11053"/>
                    </a:lnTo>
                    <a:lnTo>
                      <a:pt x="726" y="11322"/>
                    </a:lnTo>
                    <a:lnTo>
                      <a:pt x="831" y="11626"/>
                    </a:lnTo>
                    <a:lnTo>
                      <a:pt x="930" y="11861"/>
                    </a:lnTo>
                    <a:lnTo>
                      <a:pt x="1042" y="12097"/>
                    </a:lnTo>
                    <a:lnTo>
                      <a:pt x="1200" y="12434"/>
                    </a:lnTo>
                    <a:lnTo>
                      <a:pt x="1334" y="12839"/>
                    </a:lnTo>
                    <a:lnTo>
                      <a:pt x="1393" y="13007"/>
                    </a:lnTo>
                    <a:lnTo>
                      <a:pt x="1445" y="13209"/>
                    </a:lnTo>
                    <a:lnTo>
                      <a:pt x="1492" y="13378"/>
                    </a:lnTo>
                    <a:lnTo>
                      <a:pt x="1533" y="13580"/>
                    </a:lnTo>
                    <a:lnTo>
                      <a:pt x="1568" y="13782"/>
                    </a:lnTo>
                    <a:lnTo>
                      <a:pt x="1598" y="14052"/>
                    </a:lnTo>
                    <a:lnTo>
                      <a:pt x="1627" y="14254"/>
                    </a:lnTo>
                    <a:lnTo>
                      <a:pt x="1662" y="14726"/>
                    </a:lnTo>
                    <a:lnTo>
                      <a:pt x="1680" y="14995"/>
                    </a:lnTo>
                    <a:lnTo>
                      <a:pt x="1685" y="15299"/>
                    </a:lnTo>
                    <a:lnTo>
                      <a:pt x="1685" y="15871"/>
                    </a:lnTo>
                    <a:lnTo>
                      <a:pt x="1668" y="16175"/>
                    </a:lnTo>
                    <a:lnTo>
                      <a:pt x="1656" y="16478"/>
                    </a:lnTo>
                    <a:lnTo>
                      <a:pt x="1639" y="16748"/>
                    </a:lnTo>
                    <a:lnTo>
                      <a:pt x="1615" y="16983"/>
                    </a:lnTo>
                    <a:lnTo>
                      <a:pt x="1586" y="17219"/>
                    </a:lnTo>
                    <a:lnTo>
                      <a:pt x="1551" y="17422"/>
                    </a:lnTo>
                    <a:lnTo>
                      <a:pt x="1516" y="17657"/>
                    </a:lnTo>
                    <a:lnTo>
                      <a:pt x="1469" y="17826"/>
                    </a:lnTo>
                    <a:lnTo>
                      <a:pt x="1364" y="18095"/>
                    </a:lnTo>
                    <a:lnTo>
                      <a:pt x="1246" y="18298"/>
                    </a:lnTo>
                    <a:lnTo>
                      <a:pt x="1170" y="18365"/>
                    </a:lnTo>
                    <a:lnTo>
                      <a:pt x="1100" y="18399"/>
                    </a:lnTo>
                    <a:lnTo>
                      <a:pt x="901" y="18399"/>
                    </a:lnTo>
                    <a:lnTo>
                      <a:pt x="772" y="18298"/>
                    </a:lnTo>
                    <a:lnTo>
                      <a:pt x="655" y="18197"/>
                    </a:lnTo>
                    <a:lnTo>
                      <a:pt x="538" y="18028"/>
                    </a:lnTo>
                    <a:lnTo>
                      <a:pt x="328" y="17624"/>
                    </a:lnTo>
                    <a:lnTo>
                      <a:pt x="234" y="17320"/>
                    </a:lnTo>
                    <a:lnTo>
                      <a:pt x="152" y="17085"/>
                    </a:lnTo>
                    <a:lnTo>
                      <a:pt x="0" y="20252"/>
                    </a:lnTo>
                    <a:close/>
                  </a:path>
                </a:pathLst>
              </a:custGeom>
              <a:solidFill>
                <a:srgbClr val="4473B1"/>
              </a:solidFill>
              <a:ln w="3175" cap="flat">
                <a:noFill/>
                <a:miter lim="400000"/>
              </a:ln>
              <a:effectLst/>
            </p:spPr>
            <p:txBody>
              <a:bodyPr wrap="square" lIns="60959" tIns="60959" rIns="60959" bIns="60959" numCol="1" anchor="t">
                <a:noAutofit/>
              </a:bodyPr>
              <a:lstStyle/>
              <a:p>
                <a:pPr defTabSz="685706">
                  <a:defRPr sz="2400">
                    <a:latin typeface="Myriad Pro"/>
                    <a:ea typeface="Myriad Pro"/>
                    <a:cs typeface="Myriad Pro"/>
                    <a:sym typeface="Myriad Pro"/>
                  </a:defRPr>
                </a:pPr>
                <a:endParaRPr sz="2400" kern="0">
                  <a:solidFill>
                    <a:sysClr val="windowText" lastClr="000000"/>
                  </a:solidFill>
                  <a:latin typeface="Myriad Pro"/>
                  <a:ea typeface="Myriad Pro"/>
                  <a:cs typeface="Myriad Pro"/>
                  <a:sym typeface="Myriad Pro"/>
                </a:endParaRPr>
              </a:p>
            </p:txBody>
          </p:sp>
          <p:sp>
            <p:nvSpPr>
              <p:cNvPr id="12" name="Shape 7"/>
              <p:cNvSpPr/>
              <p:nvPr/>
            </p:nvSpPr>
            <p:spPr>
              <a:xfrm>
                <a:off x="8870502" y="3732990"/>
                <a:ext cx="868851" cy="9274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841" y="21263"/>
                    </a:moveTo>
                    <a:lnTo>
                      <a:pt x="20841" y="12434"/>
                    </a:lnTo>
                    <a:lnTo>
                      <a:pt x="21600" y="337"/>
                    </a:lnTo>
                    <a:lnTo>
                      <a:pt x="21127" y="337"/>
                    </a:lnTo>
                    <a:lnTo>
                      <a:pt x="20856" y="5695"/>
                    </a:lnTo>
                    <a:lnTo>
                      <a:pt x="20801" y="6807"/>
                    </a:lnTo>
                    <a:lnTo>
                      <a:pt x="20750" y="7818"/>
                    </a:lnTo>
                    <a:lnTo>
                      <a:pt x="20702" y="8829"/>
                    </a:lnTo>
                    <a:lnTo>
                      <a:pt x="20658" y="9840"/>
                    </a:lnTo>
                    <a:lnTo>
                      <a:pt x="20654" y="9840"/>
                    </a:lnTo>
                    <a:lnTo>
                      <a:pt x="20603" y="8795"/>
                    </a:lnTo>
                    <a:lnTo>
                      <a:pt x="20559" y="7818"/>
                    </a:lnTo>
                    <a:lnTo>
                      <a:pt x="20511" y="6807"/>
                    </a:lnTo>
                    <a:lnTo>
                      <a:pt x="20453" y="5729"/>
                    </a:lnTo>
                    <a:lnTo>
                      <a:pt x="20182" y="337"/>
                    </a:lnTo>
                    <a:lnTo>
                      <a:pt x="19709" y="337"/>
                    </a:lnTo>
                    <a:lnTo>
                      <a:pt x="20427" y="12535"/>
                    </a:lnTo>
                    <a:lnTo>
                      <a:pt x="20427" y="21263"/>
                    </a:lnTo>
                    <a:lnTo>
                      <a:pt x="20841" y="21263"/>
                    </a:lnTo>
                    <a:close/>
                    <a:moveTo>
                      <a:pt x="19492" y="17624"/>
                    </a:moveTo>
                    <a:lnTo>
                      <a:pt x="19448" y="17792"/>
                    </a:lnTo>
                    <a:lnTo>
                      <a:pt x="19401" y="17927"/>
                    </a:lnTo>
                    <a:lnTo>
                      <a:pt x="19342" y="18062"/>
                    </a:lnTo>
                    <a:lnTo>
                      <a:pt x="19287" y="18163"/>
                    </a:lnTo>
                    <a:lnTo>
                      <a:pt x="19225" y="18264"/>
                    </a:lnTo>
                    <a:lnTo>
                      <a:pt x="19166" y="18331"/>
                    </a:lnTo>
                    <a:lnTo>
                      <a:pt x="19100" y="18365"/>
                    </a:lnTo>
                    <a:lnTo>
                      <a:pt x="18994" y="18365"/>
                    </a:lnTo>
                    <a:lnTo>
                      <a:pt x="18946" y="18331"/>
                    </a:lnTo>
                    <a:lnTo>
                      <a:pt x="18902" y="18298"/>
                    </a:lnTo>
                    <a:lnTo>
                      <a:pt x="18862" y="18230"/>
                    </a:lnTo>
                    <a:lnTo>
                      <a:pt x="18818" y="18163"/>
                    </a:lnTo>
                    <a:lnTo>
                      <a:pt x="18781" y="18095"/>
                    </a:lnTo>
                    <a:lnTo>
                      <a:pt x="18741" y="17994"/>
                    </a:lnTo>
                    <a:lnTo>
                      <a:pt x="18708" y="17860"/>
                    </a:lnTo>
                    <a:lnTo>
                      <a:pt x="18668" y="17725"/>
                    </a:lnTo>
                    <a:lnTo>
                      <a:pt x="18635" y="17590"/>
                    </a:lnTo>
                    <a:lnTo>
                      <a:pt x="18602" y="17388"/>
                    </a:lnTo>
                    <a:lnTo>
                      <a:pt x="18572" y="17219"/>
                    </a:lnTo>
                    <a:lnTo>
                      <a:pt x="18536" y="17017"/>
                    </a:lnTo>
                    <a:lnTo>
                      <a:pt x="18510" y="16815"/>
                    </a:lnTo>
                    <a:lnTo>
                      <a:pt x="18481" y="16579"/>
                    </a:lnTo>
                    <a:lnTo>
                      <a:pt x="18459" y="16377"/>
                    </a:lnTo>
                    <a:lnTo>
                      <a:pt x="18433" y="16074"/>
                    </a:lnTo>
                    <a:lnTo>
                      <a:pt x="18407" y="15838"/>
                    </a:lnTo>
                    <a:lnTo>
                      <a:pt x="18385" y="15568"/>
                    </a:lnTo>
                    <a:lnTo>
                      <a:pt x="18367" y="15265"/>
                    </a:lnTo>
                    <a:lnTo>
                      <a:pt x="18349" y="14928"/>
                    </a:lnTo>
                    <a:lnTo>
                      <a:pt x="18330" y="14625"/>
                    </a:lnTo>
                    <a:lnTo>
                      <a:pt x="18316" y="14321"/>
                    </a:lnTo>
                    <a:lnTo>
                      <a:pt x="18301" y="13984"/>
                    </a:lnTo>
                    <a:lnTo>
                      <a:pt x="18276" y="13243"/>
                    </a:lnTo>
                    <a:lnTo>
                      <a:pt x="18261" y="12502"/>
                    </a:lnTo>
                    <a:lnTo>
                      <a:pt x="18250" y="11693"/>
                    </a:lnTo>
                    <a:lnTo>
                      <a:pt x="18246" y="10851"/>
                    </a:lnTo>
                    <a:lnTo>
                      <a:pt x="18250" y="10412"/>
                    </a:lnTo>
                    <a:lnTo>
                      <a:pt x="18250" y="9941"/>
                    </a:lnTo>
                    <a:lnTo>
                      <a:pt x="18257" y="9503"/>
                    </a:lnTo>
                    <a:lnTo>
                      <a:pt x="18261" y="9098"/>
                    </a:lnTo>
                    <a:lnTo>
                      <a:pt x="18272" y="8660"/>
                    </a:lnTo>
                    <a:lnTo>
                      <a:pt x="18279" y="8290"/>
                    </a:lnTo>
                    <a:lnTo>
                      <a:pt x="18294" y="7919"/>
                    </a:lnTo>
                    <a:lnTo>
                      <a:pt x="18309" y="7515"/>
                    </a:lnTo>
                    <a:lnTo>
                      <a:pt x="18323" y="7178"/>
                    </a:lnTo>
                    <a:lnTo>
                      <a:pt x="18341" y="6841"/>
                    </a:lnTo>
                    <a:lnTo>
                      <a:pt x="18356" y="6504"/>
                    </a:lnTo>
                    <a:lnTo>
                      <a:pt x="18378" y="6200"/>
                    </a:lnTo>
                    <a:lnTo>
                      <a:pt x="18396" y="5931"/>
                    </a:lnTo>
                    <a:lnTo>
                      <a:pt x="18422" y="5661"/>
                    </a:lnTo>
                    <a:lnTo>
                      <a:pt x="18448" y="5358"/>
                    </a:lnTo>
                    <a:lnTo>
                      <a:pt x="18499" y="4886"/>
                    </a:lnTo>
                    <a:lnTo>
                      <a:pt x="18558" y="4482"/>
                    </a:lnTo>
                    <a:lnTo>
                      <a:pt x="18591" y="4280"/>
                    </a:lnTo>
                    <a:lnTo>
                      <a:pt x="18620" y="4077"/>
                    </a:lnTo>
                    <a:lnTo>
                      <a:pt x="18653" y="3943"/>
                    </a:lnTo>
                    <a:lnTo>
                      <a:pt x="18686" y="3774"/>
                    </a:lnTo>
                    <a:lnTo>
                      <a:pt x="18726" y="3673"/>
                    </a:lnTo>
                    <a:lnTo>
                      <a:pt x="18800" y="3437"/>
                    </a:lnTo>
                    <a:lnTo>
                      <a:pt x="18877" y="3302"/>
                    </a:lnTo>
                    <a:lnTo>
                      <a:pt x="18957" y="3201"/>
                    </a:lnTo>
                    <a:lnTo>
                      <a:pt x="19045" y="3168"/>
                    </a:lnTo>
                    <a:lnTo>
                      <a:pt x="19115" y="3201"/>
                    </a:lnTo>
                    <a:lnTo>
                      <a:pt x="19177" y="3235"/>
                    </a:lnTo>
                    <a:lnTo>
                      <a:pt x="19236" y="3302"/>
                    </a:lnTo>
                    <a:lnTo>
                      <a:pt x="19294" y="3403"/>
                    </a:lnTo>
                    <a:lnTo>
                      <a:pt x="19349" y="3538"/>
                    </a:lnTo>
                    <a:lnTo>
                      <a:pt x="19401" y="3673"/>
                    </a:lnTo>
                    <a:lnTo>
                      <a:pt x="19445" y="3808"/>
                    </a:lnTo>
                    <a:lnTo>
                      <a:pt x="19485" y="3976"/>
                    </a:lnTo>
                    <a:lnTo>
                      <a:pt x="19577" y="944"/>
                    </a:lnTo>
                    <a:lnTo>
                      <a:pt x="19544" y="809"/>
                    </a:lnTo>
                    <a:lnTo>
                      <a:pt x="19492" y="640"/>
                    </a:lnTo>
                    <a:lnTo>
                      <a:pt x="19437" y="438"/>
                    </a:lnTo>
                    <a:lnTo>
                      <a:pt x="19371" y="303"/>
                    </a:lnTo>
                    <a:lnTo>
                      <a:pt x="19298" y="202"/>
                    </a:lnTo>
                    <a:lnTo>
                      <a:pt x="19214" y="101"/>
                    </a:lnTo>
                    <a:lnTo>
                      <a:pt x="19126" y="34"/>
                    </a:lnTo>
                    <a:lnTo>
                      <a:pt x="19027" y="0"/>
                    </a:lnTo>
                    <a:lnTo>
                      <a:pt x="18961" y="34"/>
                    </a:lnTo>
                    <a:lnTo>
                      <a:pt x="18899" y="67"/>
                    </a:lnTo>
                    <a:lnTo>
                      <a:pt x="18774" y="202"/>
                    </a:lnTo>
                    <a:lnTo>
                      <a:pt x="18715" y="303"/>
                    </a:lnTo>
                    <a:lnTo>
                      <a:pt x="18657" y="438"/>
                    </a:lnTo>
                    <a:lnTo>
                      <a:pt x="18602" y="573"/>
                    </a:lnTo>
                    <a:lnTo>
                      <a:pt x="18543" y="775"/>
                    </a:lnTo>
                    <a:lnTo>
                      <a:pt x="18440" y="1179"/>
                    </a:lnTo>
                    <a:lnTo>
                      <a:pt x="18385" y="1415"/>
                    </a:lnTo>
                    <a:lnTo>
                      <a:pt x="18338" y="1685"/>
                    </a:lnTo>
                    <a:lnTo>
                      <a:pt x="18287" y="1988"/>
                    </a:lnTo>
                    <a:lnTo>
                      <a:pt x="18243" y="2291"/>
                    </a:lnTo>
                    <a:lnTo>
                      <a:pt x="18202" y="2595"/>
                    </a:lnTo>
                    <a:lnTo>
                      <a:pt x="18162" y="2932"/>
                    </a:lnTo>
                    <a:lnTo>
                      <a:pt x="18118" y="3336"/>
                    </a:lnTo>
                    <a:lnTo>
                      <a:pt x="18081" y="3707"/>
                    </a:lnTo>
                    <a:lnTo>
                      <a:pt x="18048" y="4111"/>
                    </a:lnTo>
                    <a:lnTo>
                      <a:pt x="18012" y="4549"/>
                    </a:lnTo>
                    <a:lnTo>
                      <a:pt x="17982" y="4987"/>
                    </a:lnTo>
                    <a:lnTo>
                      <a:pt x="17953" y="5459"/>
                    </a:lnTo>
                    <a:lnTo>
                      <a:pt x="17927" y="5931"/>
                    </a:lnTo>
                    <a:lnTo>
                      <a:pt x="17905" y="6402"/>
                    </a:lnTo>
                    <a:lnTo>
                      <a:pt x="17861" y="7481"/>
                    </a:lnTo>
                    <a:lnTo>
                      <a:pt x="17847" y="8054"/>
                    </a:lnTo>
                    <a:lnTo>
                      <a:pt x="17836" y="8593"/>
                    </a:lnTo>
                    <a:lnTo>
                      <a:pt x="17825" y="9199"/>
                    </a:lnTo>
                    <a:lnTo>
                      <a:pt x="17817" y="9772"/>
                    </a:lnTo>
                    <a:lnTo>
                      <a:pt x="17810" y="11053"/>
                    </a:lnTo>
                    <a:lnTo>
                      <a:pt x="17814" y="11659"/>
                    </a:lnTo>
                    <a:lnTo>
                      <a:pt x="17817" y="12198"/>
                    </a:lnTo>
                    <a:lnTo>
                      <a:pt x="17821" y="12805"/>
                    </a:lnTo>
                    <a:lnTo>
                      <a:pt x="17832" y="13310"/>
                    </a:lnTo>
                    <a:lnTo>
                      <a:pt x="17843" y="13883"/>
                    </a:lnTo>
                    <a:lnTo>
                      <a:pt x="17854" y="14389"/>
                    </a:lnTo>
                    <a:lnTo>
                      <a:pt x="17872" y="14861"/>
                    </a:lnTo>
                    <a:lnTo>
                      <a:pt x="17891" y="15400"/>
                    </a:lnTo>
                    <a:lnTo>
                      <a:pt x="17913" y="15838"/>
                    </a:lnTo>
                    <a:lnTo>
                      <a:pt x="17935" y="16310"/>
                    </a:lnTo>
                    <a:lnTo>
                      <a:pt x="17960" y="16748"/>
                    </a:lnTo>
                    <a:lnTo>
                      <a:pt x="17986" y="17152"/>
                    </a:lnTo>
                    <a:lnTo>
                      <a:pt x="18015" y="17590"/>
                    </a:lnTo>
                    <a:lnTo>
                      <a:pt x="18052" y="17994"/>
                    </a:lnTo>
                    <a:lnTo>
                      <a:pt x="18085" y="18331"/>
                    </a:lnTo>
                    <a:lnTo>
                      <a:pt x="18118" y="18702"/>
                    </a:lnTo>
                    <a:lnTo>
                      <a:pt x="18162" y="19039"/>
                    </a:lnTo>
                    <a:lnTo>
                      <a:pt x="18199" y="19342"/>
                    </a:lnTo>
                    <a:lnTo>
                      <a:pt x="18287" y="19949"/>
                    </a:lnTo>
                    <a:lnTo>
                      <a:pt x="18382" y="20421"/>
                    </a:lnTo>
                    <a:lnTo>
                      <a:pt x="18484" y="20825"/>
                    </a:lnTo>
                    <a:lnTo>
                      <a:pt x="18539" y="20993"/>
                    </a:lnTo>
                    <a:lnTo>
                      <a:pt x="18598" y="21162"/>
                    </a:lnTo>
                    <a:lnTo>
                      <a:pt x="18653" y="21297"/>
                    </a:lnTo>
                    <a:lnTo>
                      <a:pt x="18715" y="21398"/>
                    </a:lnTo>
                    <a:lnTo>
                      <a:pt x="18774" y="21465"/>
                    </a:lnTo>
                    <a:lnTo>
                      <a:pt x="18836" y="21533"/>
                    </a:lnTo>
                    <a:lnTo>
                      <a:pt x="18906" y="21566"/>
                    </a:lnTo>
                    <a:lnTo>
                      <a:pt x="18968" y="21600"/>
                    </a:lnTo>
                    <a:lnTo>
                      <a:pt x="19071" y="21566"/>
                    </a:lnTo>
                    <a:lnTo>
                      <a:pt x="19166" y="21499"/>
                    </a:lnTo>
                    <a:lnTo>
                      <a:pt x="19254" y="21398"/>
                    </a:lnTo>
                    <a:lnTo>
                      <a:pt x="19331" y="21297"/>
                    </a:lnTo>
                    <a:lnTo>
                      <a:pt x="19404" y="21162"/>
                    </a:lnTo>
                    <a:lnTo>
                      <a:pt x="19463" y="20960"/>
                    </a:lnTo>
                    <a:lnTo>
                      <a:pt x="19514" y="20791"/>
                    </a:lnTo>
                    <a:lnTo>
                      <a:pt x="19562" y="20623"/>
                    </a:lnTo>
                    <a:lnTo>
                      <a:pt x="19492" y="17624"/>
                    </a:lnTo>
                    <a:close/>
                    <a:moveTo>
                      <a:pt x="16032" y="21263"/>
                    </a:moveTo>
                    <a:lnTo>
                      <a:pt x="16032" y="10143"/>
                    </a:lnTo>
                    <a:lnTo>
                      <a:pt x="16021" y="6908"/>
                    </a:lnTo>
                    <a:lnTo>
                      <a:pt x="16018" y="5897"/>
                    </a:lnTo>
                    <a:lnTo>
                      <a:pt x="16014" y="4852"/>
                    </a:lnTo>
                    <a:lnTo>
                      <a:pt x="16021" y="4852"/>
                    </a:lnTo>
                    <a:lnTo>
                      <a:pt x="16065" y="5729"/>
                    </a:lnTo>
                    <a:lnTo>
                      <a:pt x="16113" y="6672"/>
                    </a:lnTo>
                    <a:lnTo>
                      <a:pt x="16164" y="7548"/>
                    </a:lnTo>
                    <a:lnTo>
                      <a:pt x="16212" y="8458"/>
                    </a:lnTo>
                    <a:lnTo>
                      <a:pt x="16267" y="9402"/>
                    </a:lnTo>
                    <a:lnTo>
                      <a:pt x="16322" y="10311"/>
                    </a:lnTo>
                    <a:lnTo>
                      <a:pt x="16432" y="12064"/>
                    </a:lnTo>
                    <a:lnTo>
                      <a:pt x="17022" y="21263"/>
                    </a:lnTo>
                    <a:lnTo>
                      <a:pt x="17451" y="21263"/>
                    </a:lnTo>
                    <a:lnTo>
                      <a:pt x="17451" y="337"/>
                    </a:lnTo>
                    <a:lnTo>
                      <a:pt x="17070" y="337"/>
                    </a:lnTo>
                    <a:lnTo>
                      <a:pt x="17070" y="8795"/>
                    </a:lnTo>
                    <a:lnTo>
                      <a:pt x="17073" y="9941"/>
                    </a:lnTo>
                    <a:lnTo>
                      <a:pt x="17073" y="11053"/>
                    </a:lnTo>
                    <a:lnTo>
                      <a:pt x="17077" y="12131"/>
                    </a:lnTo>
                    <a:lnTo>
                      <a:pt x="17084" y="13176"/>
                    </a:lnTo>
                    <a:lnTo>
                      <a:pt x="17088" y="14220"/>
                    </a:lnTo>
                    <a:lnTo>
                      <a:pt x="17099" y="15265"/>
                    </a:lnTo>
                    <a:lnTo>
                      <a:pt x="17106" y="16310"/>
                    </a:lnTo>
                    <a:lnTo>
                      <a:pt x="17099" y="16343"/>
                    </a:lnTo>
                    <a:lnTo>
                      <a:pt x="17055" y="15467"/>
                    </a:lnTo>
                    <a:lnTo>
                      <a:pt x="17015" y="14591"/>
                    </a:lnTo>
                    <a:lnTo>
                      <a:pt x="16971" y="13715"/>
                    </a:lnTo>
                    <a:lnTo>
                      <a:pt x="16919" y="12839"/>
                    </a:lnTo>
                    <a:lnTo>
                      <a:pt x="16872" y="11963"/>
                    </a:lnTo>
                    <a:lnTo>
                      <a:pt x="16820" y="11053"/>
                    </a:lnTo>
                    <a:lnTo>
                      <a:pt x="16765" y="10177"/>
                    </a:lnTo>
                    <a:lnTo>
                      <a:pt x="16710" y="9334"/>
                    </a:lnTo>
                    <a:lnTo>
                      <a:pt x="16124" y="337"/>
                    </a:lnTo>
                    <a:lnTo>
                      <a:pt x="15651" y="337"/>
                    </a:lnTo>
                    <a:lnTo>
                      <a:pt x="15651" y="21263"/>
                    </a:lnTo>
                    <a:lnTo>
                      <a:pt x="16032" y="21263"/>
                    </a:lnTo>
                    <a:close/>
                    <a:moveTo>
                      <a:pt x="14027" y="12434"/>
                    </a:moveTo>
                    <a:lnTo>
                      <a:pt x="14207" y="7279"/>
                    </a:lnTo>
                    <a:lnTo>
                      <a:pt x="14236" y="6301"/>
                    </a:lnTo>
                    <a:lnTo>
                      <a:pt x="14313" y="3370"/>
                    </a:lnTo>
                    <a:lnTo>
                      <a:pt x="14324" y="3370"/>
                    </a:lnTo>
                    <a:lnTo>
                      <a:pt x="14350" y="4313"/>
                    </a:lnTo>
                    <a:lnTo>
                      <a:pt x="14376" y="5290"/>
                    </a:lnTo>
                    <a:lnTo>
                      <a:pt x="14434" y="7312"/>
                    </a:lnTo>
                    <a:lnTo>
                      <a:pt x="14617" y="12434"/>
                    </a:lnTo>
                    <a:lnTo>
                      <a:pt x="14027" y="12434"/>
                    </a:lnTo>
                    <a:close/>
                    <a:moveTo>
                      <a:pt x="14683" y="15366"/>
                    </a:moveTo>
                    <a:lnTo>
                      <a:pt x="14892" y="21263"/>
                    </a:lnTo>
                    <a:lnTo>
                      <a:pt x="15336" y="21263"/>
                    </a:lnTo>
                    <a:lnTo>
                      <a:pt x="14599" y="337"/>
                    </a:lnTo>
                    <a:lnTo>
                      <a:pt x="14071" y="337"/>
                    </a:lnTo>
                    <a:lnTo>
                      <a:pt x="13338" y="21263"/>
                    </a:lnTo>
                    <a:lnTo>
                      <a:pt x="13767" y="21263"/>
                    </a:lnTo>
                    <a:lnTo>
                      <a:pt x="13961" y="15366"/>
                    </a:lnTo>
                    <a:lnTo>
                      <a:pt x="14683" y="15366"/>
                    </a:lnTo>
                    <a:close/>
                    <a:moveTo>
                      <a:pt x="12422" y="21263"/>
                    </a:moveTo>
                    <a:lnTo>
                      <a:pt x="12836" y="21263"/>
                    </a:lnTo>
                    <a:lnTo>
                      <a:pt x="12836" y="3538"/>
                    </a:lnTo>
                    <a:lnTo>
                      <a:pt x="13489" y="3538"/>
                    </a:lnTo>
                    <a:lnTo>
                      <a:pt x="13489" y="337"/>
                    </a:lnTo>
                    <a:lnTo>
                      <a:pt x="11769" y="337"/>
                    </a:lnTo>
                    <a:lnTo>
                      <a:pt x="11769" y="3538"/>
                    </a:lnTo>
                    <a:lnTo>
                      <a:pt x="12422" y="3538"/>
                    </a:lnTo>
                    <a:lnTo>
                      <a:pt x="12422" y="21263"/>
                    </a:lnTo>
                    <a:close/>
                    <a:moveTo>
                      <a:pt x="10652" y="21263"/>
                    </a:moveTo>
                    <a:lnTo>
                      <a:pt x="12004" y="21263"/>
                    </a:lnTo>
                    <a:lnTo>
                      <a:pt x="12004" y="18062"/>
                    </a:lnTo>
                    <a:lnTo>
                      <a:pt x="11069" y="18062"/>
                    </a:lnTo>
                    <a:lnTo>
                      <a:pt x="11069" y="337"/>
                    </a:lnTo>
                    <a:lnTo>
                      <a:pt x="10652" y="337"/>
                    </a:lnTo>
                    <a:lnTo>
                      <a:pt x="10652" y="21263"/>
                    </a:lnTo>
                    <a:close/>
                    <a:moveTo>
                      <a:pt x="8405" y="337"/>
                    </a:moveTo>
                    <a:lnTo>
                      <a:pt x="8405" y="12906"/>
                    </a:lnTo>
                    <a:lnTo>
                      <a:pt x="8412" y="14052"/>
                    </a:lnTo>
                    <a:lnTo>
                      <a:pt x="8427" y="15130"/>
                    </a:lnTo>
                    <a:lnTo>
                      <a:pt x="8441" y="15602"/>
                    </a:lnTo>
                    <a:lnTo>
                      <a:pt x="8452" y="16074"/>
                    </a:lnTo>
                    <a:lnTo>
                      <a:pt x="8467" y="16545"/>
                    </a:lnTo>
                    <a:lnTo>
                      <a:pt x="8482" y="16950"/>
                    </a:lnTo>
                    <a:lnTo>
                      <a:pt x="8500" y="17354"/>
                    </a:lnTo>
                    <a:lnTo>
                      <a:pt x="8518" y="17792"/>
                    </a:lnTo>
                    <a:lnTo>
                      <a:pt x="8562" y="18466"/>
                    </a:lnTo>
                    <a:lnTo>
                      <a:pt x="8588" y="18837"/>
                    </a:lnTo>
                    <a:lnTo>
                      <a:pt x="8614" y="19140"/>
                    </a:lnTo>
                    <a:lnTo>
                      <a:pt x="8639" y="19410"/>
                    </a:lnTo>
                    <a:lnTo>
                      <a:pt x="8698" y="19949"/>
                    </a:lnTo>
                    <a:lnTo>
                      <a:pt x="8735" y="20185"/>
                    </a:lnTo>
                    <a:lnTo>
                      <a:pt x="8801" y="20589"/>
                    </a:lnTo>
                    <a:lnTo>
                      <a:pt x="8837" y="20758"/>
                    </a:lnTo>
                    <a:lnTo>
                      <a:pt x="8878" y="20926"/>
                    </a:lnTo>
                    <a:lnTo>
                      <a:pt x="8914" y="21061"/>
                    </a:lnTo>
                    <a:lnTo>
                      <a:pt x="8954" y="21196"/>
                    </a:lnTo>
                    <a:lnTo>
                      <a:pt x="8998" y="21330"/>
                    </a:lnTo>
                    <a:lnTo>
                      <a:pt x="9039" y="21398"/>
                    </a:lnTo>
                    <a:lnTo>
                      <a:pt x="9083" y="21465"/>
                    </a:lnTo>
                    <a:lnTo>
                      <a:pt x="9174" y="21566"/>
                    </a:lnTo>
                    <a:lnTo>
                      <a:pt x="9273" y="21600"/>
                    </a:lnTo>
                    <a:lnTo>
                      <a:pt x="9321" y="21600"/>
                    </a:lnTo>
                    <a:lnTo>
                      <a:pt x="9369" y="21566"/>
                    </a:lnTo>
                    <a:lnTo>
                      <a:pt x="9420" y="21533"/>
                    </a:lnTo>
                    <a:lnTo>
                      <a:pt x="9468" y="21465"/>
                    </a:lnTo>
                    <a:lnTo>
                      <a:pt x="9512" y="21398"/>
                    </a:lnTo>
                    <a:lnTo>
                      <a:pt x="9559" y="21297"/>
                    </a:lnTo>
                    <a:lnTo>
                      <a:pt x="9600" y="21196"/>
                    </a:lnTo>
                    <a:lnTo>
                      <a:pt x="9644" y="21027"/>
                    </a:lnTo>
                    <a:lnTo>
                      <a:pt x="9688" y="20892"/>
                    </a:lnTo>
                    <a:lnTo>
                      <a:pt x="9761" y="20555"/>
                    </a:lnTo>
                    <a:lnTo>
                      <a:pt x="9834" y="20151"/>
                    </a:lnTo>
                    <a:lnTo>
                      <a:pt x="9867" y="19915"/>
                    </a:lnTo>
                    <a:lnTo>
                      <a:pt x="9929" y="19342"/>
                    </a:lnTo>
                    <a:lnTo>
                      <a:pt x="9962" y="19073"/>
                    </a:lnTo>
                    <a:lnTo>
                      <a:pt x="9988" y="18769"/>
                    </a:lnTo>
                    <a:lnTo>
                      <a:pt x="10014" y="18399"/>
                    </a:lnTo>
                    <a:lnTo>
                      <a:pt x="10036" y="18062"/>
                    </a:lnTo>
                    <a:lnTo>
                      <a:pt x="10058" y="17691"/>
                    </a:lnTo>
                    <a:lnTo>
                      <a:pt x="10080" y="17287"/>
                    </a:lnTo>
                    <a:lnTo>
                      <a:pt x="10116" y="16478"/>
                    </a:lnTo>
                    <a:lnTo>
                      <a:pt x="10131" y="16006"/>
                    </a:lnTo>
                    <a:lnTo>
                      <a:pt x="10142" y="15534"/>
                    </a:lnTo>
                    <a:lnTo>
                      <a:pt x="10153" y="15029"/>
                    </a:lnTo>
                    <a:lnTo>
                      <a:pt x="10168" y="14018"/>
                    </a:lnTo>
                    <a:lnTo>
                      <a:pt x="10175" y="13445"/>
                    </a:lnTo>
                    <a:lnTo>
                      <a:pt x="10179" y="12906"/>
                    </a:lnTo>
                    <a:lnTo>
                      <a:pt x="10179" y="337"/>
                    </a:lnTo>
                    <a:lnTo>
                      <a:pt x="9765" y="337"/>
                    </a:lnTo>
                    <a:lnTo>
                      <a:pt x="9765" y="12535"/>
                    </a:lnTo>
                    <a:lnTo>
                      <a:pt x="9761" y="13277"/>
                    </a:lnTo>
                    <a:lnTo>
                      <a:pt x="9754" y="13984"/>
                    </a:lnTo>
                    <a:lnTo>
                      <a:pt x="9746" y="14591"/>
                    </a:lnTo>
                    <a:lnTo>
                      <a:pt x="9732" y="15198"/>
                    </a:lnTo>
                    <a:lnTo>
                      <a:pt x="9713" y="15737"/>
                    </a:lnTo>
                    <a:lnTo>
                      <a:pt x="9669" y="16680"/>
                    </a:lnTo>
                    <a:lnTo>
                      <a:pt x="9636" y="17051"/>
                    </a:lnTo>
                    <a:lnTo>
                      <a:pt x="9570" y="17725"/>
                    </a:lnTo>
                    <a:lnTo>
                      <a:pt x="9530" y="17961"/>
                    </a:lnTo>
                    <a:lnTo>
                      <a:pt x="9486" y="18163"/>
                    </a:lnTo>
                    <a:lnTo>
                      <a:pt x="9442" y="18331"/>
                    </a:lnTo>
                    <a:lnTo>
                      <a:pt x="9394" y="18432"/>
                    </a:lnTo>
                    <a:lnTo>
                      <a:pt x="9339" y="18500"/>
                    </a:lnTo>
                    <a:lnTo>
                      <a:pt x="9233" y="18500"/>
                    </a:lnTo>
                    <a:lnTo>
                      <a:pt x="9185" y="18432"/>
                    </a:lnTo>
                    <a:lnTo>
                      <a:pt x="9138" y="18298"/>
                    </a:lnTo>
                    <a:lnTo>
                      <a:pt x="9094" y="18163"/>
                    </a:lnTo>
                    <a:lnTo>
                      <a:pt x="9053" y="17961"/>
                    </a:lnTo>
                    <a:lnTo>
                      <a:pt x="9017" y="17725"/>
                    </a:lnTo>
                    <a:lnTo>
                      <a:pt x="8976" y="17388"/>
                    </a:lnTo>
                    <a:lnTo>
                      <a:pt x="8947" y="17051"/>
                    </a:lnTo>
                    <a:lnTo>
                      <a:pt x="8918" y="16680"/>
                    </a:lnTo>
                    <a:lnTo>
                      <a:pt x="8892" y="16208"/>
                    </a:lnTo>
                    <a:lnTo>
                      <a:pt x="8874" y="15737"/>
                    </a:lnTo>
                    <a:lnTo>
                      <a:pt x="8856" y="15198"/>
                    </a:lnTo>
                    <a:lnTo>
                      <a:pt x="8837" y="14591"/>
                    </a:lnTo>
                    <a:lnTo>
                      <a:pt x="8826" y="13984"/>
                    </a:lnTo>
                    <a:lnTo>
                      <a:pt x="8819" y="13277"/>
                    </a:lnTo>
                    <a:lnTo>
                      <a:pt x="8819" y="337"/>
                    </a:lnTo>
                    <a:lnTo>
                      <a:pt x="8405" y="337"/>
                    </a:lnTo>
                    <a:close/>
                    <a:moveTo>
                      <a:pt x="6557" y="20252"/>
                    </a:moveTo>
                    <a:lnTo>
                      <a:pt x="6609" y="20522"/>
                    </a:lnTo>
                    <a:lnTo>
                      <a:pt x="6675" y="20758"/>
                    </a:lnTo>
                    <a:lnTo>
                      <a:pt x="6744" y="20960"/>
                    </a:lnTo>
                    <a:lnTo>
                      <a:pt x="6821" y="21196"/>
                    </a:lnTo>
                    <a:lnTo>
                      <a:pt x="6902" y="21364"/>
                    </a:lnTo>
                    <a:lnTo>
                      <a:pt x="6994" y="21465"/>
                    </a:lnTo>
                    <a:lnTo>
                      <a:pt x="7081" y="21566"/>
                    </a:lnTo>
                    <a:lnTo>
                      <a:pt x="7169" y="21600"/>
                    </a:lnTo>
                    <a:lnTo>
                      <a:pt x="7279" y="21566"/>
                    </a:lnTo>
                    <a:lnTo>
                      <a:pt x="7378" y="21465"/>
                    </a:lnTo>
                    <a:lnTo>
                      <a:pt x="7422" y="21398"/>
                    </a:lnTo>
                    <a:lnTo>
                      <a:pt x="7466" y="21297"/>
                    </a:lnTo>
                    <a:lnTo>
                      <a:pt x="7514" y="21196"/>
                    </a:lnTo>
                    <a:lnTo>
                      <a:pt x="7554" y="21061"/>
                    </a:lnTo>
                    <a:lnTo>
                      <a:pt x="7591" y="20926"/>
                    </a:lnTo>
                    <a:lnTo>
                      <a:pt x="7631" y="20791"/>
                    </a:lnTo>
                    <a:lnTo>
                      <a:pt x="7668" y="20656"/>
                    </a:lnTo>
                    <a:lnTo>
                      <a:pt x="7734" y="20320"/>
                    </a:lnTo>
                    <a:lnTo>
                      <a:pt x="7767" y="20117"/>
                    </a:lnTo>
                    <a:lnTo>
                      <a:pt x="7796" y="19915"/>
                    </a:lnTo>
                    <a:lnTo>
                      <a:pt x="7822" y="19679"/>
                    </a:lnTo>
                    <a:lnTo>
                      <a:pt x="7848" y="19477"/>
                    </a:lnTo>
                    <a:lnTo>
                      <a:pt x="7870" y="19241"/>
                    </a:lnTo>
                    <a:lnTo>
                      <a:pt x="7895" y="19005"/>
                    </a:lnTo>
                    <a:lnTo>
                      <a:pt x="7917" y="18769"/>
                    </a:lnTo>
                    <a:lnTo>
                      <a:pt x="7954" y="18230"/>
                    </a:lnTo>
                    <a:lnTo>
                      <a:pt x="7980" y="17725"/>
                    </a:lnTo>
                    <a:lnTo>
                      <a:pt x="8001" y="17118"/>
                    </a:lnTo>
                    <a:lnTo>
                      <a:pt x="8023" y="16545"/>
                    </a:lnTo>
                    <a:lnTo>
                      <a:pt x="8031" y="15905"/>
                    </a:lnTo>
                    <a:lnTo>
                      <a:pt x="8034" y="15299"/>
                    </a:lnTo>
                    <a:lnTo>
                      <a:pt x="8034" y="14726"/>
                    </a:lnTo>
                    <a:lnTo>
                      <a:pt x="8027" y="14220"/>
                    </a:lnTo>
                    <a:lnTo>
                      <a:pt x="8012" y="13715"/>
                    </a:lnTo>
                    <a:lnTo>
                      <a:pt x="7998" y="13243"/>
                    </a:lnTo>
                    <a:lnTo>
                      <a:pt x="7954" y="12367"/>
                    </a:lnTo>
                    <a:lnTo>
                      <a:pt x="7925" y="11963"/>
                    </a:lnTo>
                    <a:lnTo>
                      <a:pt x="7892" y="11592"/>
                    </a:lnTo>
                    <a:lnTo>
                      <a:pt x="7851" y="11188"/>
                    </a:lnTo>
                    <a:lnTo>
                      <a:pt x="7807" y="10851"/>
                    </a:lnTo>
                    <a:lnTo>
                      <a:pt x="7760" y="10547"/>
                    </a:lnTo>
                    <a:lnTo>
                      <a:pt x="7705" y="10210"/>
                    </a:lnTo>
                    <a:lnTo>
                      <a:pt x="7650" y="9907"/>
                    </a:lnTo>
                    <a:lnTo>
                      <a:pt x="7587" y="9637"/>
                    </a:lnTo>
                    <a:lnTo>
                      <a:pt x="7521" y="9368"/>
                    </a:lnTo>
                    <a:lnTo>
                      <a:pt x="7448" y="9098"/>
                    </a:lnTo>
                    <a:lnTo>
                      <a:pt x="7345" y="8694"/>
                    </a:lnTo>
                    <a:lnTo>
                      <a:pt x="7254" y="8323"/>
                    </a:lnTo>
                    <a:lnTo>
                      <a:pt x="7217" y="8155"/>
                    </a:lnTo>
                    <a:lnTo>
                      <a:pt x="7177" y="7953"/>
                    </a:lnTo>
                    <a:lnTo>
                      <a:pt x="7118" y="7548"/>
                    </a:lnTo>
                    <a:lnTo>
                      <a:pt x="7096" y="7380"/>
                    </a:lnTo>
                    <a:lnTo>
                      <a:pt x="7074" y="7178"/>
                    </a:lnTo>
                    <a:lnTo>
                      <a:pt x="7052" y="6942"/>
                    </a:lnTo>
                    <a:lnTo>
                      <a:pt x="7038" y="6739"/>
                    </a:lnTo>
                    <a:lnTo>
                      <a:pt x="7027" y="6470"/>
                    </a:lnTo>
                    <a:lnTo>
                      <a:pt x="7019" y="6200"/>
                    </a:lnTo>
                    <a:lnTo>
                      <a:pt x="7016" y="5964"/>
                    </a:lnTo>
                    <a:lnTo>
                      <a:pt x="7016" y="5459"/>
                    </a:lnTo>
                    <a:lnTo>
                      <a:pt x="7019" y="5189"/>
                    </a:lnTo>
                    <a:lnTo>
                      <a:pt x="7027" y="4954"/>
                    </a:lnTo>
                    <a:lnTo>
                      <a:pt x="7034" y="4751"/>
                    </a:lnTo>
                    <a:lnTo>
                      <a:pt x="7048" y="4549"/>
                    </a:lnTo>
                    <a:lnTo>
                      <a:pt x="7067" y="4347"/>
                    </a:lnTo>
                    <a:lnTo>
                      <a:pt x="7085" y="4111"/>
                    </a:lnTo>
                    <a:lnTo>
                      <a:pt x="7103" y="3943"/>
                    </a:lnTo>
                    <a:lnTo>
                      <a:pt x="7155" y="3606"/>
                    </a:lnTo>
                    <a:lnTo>
                      <a:pt x="7184" y="3471"/>
                    </a:lnTo>
                    <a:lnTo>
                      <a:pt x="7257" y="3269"/>
                    </a:lnTo>
                    <a:lnTo>
                      <a:pt x="7298" y="3201"/>
                    </a:lnTo>
                    <a:lnTo>
                      <a:pt x="7345" y="3168"/>
                    </a:lnTo>
                    <a:lnTo>
                      <a:pt x="7466" y="3168"/>
                    </a:lnTo>
                    <a:lnTo>
                      <a:pt x="7540" y="3235"/>
                    </a:lnTo>
                    <a:lnTo>
                      <a:pt x="7606" y="3370"/>
                    </a:lnTo>
                    <a:lnTo>
                      <a:pt x="7668" y="3505"/>
                    </a:lnTo>
                    <a:lnTo>
                      <a:pt x="7719" y="3639"/>
                    </a:lnTo>
                    <a:lnTo>
                      <a:pt x="7771" y="3808"/>
                    </a:lnTo>
                    <a:lnTo>
                      <a:pt x="7811" y="3976"/>
                    </a:lnTo>
                    <a:lnTo>
                      <a:pt x="7844" y="4111"/>
                    </a:lnTo>
                    <a:lnTo>
                      <a:pt x="7943" y="1045"/>
                    </a:lnTo>
                    <a:lnTo>
                      <a:pt x="7899" y="842"/>
                    </a:lnTo>
                    <a:lnTo>
                      <a:pt x="7840" y="674"/>
                    </a:lnTo>
                    <a:lnTo>
                      <a:pt x="7785" y="472"/>
                    </a:lnTo>
                    <a:lnTo>
                      <a:pt x="7719" y="303"/>
                    </a:lnTo>
                    <a:lnTo>
                      <a:pt x="7650" y="202"/>
                    </a:lnTo>
                    <a:lnTo>
                      <a:pt x="7569" y="101"/>
                    </a:lnTo>
                    <a:lnTo>
                      <a:pt x="7488" y="34"/>
                    </a:lnTo>
                    <a:lnTo>
                      <a:pt x="7400" y="0"/>
                    </a:lnTo>
                    <a:lnTo>
                      <a:pt x="7309" y="34"/>
                    </a:lnTo>
                    <a:lnTo>
                      <a:pt x="7224" y="135"/>
                    </a:lnTo>
                    <a:lnTo>
                      <a:pt x="7140" y="270"/>
                    </a:lnTo>
                    <a:lnTo>
                      <a:pt x="7067" y="472"/>
                    </a:lnTo>
                    <a:lnTo>
                      <a:pt x="6994" y="741"/>
                    </a:lnTo>
                    <a:lnTo>
                      <a:pt x="6928" y="1011"/>
                    </a:lnTo>
                    <a:lnTo>
                      <a:pt x="6865" y="1348"/>
                    </a:lnTo>
                    <a:lnTo>
                      <a:pt x="6814" y="1719"/>
                    </a:lnTo>
                    <a:lnTo>
                      <a:pt x="6763" y="2157"/>
                    </a:lnTo>
                    <a:lnTo>
                      <a:pt x="6719" y="2595"/>
                    </a:lnTo>
                    <a:lnTo>
                      <a:pt x="6682" y="3134"/>
                    </a:lnTo>
                    <a:lnTo>
                      <a:pt x="6653" y="3639"/>
                    </a:lnTo>
                    <a:lnTo>
                      <a:pt x="6627" y="4178"/>
                    </a:lnTo>
                    <a:lnTo>
                      <a:pt x="6609" y="4785"/>
                    </a:lnTo>
                    <a:lnTo>
                      <a:pt x="6598" y="5358"/>
                    </a:lnTo>
                    <a:lnTo>
                      <a:pt x="6594" y="6032"/>
                    </a:lnTo>
                    <a:lnTo>
                      <a:pt x="6598" y="6537"/>
                    </a:lnTo>
                    <a:lnTo>
                      <a:pt x="6605" y="7110"/>
                    </a:lnTo>
                    <a:lnTo>
                      <a:pt x="6620" y="7582"/>
                    </a:lnTo>
                    <a:lnTo>
                      <a:pt x="6638" y="8087"/>
                    </a:lnTo>
                    <a:lnTo>
                      <a:pt x="6664" y="8525"/>
                    </a:lnTo>
                    <a:lnTo>
                      <a:pt x="6689" y="8930"/>
                    </a:lnTo>
                    <a:lnTo>
                      <a:pt x="6722" y="9334"/>
                    </a:lnTo>
                    <a:lnTo>
                      <a:pt x="6759" y="9705"/>
                    </a:lnTo>
                    <a:lnTo>
                      <a:pt x="6807" y="10076"/>
                    </a:lnTo>
                    <a:lnTo>
                      <a:pt x="6851" y="10446"/>
                    </a:lnTo>
                    <a:lnTo>
                      <a:pt x="6898" y="10749"/>
                    </a:lnTo>
                    <a:lnTo>
                      <a:pt x="6957" y="11053"/>
                    </a:lnTo>
                    <a:lnTo>
                      <a:pt x="7012" y="11322"/>
                    </a:lnTo>
                    <a:lnTo>
                      <a:pt x="7078" y="11626"/>
                    </a:lnTo>
                    <a:lnTo>
                      <a:pt x="7140" y="11861"/>
                    </a:lnTo>
                    <a:lnTo>
                      <a:pt x="7210" y="12097"/>
                    </a:lnTo>
                    <a:lnTo>
                      <a:pt x="7309" y="12434"/>
                    </a:lnTo>
                    <a:lnTo>
                      <a:pt x="7393" y="12839"/>
                    </a:lnTo>
                    <a:lnTo>
                      <a:pt x="7430" y="13007"/>
                    </a:lnTo>
                    <a:lnTo>
                      <a:pt x="7463" y="13209"/>
                    </a:lnTo>
                    <a:lnTo>
                      <a:pt x="7492" y="13378"/>
                    </a:lnTo>
                    <a:lnTo>
                      <a:pt x="7518" y="13580"/>
                    </a:lnTo>
                    <a:lnTo>
                      <a:pt x="7540" y="13782"/>
                    </a:lnTo>
                    <a:lnTo>
                      <a:pt x="7558" y="14052"/>
                    </a:lnTo>
                    <a:lnTo>
                      <a:pt x="7576" y="14254"/>
                    </a:lnTo>
                    <a:lnTo>
                      <a:pt x="7598" y="14726"/>
                    </a:lnTo>
                    <a:lnTo>
                      <a:pt x="7606" y="14995"/>
                    </a:lnTo>
                    <a:lnTo>
                      <a:pt x="7613" y="15299"/>
                    </a:lnTo>
                    <a:lnTo>
                      <a:pt x="7613" y="15871"/>
                    </a:lnTo>
                    <a:lnTo>
                      <a:pt x="7602" y="16175"/>
                    </a:lnTo>
                    <a:lnTo>
                      <a:pt x="7595" y="16478"/>
                    </a:lnTo>
                    <a:lnTo>
                      <a:pt x="7584" y="16748"/>
                    </a:lnTo>
                    <a:lnTo>
                      <a:pt x="7569" y="16983"/>
                    </a:lnTo>
                    <a:lnTo>
                      <a:pt x="7551" y="17219"/>
                    </a:lnTo>
                    <a:lnTo>
                      <a:pt x="7529" y="17422"/>
                    </a:lnTo>
                    <a:lnTo>
                      <a:pt x="7507" y="17657"/>
                    </a:lnTo>
                    <a:lnTo>
                      <a:pt x="7477" y="17826"/>
                    </a:lnTo>
                    <a:lnTo>
                      <a:pt x="7411" y="18095"/>
                    </a:lnTo>
                    <a:lnTo>
                      <a:pt x="7338" y="18298"/>
                    </a:lnTo>
                    <a:lnTo>
                      <a:pt x="7290" y="18365"/>
                    </a:lnTo>
                    <a:lnTo>
                      <a:pt x="7246" y="18399"/>
                    </a:lnTo>
                    <a:lnTo>
                      <a:pt x="7122" y="18399"/>
                    </a:lnTo>
                    <a:lnTo>
                      <a:pt x="7041" y="18298"/>
                    </a:lnTo>
                    <a:lnTo>
                      <a:pt x="6968" y="18197"/>
                    </a:lnTo>
                    <a:lnTo>
                      <a:pt x="6895" y="18028"/>
                    </a:lnTo>
                    <a:lnTo>
                      <a:pt x="6763" y="17624"/>
                    </a:lnTo>
                    <a:lnTo>
                      <a:pt x="6704" y="17320"/>
                    </a:lnTo>
                    <a:lnTo>
                      <a:pt x="6653" y="17085"/>
                    </a:lnTo>
                    <a:lnTo>
                      <a:pt x="6557" y="20252"/>
                    </a:lnTo>
                    <a:close/>
                    <a:moveTo>
                      <a:pt x="4765" y="21263"/>
                    </a:moveTo>
                    <a:lnTo>
                      <a:pt x="4765" y="12502"/>
                    </a:lnTo>
                    <a:lnTo>
                      <a:pt x="4761" y="11289"/>
                    </a:lnTo>
                    <a:lnTo>
                      <a:pt x="4761" y="10143"/>
                    </a:lnTo>
                    <a:lnTo>
                      <a:pt x="4758" y="9065"/>
                    </a:lnTo>
                    <a:lnTo>
                      <a:pt x="4758" y="7986"/>
                    </a:lnTo>
                    <a:lnTo>
                      <a:pt x="4754" y="6908"/>
                    </a:lnTo>
                    <a:lnTo>
                      <a:pt x="4747" y="5897"/>
                    </a:lnTo>
                    <a:lnTo>
                      <a:pt x="4743" y="4852"/>
                    </a:lnTo>
                    <a:lnTo>
                      <a:pt x="4754" y="4852"/>
                    </a:lnTo>
                    <a:lnTo>
                      <a:pt x="4794" y="5729"/>
                    </a:lnTo>
                    <a:lnTo>
                      <a:pt x="4842" y="6672"/>
                    </a:lnTo>
                    <a:lnTo>
                      <a:pt x="4893" y="7548"/>
                    </a:lnTo>
                    <a:lnTo>
                      <a:pt x="4941" y="8458"/>
                    </a:lnTo>
                    <a:lnTo>
                      <a:pt x="4992" y="9402"/>
                    </a:lnTo>
                    <a:lnTo>
                      <a:pt x="5051" y="10311"/>
                    </a:lnTo>
                    <a:lnTo>
                      <a:pt x="5102" y="11188"/>
                    </a:lnTo>
                    <a:lnTo>
                      <a:pt x="5161" y="12064"/>
                    </a:lnTo>
                    <a:lnTo>
                      <a:pt x="5751" y="21263"/>
                    </a:lnTo>
                    <a:lnTo>
                      <a:pt x="6180" y="21263"/>
                    </a:lnTo>
                    <a:lnTo>
                      <a:pt x="6180" y="337"/>
                    </a:lnTo>
                    <a:lnTo>
                      <a:pt x="5799" y="337"/>
                    </a:lnTo>
                    <a:lnTo>
                      <a:pt x="5799" y="9941"/>
                    </a:lnTo>
                    <a:lnTo>
                      <a:pt x="5802" y="11053"/>
                    </a:lnTo>
                    <a:lnTo>
                      <a:pt x="5806" y="12131"/>
                    </a:lnTo>
                    <a:lnTo>
                      <a:pt x="5810" y="13176"/>
                    </a:lnTo>
                    <a:lnTo>
                      <a:pt x="5824" y="15265"/>
                    </a:lnTo>
                    <a:lnTo>
                      <a:pt x="5835" y="16310"/>
                    </a:lnTo>
                    <a:lnTo>
                      <a:pt x="5824" y="16343"/>
                    </a:lnTo>
                    <a:lnTo>
                      <a:pt x="5744" y="14591"/>
                    </a:lnTo>
                    <a:lnTo>
                      <a:pt x="5700" y="13715"/>
                    </a:lnTo>
                    <a:lnTo>
                      <a:pt x="5648" y="12839"/>
                    </a:lnTo>
                    <a:lnTo>
                      <a:pt x="5601" y="11963"/>
                    </a:lnTo>
                    <a:lnTo>
                      <a:pt x="5546" y="11053"/>
                    </a:lnTo>
                    <a:lnTo>
                      <a:pt x="5494" y="10177"/>
                    </a:lnTo>
                    <a:lnTo>
                      <a:pt x="5439" y="9334"/>
                    </a:lnTo>
                    <a:lnTo>
                      <a:pt x="4853" y="337"/>
                    </a:lnTo>
                    <a:lnTo>
                      <a:pt x="4380" y="337"/>
                    </a:lnTo>
                    <a:lnTo>
                      <a:pt x="4380" y="21263"/>
                    </a:lnTo>
                    <a:lnTo>
                      <a:pt x="4765" y="21263"/>
                    </a:lnTo>
                    <a:close/>
                    <a:moveTo>
                      <a:pt x="2947" y="18534"/>
                    </a:moveTo>
                    <a:lnTo>
                      <a:pt x="2914" y="18500"/>
                    </a:lnTo>
                    <a:lnTo>
                      <a:pt x="2877" y="18500"/>
                    </a:lnTo>
                    <a:lnTo>
                      <a:pt x="2844" y="18432"/>
                    </a:lnTo>
                    <a:lnTo>
                      <a:pt x="2808" y="18365"/>
                    </a:lnTo>
                    <a:lnTo>
                      <a:pt x="2775" y="18298"/>
                    </a:lnTo>
                    <a:lnTo>
                      <a:pt x="2745" y="18197"/>
                    </a:lnTo>
                    <a:lnTo>
                      <a:pt x="2687" y="17927"/>
                    </a:lnTo>
                    <a:lnTo>
                      <a:pt x="2654" y="17759"/>
                    </a:lnTo>
                    <a:lnTo>
                      <a:pt x="2628" y="17624"/>
                    </a:lnTo>
                    <a:lnTo>
                      <a:pt x="2602" y="17388"/>
                    </a:lnTo>
                    <a:lnTo>
                      <a:pt x="2577" y="17186"/>
                    </a:lnTo>
                    <a:lnTo>
                      <a:pt x="2529" y="16748"/>
                    </a:lnTo>
                    <a:lnTo>
                      <a:pt x="2489" y="16242"/>
                    </a:lnTo>
                    <a:lnTo>
                      <a:pt x="2448" y="15703"/>
                    </a:lnTo>
                    <a:lnTo>
                      <a:pt x="2419" y="15130"/>
                    </a:lnTo>
                    <a:lnTo>
                      <a:pt x="2386" y="14490"/>
                    </a:lnTo>
                    <a:lnTo>
                      <a:pt x="2364" y="13816"/>
                    </a:lnTo>
                    <a:lnTo>
                      <a:pt x="2346" y="13108"/>
                    </a:lnTo>
                    <a:lnTo>
                      <a:pt x="2335" y="12367"/>
                    </a:lnTo>
                    <a:lnTo>
                      <a:pt x="2324" y="11659"/>
                    </a:lnTo>
                    <a:lnTo>
                      <a:pt x="2324" y="10076"/>
                    </a:lnTo>
                    <a:lnTo>
                      <a:pt x="2331" y="9334"/>
                    </a:lnTo>
                    <a:lnTo>
                      <a:pt x="2346" y="8593"/>
                    </a:lnTo>
                    <a:lnTo>
                      <a:pt x="2364" y="7919"/>
                    </a:lnTo>
                    <a:lnTo>
                      <a:pt x="2386" y="7211"/>
                    </a:lnTo>
                    <a:lnTo>
                      <a:pt x="2415" y="6537"/>
                    </a:lnTo>
                    <a:lnTo>
                      <a:pt x="2481" y="5392"/>
                    </a:lnTo>
                    <a:lnTo>
                      <a:pt x="2525" y="4886"/>
                    </a:lnTo>
                    <a:lnTo>
                      <a:pt x="2573" y="4448"/>
                    </a:lnTo>
                    <a:lnTo>
                      <a:pt x="2599" y="4246"/>
                    </a:lnTo>
                    <a:lnTo>
                      <a:pt x="2624" y="4010"/>
                    </a:lnTo>
                    <a:lnTo>
                      <a:pt x="2650" y="3841"/>
                    </a:lnTo>
                    <a:lnTo>
                      <a:pt x="2683" y="3673"/>
                    </a:lnTo>
                    <a:lnTo>
                      <a:pt x="2712" y="3538"/>
                    </a:lnTo>
                    <a:lnTo>
                      <a:pt x="2742" y="3437"/>
                    </a:lnTo>
                    <a:lnTo>
                      <a:pt x="2808" y="3235"/>
                    </a:lnTo>
                    <a:lnTo>
                      <a:pt x="2881" y="3100"/>
                    </a:lnTo>
                    <a:lnTo>
                      <a:pt x="2914" y="3066"/>
                    </a:lnTo>
                    <a:lnTo>
                      <a:pt x="2995" y="3066"/>
                    </a:lnTo>
                    <a:lnTo>
                      <a:pt x="3031" y="3100"/>
                    </a:lnTo>
                    <a:lnTo>
                      <a:pt x="3064" y="3168"/>
                    </a:lnTo>
                    <a:lnTo>
                      <a:pt x="3101" y="3235"/>
                    </a:lnTo>
                    <a:lnTo>
                      <a:pt x="3167" y="3437"/>
                    </a:lnTo>
                    <a:lnTo>
                      <a:pt x="3196" y="3572"/>
                    </a:lnTo>
                    <a:lnTo>
                      <a:pt x="3229" y="3707"/>
                    </a:lnTo>
                    <a:lnTo>
                      <a:pt x="3259" y="3841"/>
                    </a:lnTo>
                    <a:lnTo>
                      <a:pt x="3335" y="4448"/>
                    </a:lnTo>
                    <a:lnTo>
                      <a:pt x="3383" y="4886"/>
                    </a:lnTo>
                    <a:lnTo>
                      <a:pt x="3423" y="5392"/>
                    </a:lnTo>
                    <a:lnTo>
                      <a:pt x="3460" y="5964"/>
                    </a:lnTo>
                    <a:lnTo>
                      <a:pt x="3489" y="6537"/>
                    </a:lnTo>
                    <a:lnTo>
                      <a:pt x="3522" y="7211"/>
                    </a:lnTo>
                    <a:lnTo>
                      <a:pt x="3544" y="7885"/>
                    </a:lnTo>
                    <a:lnTo>
                      <a:pt x="3559" y="8559"/>
                    </a:lnTo>
                    <a:lnTo>
                      <a:pt x="3570" y="9267"/>
                    </a:lnTo>
                    <a:lnTo>
                      <a:pt x="3577" y="9974"/>
                    </a:lnTo>
                    <a:lnTo>
                      <a:pt x="3581" y="10716"/>
                    </a:lnTo>
                    <a:lnTo>
                      <a:pt x="3577" y="11558"/>
                    </a:lnTo>
                    <a:lnTo>
                      <a:pt x="3570" y="12300"/>
                    </a:lnTo>
                    <a:lnTo>
                      <a:pt x="3559" y="13075"/>
                    </a:lnTo>
                    <a:lnTo>
                      <a:pt x="3541" y="13782"/>
                    </a:lnTo>
                    <a:lnTo>
                      <a:pt x="3519" y="14490"/>
                    </a:lnTo>
                    <a:lnTo>
                      <a:pt x="3486" y="15130"/>
                    </a:lnTo>
                    <a:lnTo>
                      <a:pt x="3456" y="15737"/>
                    </a:lnTo>
                    <a:lnTo>
                      <a:pt x="3420" y="16242"/>
                    </a:lnTo>
                    <a:lnTo>
                      <a:pt x="3376" y="16781"/>
                    </a:lnTo>
                    <a:lnTo>
                      <a:pt x="3328" y="17219"/>
                    </a:lnTo>
                    <a:lnTo>
                      <a:pt x="3277" y="17624"/>
                    </a:lnTo>
                    <a:lnTo>
                      <a:pt x="3251" y="17792"/>
                    </a:lnTo>
                    <a:lnTo>
                      <a:pt x="3218" y="17927"/>
                    </a:lnTo>
                    <a:lnTo>
                      <a:pt x="3160" y="18197"/>
                    </a:lnTo>
                    <a:lnTo>
                      <a:pt x="3130" y="18298"/>
                    </a:lnTo>
                    <a:lnTo>
                      <a:pt x="3097" y="18365"/>
                    </a:lnTo>
                    <a:lnTo>
                      <a:pt x="3061" y="18432"/>
                    </a:lnTo>
                    <a:lnTo>
                      <a:pt x="3028" y="18500"/>
                    </a:lnTo>
                    <a:lnTo>
                      <a:pt x="2991" y="18500"/>
                    </a:lnTo>
                    <a:lnTo>
                      <a:pt x="2951" y="18534"/>
                    </a:lnTo>
                    <a:lnTo>
                      <a:pt x="2947" y="18534"/>
                    </a:lnTo>
                    <a:close/>
                    <a:moveTo>
                      <a:pt x="2940" y="21600"/>
                    </a:moveTo>
                    <a:lnTo>
                      <a:pt x="2998" y="21600"/>
                    </a:lnTo>
                    <a:lnTo>
                      <a:pt x="3053" y="21566"/>
                    </a:lnTo>
                    <a:lnTo>
                      <a:pt x="3112" y="21499"/>
                    </a:lnTo>
                    <a:lnTo>
                      <a:pt x="3163" y="21432"/>
                    </a:lnTo>
                    <a:lnTo>
                      <a:pt x="3218" y="21330"/>
                    </a:lnTo>
                    <a:lnTo>
                      <a:pt x="3273" y="21196"/>
                    </a:lnTo>
                    <a:lnTo>
                      <a:pt x="3321" y="21027"/>
                    </a:lnTo>
                    <a:lnTo>
                      <a:pt x="3372" y="20859"/>
                    </a:lnTo>
                    <a:lnTo>
                      <a:pt x="3467" y="20454"/>
                    </a:lnTo>
                    <a:lnTo>
                      <a:pt x="3515" y="20218"/>
                    </a:lnTo>
                    <a:lnTo>
                      <a:pt x="3555" y="19983"/>
                    </a:lnTo>
                    <a:lnTo>
                      <a:pt x="3599" y="19679"/>
                    </a:lnTo>
                    <a:lnTo>
                      <a:pt x="3680" y="19073"/>
                    </a:lnTo>
                    <a:lnTo>
                      <a:pt x="3713" y="18736"/>
                    </a:lnTo>
                    <a:lnTo>
                      <a:pt x="3750" y="18365"/>
                    </a:lnTo>
                    <a:lnTo>
                      <a:pt x="3786" y="17961"/>
                    </a:lnTo>
                    <a:lnTo>
                      <a:pt x="3816" y="17590"/>
                    </a:lnTo>
                    <a:lnTo>
                      <a:pt x="3845" y="17152"/>
                    </a:lnTo>
                    <a:lnTo>
                      <a:pt x="3871" y="16714"/>
                    </a:lnTo>
                    <a:lnTo>
                      <a:pt x="3922" y="15770"/>
                    </a:lnTo>
                    <a:lnTo>
                      <a:pt x="3944" y="15265"/>
                    </a:lnTo>
                    <a:lnTo>
                      <a:pt x="3962" y="14726"/>
                    </a:lnTo>
                    <a:lnTo>
                      <a:pt x="3977" y="14220"/>
                    </a:lnTo>
                    <a:lnTo>
                      <a:pt x="3992" y="13647"/>
                    </a:lnTo>
                    <a:lnTo>
                      <a:pt x="4003" y="13075"/>
                    </a:lnTo>
                    <a:lnTo>
                      <a:pt x="4017" y="11861"/>
                    </a:lnTo>
                    <a:lnTo>
                      <a:pt x="4021" y="11221"/>
                    </a:lnTo>
                    <a:lnTo>
                      <a:pt x="4021" y="10008"/>
                    </a:lnTo>
                    <a:lnTo>
                      <a:pt x="4014" y="8930"/>
                    </a:lnTo>
                    <a:lnTo>
                      <a:pt x="4006" y="8424"/>
                    </a:lnTo>
                    <a:lnTo>
                      <a:pt x="3995" y="7919"/>
                    </a:lnTo>
                    <a:lnTo>
                      <a:pt x="3984" y="7380"/>
                    </a:lnTo>
                    <a:lnTo>
                      <a:pt x="3970" y="6908"/>
                    </a:lnTo>
                    <a:lnTo>
                      <a:pt x="3951" y="6402"/>
                    </a:lnTo>
                    <a:lnTo>
                      <a:pt x="3933" y="5931"/>
                    </a:lnTo>
                    <a:lnTo>
                      <a:pt x="3915" y="5493"/>
                    </a:lnTo>
                    <a:lnTo>
                      <a:pt x="3889" y="5021"/>
                    </a:lnTo>
                    <a:lnTo>
                      <a:pt x="3863" y="4617"/>
                    </a:lnTo>
                    <a:lnTo>
                      <a:pt x="3838" y="4178"/>
                    </a:lnTo>
                    <a:lnTo>
                      <a:pt x="3779" y="3437"/>
                    </a:lnTo>
                    <a:lnTo>
                      <a:pt x="3742" y="3066"/>
                    </a:lnTo>
                    <a:lnTo>
                      <a:pt x="3709" y="2696"/>
                    </a:lnTo>
                    <a:lnTo>
                      <a:pt x="3673" y="2393"/>
                    </a:lnTo>
                    <a:lnTo>
                      <a:pt x="3632" y="2089"/>
                    </a:lnTo>
                    <a:lnTo>
                      <a:pt x="3592" y="1752"/>
                    </a:lnTo>
                    <a:lnTo>
                      <a:pt x="3552" y="1483"/>
                    </a:lnTo>
                    <a:lnTo>
                      <a:pt x="3508" y="1247"/>
                    </a:lnTo>
                    <a:lnTo>
                      <a:pt x="3460" y="1011"/>
                    </a:lnTo>
                    <a:lnTo>
                      <a:pt x="3416" y="809"/>
                    </a:lnTo>
                    <a:lnTo>
                      <a:pt x="3361" y="640"/>
                    </a:lnTo>
                    <a:lnTo>
                      <a:pt x="3313" y="438"/>
                    </a:lnTo>
                    <a:lnTo>
                      <a:pt x="3262" y="303"/>
                    </a:lnTo>
                    <a:lnTo>
                      <a:pt x="3204" y="202"/>
                    </a:lnTo>
                    <a:lnTo>
                      <a:pt x="3149" y="101"/>
                    </a:lnTo>
                    <a:lnTo>
                      <a:pt x="3094" y="67"/>
                    </a:lnTo>
                    <a:lnTo>
                      <a:pt x="3031" y="0"/>
                    </a:lnTo>
                    <a:lnTo>
                      <a:pt x="2910" y="0"/>
                    </a:lnTo>
                    <a:lnTo>
                      <a:pt x="2852" y="67"/>
                    </a:lnTo>
                    <a:lnTo>
                      <a:pt x="2793" y="101"/>
                    </a:lnTo>
                    <a:lnTo>
                      <a:pt x="2738" y="202"/>
                    </a:lnTo>
                    <a:lnTo>
                      <a:pt x="2687" y="303"/>
                    </a:lnTo>
                    <a:lnTo>
                      <a:pt x="2632" y="438"/>
                    </a:lnTo>
                    <a:lnTo>
                      <a:pt x="2580" y="640"/>
                    </a:lnTo>
                    <a:lnTo>
                      <a:pt x="2529" y="809"/>
                    </a:lnTo>
                    <a:lnTo>
                      <a:pt x="2481" y="1011"/>
                    </a:lnTo>
                    <a:lnTo>
                      <a:pt x="2437" y="1247"/>
                    </a:lnTo>
                    <a:lnTo>
                      <a:pt x="2390" y="1483"/>
                    </a:lnTo>
                    <a:lnTo>
                      <a:pt x="2346" y="1752"/>
                    </a:lnTo>
                    <a:lnTo>
                      <a:pt x="2306" y="2089"/>
                    </a:lnTo>
                    <a:lnTo>
                      <a:pt x="2262" y="2393"/>
                    </a:lnTo>
                    <a:lnTo>
                      <a:pt x="2225" y="2696"/>
                    </a:lnTo>
                    <a:lnTo>
                      <a:pt x="2188" y="3100"/>
                    </a:lnTo>
                    <a:lnTo>
                      <a:pt x="2155" y="3437"/>
                    </a:lnTo>
                    <a:lnTo>
                      <a:pt x="2119" y="3841"/>
                    </a:lnTo>
                    <a:lnTo>
                      <a:pt x="2089" y="4246"/>
                    </a:lnTo>
                    <a:lnTo>
                      <a:pt x="2060" y="4684"/>
                    </a:lnTo>
                    <a:lnTo>
                      <a:pt x="2034" y="5088"/>
                    </a:lnTo>
                    <a:lnTo>
                      <a:pt x="2012" y="5594"/>
                    </a:lnTo>
                    <a:lnTo>
                      <a:pt x="1987" y="6032"/>
                    </a:lnTo>
                    <a:lnTo>
                      <a:pt x="1965" y="6537"/>
                    </a:lnTo>
                    <a:lnTo>
                      <a:pt x="1946" y="7043"/>
                    </a:lnTo>
                    <a:lnTo>
                      <a:pt x="1932" y="7548"/>
                    </a:lnTo>
                    <a:lnTo>
                      <a:pt x="1921" y="8121"/>
                    </a:lnTo>
                    <a:lnTo>
                      <a:pt x="1910" y="8627"/>
                    </a:lnTo>
                    <a:lnTo>
                      <a:pt x="1899" y="9199"/>
                    </a:lnTo>
                    <a:lnTo>
                      <a:pt x="1895" y="9772"/>
                    </a:lnTo>
                    <a:lnTo>
                      <a:pt x="1891" y="10379"/>
                    </a:lnTo>
                    <a:lnTo>
                      <a:pt x="1888" y="10952"/>
                    </a:lnTo>
                    <a:lnTo>
                      <a:pt x="1895" y="12097"/>
                    </a:lnTo>
                    <a:lnTo>
                      <a:pt x="1899" y="12603"/>
                    </a:lnTo>
                    <a:lnTo>
                      <a:pt x="1906" y="13176"/>
                    </a:lnTo>
                    <a:lnTo>
                      <a:pt x="1917" y="13681"/>
                    </a:lnTo>
                    <a:lnTo>
                      <a:pt x="1928" y="14220"/>
                    </a:lnTo>
                    <a:lnTo>
                      <a:pt x="1943" y="14692"/>
                    </a:lnTo>
                    <a:lnTo>
                      <a:pt x="1961" y="15231"/>
                    </a:lnTo>
                    <a:lnTo>
                      <a:pt x="1979" y="15669"/>
                    </a:lnTo>
                    <a:lnTo>
                      <a:pt x="2005" y="16141"/>
                    </a:lnTo>
                    <a:lnTo>
                      <a:pt x="2049" y="17017"/>
                    </a:lnTo>
                    <a:lnTo>
                      <a:pt x="2108" y="17826"/>
                    </a:lnTo>
                    <a:lnTo>
                      <a:pt x="2207" y="18938"/>
                    </a:lnTo>
                    <a:lnTo>
                      <a:pt x="2243" y="19241"/>
                    </a:lnTo>
                    <a:lnTo>
                      <a:pt x="2284" y="19544"/>
                    </a:lnTo>
                    <a:lnTo>
                      <a:pt x="2324" y="19814"/>
                    </a:lnTo>
                    <a:lnTo>
                      <a:pt x="2364" y="20117"/>
                    </a:lnTo>
                    <a:lnTo>
                      <a:pt x="2412" y="20353"/>
                    </a:lnTo>
                    <a:lnTo>
                      <a:pt x="2456" y="20589"/>
                    </a:lnTo>
                    <a:lnTo>
                      <a:pt x="2500" y="20791"/>
                    </a:lnTo>
                    <a:lnTo>
                      <a:pt x="2551" y="20960"/>
                    </a:lnTo>
                    <a:lnTo>
                      <a:pt x="2602" y="21162"/>
                    </a:lnTo>
                    <a:lnTo>
                      <a:pt x="2654" y="21297"/>
                    </a:lnTo>
                    <a:lnTo>
                      <a:pt x="2709" y="21398"/>
                    </a:lnTo>
                    <a:lnTo>
                      <a:pt x="2760" y="21499"/>
                    </a:lnTo>
                    <a:lnTo>
                      <a:pt x="2819" y="21566"/>
                    </a:lnTo>
                    <a:lnTo>
                      <a:pt x="2877" y="21600"/>
                    </a:lnTo>
                    <a:lnTo>
                      <a:pt x="2940" y="21600"/>
                    </a:lnTo>
                    <a:close/>
                    <a:moveTo>
                      <a:pt x="1679" y="17624"/>
                    </a:moveTo>
                    <a:lnTo>
                      <a:pt x="1638" y="17792"/>
                    </a:lnTo>
                    <a:lnTo>
                      <a:pt x="1591" y="17927"/>
                    </a:lnTo>
                    <a:lnTo>
                      <a:pt x="1532" y="18062"/>
                    </a:lnTo>
                    <a:lnTo>
                      <a:pt x="1477" y="18163"/>
                    </a:lnTo>
                    <a:lnTo>
                      <a:pt x="1415" y="18264"/>
                    </a:lnTo>
                    <a:lnTo>
                      <a:pt x="1356" y="18331"/>
                    </a:lnTo>
                    <a:lnTo>
                      <a:pt x="1290" y="18365"/>
                    </a:lnTo>
                    <a:lnTo>
                      <a:pt x="1184" y="18365"/>
                    </a:lnTo>
                    <a:lnTo>
                      <a:pt x="1136" y="18331"/>
                    </a:lnTo>
                    <a:lnTo>
                      <a:pt x="1092" y="18298"/>
                    </a:lnTo>
                    <a:lnTo>
                      <a:pt x="1052" y="18230"/>
                    </a:lnTo>
                    <a:lnTo>
                      <a:pt x="1008" y="18163"/>
                    </a:lnTo>
                    <a:lnTo>
                      <a:pt x="971" y="18095"/>
                    </a:lnTo>
                    <a:lnTo>
                      <a:pt x="931" y="17994"/>
                    </a:lnTo>
                    <a:lnTo>
                      <a:pt x="891" y="17860"/>
                    </a:lnTo>
                    <a:lnTo>
                      <a:pt x="825" y="17590"/>
                    </a:lnTo>
                    <a:lnTo>
                      <a:pt x="792" y="17388"/>
                    </a:lnTo>
                    <a:lnTo>
                      <a:pt x="759" y="17219"/>
                    </a:lnTo>
                    <a:lnTo>
                      <a:pt x="726" y="17017"/>
                    </a:lnTo>
                    <a:lnTo>
                      <a:pt x="700" y="16815"/>
                    </a:lnTo>
                    <a:lnTo>
                      <a:pt x="671" y="16579"/>
                    </a:lnTo>
                    <a:lnTo>
                      <a:pt x="649" y="16377"/>
                    </a:lnTo>
                    <a:lnTo>
                      <a:pt x="619" y="16074"/>
                    </a:lnTo>
                    <a:lnTo>
                      <a:pt x="597" y="15838"/>
                    </a:lnTo>
                    <a:lnTo>
                      <a:pt x="575" y="15568"/>
                    </a:lnTo>
                    <a:lnTo>
                      <a:pt x="557" y="15265"/>
                    </a:lnTo>
                    <a:lnTo>
                      <a:pt x="539" y="14928"/>
                    </a:lnTo>
                    <a:lnTo>
                      <a:pt x="520" y="14625"/>
                    </a:lnTo>
                    <a:lnTo>
                      <a:pt x="506" y="14321"/>
                    </a:lnTo>
                    <a:lnTo>
                      <a:pt x="491" y="13984"/>
                    </a:lnTo>
                    <a:lnTo>
                      <a:pt x="466" y="13243"/>
                    </a:lnTo>
                    <a:lnTo>
                      <a:pt x="451" y="12502"/>
                    </a:lnTo>
                    <a:lnTo>
                      <a:pt x="440" y="11693"/>
                    </a:lnTo>
                    <a:lnTo>
                      <a:pt x="436" y="10851"/>
                    </a:lnTo>
                    <a:lnTo>
                      <a:pt x="436" y="10412"/>
                    </a:lnTo>
                    <a:lnTo>
                      <a:pt x="440" y="9941"/>
                    </a:lnTo>
                    <a:lnTo>
                      <a:pt x="447" y="9503"/>
                    </a:lnTo>
                    <a:lnTo>
                      <a:pt x="451" y="9098"/>
                    </a:lnTo>
                    <a:lnTo>
                      <a:pt x="458" y="8660"/>
                    </a:lnTo>
                    <a:lnTo>
                      <a:pt x="480" y="7919"/>
                    </a:lnTo>
                    <a:lnTo>
                      <a:pt x="498" y="7515"/>
                    </a:lnTo>
                    <a:lnTo>
                      <a:pt x="513" y="7178"/>
                    </a:lnTo>
                    <a:lnTo>
                      <a:pt x="531" y="6841"/>
                    </a:lnTo>
                    <a:lnTo>
                      <a:pt x="546" y="6504"/>
                    </a:lnTo>
                    <a:lnTo>
                      <a:pt x="568" y="6200"/>
                    </a:lnTo>
                    <a:lnTo>
                      <a:pt x="586" y="5931"/>
                    </a:lnTo>
                    <a:lnTo>
                      <a:pt x="612" y="5661"/>
                    </a:lnTo>
                    <a:lnTo>
                      <a:pt x="638" y="5358"/>
                    </a:lnTo>
                    <a:lnTo>
                      <a:pt x="689" y="4886"/>
                    </a:lnTo>
                    <a:lnTo>
                      <a:pt x="748" y="4482"/>
                    </a:lnTo>
                    <a:lnTo>
                      <a:pt x="781" y="4280"/>
                    </a:lnTo>
                    <a:lnTo>
                      <a:pt x="810" y="4077"/>
                    </a:lnTo>
                    <a:lnTo>
                      <a:pt x="843" y="3943"/>
                    </a:lnTo>
                    <a:lnTo>
                      <a:pt x="876" y="3774"/>
                    </a:lnTo>
                    <a:lnTo>
                      <a:pt x="916" y="3673"/>
                    </a:lnTo>
                    <a:lnTo>
                      <a:pt x="990" y="3437"/>
                    </a:lnTo>
                    <a:lnTo>
                      <a:pt x="1067" y="3302"/>
                    </a:lnTo>
                    <a:lnTo>
                      <a:pt x="1147" y="3201"/>
                    </a:lnTo>
                    <a:lnTo>
                      <a:pt x="1235" y="3168"/>
                    </a:lnTo>
                    <a:lnTo>
                      <a:pt x="1367" y="3235"/>
                    </a:lnTo>
                    <a:lnTo>
                      <a:pt x="1426" y="3302"/>
                    </a:lnTo>
                    <a:lnTo>
                      <a:pt x="1484" y="3403"/>
                    </a:lnTo>
                    <a:lnTo>
                      <a:pt x="1539" y="3538"/>
                    </a:lnTo>
                    <a:lnTo>
                      <a:pt x="1591" y="3673"/>
                    </a:lnTo>
                    <a:lnTo>
                      <a:pt x="1635" y="3808"/>
                    </a:lnTo>
                    <a:lnTo>
                      <a:pt x="1675" y="3976"/>
                    </a:lnTo>
                    <a:lnTo>
                      <a:pt x="1767" y="944"/>
                    </a:lnTo>
                    <a:lnTo>
                      <a:pt x="1734" y="809"/>
                    </a:lnTo>
                    <a:lnTo>
                      <a:pt x="1682" y="640"/>
                    </a:lnTo>
                    <a:lnTo>
                      <a:pt x="1627" y="438"/>
                    </a:lnTo>
                    <a:lnTo>
                      <a:pt x="1561" y="303"/>
                    </a:lnTo>
                    <a:lnTo>
                      <a:pt x="1488" y="202"/>
                    </a:lnTo>
                    <a:lnTo>
                      <a:pt x="1404" y="101"/>
                    </a:lnTo>
                    <a:lnTo>
                      <a:pt x="1316" y="34"/>
                    </a:lnTo>
                    <a:lnTo>
                      <a:pt x="1217" y="0"/>
                    </a:lnTo>
                    <a:lnTo>
                      <a:pt x="1151" y="34"/>
                    </a:lnTo>
                    <a:lnTo>
                      <a:pt x="1089" y="67"/>
                    </a:lnTo>
                    <a:lnTo>
                      <a:pt x="964" y="202"/>
                    </a:lnTo>
                    <a:lnTo>
                      <a:pt x="905" y="303"/>
                    </a:lnTo>
                    <a:lnTo>
                      <a:pt x="847" y="438"/>
                    </a:lnTo>
                    <a:lnTo>
                      <a:pt x="792" y="573"/>
                    </a:lnTo>
                    <a:lnTo>
                      <a:pt x="733" y="775"/>
                    </a:lnTo>
                    <a:lnTo>
                      <a:pt x="678" y="977"/>
                    </a:lnTo>
                    <a:lnTo>
                      <a:pt x="630" y="1179"/>
                    </a:lnTo>
                    <a:lnTo>
                      <a:pt x="575" y="1415"/>
                    </a:lnTo>
                    <a:lnTo>
                      <a:pt x="528" y="1685"/>
                    </a:lnTo>
                    <a:lnTo>
                      <a:pt x="476" y="1988"/>
                    </a:lnTo>
                    <a:lnTo>
                      <a:pt x="433" y="2291"/>
                    </a:lnTo>
                    <a:lnTo>
                      <a:pt x="392" y="2595"/>
                    </a:lnTo>
                    <a:lnTo>
                      <a:pt x="345" y="2932"/>
                    </a:lnTo>
                    <a:lnTo>
                      <a:pt x="308" y="3336"/>
                    </a:lnTo>
                    <a:lnTo>
                      <a:pt x="271" y="3707"/>
                    </a:lnTo>
                    <a:lnTo>
                      <a:pt x="238" y="4111"/>
                    </a:lnTo>
                    <a:lnTo>
                      <a:pt x="202" y="4549"/>
                    </a:lnTo>
                    <a:lnTo>
                      <a:pt x="172" y="4987"/>
                    </a:lnTo>
                    <a:lnTo>
                      <a:pt x="143" y="5459"/>
                    </a:lnTo>
                    <a:lnTo>
                      <a:pt x="117" y="5931"/>
                    </a:lnTo>
                    <a:lnTo>
                      <a:pt x="95" y="6402"/>
                    </a:lnTo>
                    <a:lnTo>
                      <a:pt x="70" y="6942"/>
                    </a:lnTo>
                    <a:lnTo>
                      <a:pt x="51" y="7481"/>
                    </a:lnTo>
                    <a:lnTo>
                      <a:pt x="37" y="8054"/>
                    </a:lnTo>
                    <a:lnTo>
                      <a:pt x="22" y="8593"/>
                    </a:lnTo>
                    <a:lnTo>
                      <a:pt x="15" y="9199"/>
                    </a:lnTo>
                    <a:lnTo>
                      <a:pt x="7" y="9772"/>
                    </a:lnTo>
                    <a:lnTo>
                      <a:pt x="0" y="11053"/>
                    </a:lnTo>
                    <a:lnTo>
                      <a:pt x="4" y="11659"/>
                    </a:lnTo>
                    <a:lnTo>
                      <a:pt x="7" y="12198"/>
                    </a:lnTo>
                    <a:lnTo>
                      <a:pt x="11" y="12805"/>
                    </a:lnTo>
                    <a:lnTo>
                      <a:pt x="22" y="13310"/>
                    </a:lnTo>
                    <a:lnTo>
                      <a:pt x="33" y="13883"/>
                    </a:lnTo>
                    <a:lnTo>
                      <a:pt x="44" y="14389"/>
                    </a:lnTo>
                    <a:lnTo>
                      <a:pt x="59" y="14861"/>
                    </a:lnTo>
                    <a:lnTo>
                      <a:pt x="81" y="15400"/>
                    </a:lnTo>
                    <a:lnTo>
                      <a:pt x="103" y="15838"/>
                    </a:lnTo>
                    <a:lnTo>
                      <a:pt x="125" y="16310"/>
                    </a:lnTo>
                    <a:lnTo>
                      <a:pt x="150" y="16748"/>
                    </a:lnTo>
                    <a:lnTo>
                      <a:pt x="176" y="17152"/>
                    </a:lnTo>
                    <a:lnTo>
                      <a:pt x="205" y="17590"/>
                    </a:lnTo>
                    <a:lnTo>
                      <a:pt x="242" y="17994"/>
                    </a:lnTo>
                    <a:lnTo>
                      <a:pt x="275" y="18331"/>
                    </a:lnTo>
                    <a:lnTo>
                      <a:pt x="308" y="18702"/>
                    </a:lnTo>
                    <a:lnTo>
                      <a:pt x="348" y="19039"/>
                    </a:lnTo>
                    <a:lnTo>
                      <a:pt x="389" y="19342"/>
                    </a:lnTo>
                    <a:lnTo>
                      <a:pt x="476" y="19949"/>
                    </a:lnTo>
                    <a:lnTo>
                      <a:pt x="572" y="20421"/>
                    </a:lnTo>
                    <a:lnTo>
                      <a:pt x="619" y="20623"/>
                    </a:lnTo>
                    <a:lnTo>
                      <a:pt x="674" y="20825"/>
                    </a:lnTo>
                    <a:lnTo>
                      <a:pt x="729" y="20993"/>
                    </a:lnTo>
                    <a:lnTo>
                      <a:pt x="788" y="21162"/>
                    </a:lnTo>
                    <a:lnTo>
                      <a:pt x="843" y="21297"/>
                    </a:lnTo>
                    <a:lnTo>
                      <a:pt x="905" y="21398"/>
                    </a:lnTo>
                    <a:lnTo>
                      <a:pt x="964" y="21465"/>
                    </a:lnTo>
                    <a:lnTo>
                      <a:pt x="1026" y="21533"/>
                    </a:lnTo>
                    <a:lnTo>
                      <a:pt x="1158" y="21600"/>
                    </a:lnTo>
                    <a:lnTo>
                      <a:pt x="1261" y="21566"/>
                    </a:lnTo>
                    <a:lnTo>
                      <a:pt x="1356" y="21499"/>
                    </a:lnTo>
                    <a:lnTo>
                      <a:pt x="1440" y="21398"/>
                    </a:lnTo>
                    <a:lnTo>
                      <a:pt x="1521" y="21297"/>
                    </a:lnTo>
                    <a:lnTo>
                      <a:pt x="1594" y="21162"/>
                    </a:lnTo>
                    <a:lnTo>
                      <a:pt x="1653" y="20960"/>
                    </a:lnTo>
                    <a:lnTo>
                      <a:pt x="1704" y="20791"/>
                    </a:lnTo>
                    <a:lnTo>
                      <a:pt x="1752" y="20623"/>
                    </a:lnTo>
                    <a:lnTo>
                      <a:pt x="1679" y="17624"/>
                    </a:lnTo>
                    <a:close/>
                  </a:path>
                </a:pathLst>
              </a:custGeom>
              <a:solidFill>
                <a:srgbClr val="4473B1"/>
              </a:solidFill>
              <a:ln w="3175" cap="flat">
                <a:noFill/>
                <a:miter lim="400000"/>
              </a:ln>
              <a:effectLst/>
            </p:spPr>
            <p:txBody>
              <a:bodyPr wrap="square" lIns="60959" tIns="60959" rIns="60959" bIns="60959" numCol="1" anchor="t">
                <a:noAutofit/>
              </a:bodyPr>
              <a:lstStyle/>
              <a:p>
                <a:pPr defTabSz="685706">
                  <a:defRPr sz="2400">
                    <a:latin typeface="Myriad Pro"/>
                    <a:ea typeface="Myriad Pro"/>
                    <a:cs typeface="Myriad Pro"/>
                    <a:sym typeface="Myriad Pro"/>
                  </a:defRPr>
                </a:pPr>
                <a:endParaRPr sz="2400" kern="0">
                  <a:solidFill>
                    <a:sysClr val="windowText" lastClr="000000"/>
                  </a:solidFill>
                  <a:latin typeface="Myriad Pro"/>
                  <a:ea typeface="Myriad Pro"/>
                  <a:cs typeface="Myriad Pro"/>
                  <a:sym typeface="Myriad Pro"/>
                </a:endParaRPr>
              </a:p>
            </p:txBody>
          </p:sp>
          <p:sp>
            <p:nvSpPr>
              <p:cNvPr id="13" name="Shape 8"/>
              <p:cNvSpPr/>
              <p:nvPr/>
            </p:nvSpPr>
            <p:spPr>
              <a:xfrm>
                <a:off x="8457887" y="3734150"/>
                <a:ext cx="366639" cy="9042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5185" y="6226"/>
                    </a:moveTo>
                    <a:lnTo>
                      <a:pt x="5185" y="0"/>
                    </a:lnTo>
                    <a:lnTo>
                      <a:pt x="0" y="0"/>
                    </a:lnTo>
                    <a:lnTo>
                      <a:pt x="0" y="6226"/>
                    </a:lnTo>
                    <a:lnTo>
                      <a:pt x="1526" y="6226"/>
                    </a:lnTo>
                    <a:lnTo>
                      <a:pt x="1526" y="21600"/>
                    </a:lnTo>
                    <a:lnTo>
                      <a:pt x="3668" y="21600"/>
                    </a:lnTo>
                    <a:lnTo>
                      <a:pt x="3668" y="6226"/>
                    </a:lnTo>
                    <a:lnTo>
                      <a:pt x="5185" y="6226"/>
                    </a:lnTo>
                    <a:close/>
                    <a:moveTo>
                      <a:pt x="7865" y="8696"/>
                    </a:moveTo>
                    <a:lnTo>
                      <a:pt x="6772" y="21600"/>
                    </a:lnTo>
                    <a:lnTo>
                      <a:pt x="4674" y="21600"/>
                    </a:lnTo>
                    <a:lnTo>
                      <a:pt x="6729" y="0"/>
                    </a:lnTo>
                    <a:lnTo>
                      <a:pt x="9001" y="0"/>
                    </a:lnTo>
                    <a:lnTo>
                      <a:pt x="11056" y="21600"/>
                    </a:lnTo>
                    <a:lnTo>
                      <a:pt x="8957" y="21600"/>
                    </a:lnTo>
                    <a:lnTo>
                      <a:pt x="7865" y="8696"/>
                    </a:lnTo>
                    <a:close/>
                    <a:moveTo>
                      <a:pt x="15730" y="6226"/>
                    </a:moveTo>
                    <a:lnTo>
                      <a:pt x="15730" y="0"/>
                    </a:lnTo>
                    <a:lnTo>
                      <a:pt x="10544" y="0"/>
                    </a:lnTo>
                    <a:lnTo>
                      <a:pt x="10544" y="6226"/>
                    </a:lnTo>
                    <a:lnTo>
                      <a:pt x="12062" y="6226"/>
                    </a:lnTo>
                    <a:lnTo>
                      <a:pt x="12062" y="21600"/>
                    </a:lnTo>
                    <a:lnTo>
                      <a:pt x="14212" y="21600"/>
                    </a:lnTo>
                    <a:lnTo>
                      <a:pt x="14212" y="6226"/>
                    </a:lnTo>
                    <a:lnTo>
                      <a:pt x="15730" y="6226"/>
                    </a:lnTo>
                    <a:close/>
                    <a:moveTo>
                      <a:pt x="18409" y="8696"/>
                    </a:moveTo>
                    <a:lnTo>
                      <a:pt x="17308" y="21600"/>
                    </a:lnTo>
                    <a:lnTo>
                      <a:pt x="15209" y="21600"/>
                    </a:lnTo>
                    <a:lnTo>
                      <a:pt x="17264" y="0"/>
                    </a:lnTo>
                    <a:lnTo>
                      <a:pt x="19536" y="0"/>
                    </a:lnTo>
                    <a:lnTo>
                      <a:pt x="21600" y="21600"/>
                    </a:lnTo>
                    <a:lnTo>
                      <a:pt x="19493" y="21600"/>
                    </a:lnTo>
                    <a:lnTo>
                      <a:pt x="18409" y="8696"/>
                    </a:lnTo>
                    <a:close/>
                  </a:path>
                </a:pathLst>
              </a:custGeom>
              <a:solidFill>
                <a:srgbClr val="4473B1"/>
              </a:solidFill>
              <a:ln w="3175" cap="flat">
                <a:noFill/>
                <a:miter lim="400000"/>
              </a:ln>
              <a:effectLst/>
            </p:spPr>
            <p:txBody>
              <a:bodyPr wrap="square" lIns="60959" tIns="60959" rIns="60959" bIns="60959" numCol="1" anchor="t">
                <a:noAutofit/>
              </a:bodyPr>
              <a:lstStyle/>
              <a:p>
                <a:pPr defTabSz="685706">
                  <a:defRPr sz="2400">
                    <a:latin typeface="Myriad Pro"/>
                    <a:ea typeface="Myriad Pro"/>
                    <a:cs typeface="Myriad Pro"/>
                    <a:sym typeface="Myriad Pro"/>
                  </a:defRPr>
                </a:pPr>
                <a:endParaRPr sz="2400" kern="0">
                  <a:solidFill>
                    <a:sysClr val="windowText" lastClr="000000"/>
                  </a:solidFill>
                  <a:latin typeface="Myriad Pro"/>
                  <a:ea typeface="Myriad Pro"/>
                  <a:cs typeface="Myriad Pro"/>
                  <a:sym typeface="Myriad Pro"/>
                </a:endParaRPr>
              </a:p>
            </p:txBody>
          </p:sp>
        </p:grpSp>
        <p:grpSp>
          <p:nvGrpSpPr>
            <p:cNvPr id="16" name="Group 15"/>
            <p:cNvGrpSpPr/>
            <p:nvPr userDrawn="1"/>
          </p:nvGrpSpPr>
          <p:grpSpPr>
            <a:xfrm flipV="1">
              <a:off x="11327674" y="6667939"/>
              <a:ext cx="791610" cy="133198"/>
              <a:chOff x="628314" y="1076374"/>
              <a:chExt cx="3621665" cy="142826"/>
            </a:xfrm>
          </p:grpSpPr>
          <p:sp>
            <p:nvSpPr>
              <p:cNvPr id="18" name="Rounded Rectangle 17"/>
              <p:cNvSpPr/>
              <p:nvPr/>
            </p:nvSpPr>
            <p:spPr>
              <a:xfrm>
                <a:off x="2496513" y="1076374"/>
                <a:ext cx="508000" cy="142826"/>
              </a:xfrm>
              <a:prstGeom prst="roundRect">
                <a:avLst/>
              </a:prstGeom>
              <a:solidFill>
                <a:srgbClr val="019DB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9" name="Rounded Rectangle 18"/>
              <p:cNvSpPr/>
              <p:nvPr/>
            </p:nvSpPr>
            <p:spPr>
              <a:xfrm>
                <a:off x="628314" y="1076374"/>
                <a:ext cx="508000" cy="142826"/>
              </a:xfrm>
              <a:prstGeom prst="roundRect">
                <a:avLst/>
              </a:prstGeom>
              <a:solidFill>
                <a:srgbClr val="FD4D1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20" name="Rounded Rectangle 19"/>
              <p:cNvSpPr/>
              <p:nvPr/>
            </p:nvSpPr>
            <p:spPr>
              <a:xfrm>
                <a:off x="1251047" y="1076374"/>
                <a:ext cx="508000" cy="142826"/>
              </a:xfrm>
              <a:prstGeom prst="roundRect">
                <a:avLst/>
              </a:prstGeom>
              <a:solidFill>
                <a:srgbClr val="FFA01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21" name="Rounded Rectangle 20"/>
              <p:cNvSpPr/>
              <p:nvPr/>
            </p:nvSpPr>
            <p:spPr>
              <a:xfrm>
                <a:off x="1873780" y="1076374"/>
                <a:ext cx="508000" cy="142826"/>
              </a:xfrm>
              <a:prstGeom prst="roundRect">
                <a:avLst/>
              </a:prstGeom>
              <a:solidFill>
                <a:srgbClr val="6BD4D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22" name="Rounded Rectangle 21"/>
              <p:cNvSpPr/>
              <p:nvPr/>
            </p:nvSpPr>
            <p:spPr>
              <a:xfrm>
                <a:off x="3119246" y="1076374"/>
                <a:ext cx="508000" cy="142826"/>
              </a:xfrm>
              <a:prstGeom prst="roundRect">
                <a:avLst/>
              </a:prstGeom>
              <a:solidFill>
                <a:srgbClr val="005C7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/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23" name="Rounded Rectangle 22"/>
              <p:cNvSpPr/>
              <p:nvPr/>
            </p:nvSpPr>
            <p:spPr>
              <a:xfrm>
                <a:off x="3741979" y="1076374"/>
                <a:ext cx="508000" cy="142826"/>
              </a:xfrm>
              <a:prstGeom prst="roundRect">
                <a:avLst/>
              </a:prstGeom>
              <a:solidFill>
                <a:srgbClr val="443B3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/>
                <a:endParaRPr lang="en-US" sz="1800">
                  <a:solidFill>
                    <a:prstClr val="white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496177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457150" y="204788"/>
            <a:ext cx="8228525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the title text format</a:t>
            </a: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150" y="1203724"/>
            <a:ext cx="8228525" cy="33932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25578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the outline text format</a:t>
            </a:r>
          </a:p>
          <a:p>
            <a:pPr lvl="1"/>
            <a:r>
              <a:rPr lang="en-GB" altLang="en-US" smtClean="0"/>
              <a:t>Second Outline Level</a:t>
            </a:r>
          </a:p>
          <a:p>
            <a:pPr lvl="2"/>
            <a:r>
              <a:rPr lang="en-GB" altLang="en-US" smtClean="0"/>
              <a:t>Third Outline Level</a:t>
            </a:r>
          </a:p>
          <a:p>
            <a:pPr lvl="3"/>
            <a:r>
              <a:rPr lang="en-GB" altLang="en-US" smtClean="0"/>
              <a:t>Fourth Outline Level</a:t>
            </a:r>
          </a:p>
          <a:p>
            <a:pPr lvl="4"/>
            <a:r>
              <a:rPr lang="en-GB" altLang="en-US" smtClean="0"/>
              <a:t>Fifth Outline Level</a:t>
            </a:r>
          </a:p>
          <a:p>
            <a:pPr lvl="4"/>
            <a:r>
              <a:rPr lang="en-GB" altLang="en-US" smtClean="0"/>
              <a:t>Sixth Outline Level</a:t>
            </a:r>
          </a:p>
          <a:p>
            <a:pPr lvl="4"/>
            <a:r>
              <a:rPr lang="en-GB" altLang="en-US" smtClean="0"/>
              <a:t>Seventh Outline Level</a:t>
            </a:r>
          </a:p>
          <a:p>
            <a:pPr lvl="4"/>
            <a:r>
              <a:rPr lang="en-GB" altLang="en-US" smtClean="0"/>
              <a:t>Eighth Outline Level</a:t>
            </a:r>
          </a:p>
          <a:p>
            <a:pPr lvl="4"/>
            <a:r>
              <a:rPr lang="en-GB" altLang="en-US" smtClean="0"/>
              <a:t>Ninth Outline Level</a:t>
            </a:r>
          </a:p>
        </p:txBody>
      </p:sp>
      <p:sp>
        <p:nvSpPr>
          <p:cNvPr id="2" name="Rectangle 3"/>
          <p:cNvSpPr>
            <a:spLocks noGrp="1" noChangeArrowheads="1"/>
          </p:cNvSpPr>
          <p:nvPr>
            <p:ph type="dt"/>
          </p:nvPr>
        </p:nvSpPr>
        <p:spPr bwMode="auto">
          <a:xfrm>
            <a:off x="457143" y="4685122"/>
            <a:ext cx="2129343" cy="3536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1">
              <a:lnSpc>
                <a:spcPct val="95000"/>
              </a:lnSpc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723900" algn="l"/>
                <a:tab pos="1447800" algn="l"/>
                <a:tab pos="2171700" algn="l"/>
              </a:tabLst>
              <a:defRPr sz="1400">
                <a:solidFill>
                  <a:srgbClr val="000000"/>
                </a:solidFill>
                <a:latin typeface="Times New Roman" pitchFamily="16" charset="0"/>
                <a:ea typeface="Microsoft YaHei" charset="-122"/>
                <a:cs typeface="+mn-cs"/>
              </a:defRPr>
            </a:lvl1pPr>
          </a:lstStyle>
          <a:p>
            <a:pPr defTabSz="45720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en-US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ftr"/>
          </p:nvPr>
        </p:nvSpPr>
        <p:spPr bwMode="auto">
          <a:xfrm>
            <a:off x="3127177" y="4685122"/>
            <a:ext cx="2896814" cy="3536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 eaLnBrk="1">
              <a:lnSpc>
                <a:spcPct val="95000"/>
              </a:lnSpc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1400">
                <a:solidFill>
                  <a:srgbClr val="000000"/>
                </a:solidFill>
                <a:latin typeface="Times New Roman" pitchFamily="16" charset="0"/>
                <a:ea typeface="Microsoft YaHei" charset="-122"/>
                <a:cs typeface="+mn-cs"/>
              </a:defRPr>
            </a:lvl1pPr>
          </a:lstStyle>
          <a:p>
            <a:pPr defTabSz="45720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en-US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sldNum"/>
          </p:nvPr>
        </p:nvSpPr>
        <p:spPr bwMode="auto">
          <a:xfrm>
            <a:off x="6556326" y="4685122"/>
            <a:ext cx="2129343" cy="3536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1">
              <a:lnSpc>
                <a:spcPct val="95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723900" algn="l"/>
                <a:tab pos="1447800" algn="l"/>
                <a:tab pos="2171700" algn="l"/>
              </a:tabLst>
              <a:defRPr sz="1400" smtClean="0">
                <a:solidFill>
                  <a:srgbClr val="000000"/>
                </a:solidFill>
                <a:latin typeface="Times New Roman" pitchFamily="18" charset="0"/>
                <a:ea typeface="Microsoft YaHei" pitchFamily="34" charset="-122"/>
              </a:defRPr>
            </a:lvl1pPr>
          </a:lstStyle>
          <a:p>
            <a:pPr defTabSz="45720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B2AAA55D-C9FE-4993-A1F6-4ACB5823C511}" type="slidenum">
              <a:rPr lang="en-US" altLang="en-US"/>
              <a:pPr defTabSz="45720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17681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  <p:sldLayoutId id="2147483751" r:id="rId8"/>
    <p:sldLayoutId id="2147483752" r:id="rId9"/>
    <p:sldLayoutId id="2147483753" r:id="rId10"/>
    <p:sldLayoutId id="2147483754" r:id="rId11"/>
    <p:sldLayoutId id="2147483755" r:id="rId12"/>
  </p:sldLayoutIdLst>
  <p:txStyles>
    <p:titleStyle>
      <a:lvl1pPr algn="ctr" defTabSz="457200" rtl="0" eaLnBrk="1" fontAlgn="base" hangingPunct="1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4000">
          <a:solidFill>
            <a:srgbClr val="000000"/>
          </a:solidFill>
          <a:latin typeface="+mj-lt"/>
          <a:ea typeface="ＭＳ Ｐゴシック" pitchFamily="34" charset="-128"/>
          <a:cs typeface="Microsoft YaHei" charset="0"/>
        </a:defRPr>
      </a:lvl1pPr>
      <a:lvl2pPr algn="ctr" defTabSz="457200" rtl="0" eaLnBrk="1" fontAlgn="base" hangingPunct="1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4000">
          <a:solidFill>
            <a:srgbClr val="000000"/>
          </a:solidFill>
          <a:latin typeface="Arial" charset="0"/>
          <a:ea typeface="ＭＳ Ｐゴシック" pitchFamily="34" charset="-128"/>
          <a:cs typeface="Microsoft YaHei" charset="0"/>
        </a:defRPr>
      </a:lvl2pPr>
      <a:lvl3pPr algn="ctr" defTabSz="457200" rtl="0" eaLnBrk="1" fontAlgn="base" hangingPunct="1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4000">
          <a:solidFill>
            <a:srgbClr val="000000"/>
          </a:solidFill>
          <a:latin typeface="Arial" charset="0"/>
          <a:ea typeface="ＭＳ Ｐゴシック" pitchFamily="34" charset="-128"/>
          <a:cs typeface="Microsoft YaHei" charset="0"/>
        </a:defRPr>
      </a:lvl3pPr>
      <a:lvl4pPr algn="ctr" defTabSz="457200" rtl="0" eaLnBrk="1" fontAlgn="base" hangingPunct="1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4000">
          <a:solidFill>
            <a:srgbClr val="000000"/>
          </a:solidFill>
          <a:latin typeface="Arial" charset="0"/>
          <a:ea typeface="ＭＳ Ｐゴシック" pitchFamily="34" charset="-128"/>
          <a:cs typeface="Microsoft YaHei" charset="0"/>
        </a:defRPr>
      </a:lvl4pPr>
      <a:lvl5pPr algn="ctr" defTabSz="457200" rtl="0" eaLnBrk="1" fontAlgn="base" hangingPunct="1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4000">
          <a:solidFill>
            <a:srgbClr val="000000"/>
          </a:solidFill>
          <a:latin typeface="Arial" charset="0"/>
          <a:ea typeface="ＭＳ Ｐゴシック" pitchFamily="34" charset="-128"/>
          <a:cs typeface="Microsoft YaHei" charset="0"/>
        </a:defRPr>
      </a:lvl5pPr>
      <a:lvl6pPr marL="2514600" indent="-228600" algn="ctr" defTabSz="457200" rtl="0" eaLnBrk="1" fontAlgn="base" hangingPunct="1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000">
          <a:solidFill>
            <a:srgbClr val="000000"/>
          </a:solidFill>
          <a:latin typeface="Arial" charset="0"/>
          <a:ea typeface="Microsoft YaHei" charset="-122"/>
        </a:defRPr>
      </a:lvl6pPr>
      <a:lvl7pPr marL="2971800" indent="-228600" algn="ctr" defTabSz="457200" rtl="0" eaLnBrk="1" fontAlgn="base" hangingPunct="1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000">
          <a:solidFill>
            <a:srgbClr val="000000"/>
          </a:solidFill>
          <a:latin typeface="Arial" charset="0"/>
          <a:ea typeface="Microsoft YaHei" charset="-122"/>
        </a:defRPr>
      </a:lvl7pPr>
      <a:lvl8pPr marL="3429000" indent="-228600" algn="ctr" defTabSz="457200" rtl="0" eaLnBrk="1" fontAlgn="base" hangingPunct="1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000">
          <a:solidFill>
            <a:srgbClr val="000000"/>
          </a:solidFill>
          <a:latin typeface="Arial" charset="0"/>
          <a:ea typeface="Microsoft YaHei" charset="-122"/>
        </a:defRPr>
      </a:lvl8pPr>
      <a:lvl9pPr marL="3886200" indent="-228600" algn="ctr" defTabSz="457200" rtl="0" eaLnBrk="1" fontAlgn="base" hangingPunct="1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000">
          <a:solidFill>
            <a:srgbClr val="000000"/>
          </a:solidFill>
          <a:latin typeface="Arial" charset="0"/>
          <a:ea typeface="Microsoft YaHei" charset="-122"/>
        </a:defRPr>
      </a:lvl9pPr>
    </p:titleStyle>
    <p:bodyStyle>
      <a:lvl1pPr marL="342900" indent="-342900" algn="l" defTabSz="457200" rtl="0" eaLnBrk="1" fontAlgn="base" hangingPunct="1">
        <a:lnSpc>
          <a:spcPct val="93000"/>
        </a:lnSpc>
        <a:spcBef>
          <a:spcPct val="0"/>
        </a:spcBef>
        <a:spcAft>
          <a:spcPts val="1288"/>
        </a:spcAft>
        <a:buClr>
          <a:srgbClr val="000000"/>
        </a:buClr>
        <a:buSzPct val="100000"/>
        <a:buFont typeface="Times New Roman" panose="02020603050405020304" pitchFamily="18" charset="0"/>
        <a:defRPr sz="2900">
          <a:solidFill>
            <a:srgbClr val="000000"/>
          </a:solidFill>
          <a:latin typeface="+mn-lt"/>
          <a:ea typeface="ＭＳ Ｐゴシック" pitchFamily="34" charset="-128"/>
          <a:cs typeface="Microsoft YaHei" charset="0"/>
        </a:defRPr>
      </a:lvl1pPr>
      <a:lvl2pPr marL="742950" indent="-285750" algn="l" defTabSz="457200" rtl="0" eaLnBrk="1" fontAlgn="base" hangingPunct="1">
        <a:lnSpc>
          <a:spcPct val="93000"/>
        </a:lnSpc>
        <a:spcBef>
          <a:spcPct val="0"/>
        </a:spcBef>
        <a:spcAft>
          <a:spcPts val="1025"/>
        </a:spcAft>
        <a:buClr>
          <a:srgbClr val="000000"/>
        </a:buClr>
        <a:buSzPct val="100000"/>
        <a:buFont typeface="Times New Roman" panose="02020603050405020304" pitchFamily="18" charset="0"/>
        <a:defRPr sz="2500">
          <a:solidFill>
            <a:srgbClr val="000000"/>
          </a:solidFill>
          <a:latin typeface="+mn-lt"/>
          <a:ea typeface="+mn-ea"/>
          <a:cs typeface="Microsoft YaHei" charset="0"/>
        </a:defRPr>
      </a:lvl2pPr>
      <a:lvl3pPr marL="1143000" indent="-228600" algn="l" defTabSz="457200" rtl="0" eaLnBrk="1" fontAlgn="base" hangingPunct="1">
        <a:lnSpc>
          <a:spcPct val="93000"/>
        </a:lnSpc>
        <a:spcBef>
          <a:spcPct val="0"/>
        </a:spcBef>
        <a:spcAft>
          <a:spcPts val="775"/>
        </a:spcAft>
        <a:buClr>
          <a:srgbClr val="000000"/>
        </a:buClr>
        <a:buSzPct val="100000"/>
        <a:buFont typeface="Times New Roman" panose="02020603050405020304" pitchFamily="18" charset="0"/>
        <a:defRPr sz="2200">
          <a:solidFill>
            <a:srgbClr val="000000"/>
          </a:solidFill>
          <a:latin typeface="+mn-lt"/>
          <a:ea typeface="+mn-ea"/>
          <a:cs typeface="Microsoft YaHei" charset="0"/>
        </a:defRPr>
      </a:lvl3pPr>
      <a:lvl4pPr marL="1600200" indent="-228600" algn="l" defTabSz="457200" rtl="0" eaLnBrk="1" fontAlgn="base" hangingPunct="1">
        <a:lnSpc>
          <a:spcPct val="93000"/>
        </a:lnSpc>
        <a:spcBef>
          <a:spcPct val="0"/>
        </a:spcBef>
        <a:spcAft>
          <a:spcPts val="513"/>
        </a:spcAft>
        <a:buClr>
          <a:srgbClr val="000000"/>
        </a:buClr>
        <a:buSzPct val="100000"/>
        <a:buFont typeface="Times New Roman" panose="02020603050405020304" pitchFamily="18" charset="0"/>
        <a:defRPr>
          <a:solidFill>
            <a:srgbClr val="000000"/>
          </a:solidFill>
          <a:latin typeface="+mn-lt"/>
          <a:ea typeface="+mn-ea"/>
          <a:cs typeface="Microsoft YaHei" charset="0"/>
        </a:defRPr>
      </a:lvl4pPr>
      <a:lvl5pPr marL="2057400" indent="-228600" algn="l" defTabSz="457200" rtl="0" eaLnBrk="1" fontAlgn="base" hangingPunct="1">
        <a:lnSpc>
          <a:spcPct val="93000"/>
        </a:lnSpc>
        <a:spcBef>
          <a:spcPct val="0"/>
        </a:spcBef>
        <a:spcAft>
          <a:spcPts val="263"/>
        </a:spcAft>
        <a:buClr>
          <a:srgbClr val="000000"/>
        </a:buClr>
        <a:buSzPct val="100000"/>
        <a:buFont typeface="Times New Roman" panose="02020603050405020304" pitchFamily="18" charset="0"/>
        <a:defRPr>
          <a:solidFill>
            <a:srgbClr val="000000"/>
          </a:solidFill>
          <a:latin typeface="+mn-lt"/>
          <a:ea typeface="+mn-ea"/>
          <a:cs typeface="Microsoft YaHei" charset="0"/>
        </a:defRPr>
      </a:lvl5pPr>
      <a:lvl6pPr marL="2514600" indent="-228600" algn="l" defTabSz="457200" rtl="0" eaLnBrk="1" fontAlgn="base" hangingPunct="1">
        <a:lnSpc>
          <a:spcPct val="93000"/>
        </a:lnSpc>
        <a:spcBef>
          <a:spcPct val="0"/>
        </a:spcBef>
        <a:spcAft>
          <a:spcPts val="263"/>
        </a:spcAft>
        <a:buClr>
          <a:srgbClr val="000000"/>
        </a:buClr>
        <a:buSzPct val="100000"/>
        <a:buFont typeface="Times New Roman" pitchFamily="16" charset="0"/>
        <a:defRPr>
          <a:solidFill>
            <a:srgbClr val="000000"/>
          </a:solidFill>
          <a:latin typeface="+mn-lt"/>
          <a:ea typeface="+mn-ea"/>
        </a:defRPr>
      </a:lvl6pPr>
      <a:lvl7pPr marL="2971800" indent="-228600" algn="l" defTabSz="457200" rtl="0" eaLnBrk="1" fontAlgn="base" hangingPunct="1">
        <a:lnSpc>
          <a:spcPct val="93000"/>
        </a:lnSpc>
        <a:spcBef>
          <a:spcPct val="0"/>
        </a:spcBef>
        <a:spcAft>
          <a:spcPts val="263"/>
        </a:spcAft>
        <a:buClr>
          <a:srgbClr val="000000"/>
        </a:buClr>
        <a:buSzPct val="100000"/>
        <a:buFont typeface="Times New Roman" pitchFamily="16" charset="0"/>
        <a:defRPr>
          <a:solidFill>
            <a:srgbClr val="000000"/>
          </a:solidFill>
          <a:latin typeface="+mn-lt"/>
          <a:ea typeface="+mn-ea"/>
        </a:defRPr>
      </a:lvl7pPr>
      <a:lvl8pPr marL="3429000" indent="-228600" algn="l" defTabSz="457200" rtl="0" eaLnBrk="1" fontAlgn="base" hangingPunct="1">
        <a:lnSpc>
          <a:spcPct val="93000"/>
        </a:lnSpc>
        <a:spcBef>
          <a:spcPct val="0"/>
        </a:spcBef>
        <a:spcAft>
          <a:spcPts val="263"/>
        </a:spcAft>
        <a:buClr>
          <a:srgbClr val="000000"/>
        </a:buClr>
        <a:buSzPct val="100000"/>
        <a:buFont typeface="Times New Roman" pitchFamily="16" charset="0"/>
        <a:defRPr>
          <a:solidFill>
            <a:srgbClr val="000000"/>
          </a:solidFill>
          <a:latin typeface="+mn-lt"/>
          <a:ea typeface="+mn-ea"/>
        </a:defRPr>
      </a:lvl8pPr>
      <a:lvl9pPr marL="3886200" indent="-228600" algn="l" defTabSz="457200" rtl="0" eaLnBrk="1" fontAlgn="base" hangingPunct="1">
        <a:lnSpc>
          <a:spcPct val="93000"/>
        </a:lnSpc>
        <a:spcBef>
          <a:spcPct val="0"/>
        </a:spcBef>
        <a:spcAft>
          <a:spcPts val="263"/>
        </a:spcAft>
        <a:buClr>
          <a:srgbClr val="000000"/>
        </a:buClr>
        <a:buSzPct val="100000"/>
        <a:buFont typeface="Times New Roman" pitchFamily="16" charset="0"/>
        <a:defRPr>
          <a:solidFill>
            <a:srgbClr val="000000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7" Type="http://schemas.openxmlformats.org/officeDocument/2006/relationships/image" Target="../media/image9.png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7" Type="http://schemas.openxmlformats.org/officeDocument/2006/relationships/image" Target="../media/image11.png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7" Type="http://schemas.openxmlformats.org/officeDocument/2006/relationships/image" Target="../media/image12.png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7" Type="http://schemas.openxmlformats.org/officeDocument/2006/relationships/image" Target="../media/image13.png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Enterprise Data Lake Framework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1950" y="3181350"/>
            <a:ext cx="8439150" cy="457200"/>
          </a:xfrm>
        </p:spPr>
        <p:txBody>
          <a:bodyPr>
            <a:normAutofit/>
          </a:bodyPr>
          <a:lstStyle/>
          <a:p>
            <a:r>
              <a:rPr lang="en-US" sz="2000" dirty="0" smtClean="0"/>
              <a:t>TCS-GE Digital Analytics, Big Data and Information Management</a:t>
            </a:r>
            <a:endParaRPr lang="en-US" sz="2000" dirty="0"/>
          </a:p>
        </p:txBody>
      </p:sp>
      <p:sp>
        <p:nvSpPr>
          <p:cNvPr id="4" name="TextBox 1"/>
          <p:cNvSpPr txBox="1"/>
          <p:nvPr/>
        </p:nvSpPr>
        <p:spPr>
          <a:xfrm>
            <a:off x="3810000" y="4916329"/>
            <a:ext cx="103586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GB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1pPr>
            <a:lvl2pPr marL="742950" indent="-28575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4pPr>
            <a:lvl5pPr marL="20574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9pPr>
          </a:lstStyle>
          <a:p>
            <a:r>
              <a:rPr lang="en-US" sz="1000" dirty="0" smtClean="0">
                <a:solidFill>
                  <a:schemeClr val="tx1"/>
                </a:solidFill>
              </a:rPr>
              <a:t>TCS Confidential</a:t>
            </a:r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614976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233181347"/>
              </p:ext>
            </p:extLst>
          </p:nvPr>
        </p:nvGraphicFramePr>
        <p:xfrm>
          <a:off x="0" y="514350"/>
          <a:ext cx="4724400" cy="4572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Rounded Rectangle 5"/>
          <p:cNvSpPr/>
          <p:nvPr/>
        </p:nvSpPr>
        <p:spPr>
          <a:xfrm>
            <a:off x="4953000" y="929984"/>
            <a:ext cx="3818672" cy="1600200"/>
          </a:xfrm>
          <a:prstGeom prst="round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Technology agnostic roadmap to data lake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 set of foundational structures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et of building </a:t>
            </a: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blocks and their relationships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 detailed method and a set of supporting tools. </a:t>
            </a:r>
            <a:endParaRPr lang="en-US" sz="12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mmon vocabulary. </a:t>
            </a:r>
            <a:endParaRPr lang="en-US" sz="12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 list of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commended </a:t>
            </a: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tandards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 list of best practices and compliant products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40823" y="72281"/>
            <a:ext cx="71737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</a:rPr>
              <a:t>Enterprise Data Lake Framework - Our Methodology for success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876800" y="498306"/>
            <a:ext cx="198163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Framework ?</a:t>
            </a:r>
            <a:endParaRPr lang="en-US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4953000" y="3044990"/>
            <a:ext cx="3818672" cy="1355560"/>
          </a:xfrm>
          <a:prstGeom prst="roundRect">
            <a:avLst/>
          </a:prstGeom>
          <a:solidFill>
            <a:srgbClr val="89C35F"/>
          </a:soli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mproved productivity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Higher ability to deliver right first time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Lower design/development time and cost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mproved ability to address critical aspects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Reduced complexity and risk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mproved interoperability and extensibility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876799" y="2595448"/>
            <a:ext cx="181171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dvantages</a:t>
            </a:r>
            <a:endParaRPr lang="en-US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3810000" y="4781550"/>
            <a:ext cx="111921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GB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1pPr>
            <a:lvl2pPr marL="742950" indent="-28575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4pPr>
            <a:lvl5pPr marL="20574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9pPr>
          </a:lstStyle>
          <a:p>
            <a:r>
              <a:rPr lang="en-US" sz="1100" dirty="0" smtClean="0">
                <a:solidFill>
                  <a:schemeClr val="tx1"/>
                </a:solidFill>
              </a:rPr>
              <a:t>TCS Confidential</a:t>
            </a:r>
            <a:endParaRPr lang="en-US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3440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dgm="http://schemas.openxmlformats.org/drawingml/2006/diagram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82296" y="502920"/>
            <a:ext cx="2743200" cy="2743200"/>
          </a:xfrm>
          <a:prstGeom prst="rect">
            <a:avLst/>
          </a:prstGeom>
        </p:spPr>
      </p:pic>
      <p:sp>
        <p:nvSpPr>
          <p:cNvPr id="4" name="TextBox 1"/>
          <p:cNvSpPr txBox="1"/>
          <p:nvPr/>
        </p:nvSpPr>
        <p:spPr>
          <a:xfrm>
            <a:off x="7620000" y="4895054"/>
            <a:ext cx="15240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GB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1pPr>
            <a:lvl2pPr marL="742950" indent="-28575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4pPr>
            <a:lvl5pPr marL="20574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9pPr>
          </a:lstStyle>
          <a:p>
            <a:r>
              <a:rPr lang="en-US" sz="1100" dirty="0" smtClean="0">
                <a:solidFill>
                  <a:schemeClr val="tx1"/>
                </a:solidFill>
              </a:rPr>
              <a:t>TCS Confidential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152400" y="3564534"/>
            <a:ext cx="2673928" cy="1050760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Understand </a:t>
            </a: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e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ontext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dentify </a:t>
            </a: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e scope of the units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ffected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dentify </a:t>
            </a: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ocesses and methods that intersect with the new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apability</a:t>
            </a: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efine </a:t>
            </a: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nd establish resources and process for governance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45473" y="3105150"/>
            <a:ext cx="282801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Objective</a:t>
            </a:r>
          </a:p>
          <a:p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etermine </a:t>
            </a: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nd establish the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esired capability.</a:t>
            </a:r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40823" y="72281"/>
            <a:ext cx="81740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Phase 1 – Initiation activities to meet the business directive for new EDL.</a:t>
            </a:r>
          </a:p>
        </p:txBody>
      </p:sp>
      <p:sp>
        <p:nvSpPr>
          <p:cNvPr id="10" name="Right Brace 9"/>
          <p:cNvSpPr/>
          <p:nvPr/>
        </p:nvSpPr>
        <p:spPr>
          <a:xfrm>
            <a:off x="2746663" y="548986"/>
            <a:ext cx="372302" cy="4156364"/>
          </a:xfrm>
          <a:prstGeom prst="rightBrace">
            <a:avLst>
              <a:gd name="adj1" fmla="val 35606"/>
              <a:gd name="adj2" fmla="val 50010"/>
            </a:avLst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2020845455"/>
              </p:ext>
            </p:extLst>
          </p:nvPr>
        </p:nvGraphicFramePr>
        <p:xfrm>
          <a:off x="3276600" y="548986"/>
          <a:ext cx="5791200" cy="381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3276600" y="998745"/>
            <a:ext cx="5791200" cy="769441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Identify hard units – Affected most &amp; Achieve mos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Identify soft Units – Not directly affected but see a change in wor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Identify external units – Outsiders but will be affect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Identify regulators – Legal and Geographies </a:t>
            </a:r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276600" y="1847336"/>
            <a:ext cx="5791200" cy="769441"/>
          </a:xfrm>
          <a:prstGeom prst="rect">
            <a:avLst/>
          </a:prstGeom>
          <a:solidFill>
            <a:srgbClr val="C2E463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etermine existing capabiliti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Identify proposed/potential changes and gap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dentify common areas of interest and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onflic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Identify productivity &amp; collaboration tools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276600" y="2706316"/>
            <a:ext cx="5791200" cy="600164"/>
          </a:xfrm>
          <a:prstGeom prst="rect">
            <a:avLst/>
          </a:prstGeom>
          <a:solidFill>
            <a:srgbClr val="76C76D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llocate key roles &amp; responsibiliti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Identify elements of governa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reate &amp; agree on governance &amp; support model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4577377" y="3678628"/>
            <a:ext cx="3376108" cy="1225868"/>
          </a:xfrm>
          <a:prstGeom prst="roundRect">
            <a:avLst/>
          </a:prstGeom>
          <a:ln>
            <a:solidFill>
              <a:srgbClr val="55A51C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11430" lvl="1" algn="ctr"/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DL Model Document</a:t>
            </a:r>
            <a:endParaRPr lang="en-US" sz="1100" b="1" dirty="0"/>
          </a:p>
          <a:p>
            <a:pPr marL="182880" lvl="1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cope of Enterprise</a:t>
            </a:r>
          </a:p>
          <a:p>
            <a:pPr marL="182880" lvl="1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Impact on units and process model</a:t>
            </a:r>
          </a:p>
          <a:p>
            <a:pPr marL="182880" lvl="1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Gaps, Resolution approach &amp; Targets</a:t>
            </a:r>
          </a:p>
          <a:p>
            <a:pPr marL="182880" lvl="1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eam organization, Roles &amp; Responsibilities</a:t>
            </a:r>
          </a:p>
          <a:p>
            <a:pPr marL="182880" lvl="1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Governance &amp; support strategy</a:t>
            </a:r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0" name="Right Brace 19"/>
          <p:cNvSpPr/>
          <p:nvPr/>
        </p:nvSpPr>
        <p:spPr>
          <a:xfrm rot="5400000">
            <a:off x="6036321" y="575164"/>
            <a:ext cx="271758" cy="5791200"/>
          </a:xfrm>
          <a:prstGeom prst="rightBrace">
            <a:avLst>
              <a:gd name="adj1" fmla="val 68459"/>
              <a:gd name="adj2" fmla="val 50000"/>
            </a:avLst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87559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1"/>
          <p:cNvSpPr txBox="1"/>
          <p:nvPr/>
        </p:nvSpPr>
        <p:spPr>
          <a:xfrm>
            <a:off x="7620000" y="4895054"/>
            <a:ext cx="15240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GB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1pPr>
            <a:lvl2pPr marL="742950" indent="-28575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4pPr>
            <a:lvl5pPr marL="20574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9pPr>
          </a:lstStyle>
          <a:p>
            <a:r>
              <a:rPr lang="en-US" sz="1100" dirty="0" smtClean="0">
                <a:solidFill>
                  <a:schemeClr val="tx1"/>
                </a:solidFill>
              </a:rPr>
              <a:t>TCS Confidential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152400" y="3543268"/>
            <a:ext cx="2673928" cy="1194518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escribe </a:t>
            </a: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ow the enterprise needs to operate to achieve the business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goals and  develop </a:t>
            </a: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e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target product and service strategy and the organizational</a:t>
            </a: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functional, process, information, and geographic aspects of the business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environment.</a:t>
            </a:r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40823" y="72281"/>
            <a:ext cx="67633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</a:rPr>
              <a:t>Phase 2 – Describe various aspect of business environment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0" name="Right Brace 9"/>
          <p:cNvSpPr/>
          <p:nvPr/>
        </p:nvSpPr>
        <p:spPr>
          <a:xfrm>
            <a:off x="2746663" y="548986"/>
            <a:ext cx="372302" cy="4156364"/>
          </a:xfrm>
          <a:prstGeom prst="rightBrace">
            <a:avLst>
              <a:gd name="adj1" fmla="val 35606"/>
              <a:gd name="adj2" fmla="val 50010"/>
            </a:avLst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4046152598"/>
              </p:ext>
            </p:extLst>
          </p:nvPr>
        </p:nvGraphicFramePr>
        <p:xfrm>
          <a:off x="3276600" y="548986"/>
          <a:ext cx="5791200" cy="381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3276600" y="998745"/>
            <a:ext cx="5791200" cy="600164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dentify key business drivers and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takehold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dentify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elevant </a:t>
            </a: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usiness viewpoints (Operations, management, financials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Identify KPIs for success and performance measurement.</a:t>
            </a:r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276600" y="1677212"/>
            <a:ext cx="5791200" cy="769441"/>
          </a:xfrm>
          <a:prstGeom prst="rect">
            <a:avLst/>
          </a:prstGeom>
          <a:solidFill>
            <a:srgbClr val="C2E463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reate business interaction &amp; Information </a:t>
            </a: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change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atri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reate business process models and diagram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evelop baseline description of existing service model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evelop a target description of service models</a:t>
            </a:r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276600" y="2514928"/>
            <a:ext cx="5791200" cy="600164"/>
          </a:xfrm>
          <a:prstGeom prst="rect">
            <a:avLst/>
          </a:prstGeom>
          <a:solidFill>
            <a:srgbClr val="76C76D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erform Impact analysis to understand any wider impacts or implications. </a:t>
            </a:r>
            <a:endParaRPr lang="en-US" sz="11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duct a stakeholder review to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 against </a:t>
            </a: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riginal motivation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for </a:t>
            </a: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he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ervice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ocument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equirements </a:t>
            </a: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raceability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eport</a:t>
            </a:r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276600" y="3466624"/>
            <a:ext cx="5791200" cy="1413153"/>
          </a:xfrm>
          <a:prstGeom prst="roundRect">
            <a:avLst/>
          </a:prstGeom>
          <a:ln>
            <a:solidFill>
              <a:srgbClr val="55A51C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11430" lvl="1" algn="ctr"/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BRD Document</a:t>
            </a:r>
          </a:p>
          <a:p>
            <a:pPr marL="182880" lvl="1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usiness goals and objectives</a:t>
            </a:r>
          </a:p>
          <a:p>
            <a:pPr marL="182880" lvl="1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Baseline </a:t>
            </a: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usiness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ervices &amp; Target </a:t>
            </a: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usiness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ervices</a:t>
            </a:r>
          </a:p>
          <a:p>
            <a:pPr marL="182880" lvl="1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Org </a:t>
            </a: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tructure with locations and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units &amp; decomposed business functions</a:t>
            </a:r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82880" lvl="1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Business requirements, processes</a:t>
            </a: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easures, constraints (NFRs) </a:t>
            </a: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d deliverables</a:t>
            </a:r>
          </a:p>
          <a:p>
            <a:pPr marL="182880" lvl="1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usiness roles, including development and modification of skills requirements</a:t>
            </a:r>
          </a:p>
          <a:p>
            <a:pPr marL="182880" lvl="1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iewpoint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odels and diagrams to address stakeholder’s concerns</a:t>
            </a:r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0" name="Right Brace 19"/>
          <p:cNvSpPr/>
          <p:nvPr/>
        </p:nvSpPr>
        <p:spPr>
          <a:xfrm rot="5400000">
            <a:off x="6036321" y="378471"/>
            <a:ext cx="271758" cy="5791200"/>
          </a:xfrm>
          <a:prstGeom prst="rightBrace">
            <a:avLst>
              <a:gd name="adj1" fmla="val 68459"/>
              <a:gd name="adj2" fmla="val 50000"/>
            </a:avLst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/>
          <p:cNvPicPr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74364" y="495284"/>
            <a:ext cx="2743200" cy="2743200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145473" y="3105150"/>
            <a:ext cx="283603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Objective</a:t>
            </a:r>
          </a:p>
          <a:p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etermine </a:t>
            </a: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nd establish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business architecture.</a:t>
            </a:r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89078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1"/>
          <p:cNvSpPr txBox="1"/>
          <p:nvPr/>
        </p:nvSpPr>
        <p:spPr>
          <a:xfrm>
            <a:off x="7620000" y="4895054"/>
            <a:ext cx="15240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GB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1pPr>
            <a:lvl2pPr marL="742950" indent="-28575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4pPr>
            <a:lvl5pPr marL="20574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9pPr>
          </a:lstStyle>
          <a:p>
            <a:r>
              <a:rPr lang="en-US" sz="1100" dirty="0" smtClean="0">
                <a:solidFill>
                  <a:schemeClr val="tx1"/>
                </a:solidFill>
              </a:rPr>
              <a:t>TCS Confidential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152400" y="3521501"/>
            <a:ext cx="2673928" cy="1248189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To understand all aspects of data flow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To understand all aspects to data governance and management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To understand enterprise standards that all components need to adopt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To understand migration requirements and complexity levels </a:t>
            </a:r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51572" y="72281"/>
            <a:ext cx="79944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</a:rPr>
              <a:t>Phase 3 – </a:t>
            </a:r>
            <a:r>
              <a:rPr lang="en-US" b="1" dirty="0">
                <a:solidFill>
                  <a:schemeClr val="bg1"/>
                </a:solidFill>
              </a:rPr>
              <a:t>Develop a </a:t>
            </a:r>
            <a:r>
              <a:rPr lang="en-US" b="1" dirty="0" smtClean="0">
                <a:solidFill>
                  <a:schemeClr val="bg1"/>
                </a:solidFill>
              </a:rPr>
              <a:t>data </a:t>
            </a:r>
            <a:r>
              <a:rPr lang="en-US" b="1" dirty="0">
                <a:solidFill>
                  <a:schemeClr val="bg1"/>
                </a:solidFill>
              </a:rPr>
              <a:t>architecture that enables </a:t>
            </a:r>
            <a:r>
              <a:rPr lang="en-US" b="1" dirty="0" smtClean="0">
                <a:solidFill>
                  <a:schemeClr val="bg1"/>
                </a:solidFill>
              </a:rPr>
              <a:t>business objectives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0" name="Right Brace 9"/>
          <p:cNvSpPr/>
          <p:nvPr/>
        </p:nvSpPr>
        <p:spPr>
          <a:xfrm>
            <a:off x="2746663" y="548986"/>
            <a:ext cx="372302" cy="4156364"/>
          </a:xfrm>
          <a:prstGeom prst="rightBrace">
            <a:avLst>
              <a:gd name="adj1" fmla="val 35606"/>
              <a:gd name="adj2" fmla="val 50010"/>
            </a:avLst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3239140868"/>
              </p:ext>
            </p:extLst>
          </p:nvPr>
        </p:nvGraphicFramePr>
        <p:xfrm>
          <a:off x="3276600" y="505956"/>
          <a:ext cx="5791200" cy="381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3276600" y="923439"/>
            <a:ext cx="5791200" cy="938719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reate a data catalog tracing from business functions to data entitie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ap data entity with business function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(which </a:t>
            </a: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ata supports which business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function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ap data entity with applications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(which </a:t>
            </a: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pplication consumes/generates which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ntity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cope the </a:t>
            </a: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ata viewpoints (regulators, generators, consumers, auditors etc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.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cope the data dimensions </a:t>
            </a: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(locations, time, availability,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nterprise/local/external)</a:t>
            </a:r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276600" y="1920389"/>
            <a:ext cx="5791200" cy="938719"/>
          </a:xfrm>
          <a:prstGeom prst="rect">
            <a:avLst/>
          </a:prstGeom>
          <a:solidFill>
            <a:srgbClr val="C2E463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fine the data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ntities and define </a:t>
            </a: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ata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tandard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reate target </a:t>
            </a: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ata architecture from a set of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viewpoin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nalyze gaps </a:t>
            </a: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o identify conflicts (viewpoints) &amp; completeness against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equiremen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nalyze impacts over existing </a:t>
            </a: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ystems, other projects and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opportuniti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uild process models for data management, interoperability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nd </a:t>
            </a: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ata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governanc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276600" y="2932255"/>
            <a:ext cx="5791200" cy="430887"/>
          </a:xfrm>
          <a:prstGeom prst="rect">
            <a:avLst/>
          </a:prstGeom>
          <a:solidFill>
            <a:srgbClr val="76C76D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uild the road map with prioritized activities to achieve target data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rchitectu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duct formal stakeholder review</a:t>
            </a:r>
            <a:endParaRPr lang="en-US" sz="11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276600" y="3642328"/>
            <a:ext cx="5791200" cy="1413153"/>
          </a:xfrm>
          <a:prstGeom prst="roundRect">
            <a:avLst/>
          </a:prstGeom>
          <a:ln>
            <a:solidFill>
              <a:srgbClr val="55A51C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11430" lvl="1" algn="ctr"/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ata Architecture Document </a:t>
            </a:r>
            <a:endParaRPr lang="en-US" sz="1100" b="1" dirty="0" smtClean="0"/>
          </a:p>
          <a:p>
            <a:pPr marL="182880" lvl="1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aseline Data Architecture, Target Data Architecture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&amp; Gap </a:t>
            </a: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sis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esults</a:t>
            </a:r>
          </a:p>
          <a:p>
            <a:pPr marL="182880" lvl="1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rchitecture diagrams – Conceptual, Data flow, Migration, Security, </a:t>
            </a: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ifecycle</a:t>
            </a:r>
          </a:p>
          <a:p>
            <a:pPr marL="182880" lvl="1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nterprise data standards &amp; Data management process models</a:t>
            </a:r>
          </a:p>
          <a:p>
            <a:pPr marL="182880" lvl="1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ata governance model</a:t>
            </a:r>
          </a:p>
          <a:p>
            <a:pPr marL="182880" lvl="1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Interoperability requirements and standards</a:t>
            </a:r>
          </a:p>
          <a:p>
            <a:pPr marL="182880" lvl="1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ata entity to business functions to application &amp; services matrix</a:t>
            </a:r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0" name="Right Brace 19"/>
          <p:cNvSpPr/>
          <p:nvPr/>
        </p:nvSpPr>
        <p:spPr>
          <a:xfrm rot="5400000">
            <a:off x="6036321" y="618723"/>
            <a:ext cx="271758" cy="5791200"/>
          </a:xfrm>
          <a:prstGeom prst="rightBrace">
            <a:avLst>
              <a:gd name="adj1" fmla="val 68459"/>
              <a:gd name="adj2" fmla="val 50000"/>
            </a:avLst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83128" y="502920"/>
            <a:ext cx="2743200" cy="2743200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145473" y="3105150"/>
            <a:ext cx="239360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Objective</a:t>
            </a:r>
          </a:p>
          <a:p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efine data architecture &amp; governance </a:t>
            </a:r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8251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1"/>
          <p:cNvSpPr txBox="1"/>
          <p:nvPr/>
        </p:nvSpPr>
        <p:spPr>
          <a:xfrm>
            <a:off x="7620000" y="4895054"/>
            <a:ext cx="15240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GB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1pPr>
            <a:lvl2pPr marL="742950" indent="-28575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4pPr>
            <a:lvl5pPr marL="20574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9pPr>
          </a:lstStyle>
          <a:p>
            <a:r>
              <a:rPr lang="en-US" sz="1100" dirty="0" smtClean="0">
                <a:solidFill>
                  <a:schemeClr val="tx1"/>
                </a:solidFill>
              </a:rPr>
              <a:t>TCS Confidential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82296" y="3564534"/>
            <a:ext cx="2744032" cy="590820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Understand non functional requirements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termine a technology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ortfolio</a:t>
            </a:r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40823" y="72281"/>
            <a:ext cx="69172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</a:rPr>
              <a:t>Phase 4 – </a:t>
            </a:r>
            <a:r>
              <a:rPr lang="en-US" b="1" dirty="0">
                <a:solidFill>
                  <a:schemeClr val="bg1"/>
                </a:solidFill>
              </a:rPr>
              <a:t>Develop a target technology stack and </a:t>
            </a:r>
            <a:r>
              <a:rPr lang="en-US" b="1" dirty="0" smtClean="0">
                <a:solidFill>
                  <a:schemeClr val="bg1"/>
                </a:solidFill>
              </a:rPr>
              <a:t>architecture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0" name="Right Brace 9"/>
          <p:cNvSpPr/>
          <p:nvPr/>
        </p:nvSpPr>
        <p:spPr>
          <a:xfrm>
            <a:off x="2746663" y="548986"/>
            <a:ext cx="372302" cy="4156364"/>
          </a:xfrm>
          <a:prstGeom prst="rightBrace">
            <a:avLst>
              <a:gd name="adj1" fmla="val 35606"/>
              <a:gd name="adj2" fmla="val 50010"/>
            </a:avLst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1322097836"/>
              </p:ext>
            </p:extLst>
          </p:nvPr>
        </p:nvGraphicFramePr>
        <p:xfrm>
          <a:off x="3276600" y="527721"/>
          <a:ext cx="5791200" cy="381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3276600" y="945580"/>
            <a:ext cx="5791200" cy="1107996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dentify non functional requirements and required KPIs for technological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valu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Identify areas of impact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erformance, </a:t>
            </a: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ocation &amp; Latency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aintainability &amp; Capacity Growth</a:t>
            </a:r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vailability </a:t>
            </a: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&amp; Recoverability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ecurity, Governance &amp; Data Quality</a:t>
            </a:r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276600" y="2114550"/>
            <a:ext cx="5791200" cy="600164"/>
          </a:xfrm>
          <a:prstGeom prst="rect">
            <a:avLst/>
          </a:prstGeom>
          <a:solidFill>
            <a:srgbClr val="C2E463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reate an inventory of products in use &amp; evaluate them against requirement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xtend </a:t>
            </a: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he list by examining and adding other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roducts to create a tech portfolio</a:t>
            </a:r>
          </a:p>
          <a:p>
            <a:pPr marL="171450" lvl="1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xtend </a:t>
            </a: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ta </a:t>
            </a: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tity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- </a:t>
            </a: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usiness functions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- </a:t>
            </a: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pplication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atrix to tech mapping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276600" y="2770114"/>
            <a:ext cx="5791200" cy="600164"/>
          </a:xfrm>
          <a:prstGeom prst="rect">
            <a:avLst/>
          </a:prstGeom>
          <a:solidFill>
            <a:srgbClr val="76C76D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cope the </a:t>
            </a: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iewpoints (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IT, App </a:t>
            </a: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wners,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ev, </a:t>
            </a: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QA, Business users, Data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cientists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reate diagrams </a:t>
            </a: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o present the target data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rchitecture from viewpoin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erform gap analysis to identify conflicts and completeness against requirements</a:t>
            </a:r>
            <a:endParaRPr lang="en-US" sz="11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276600" y="3678628"/>
            <a:ext cx="5791200" cy="1225868"/>
          </a:xfrm>
          <a:prstGeom prst="roundRect">
            <a:avLst/>
          </a:prstGeom>
          <a:ln>
            <a:solidFill>
              <a:srgbClr val="55A51C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11430" lvl="1" algn="ctr"/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echnical Architecture Document</a:t>
            </a:r>
            <a:endParaRPr lang="en-US" sz="1100" b="1" dirty="0"/>
          </a:p>
          <a:p>
            <a:pPr marL="182880" lvl="1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aseline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nd target technical architecture decomposed to technical components</a:t>
            </a:r>
          </a:p>
          <a:p>
            <a:pPr marL="182880" lvl="1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nvironments and location diagram with network &amp; communication infra diagram</a:t>
            </a:r>
          </a:p>
          <a:p>
            <a:pPr marL="182880" lvl="1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HW/Network specifications and capacity info with panning process flow</a:t>
            </a:r>
          </a:p>
          <a:p>
            <a:pPr marL="182880" lvl="1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ata migration, security, governance and management process to tech mapping</a:t>
            </a:r>
          </a:p>
          <a:p>
            <a:pPr marL="182880" lvl="1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ev, QA and deployment process and lifecycle</a:t>
            </a:r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0" name="Right Brace 19"/>
          <p:cNvSpPr/>
          <p:nvPr/>
        </p:nvSpPr>
        <p:spPr>
          <a:xfrm rot="5400000">
            <a:off x="6036321" y="628954"/>
            <a:ext cx="271758" cy="5791200"/>
          </a:xfrm>
          <a:prstGeom prst="rightBrace">
            <a:avLst>
              <a:gd name="adj1" fmla="val 68459"/>
              <a:gd name="adj2" fmla="val 50000"/>
            </a:avLst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/>
          <p:cNvPicPr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82296" y="502920"/>
            <a:ext cx="2743200" cy="2743200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145473" y="3105150"/>
            <a:ext cx="241123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Objective</a:t>
            </a:r>
          </a:p>
          <a:p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efine technical platform &amp; architecture</a:t>
            </a:r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6166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1"/>
          <p:cNvSpPr txBox="1"/>
          <p:nvPr/>
        </p:nvSpPr>
        <p:spPr>
          <a:xfrm>
            <a:off x="7620000" y="4895054"/>
            <a:ext cx="15240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GB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1pPr>
            <a:lvl2pPr marL="742950" indent="-28575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4pPr>
            <a:lvl5pPr marL="20574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9pPr>
          </a:lstStyle>
          <a:p>
            <a:r>
              <a:rPr lang="en-US" sz="1100" dirty="0" smtClean="0">
                <a:solidFill>
                  <a:schemeClr val="tx1"/>
                </a:solidFill>
              </a:rPr>
              <a:t>TCS Confidential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152400" y="3564534"/>
            <a:ext cx="2673928" cy="1050760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reate work packages of a logical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group</a:t>
            </a:r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reate roadmap of </a:t>
            </a: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dividual work packages in a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timeline</a:t>
            </a:r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mplementation plan with a schedule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40823" y="72281"/>
            <a:ext cx="79432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</a:rPr>
              <a:t>Phase </a:t>
            </a:r>
            <a:r>
              <a:rPr lang="en-US" b="1" dirty="0" smtClean="0">
                <a:solidFill>
                  <a:schemeClr val="bg1"/>
                </a:solidFill>
              </a:rPr>
              <a:t>5 </a:t>
            </a:r>
            <a:r>
              <a:rPr lang="en-US" b="1" dirty="0" smtClean="0">
                <a:solidFill>
                  <a:schemeClr val="bg1"/>
                </a:solidFill>
              </a:rPr>
              <a:t>– </a:t>
            </a:r>
            <a:r>
              <a:rPr lang="en-US" b="1" dirty="0" smtClean="0">
                <a:solidFill>
                  <a:schemeClr val="bg1"/>
                </a:solidFill>
              </a:rPr>
              <a:t>Determine strategy and delivery vehicles with timeline &amp; cost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0" name="Right Brace 9"/>
          <p:cNvSpPr/>
          <p:nvPr/>
        </p:nvSpPr>
        <p:spPr>
          <a:xfrm>
            <a:off x="2746663" y="548986"/>
            <a:ext cx="372302" cy="4156364"/>
          </a:xfrm>
          <a:prstGeom prst="rightBrace">
            <a:avLst>
              <a:gd name="adj1" fmla="val 35606"/>
              <a:gd name="adj2" fmla="val 50010"/>
            </a:avLst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480970697"/>
              </p:ext>
            </p:extLst>
          </p:nvPr>
        </p:nvGraphicFramePr>
        <p:xfrm>
          <a:off x="3276600" y="514350"/>
          <a:ext cx="5791200" cy="381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3276600" y="926008"/>
            <a:ext cx="5791200" cy="1107996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onsolidate &amp; integrate the requirements and gaps and perform implementation </a:t>
            </a: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actor assessment (risk, issues, assumptions, dependencies, actions and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impact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eorganize the requirement and factors into groups and create an overall strategy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reenfield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implementation</a:t>
            </a:r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volutionary implementation - switch on /switch off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volutionary implementation - parallel running or a phased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pproach</a:t>
            </a:r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276600" y="2085982"/>
            <a:ext cx="5791200" cy="938719"/>
          </a:xfrm>
          <a:prstGeom prst="rect">
            <a:avLst/>
          </a:prstGeom>
          <a:solidFill>
            <a:srgbClr val="C2E463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ogically group the activities into work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ackages and detail them into incremen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ssign business value and evaluation criteria to each work packag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erformance Evaluation Criteria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turn-on-Investment Criteria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ritical Success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Factors</a:t>
            </a:r>
            <a:endParaRPr lang="en-US" sz="11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276600" y="3072140"/>
            <a:ext cx="5791200" cy="600164"/>
          </a:xfrm>
          <a:prstGeom prst="rect">
            <a:avLst/>
          </a:prstGeom>
          <a:solidFill>
            <a:srgbClr val="76C76D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solidate the work packages into a roadmap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of </a:t>
            </a: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 timeline of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rogress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stimate Resource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equirements and ramp up plan</a:t>
            </a:r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ioritize the work packages using a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ost/benefit assessment </a:t>
            </a: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d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isk validation</a:t>
            </a:r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276600" y="4019550"/>
            <a:ext cx="5791200" cy="851297"/>
          </a:xfrm>
          <a:prstGeom prst="roundRect">
            <a:avLst/>
          </a:prstGeom>
          <a:ln>
            <a:solidFill>
              <a:srgbClr val="55A51C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11430" lvl="1" algn="ctr"/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Implementation plan</a:t>
            </a:r>
            <a:endParaRPr lang="en-US" sz="1100" b="1" dirty="0"/>
          </a:p>
          <a:p>
            <a:pPr marL="182880" lvl="1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solidated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equirements, implementation factor assessment and dependencies</a:t>
            </a:r>
          </a:p>
          <a:p>
            <a:pPr marL="182880" lvl="1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Work package portfolio and WBS</a:t>
            </a:r>
          </a:p>
          <a:p>
            <a:pPr marL="182880" lvl="1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Implementation strategy and plan with resource requirements and timelines</a:t>
            </a:r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0" name="Right Brace 19"/>
          <p:cNvSpPr/>
          <p:nvPr/>
        </p:nvSpPr>
        <p:spPr>
          <a:xfrm rot="5400000">
            <a:off x="6036321" y="934247"/>
            <a:ext cx="271758" cy="5791200"/>
          </a:xfrm>
          <a:prstGeom prst="rightBrace">
            <a:avLst>
              <a:gd name="adj1" fmla="val 68459"/>
              <a:gd name="adj2" fmla="val 50000"/>
            </a:avLst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50397" y="492287"/>
            <a:ext cx="2743200" cy="2743200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145473" y="3105150"/>
            <a:ext cx="21836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Objective</a:t>
            </a:r>
          </a:p>
          <a:p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reate an implementation roadmap</a:t>
            </a:r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02483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1"/>
          <p:cNvSpPr txBox="1"/>
          <p:nvPr/>
        </p:nvSpPr>
        <p:spPr>
          <a:xfrm>
            <a:off x="7620000" y="4895054"/>
            <a:ext cx="15240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GB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1pPr>
            <a:lvl2pPr marL="742950" indent="-28575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4pPr>
            <a:lvl5pPr marL="20574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n-cs"/>
              </a:defRPr>
            </a:lvl9pPr>
          </a:lstStyle>
          <a:p>
            <a:r>
              <a:rPr lang="en-US" sz="1100" dirty="0" smtClean="0">
                <a:solidFill>
                  <a:schemeClr val="tx1"/>
                </a:solidFill>
              </a:rPr>
              <a:t>TCS Confidential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145472" y="3564534"/>
            <a:ext cx="2680855" cy="1050760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erform governance </a:t>
            </a: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unctions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age Change Requests and Risks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age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ay to day development </a:t>
            </a: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nd Implementation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16131" y="72281"/>
            <a:ext cx="8443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</a:rPr>
              <a:t>Phase </a:t>
            </a:r>
            <a:r>
              <a:rPr lang="en-US" b="1" dirty="0" smtClean="0">
                <a:solidFill>
                  <a:schemeClr val="bg1"/>
                </a:solidFill>
              </a:rPr>
              <a:t>6 </a:t>
            </a:r>
            <a:r>
              <a:rPr lang="en-US" b="1" dirty="0" smtClean="0">
                <a:solidFill>
                  <a:schemeClr val="bg1"/>
                </a:solidFill>
              </a:rPr>
              <a:t>– </a:t>
            </a:r>
            <a:r>
              <a:rPr lang="en-US" b="1" dirty="0">
                <a:solidFill>
                  <a:schemeClr val="bg1"/>
                </a:solidFill>
              </a:rPr>
              <a:t>Successful management of the implementation and development</a:t>
            </a:r>
          </a:p>
        </p:txBody>
      </p:sp>
      <p:sp>
        <p:nvSpPr>
          <p:cNvPr id="10" name="Right Brace 9"/>
          <p:cNvSpPr/>
          <p:nvPr/>
        </p:nvSpPr>
        <p:spPr>
          <a:xfrm>
            <a:off x="2746663" y="548986"/>
            <a:ext cx="372302" cy="4156364"/>
          </a:xfrm>
          <a:prstGeom prst="rightBrace">
            <a:avLst>
              <a:gd name="adj1" fmla="val 35606"/>
              <a:gd name="adj2" fmla="val 50010"/>
            </a:avLst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1875149997"/>
              </p:ext>
            </p:extLst>
          </p:nvPr>
        </p:nvGraphicFramePr>
        <p:xfrm>
          <a:off x="3276600" y="548986"/>
          <a:ext cx="5791200" cy="381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3276600" y="998745"/>
            <a:ext cx="5791200" cy="769441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dentify development methods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(generate </a:t>
            </a: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de, modeling language, tools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tc.)</a:t>
            </a:r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Identify priorities, resolve conflicts and issues, conduct reviews </a:t>
            </a: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 development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eam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dentify deployment issues and make recommendati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anage risks, access CR and ensure expected value realization</a:t>
            </a:r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276600" y="1847336"/>
            <a:ext cx="5791200" cy="600164"/>
          </a:xfrm>
          <a:prstGeom prst="rect">
            <a:avLst/>
          </a:prstGeom>
          <a:solidFill>
            <a:srgbClr val="C2E463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rovide business &amp; IT operational requirements and SLA requiremen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evelop business &amp; IT operating models for service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ublish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ocumentations </a:t>
            </a: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ike run book,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eveloper and user guides etc.</a:t>
            </a:r>
            <a:endParaRPr lang="en-US" sz="11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276600" y="2550451"/>
            <a:ext cx="5791200" cy="430887"/>
          </a:xfrm>
          <a:prstGeom prst="rect">
            <a:avLst/>
          </a:prstGeom>
          <a:solidFill>
            <a:srgbClr val="76C76D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duct post-implementation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eview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ublish reviews and close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rojects</a:t>
            </a:r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276600" y="3346116"/>
            <a:ext cx="5791200" cy="851297"/>
          </a:xfrm>
          <a:prstGeom prst="roundRect">
            <a:avLst/>
          </a:prstGeom>
          <a:ln>
            <a:solidFill>
              <a:srgbClr val="55A51C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11430" lvl="1" algn="ctr"/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Operations Manual</a:t>
            </a:r>
            <a:endParaRPr lang="en-US" sz="1100" b="1" dirty="0"/>
          </a:p>
          <a:p>
            <a:pPr marL="182880" lvl="1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usiness and IT operating models for the implemented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olution</a:t>
            </a:r>
          </a:p>
          <a:p>
            <a:pPr marL="182880" lvl="1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ervice Level Agreements</a:t>
            </a:r>
          </a:p>
          <a:p>
            <a:pPr marL="182880" lvl="1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evelopers and Users guide</a:t>
            </a:r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0" name="Right Brace 19"/>
          <p:cNvSpPr/>
          <p:nvPr/>
        </p:nvSpPr>
        <p:spPr>
          <a:xfrm rot="5400000">
            <a:off x="6036321" y="258838"/>
            <a:ext cx="271758" cy="5791200"/>
          </a:xfrm>
          <a:prstGeom prst="rightBrace">
            <a:avLst>
              <a:gd name="adj1" fmla="val 68459"/>
              <a:gd name="adj2" fmla="val 50000"/>
            </a:avLst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/>
          <p:cNvPicPr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82296" y="502920"/>
            <a:ext cx="2743200" cy="2743200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145473" y="3105150"/>
            <a:ext cx="223330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Objective</a:t>
            </a:r>
          </a:p>
          <a:p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Execute </a:t>
            </a: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n implementation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rogram</a:t>
            </a:r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276600" y="4311255"/>
            <a:ext cx="5791200" cy="476726"/>
          </a:xfrm>
          <a:prstGeom prst="roundRect">
            <a:avLst/>
          </a:prstGeom>
          <a:ln>
            <a:solidFill>
              <a:srgbClr val="55A51C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11430" lvl="1" algn="ctr"/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losure Report</a:t>
            </a:r>
            <a:endParaRPr lang="en-US" sz="1100" b="1" dirty="0"/>
          </a:p>
          <a:p>
            <a:pPr marL="182880" lvl="1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ost implementation assessment report</a:t>
            </a:r>
          </a:p>
        </p:txBody>
      </p:sp>
    </p:spTree>
    <p:extLst>
      <p:ext uri="{BB962C8B-B14F-4D97-AF65-F5344CB8AC3E}">
        <p14:creationId xmlns:p14="http://schemas.microsoft.com/office/powerpoint/2010/main" val="2988516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" val="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6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" val="6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7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" val="7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8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" val="8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9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" val="9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10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" val="10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1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" val="11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12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" val="12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" val="1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C" val="1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" val="2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C" val="2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" val="3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C" val="3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" val="4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C" val="4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" val="5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C" val="5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" val="6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C" val="6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" val="7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C" val="7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" val="8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" val="2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C" val="8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" val="9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C" val="9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" val="10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C" val="10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" val="11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C" val="11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" val="12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C" val="1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3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3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" val="3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5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" val="5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" val="3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" val="6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7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" val="7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8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" val="8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9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" val="9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1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" val="1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1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" val="1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1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" val="1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" val="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C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" val="2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C" val="2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" val="3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C" val="3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C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" val="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C" val="5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" val="6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C" val="6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" val="7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C" val="7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" val="8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C" val="8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" val="9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5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C" val="9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" val="1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C" val="1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" val="11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C" val="11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" val="12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C" val="12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heme/theme1.xml><?xml version="1.0" encoding="utf-8"?>
<a:theme xmlns:a="http://schemas.openxmlformats.org/drawingml/2006/main" name="Theme1">
  <a:themeElements>
    <a:clrScheme name="TC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6CCFF6"/>
      </a:accent1>
      <a:accent2>
        <a:srgbClr val="D5D10E"/>
      </a:accent2>
      <a:accent3>
        <a:srgbClr val="C9C1B7"/>
      </a:accent3>
      <a:accent4>
        <a:srgbClr val="FCC05D"/>
      </a:accent4>
      <a:accent5>
        <a:srgbClr val="76C76D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1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6DCFF6"/>
        </a:solidFill>
        <a:ln w="9525"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TCS Blue 100%">
      <a:srgbClr val="6DCFF6"/>
    </a:custClr>
    <a:custClr name="TCS Blue 70%">
      <a:srgbClr val="8ED2ED"/>
    </a:custClr>
    <a:custClr name="TCS Blue 50%">
      <a:srgbClr val="B0DFF3"/>
    </a:custClr>
    <a:custClr name="TCS Blue 30%">
      <a:srgbClr val="D1ECF9"/>
    </a:custClr>
    <a:custClr name="TCS Dark Blue 100%">
      <a:srgbClr val="0063BE"/>
    </a:custClr>
    <a:custClr name="TCS Dark Blue 70%">
      <a:srgbClr val="6D97D8"/>
    </a:custClr>
    <a:custClr name="TCS Dark Blue 50%">
      <a:srgbClr val="98B4E6"/>
    </a:custClr>
    <a:custClr name="TCS Dark Blue 30%">
      <a:srgbClr val="C1D2F1"/>
    </a:custClr>
    <a:custClr name="TCS Light Violet 100%">
      <a:srgbClr val="83389B"/>
    </a:custClr>
    <a:custClr name="TCS Light Violet 70%">
      <a:srgbClr val="B17AC6"/>
    </a:custClr>
    <a:custClr name="TCS Light Violet 50%">
      <a:srgbClr val="C69FD8"/>
    </a:custClr>
    <a:custClr name="TCS Light Violet 30%">
      <a:srgbClr val="DCC5E8"/>
    </a:custClr>
    <a:custClr name="TCS Green 100%">
      <a:srgbClr val="55A51C"/>
    </a:custClr>
    <a:custClr name="TCS Green 70%">
      <a:srgbClr val="89C35F"/>
    </a:custClr>
    <a:custClr name="TCS Green 50%">
      <a:srgbClr val="ABD38C"/>
    </a:custClr>
    <a:custClr name="TCS Green 30%">
      <a:srgbClr val="CCE5BA"/>
    </a:custClr>
    <a:custClr name="TCS Orange 100%">
      <a:srgbClr val="D6492A"/>
    </a:custClr>
    <a:custClr name="TCS Orange 70%">
      <a:srgbClr val="F1896C"/>
    </a:custClr>
    <a:custClr name="TCS Orange 50%">
      <a:srgbClr val="F7AC94"/>
    </a:custClr>
    <a:custClr name="TCS Orange 30%">
      <a:srgbClr val="FACDBF"/>
    </a:custClr>
    <a:custClr name="TCS Warm Grey 100%">
      <a:srgbClr val="B9AFA4"/>
    </a:custClr>
    <a:custClr name="TCS Warm Grey 70%">
      <a:srgbClr val="C9C3BC"/>
    </a:custClr>
    <a:custClr name="TCS Warm Grey 50%">
      <a:srgbClr val="D7D4CF"/>
    </a:custClr>
    <a:custClr name="TCS Warm Grey 30%">
      <a:srgbClr val="E4E6E3"/>
    </a:custClr>
    <a:custClr name="TCS Brown 100%">
      <a:srgbClr val="974807"/>
    </a:custClr>
    <a:custClr name="TCS Brown 70%">
      <a:srgbClr val="C07F51"/>
    </a:custClr>
    <a:custClr name="TCS Brown 50%">
      <a:srgbClr val="D5A380"/>
    </a:custClr>
    <a:custClr name="TCS Brown 30%">
      <a:srgbClr val="E6C8B3"/>
    </a:custClr>
    <a:custClr name="TCS Light Green 100%">
      <a:srgbClr val="CDCA2F"/>
    </a:custClr>
    <a:custClr name="TCS Light Green 70%">
      <a:srgbClr val="E4DD7B"/>
    </a:custClr>
    <a:custClr name="TCS Light Green 50%">
      <a:srgbClr val="EDE6A0"/>
    </a:custClr>
    <a:custClr name="TCS Light Green 30%">
      <a:srgbClr val="F5F0C8"/>
    </a:custClr>
    <a:custClr name="TCS Yellow 100%">
      <a:srgbClr val="FFDD3E"/>
    </a:custClr>
    <a:custClr name="TCS Yellow 70%">
      <a:srgbClr val="FDE97F"/>
    </a:custClr>
    <a:custClr name="TCS Yellow 50%">
      <a:srgbClr val="FCEFA4"/>
    </a:custClr>
    <a:custClr name="TCS Yellow 30%">
      <a:srgbClr val="FEF5CA"/>
    </a:custClr>
    <a:custClr name="TATA Blue 100%">
      <a:srgbClr val="4E84C4"/>
    </a:custClr>
    <a:custClr name="TATA Blue 70%">
      <a:srgbClr val="8BACE4"/>
    </a:custClr>
    <a:custClr name="TATA Blue 50%">
      <a:srgbClr val="ACC3EC"/>
    </a:custClr>
    <a:custClr name="TATA Blue 30%">
      <a:srgbClr val="CEDBF0"/>
    </a:custClr>
  </a:custClrLst>
</a:theme>
</file>

<file path=ppt/theme/theme2.xml><?xml version="1.0" encoding="utf-8"?>
<a:theme xmlns:a="http://schemas.openxmlformats.org/drawingml/2006/main" name="11_TCS_Presentation_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1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6DCFF6"/>
        </a:solidFill>
        <a:ln w="9525"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TCS Blue 100%">
      <a:srgbClr val="6DCFF6"/>
    </a:custClr>
    <a:custClr name="TCS Blue 70%">
      <a:srgbClr val="8ED2ED"/>
    </a:custClr>
    <a:custClr name="TCS Blue 50%">
      <a:srgbClr val="B0DFF3"/>
    </a:custClr>
    <a:custClr name="TCS Blue 30%">
      <a:srgbClr val="D1ECF9"/>
    </a:custClr>
    <a:custClr name="TCS Dark Blue 100%">
      <a:srgbClr val="0063BE"/>
    </a:custClr>
    <a:custClr name="TCS Dark Blue 70%">
      <a:srgbClr val="6D97D8"/>
    </a:custClr>
    <a:custClr name="TCS Dark Blue 50%">
      <a:srgbClr val="98B4E6"/>
    </a:custClr>
    <a:custClr name="TCS Dark Blue 30%">
      <a:srgbClr val="C1D2F1"/>
    </a:custClr>
    <a:custClr name="TCS Light Violet 100%">
      <a:srgbClr val="83389B"/>
    </a:custClr>
    <a:custClr name="TCS Light Violet 70%">
      <a:srgbClr val="B17AC6"/>
    </a:custClr>
    <a:custClr name="TCS Light Violet 50%">
      <a:srgbClr val="C69FD8"/>
    </a:custClr>
    <a:custClr name="TCS Light Violet 30%">
      <a:srgbClr val="DCC5E8"/>
    </a:custClr>
    <a:custClr name="TCS Green 100%">
      <a:srgbClr val="55A51C"/>
    </a:custClr>
    <a:custClr name="TCS Green 70%">
      <a:srgbClr val="89C35F"/>
    </a:custClr>
    <a:custClr name="TCS Green 50%">
      <a:srgbClr val="ABD38C"/>
    </a:custClr>
    <a:custClr name="TCS Green 30%">
      <a:srgbClr val="CCE5BA"/>
    </a:custClr>
    <a:custClr name="TCS Orange 100%">
      <a:srgbClr val="D6492A"/>
    </a:custClr>
    <a:custClr name="TCS Orange 70%">
      <a:srgbClr val="F1896C"/>
    </a:custClr>
    <a:custClr name="TCS Orange 50%">
      <a:srgbClr val="F7AC94"/>
    </a:custClr>
    <a:custClr name="TCS Orange 30%">
      <a:srgbClr val="FACDBF"/>
    </a:custClr>
    <a:custClr name="TCS Warm Grey 100%">
      <a:srgbClr val="B9AFA4"/>
    </a:custClr>
    <a:custClr name="TCS Warm Grey 70%">
      <a:srgbClr val="C9C3BC"/>
    </a:custClr>
    <a:custClr name="TCS Warm Grey 50%">
      <a:srgbClr val="D7D4CF"/>
    </a:custClr>
    <a:custClr name="TCS Warm Grey 30%">
      <a:srgbClr val="E4E6E3"/>
    </a:custClr>
    <a:custClr name="TCS Brown 100%">
      <a:srgbClr val="974807"/>
    </a:custClr>
    <a:custClr name="TCS Brown 70%">
      <a:srgbClr val="C07F51"/>
    </a:custClr>
    <a:custClr name="TCS Brown 50%">
      <a:srgbClr val="D5A380"/>
    </a:custClr>
    <a:custClr name="TCS Brown 30%">
      <a:srgbClr val="E6C8B3"/>
    </a:custClr>
    <a:custClr name="TCS Light Green 100%">
      <a:srgbClr val="CDCA2F"/>
    </a:custClr>
    <a:custClr name="TCS Light Green 70%">
      <a:srgbClr val="E4DD7B"/>
    </a:custClr>
    <a:custClr name="TCS Light Green 50%">
      <a:srgbClr val="EDE6A0"/>
    </a:custClr>
    <a:custClr name="TCS Light Green 30%">
      <a:srgbClr val="F5F0C8"/>
    </a:custClr>
    <a:custClr name="TCS Yellow 100%">
      <a:srgbClr val="FFDD3E"/>
    </a:custClr>
    <a:custClr name="TCS Yellow 70%">
      <a:srgbClr val="FDE97F"/>
    </a:custClr>
    <a:custClr name="TCS Yellow 50%">
      <a:srgbClr val="FCEFA4"/>
    </a:custClr>
    <a:custClr name="TCS Yellow 30%">
      <a:srgbClr val="FEF5CA"/>
    </a:custClr>
    <a:custClr name="TATA Blue 100%">
      <a:srgbClr val="4E84C4"/>
    </a:custClr>
    <a:custClr name="TATA Blue 70%">
      <a:srgbClr val="8BACE4"/>
    </a:custClr>
    <a:custClr name="TATA Blue 50%">
      <a:srgbClr val="ACC3EC"/>
    </a:custClr>
    <a:custClr name="TATA Blue 30%">
      <a:srgbClr val="CEDBF0"/>
    </a:custClr>
  </a:custClrLst>
</a:theme>
</file>

<file path=ppt/theme/theme3.xml><?xml version="1.0" encoding="utf-8"?>
<a:theme xmlns:a="http://schemas.openxmlformats.org/drawingml/2006/main" name="17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0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TCS Presentation 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Foundry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80000"/>
              </a:schemeClr>
            </a:gs>
            <a:gs pos="62000">
              <a:schemeClr val="phClr">
                <a:tint val="30000"/>
                <a:satMod val="180000"/>
              </a:schemeClr>
            </a:gs>
            <a:gs pos="100000">
              <a:schemeClr val="phClr">
                <a:tint val="22000"/>
                <a:satMod val="18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58000"/>
                <a:satMod val="150000"/>
              </a:schemeClr>
            </a:gs>
            <a:gs pos="72000">
              <a:schemeClr val="phClr">
                <a:tint val="90000"/>
                <a:satMod val="135000"/>
              </a:schemeClr>
            </a:gs>
            <a:gs pos="100000">
              <a:schemeClr val="phClr">
                <a:tint val="8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80000"/>
            </a:schemeClr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000000"/>
            </a:lightRig>
          </a:scene3d>
          <a:sp3d prstMaterial="matte">
            <a:bevelT w="63500" h="635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TCS Blue">
      <a:srgbClr val="6DCFF6"/>
    </a:custClr>
    <a:custClr name="TCS Blue 50%">
      <a:srgbClr val="B0DFF3"/>
    </a:custClr>
    <a:custClr name="TCS Blue 25%">
      <a:srgbClr val="D7EFFA"/>
    </a:custClr>
    <a:custClr name="TCS Dark Blue">
      <a:srgbClr val="0069BE"/>
    </a:custClr>
    <a:custClr name="TCS Dark Blue 50%">
      <a:srgbClr val="98B4E6"/>
    </a:custClr>
    <a:custClr name="TCS Dark Blue 25%">
      <a:srgbClr val="E1ECF8"/>
    </a:custClr>
    <a:custClr name="TCS Light Violet">
      <a:srgbClr val="83389B"/>
    </a:custClr>
    <a:custClr name="TCS Light Violet 50%">
      <a:srgbClr val="C69FDB"/>
    </a:custClr>
    <a:custClr name="TCS Light Violet 25%">
      <a:srgbClr val="E2CFED"/>
    </a:custClr>
    <a:custClr name="TCS Green">
      <a:srgbClr val="55A51C"/>
    </a:custClr>
    <a:custClr name="TCS Green 50%">
      <a:srgbClr val="ABD38C"/>
    </a:custClr>
    <a:custClr name="TCS Green 25%">
      <a:srgbClr val="D3E8C6"/>
    </a:custClr>
    <a:custClr name="TCS Orange">
      <a:srgbClr val="D6492A"/>
    </a:custClr>
    <a:custClr name="TCS Orange 50%">
      <a:srgbClr val="F7AC94"/>
    </a:custClr>
    <a:custClr name="TCS Orange 25%">
      <a:srgbClr val="FBD6C9"/>
    </a:custClr>
    <a:custClr name="TCS Warm Grey">
      <a:srgbClr val="B9AFA4"/>
    </a:custClr>
    <a:custClr name="TCS Warm Grey 50%">
      <a:srgbClr val="D7D4CF"/>
    </a:custClr>
    <a:custClr name="TCS Warm Grey 25%">
      <a:srgbClr val="E8EAE7"/>
    </a:custClr>
    <a:custClr name="TCS Brown">
      <a:srgbClr val="974B07"/>
    </a:custClr>
    <a:custClr name="TCS Brown 50%">
      <a:srgbClr val="D1A484"/>
    </a:custClr>
    <a:custClr name="TCS Brown 25%">
      <a:srgbClr val="E8D1C2"/>
    </a:custClr>
    <a:custClr name="TCS Light Green">
      <a:srgbClr val="C1BB00"/>
    </a:custClr>
    <a:custClr name="TCS Light Green 50%">
      <a:srgbClr val="E2DB92"/>
    </a:custClr>
    <a:custClr name="TCS Light Green 25%">
      <a:srgbClr val="F0EDC9"/>
    </a:custClr>
    <a:custClr name="TCS Yellow">
      <a:srgbClr val="FFDD3E"/>
    </a:custClr>
    <a:custClr name="TCS Yellow 50%">
      <a:srgbClr val="FCEFA5"/>
    </a:custClr>
    <a:custClr name="TCS Yellow 25%">
      <a:srgbClr val="FDF7D4"/>
    </a:custClr>
    <a:custClr name="TCS Dark Grey">
      <a:srgbClr val="58595B"/>
    </a:custClr>
    <a:custClr name="TCS Dark Grey 50%">
      <a:srgbClr val="A5A8AA"/>
    </a:custClr>
    <a:custClr name="TCS Dark Grey 25%">
      <a:srgbClr val="D0D3D4"/>
    </a:custClr>
    <a:custClr name="TATA Blue">
      <a:srgbClr val="4E84C4"/>
    </a:custClr>
    <a:custClr name="TATA Blue 50%">
      <a:srgbClr val="ACC3EC"/>
    </a:custClr>
    <a:custClr name="TATA Blue 25%">
      <a:srgbClr val="D4E1F7"/>
    </a:custClr>
  </a:custClrLst>
</a:theme>
</file>

<file path=ppt/theme/theme6.xml><?xml version="1.0" encoding="utf-8"?>
<a:theme xmlns:a="http://schemas.openxmlformats.org/drawingml/2006/main" name="6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 Them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 Theme">
      <a:majorFont>
        <a:latin typeface="Arial"/>
        <a:ea typeface="Microsoft YaHei"/>
        <a:cs typeface=""/>
      </a:majorFont>
      <a:minorFont>
        <a:latin typeface="Arial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altLang="en-US" sz="1800" b="0" i="0" u="none" strike="noStrike" cap="none" normalizeH="0" baseline="0" smtClean="0">
            <a:ln>
              <a:noFill/>
            </a:ln>
            <a:effectLst/>
            <a:latin typeface="Arial" charset="0"/>
            <a:ea typeface="Microsoft YaHei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altLang="en-US" sz="1800" b="0" i="0" u="none" strike="noStrike" cap="none" normalizeH="0" baseline="0" smtClean="0">
            <a:ln>
              <a:noFill/>
            </a:ln>
            <a:effectLst/>
            <a:latin typeface="Arial" charset="0"/>
            <a:ea typeface="Microsoft YaHei" charset="-122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1</Template>
  <TotalTime>905</TotalTime>
  <Words>1257</Words>
  <Application>Microsoft Office PowerPoint</Application>
  <PresentationFormat>On-screen Show (16:9)</PresentationFormat>
  <Paragraphs>189</Paragraphs>
  <Slides>8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7</vt:i4>
      </vt:variant>
      <vt:variant>
        <vt:lpstr>Slide Titles</vt:lpstr>
      </vt:variant>
      <vt:variant>
        <vt:i4>8</vt:i4>
      </vt:variant>
    </vt:vector>
  </HeadingPairs>
  <TitlesOfParts>
    <vt:vector size="25" baseType="lpstr">
      <vt:lpstr>Microsoft YaHei</vt:lpstr>
      <vt:lpstr>ＭＳ Ｐゴシック</vt:lpstr>
      <vt:lpstr>Arial</vt:lpstr>
      <vt:lpstr>Calibri</vt:lpstr>
      <vt:lpstr>Calibri Light</vt:lpstr>
      <vt:lpstr>Courier New</vt:lpstr>
      <vt:lpstr>Myriad Pro</vt:lpstr>
      <vt:lpstr>Myriad Pro Light</vt:lpstr>
      <vt:lpstr>Times New Roman</vt:lpstr>
      <vt:lpstr>Wingdings</vt:lpstr>
      <vt:lpstr>Theme1</vt:lpstr>
      <vt:lpstr>11_TCS_Presentation_Template</vt:lpstr>
      <vt:lpstr>17_Office Theme</vt:lpstr>
      <vt:lpstr>10_Office Theme</vt:lpstr>
      <vt:lpstr>1_TCS Presentation Template</vt:lpstr>
      <vt:lpstr>6_Office Theme</vt:lpstr>
      <vt:lpstr>Office Theme</vt:lpstr>
      <vt:lpstr>Enterprise Data Lake Framework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veek Roychowdhury</dc:creator>
  <cp:lastModifiedBy>Prashant Pandey</cp:lastModifiedBy>
  <cp:revision>85</cp:revision>
  <dcterms:created xsi:type="dcterms:W3CDTF">2016-04-12T06:11:28Z</dcterms:created>
  <dcterms:modified xsi:type="dcterms:W3CDTF">2016-05-10T06:35:31Z</dcterms:modified>
</cp:coreProperties>
</file>